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tags/tag40.xml" ContentType="application/vnd.openxmlformats-officedocument.presentationml.tags+xml"/>
  <Override PartName="/ppt/notesSlides/notesSlide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116.xml" ContentType="application/vnd.openxmlformats-officedocument.presentationml.tags+xml"/>
  <Override PartName="/ppt/tags/tag117.xml" ContentType="application/vnd.openxmlformats-officedocument.presentationml.tags+xml"/>
  <Override PartName="/ppt/notesSlides/notesSlide4.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196.xml" ContentType="application/vnd.openxmlformats-officedocument.presentationml.tags+xml"/>
  <Override PartName="/ppt/tags/tag197.xml" ContentType="application/vnd.openxmlformats-officedocument.presentationml.tags+xml"/>
  <Override PartName="/ppt/notesSlides/notesSlide6.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00.xml" ContentType="application/vnd.openxmlformats-officedocument.presentationml.tags+xml"/>
  <Override PartName="/ppt/notesSlides/notesSlide9.xml" ContentType="application/vnd.openxmlformats-officedocument.presentationml.notesSlide+xml"/>
  <Override PartName="/ppt/tags/tag201.xml" ContentType="application/vnd.openxmlformats-officedocument.presentationml.tags+xml"/>
  <Override PartName="/ppt/notesSlides/notesSlide10.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notesSlides/notesSlide11.xml" ContentType="application/vnd.openxmlformats-officedocument.presentationml.notesSlide+xml"/>
  <Override PartName="/ppt/tags/tag204.xml" ContentType="application/vnd.openxmlformats-officedocument.presentationml.tags+xml"/>
  <Override PartName="/ppt/tags/tag205.xml" ContentType="application/vnd.openxmlformats-officedocument.presentationml.tags+xml"/>
  <Override PartName="/ppt/notesSlides/notesSlide12.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notesSlides/notesSlide13.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notesSlides/notesSlide14.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notesSlides/notesSlide15.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notesSlides/notesSlide16.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notesSlides/notesSlide17.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notesSlides/notesSlide1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55" r:id="rId2"/>
    <p:sldMasterId id="2147483770" r:id="rId3"/>
    <p:sldMasterId id="2147483782" r:id="rId4"/>
  </p:sldMasterIdLst>
  <p:notesMasterIdLst>
    <p:notesMasterId r:id="rId32"/>
  </p:notesMasterIdLst>
  <p:handoutMasterIdLst>
    <p:handoutMasterId r:id="rId33"/>
  </p:handoutMasterIdLst>
  <p:sldIdLst>
    <p:sldId id="467" r:id="rId5"/>
    <p:sldId id="566" r:id="rId6"/>
    <p:sldId id="1301" r:id="rId7"/>
    <p:sldId id="534" r:id="rId8"/>
    <p:sldId id="542" r:id="rId9"/>
    <p:sldId id="547" r:id="rId10"/>
    <p:sldId id="548" r:id="rId11"/>
    <p:sldId id="549" r:id="rId12"/>
    <p:sldId id="550" r:id="rId13"/>
    <p:sldId id="1294" r:id="rId14"/>
    <p:sldId id="1295" r:id="rId15"/>
    <p:sldId id="1297" r:id="rId16"/>
    <p:sldId id="560" r:id="rId17"/>
    <p:sldId id="1299" r:id="rId18"/>
    <p:sldId id="1300" r:id="rId19"/>
    <p:sldId id="460" r:id="rId20"/>
    <p:sldId id="461" r:id="rId21"/>
    <p:sldId id="532" r:id="rId22"/>
    <p:sldId id="528" r:id="rId23"/>
    <p:sldId id="558" r:id="rId24"/>
    <p:sldId id="517" r:id="rId25"/>
    <p:sldId id="514" r:id="rId26"/>
    <p:sldId id="518" r:id="rId27"/>
    <p:sldId id="527" r:id="rId28"/>
    <p:sldId id="1305" r:id="rId29"/>
    <p:sldId id="1302" r:id="rId30"/>
    <p:sldId id="495" r:id="rId31"/>
  </p:sldIdLst>
  <p:sldSz cx="12192000" cy="6858000"/>
  <p:notesSz cx="6797675" cy="9926638"/>
  <p:custDataLst>
    <p:tags r:id="rId34"/>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93" userDrawn="1">
          <p15:clr>
            <a:srgbClr val="A4A3A4"/>
          </p15:clr>
        </p15:guide>
        <p15:guide id="2" orient="horz" pos="3113" userDrawn="1">
          <p15:clr>
            <a:srgbClr val="A4A3A4"/>
          </p15:clr>
        </p15:guide>
        <p15:guide id="5" orient="horz" pos="3317" userDrawn="1">
          <p15:clr>
            <a:srgbClr val="A4A3A4"/>
          </p15:clr>
        </p15:guide>
        <p15:guide id="6" pos="6244"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etz, Tatjana" initials="LT" lastIdx="4" clrIdx="0">
    <p:extLst>
      <p:ext uri="{19B8F6BF-5375-455C-9EA6-DF929625EA0E}">
        <p15:presenceInfo xmlns:p15="http://schemas.microsoft.com/office/powerpoint/2012/main" userId="S::tlietz@deloitte.de::3ee1dc1a-8da8-4b72-b18c-e0e9f676763c" providerId="AD"/>
      </p:ext>
    </p:extLst>
  </p:cmAuthor>
  <p:cmAuthor id="2" name="Friedrich, Marc" initials="FM" lastIdx="1" clrIdx="1">
    <p:extLst>
      <p:ext uri="{19B8F6BF-5375-455C-9EA6-DF929625EA0E}">
        <p15:presenceInfo xmlns:p15="http://schemas.microsoft.com/office/powerpoint/2012/main" userId="S::marfriedrich@deloitte.de::b4a175a4-1cd4-4d0f-bee2-c26074742bbd" providerId="AD"/>
      </p:ext>
    </p:extLst>
  </p:cmAuthor>
  <p:cmAuthor id="3" name="Baumert, Tim" initials="BT" lastIdx="9" clrIdx="2">
    <p:extLst>
      <p:ext uri="{19B8F6BF-5375-455C-9EA6-DF929625EA0E}">
        <p15:presenceInfo xmlns:p15="http://schemas.microsoft.com/office/powerpoint/2012/main" userId="S::tbaumert@deloitte.de::255ac11e-711b-4203-bcce-80dc6fe36a04" providerId="AD"/>
      </p:ext>
    </p:extLst>
  </p:cmAuthor>
  <p:cmAuthor id="4" name="Papenbrock, Jakob Marius" initials="PJM" lastIdx="15" clrIdx="3">
    <p:extLst>
      <p:ext uri="{19B8F6BF-5375-455C-9EA6-DF929625EA0E}">
        <p15:presenceInfo xmlns:p15="http://schemas.microsoft.com/office/powerpoint/2012/main" userId="S::jpapenbrock@deloitte.de::2f9a0ccb-d4b0-46e0-9663-d61dd6c758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3C1F"/>
    <a:srgbClr val="00A3E0"/>
    <a:srgbClr val="0097A9"/>
    <a:srgbClr val="009A44"/>
    <a:srgbClr val="86BC25"/>
    <a:srgbClr val="E6E6E6"/>
    <a:srgbClr val="046A38"/>
    <a:srgbClr val="62B5E5"/>
    <a:srgbClr val="007AA8"/>
    <a:srgbClr val="2EA83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17" autoAdjust="0"/>
    <p:restoredTop sz="95422" autoAdjust="0"/>
  </p:normalViewPr>
  <p:slideViewPr>
    <p:cSldViewPr snapToGrid="0" showGuides="1">
      <p:cViewPr varScale="1">
        <p:scale>
          <a:sx n="105" d="100"/>
          <a:sy n="105" d="100"/>
        </p:scale>
        <p:origin x="924" y="108"/>
      </p:cViewPr>
      <p:guideLst>
        <p:guide orient="horz" pos="1593"/>
        <p:guide orient="horz" pos="3113"/>
        <p:guide orient="horz" pos="3317"/>
        <p:guide pos="6244"/>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00" d="100"/>
        <a:sy n="100" d="100"/>
      </p:scale>
      <p:origin x="0" y="-5492"/>
    </p:cViewPr>
  </p:sorterViewPr>
  <p:notesViewPr>
    <p:cSldViewPr snapToGrid="0" showGuides="1">
      <p:cViewPr varScale="1">
        <p:scale>
          <a:sx n="57" d="100"/>
          <a:sy n="57" d="100"/>
        </p:scale>
        <p:origin x="1992" y="9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rman Rutgers" userId="a8c302b9331896de" providerId="LiveId" clId="{23CB4A09-EB70-4937-AA03-BE0A9A004326}"/>
    <pc:docChg chg="custSel addSld delSld modSld sldOrd">
      <pc:chgData name="Herman Rutgers" userId="a8c302b9331896de" providerId="LiveId" clId="{23CB4A09-EB70-4937-AA03-BE0A9A004326}" dt="2022-09-20T08:04:10.318" v="14" actId="14100"/>
      <pc:docMkLst>
        <pc:docMk/>
      </pc:docMkLst>
      <pc:sldChg chg="modSp">
        <pc:chgData name="Herman Rutgers" userId="a8c302b9331896de" providerId="LiveId" clId="{23CB4A09-EB70-4937-AA03-BE0A9A004326}" dt="2022-09-20T08:04:10.318" v="14" actId="14100"/>
        <pc:sldMkLst>
          <pc:docMk/>
          <pc:sldMk cId="1838539995" sldId="1300"/>
        </pc:sldMkLst>
        <pc:picChg chg="mod">
          <ac:chgData name="Herman Rutgers" userId="a8c302b9331896de" providerId="LiveId" clId="{23CB4A09-EB70-4937-AA03-BE0A9A004326}" dt="2022-09-20T08:04:10.318" v="14" actId="14100"/>
          <ac:picMkLst>
            <pc:docMk/>
            <pc:sldMk cId="1838539995" sldId="1300"/>
            <ac:picMk id="5" creationId="{1652DD7F-3E87-B0FB-4269-53042AC9EC66}"/>
          </ac:picMkLst>
        </pc:picChg>
      </pc:sldChg>
      <pc:sldChg chg="modSp">
        <pc:chgData name="Herman Rutgers" userId="a8c302b9331896de" providerId="LiveId" clId="{23CB4A09-EB70-4937-AA03-BE0A9A004326}" dt="2022-09-20T08:01:06.014" v="13" actId="20577"/>
        <pc:sldMkLst>
          <pc:docMk/>
          <pc:sldMk cId="4215973282" sldId="1302"/>
        </pc:sldMkLst>
        <pc:spChg chg="mod">
          <ac:chgData name="Herman Rutgers" userId="a8c302b9331896de" providerId="LiveId" clId="{23CB4A09-EB70-4937-AA03-BE0A9A004326}" dt="2022-09-20T08:01:06.014" v="13" actId="20577"/>
          <ac:spMkLst>
            <pc:docMk/>
            <pc:sldMk cId="4215973282" sldId="1302"/>
            <ac:spMk id="2" creationId="{96B1C0CF-45BC-86D5-A8E2-879EF7916B05}"/>
          </ac:spMkLst>
        </pc:spChg>
      </pc:sldChg>
      <pc:sldChg chg="new del">
        <pc:chgData name="Herman Rutgers" userId="a8c302b9331896de" providerId="LiveId" clId="{23CB4A09-EB70-4937-AA03-BE0A9A004326}" dt="2022-09-20T08:00:19.010" v="9" actId="2696"/>
        <pc:sldMkLst>
          <pc:docMk/>
          <pc:sldMk cId="1449714652" sldId="1303"/>
        </pc:sldMkLst>
      </pc:sldChg>
      <pc:sldChg chg="delSp new del mod modClrScheme chgLayout">
        <pc:chgData name="Herman Rutgers" userId="a8c302b9331896de" providerId="LiveId" clId="{23CB4A09-EB70-4937-AA03-BE0A9A004326}" dt="2022-09-20T08:00:05.606" v="4" actId="2696"/>
        <pc:sldMkLst>
          <pc:docMk/>
          <pc:sldMk cId="4140582011" sldId="1304"/>
        </pc:sldMkLst>
        <pc:spChg chg="del">
          <ac:chgData name="Herman Rutgers" userId="a8c302b9331896de" providerId="LiveId" clId="{23CB4A09-EB70-4937-AA03-BE0A9A004326}" dt="2022-09-20T07:59:53.399" v="2" actId="700"/>
          <ac:spMkLst>
            <pc:docMk/>
            <pc:sldMk cId="4140582011" sldId="1304"/>
            <ac:spMk id="2" creationId="{F361EDF1-FD70-573D-ACA7-0C452E5B40E8}"/>
          </ac:spMkLst>
        </pc:spChg>
      </pc:sldChg>
      <pc:sldChg chg="add ord">
        <pc:chgData name="Herman Rutgers" userId="a8c302b9331896de" providerId="LiveId" clId="{23CB4A09-EB70-4937-AA03-BE0A9A004326}" dt="2022-09-20T08:00:16.287" v="8"/>
        <pc:sldMkLst>
          <pc:docMk/>
          <pc:sldMk cId="1206726596" sldId="1305"/>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71717171717172"/>
          <c:y val="4.0417209908735333E-2"/>
          <c:w val="0.85202020202020201"/>
          <c:h val="0.91916558018252936"/>
        </c:manualLayout>
      </c:layout>
      <c:barChart>
        <c:barDir val="col"/>
        <c:grouping val="stacked"/>
        <c:varyColors val="0"/>
        <c:ser>
          <c:idx val="0"/>
          <c:order val="0"/>
          <c:spPr>
            <a:solidFill>
              <a:srgbClr val="86BC25"/>
            </a:solidFill>
            <a:ln>
              <a:noFill/>
            </a:ln>
          </c:spPr>
          <c:invertIfNegative val="0"/>
          <c:val>
            <c:numRef>
              <c:f>Sheet1!$A$1:$E$1</c:f>
              <c:numCache>
                <c:formatCode>General</c:formatCode>
                <c:ptCount val="5"/>
                <c:pt idx="0">
                  <c:v>60.46</c:v>
                </c:pt>
                <c:pt idx="1">
                  <c:v>62.68</c:v>
                </c:pt>
                <c:pt idx="2">
                  <c:v>65.260000000000005</c:v>
                </c:pt>
                <c:pt idx="3">
                  <c:v>55.21</c:v>
                </c:pt>
                <c:pt idx="4">
                  <c:v>56.29</c:v>
                </c:pt>
              </c:numCache>
            </c:numRef>
          </c:val>
          <c:extLst>
            <c:ext xmlns:c16="http://schemas.microsoft.com/office/drawing/2014/chart" uri="{C3380CC4-5D6E-409C-BE32-E72D297353CC}">
              <c16:uniqueId val="{00000000-4B31-4D9A-9DB2-AE1179C2B383}"/>
            </c:ext>
          </c:extLst>
        </c:ser>
        <c:dLbls>
          <c:showLegendKey val="0"/>
          <c:showVal val="0"/>
          <c:showCatName val="0"/>
          <c:showSerName val="0"/>
          <c:showPercent val="0"/>
          <c:showBubbleSize val="0"/>
        </c:dLbls>
        <c:gapWidth val="150"/>
        <c:overlap val="100"/>
        <c:axId val="905298000"/>
        <c:axId val="1"/>
      </c:barChart>
      <c:catAx>
        <c:axId val="905298000"/>
        <c:scaling>
          <c:orientation val="minMax"/>
        </c:scaling>
        <c:delete val="0"/>
        <c:axPos val="b"/>
        <c:majorGridlines>
          <c:spPr>
            <a:ln>
              <a:noFill/>
            </a:ln>
          </c:spPr>
        </c:majorGridlines>
        <c:majorTickMark val="out"/>
        <c:minorTickMark val="none"/>
        <c:tickLblPos val="none"/>
        <c:spPr>
          <a:ln w="9525" algn="ctr">
            <a:solidFill>
              <a:schemeClr val="bg1"/>
            </a:solidFill>
            <a:prstDash val="solid"/>
          </a:ln>
        </c:spPr>
        <c:txPr>
          <a:bodyPr wrap="none"/>
          <a:lstStyle/>
          <a:p>
            <a:pPr>
              <a:defRPr sz="1000" kern="1200">
                <a:latin typeface="+mn-lt"/>
                <a:ea typeface="+mn-ea"/>
                <a:cs typeface="+mn-cs"/>
              </a:defRPr>
            </a:pPr>
            <a:endParaRPr lang="fr-FR"/>
          </a:p>
        </c:txPr>
        <c:crossAx val="1"/>
        <c:crosses val="min"/>
        <c:auto val="0"/>
        <c:lblAlgn val="ctr"/>
        <c:lblOffset val="100"/>
        <c:noMultiLvlLbl val="0"/>
      </c:catAx>
      <c:valAx>
        <c:axId val="1"/>
        <c:scaling>
          <c:orientation val="minMax"/>
          <c:max val="70"/>
          <c:min val="0"/>
        </c:scaling>
        <c:delete val="0"/>
        <c:axPos val="l"/>
        <c:majorGridlines>
          <c:spPr>
            <a:ln>
              <a:noFill/>
            </a:ln>
          </c:spPr>
        </c:majorGridlines>
        <c:numFmt formatCode="#,##0;&quot;-&quot;#,##0" sourceLinked="0"/>
        <c:majorTickMark val="out"/>
        <c:minorTickMark val="none"/>
        <c:tickLblPos val="nextTo"/>
        <c:spPr>
          <a:ln w="9525" algn="ctr">
            <a:solidFill>
              <a:srgbClr val="FFFFFF"/>
            </a:solidFill>
            <a:prstDash val="solid"/>
          </a:ln>
        </c:spPr>
        <c:txPr>
          <a:bodyPr wrap="none"/>
          <a:lstStyle/>
          <a:p>
            <a:pPr>
              <a:defRPr sz="1000" kern="1200">
                <a:solidFill>
                  <a:srgbClr val="FFFFFF"/>
                </a:solidFill>
                <a:latin typeface="+mn-lt"/>
                <a:ea typeface="+mn-ea"/>
                <a:cs typeface="+mn-cs"/>
              </a:defRPr>
            </a:pPr>
            <a:endParaRPr lang="fr-FR"/>
          </a:p>
        </c:txPr>
        <c:crossAx val="905298000"/>
        <c:crosses val="min"/>
        <c:crossBetween val="between"/>
        <c:majorUnit val="1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733203505355404"/>
          <c:y val="4.0155440414507769E-2"/>
          <c:w val="0.85735150925024339"/>
          <c:h val="0.9196891191709845"/>
        </c:manualLayout>
      </c:layout>
      <c:barChart>
        <c:barDir val="col"/>
        <c:grouping val="stacked"/>
        <c:varyColors val="0"/>
        <c:ser>
          <c:idx val="0"/>
          <c:order val="0"/>
          <c:spPr>
            <a:solidFill>
              <a:srgbClr val="046A38"/>
            </a:solidFill>
            <a:ln>
              <a:noFill/>
            </a:ln>
          </c:spPr>
          <c:invertIfNegative val="0"/>
          <c:val>
            <c:numRef>
              <c:f>Sheet1!$A$1:$E$1</c:f>
              <c:numCache>
                <c:formatCode>General</c:formatCode>
                <c:ptCount val="5"/>
                <c:pt idx="0">
                  <c:v>59.765999999999998</c:v>
                </c:pt>
                <c:pt idx="1">
                  <c:v>62.515999999999998</c:v>
                </c:pt>
                <c:pt idx="2">
                  <c:v>63.932000000000002</c:v>
                </c:pt>
                <c:pt idx="3">
                  <c:v>63.058999999999997</c:v>
                </c:pt>
                <c:pt idx="4">
                  <c:v>63.173000000000002</c:v>
                </c:pt>
              </c:numCache>
            </c:numRef>
          </c:val>
          <c:extLst>
            <c:ext xmlns:c16="http://schemas.microsoft.com/office/drawing/2014/chart" uri="{C3380CC4-5D6E-409C-BE32-E72D297353CC}">
              <c16:uniqueId val="{00000000-35AA-4323-A575-349899427FF4}"/>
            </c:ext>
          </c:extLst>
        </c:ser>
        <c:dLbls>
          <c:showLegendKey val="0"/>
          <c:showVal val="0"/>
          <c:showCatName val="0"/>
          <c:showSerName val="0"/>
          <c:showPercent val="0"/>
          <c:showBubbleSize val="0"/>
        </c:dLbls>
        <c:gapWidth val="150"/>
        <c:overlap val="100"/>
        <c:axId val="846206608"/>
        <c:axId val="1"/>
      </c:barChart>
      <c:catAx>
        <c:axId val="846206608"/>
        <c:scaling>
          <c:orientation val="minMax"/>
        </c:scaling>
        <c:delete val="0"/>
        <c:axPos val="b"/>
        <c:majorGridlines>
          <c:spPr>
            <a:ln>
              <a:noFill/>
            </a:ln>
          </c:spPr>
        </c:majorGridlines>
        <c:majorTickMark val="out"/>
        <c:minorTickMark val="none"/>
        <c:tickLblPos val="none"/>
        <c:spPr>
          <a:ln w="9525" algn="ctr">
            <a:solidFill>
              <a:srgbClr val="FFFFFF"/>
            </a:solidFill>
            <a:prstDash val="solid"/>
          </a:ln>
        </c:spPr>
        <c:txPr>
          <a:bodyPr wrap="none"/>
          <a:lstStyle/>
          <a:p>
            <a:pPr>
              <a:defRPr sz="1000" kern="1200">
                <a:latin typeface="+mn-lt"/>
                <a:ea typeface="+mn-ea"/>
                <a:cs typeface="+mn-cs"/>
              </a:defRPr>
            </a:pPr>
            <a:endParaRPr lang="fr-FR"/>
          </a:p>
        </c:txPr>
        <c:crossAx val="1"/>
        <c:crosses val="min"/>
        <c:auto val="0"/>
        <c:lblAlgn val="ctr"/>
        <c:lblOffset val="100"/>
        <c:noMultiLvlLbl val="0"/>
      </c:catAx>
      <c:valAx>
        <c:axId val="1"/>
        <c:scaling>
          <c:orientation val="minMax"/>
          <c:max val="70"/>
          <c:min val="0"/>
        </c:scaling>
        <c:delete val="0"/>
        <c:axPos val="l"/>
        <c:majorGridlines>
          <c:spPr>
            <a:ln>
              <a:noFill/>
            </a:ln>
          </c:spPr>
        </c:majorGridlines>
        <c:numFmt formatCode="#,##0;&quot;-&quot;#,##0" sourceLinked="0"/>
        <c:majorTickMark val="out"/>
        <c:minorTickMark val="none"/>
        <c:tickLblPos val="nextTo"/>
        <c:spPr>
          <a:ln w="9525" algn="ctr">
            <a:solidFill>
              <a:srgbClr val="FFFFFF"/>
            </a:solidFill>
            <a:prstDash val="solid"/>
          </a:ln>
        </c:spPr>
        <c:txPr>
          <a:bodyPr wrap="none"/>
          <a:lstStyle/>
          <a:p>
            <a:pPr>
              <a:defRPr sz="1000" kern="1200">
                <a:solidFill>
                  <a:srgbClr val="FFFFFF"/>
                </a:solidFill>
                <a:latin typeface="+mn-lt"/>
                <a:ea typeface="+mn-ea"/>
                <a:cs typeface="+mn-cs"/>
              </a:defRPr>
            </a:pPr>
            <a:endParaRPr lang="fr-FR"/>
          </a:p>
        </c:txPr>
        <c:crossAx val="846206608"/>
        <c:crosses val="min"/>
        <c:crossBetween val="between"/>
        <c:majorUnit val="1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71717171717172"/>
          <c:y val="4.0417209908735333E-2"/>
          <c:w val="0.85202020202020201"/>
          <c:h val="0.91916558018252936"/>
        </c:manualLayout>
      </c:layout>
      <c:barChart>
        <c:barDir val="col"/>
        <c:grouping val="stacked"/>
        <c:varyColors val="0"/>
        <c:ser>
          <c:idx val="0"/>
          <c:order val="0"/>
          <c:spPr>
            <a:solidFill>
              <a:srgbClr val="00A3E0"/>
            </a:solidFill>
            <a:ln>
              <a:noFill/>
            </a:ln>
          </c:spPr>
          <c:invertIfNegative val="0"/>
          <c:val>
            <c:numRef>
              <c:f>Sheet1!$A$1:$E$1</c:f>
              <c:numCache>
                <c:formatCode>General</c:formatCode>
                <c:ptCount val="5"/>
                <c:pt idx="0">
                  <c:v>27.32</c:v>
                </c:pt>
                <c:pt idx="1">
                  <c:v>27.82</c:v>
                </c:pt>
                <c:pt idx="2">
                  <c:v>28.8</c:v>
                </c:pt>
                <c:pt idx="3">
                  <c:v>19.309999999999999</c:v>
                </c:pt>
                <c:pt idx="4">
                  <c:v>17.100000000000001</c:v>
                </c:pt>
              </c:numCache>
            </c:numRef>
          </c:val>
          <c:extLst>
            <c:ext xmlns:c16="http://schemas.microsoft.com/office/drawing/2014/chart" uri="{C3380CC4-5D6E-409C-BE32-E72D297353CC}">
              <c16:uniqueId val="{00000000-1B21-4B8B-83CE-222221E94432}"/>
            </c:ext>
          </c:extLst>
        </c:ser>
        <c:dLbls>
          <c:showLegendKey val="0"/>
          <c:showVal val="0"/>
          <c:showCatName val="0"/>
          <c:showSerName val="0"/>
          <c:showPercent val="0"/>
          <c:showBubbleSize val="0"/>
        </c:dLbls>
        <c:gapWidth val="150"/>
        <c:overlap val="100"/>
        <c:axId val="1244796784"/>
        <c:axId val="1"/>
      </c:barChart>
      <c:catAx>
        <c:axId val="1244796784"/>
        <c:scaling>
          <c:orientation val="minMax"/>
        </c:scaling>
        <c:delete val="0"/>
        <c:axPos val="b"/>
        <c:majorGridlines>
          <c:spPr>
            <a:ln>
              <a:noFill/>
            </a:ln>
          </c:spPr>
        </c:majorGridlines>
        <c:majorTickMark val="out"/>
        <c:minorTickMark val="none"/>
        <c:tickLblPos val="none"/>
        <c:spPr>
          <a:ln w="9525" algn="ctr">
            <a:solidFill>
              <a:srgbClr val="FFFFFF"/>
            </a:solidFill>
            <a:prstDash val="solid"/>
          </a:ln>
        </c:spPr>
        <c:txPr>
          <a:bodyPr wrap="none"/>
          <a:lstStyle/>
          <a:p>
            <a:pPr>
              <a:defRPr sz="1000" kern="1200">
                <a:latin typeface="+mn-lt"/>
                <a:ea typeface="+mn-ea"/>
                <a:cs typeface="+mn-cs"/>
              </a:defRPr>
            </a:pPr>
            <a:endParaRPr lang="fr-FR"/>
          </a:p>
        </c:txPr>
        <c:crossAx val="1"/>
        <c:crosses val="min"/>
        <c:auto val="0"/>
        <c:lblAlgn val="ctr"/>
        <c:lblOffset val="100"/>
        <c:noMultiLvlLbl val="0"/>
      </c:catAx>
      <c:valAx>
        <c:axId val="1"/>
        <c:scaling>
          <c:orientation val="minMax"/>
          <c:max val="30"/>
          <c:min val="0"/>
        </c:scaling>
        <c:delete val="0"/>
        <c:axPos val="l"/>
        <c:majorGridlines>
          <c:spPr>
            <a:ln>
              <a:noFill/>
            </a:ln>
          </c:spPr>
        </c:majorGridlines>
        <c:numFmt formatCode="#,##0;&quot;-&quot;#,##0" sourceLinked="0"/>
        <c:majorTickMark val="out"/>
        <c:minorTickMark val="none"/>
        <c:tickLblPos val="nextTo"/>
        <c:spPr>
          <a:ln w="9525" algn="ctr">
            <a:solidFill>
              <a:srgbClr val="FFFFFF"/>
            </a:solidFill>
            <a:prstDash val="solid"/>
          </a:ln>
        </c:spPr>
        <c:txPr>
          <a:bodyPr wrap="none"/>
          <a:lstStyle/>
          <a:p>
            <a:pPr>
              <a:defRPr sz="1000" kern="1200">
                <a:solidFill>
                  <a:srgbClr val="FFFFFF"/>
                </a:solidFill>
                <a:latin typeface="+mn-lt"/>
                <a:ea typeface="+mn-ea"/>
                <a:cs typeface="+mn-cs"/>
              </a:defRPr>
            </a:pPr>
            <a:endParaRPr lang="fr-FR"/>
          </a:p>
        </c:txPr>
        <c:crossAx val="1244796784"/>
        <c:crosses val="min"/>
        <c:crossBetween val="between"/>
        <c:majorUnit val="5"/>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776043325899962E-2"/>
          <c:y val="4.1196013289036548E-2"/>
          <c:w val="0.90665817139216309"/>
          <c:h val="0.9176079734219269"/>
        </c:manualLayout>
      </c:layout>
      <c:barChart>
        <c:barDir val="col"/>
        <c:grouping val="clustered"/>
        <c:varyColors val="0"/>
        <c:ser>
          <c:idx val="0"/>
          <c:order val="0"/>
          <c:spPr>
            <a:solidFill>
              <a:srgbClr val="86BC25"/>
            </a:solidFill>
            <a:ln>
              <a:noFill/>
            </a:ln>
          </c:spPr>
          <c:invertIfNegative val="0"/>
          <c:val>
            <c:numRef>
              <c:f>Sheet1!$A$1:$C$1</c:f>
              <c:numCache>
                <c:formatCode>General</c:formatCode>
                <c:ptCount val="3"/>
                <c:pt idx="0">
                  <c:v>11.66</c:v>
                </c:pt>
                <c:pt idx="1">
                  <c:v>10.39</c:v>
                </c:pt>
                <c:pt idx="2">
                  <c:v>5.508</c:v>
                </c:pt>
              </c:numCache>
            </c:numRef>
          </c:val>
          <c:extLst>
            <c:ext xmlns:c16="http://schemas.microsoft.com/office/drawing/2014/chart" uri="{C3380CC4-5D6E-409C-BE32-E72D297353CC}">
              <c16:uniqueId val="{00000000-39A7-418C-B671-B7C3DAF8FC98}"/>
            </c:ext>
          </c:extLst>
        </c:ser>
        <c:ser>
          <c:idx val="1"/>
          <c:order val="1"/>
          <c:spPr>
            <a:solidFill>
              <a:srgbClr val="046A38"/>
            </a:solidFill>
            <a:ln>
              <a:noFill/>
            </a:ln>
          </c:spPr>
          <c:invertIfNegative val="0"/>
          <c:val>
            <c:numRef>
              <c:f>Sheet1!$A$2:$C$2</c:f>
              <c:numCache>
                <c:formatCode>General</c:formatCode>
                <c:ptCount val="3"/>
                <c:pt idx="0">
                  <c:v>10.31</c:v>
                </c:pt>
                <c:pt idx="1">
                  <c:v>8.2780000000000005</c:v>
                </c:pt>
                <c:pt idx="2">
                  <c:v>4.3150000000000004</c:v>
                </c:pt>
              </c:numCache>
            </c:numRef>
          </c:val>
          <c:extLst>
            <c:ext xmlns:c16="http://schemas.microsoft.com/office/drawing/2014/chart" uri="{C3380CC4-5D6E-409C-BE32-E72D297353CC}">
              <c16:uniqueId val="{00000001-39A7-418C-B671-B7C3DAF8FC98}"/>
            </c:ext>
          </c:extLst>
        </c:ser>
        <c:ser>
          <c:idx val="2"/>
          <c:order val="2"/>
          <c:spPr>
            <a:solidFill>
              <a:srgbClr val="62B5E5"/>
            </a:solidFill>
            <a:ln>
              <a:noFill/>
            </a:ln>
          </c:spPr>
          <c:invertIfNegative val="0"/>
          <c:val>
            <c:numRef>
              <c:f>Sheet1!$A$3:$C$3</c:f>
              <c:numCache>
                <c:formatCode>General</c:formatCode>
                <c:ptCount val="3"/>
                <c:pt idx="0">
                  <c:v>9.26</c:v>
                </c:pt>
                <c:pt idx="1">
                  <c:v>9.5739999999999998</c:v>
                </c:pt>
                <c:pt idx="2">
                  <c:v>4.8330000000000002</c:v>
                </c:pt>
              </c:numCache>
            </c:numRef>
          </c:val>
          <c:extLst>
            <c:ext xmlns:c16="http://schemas.microsoft.com/office/drawing/2014/chart" uri="{C3380CC4-5D6E-409C-BE32-E72D297353CC}">
              <c16:uniqueId val="{00000002-39A7-418C-B671-B7C3DAF8FC98}"/>
            </c:ext>
          </c:extLst>
        </c:ser>
        <c:dLbls>
          <c:showLegendKey val="0"/>
          <c:showVal val="0"/>
          <c:showCatName val="0"/>
          <c:showSerName val="0"/>
          <c:showPercent val="0"/>
          <c:showBubbleSize val="0"/>
        </c:dLbls>
        <c:gapWidth val="150"/>
        <c:axId val="1015179456"/>
        <c:axId val="1"/>
      </c:barChart>
      <c:catAx>
        <c:axId val="1015179456"/>
        <c:scaling>
          <c:orientation val="minMax"/>
        </c:scaling>
        <c:delete val="0"/>
        <c:axPos val="b"/>
        <c:majorGridlines>
          <c:spPr>
            <a:ln>
              <a:noFill/>
            </a:ln>
          </c:spPr>
        </c:majorGridlines>
        <c:majorTickMark val="out"/>
        <c:minorTickMark val="none"/>
        <c:tickLblPos val="none"/>
        <c:spPr>
          <a:ln w="9525" algn="ctr">
            <a:solidFill>
              <a:schemeClr val="bg1"/>
            </a:solidFill>
            <a:prstDash val="solid"/>
          </a:ln>
        </c:spPr>
        <c:txPr>
          <a:bodyPr wrap="none"/>
          <a:lstStyle/>
          <a:p>
            <a:pPr>
              <a:defRPr sz="1000" kern="1200">
                <a:latin typeface="+mn-lt"/>
                <a:ea typeface="+mn-ea"/>
                <a:cs typeface="+mn-cs"/>
              </a:defRPr>
            </a:pPr>
            <a:endParaRPr lang="fr-FR"/>
          </a:p>
        </c:txPr>
        <c:crossAx val="1"/>
        <c:crosses val="min"/>
        <c:auto val="0"/>
        <c:lblAlgn val="ctr"/>
        <c:lblOffset val="100"/>
        <c:noMultiLvlLbl val="0"/>
      </c:catAx>
      <c:valAx>
        <c:axId val="1"/>
        <c:scaling>
          <c:orientation val="minMax"/>
          <c:max val="12"/>
          <c:min val="0"/>
        </c:scaling>
        <c:delete val="0"/>
        <c:axPos val="l"/>
        <c:majorGridlines>
          <c:spPr>
            <a:ln>
              <a:noFill/>
            </a:ln>
          </c:spPr>
        </c:majorGridlines>
        <c:numFmt formatCode="#,##0;&quot;-&quot;#,##0" sourceLinked="0"/>
        <c:majorTickMark val="out"/>
        <c:minorTickMark val="none"/>
        <c:tickLblPos val="nextTo"/>
        <c:spPr>
          <a:ln w="9525" algn="ctr">
            <a:solidFill>
              <a:schemeClr val="bg1"/>
            </a:solidFill>
            <a:prstDash val="solid"/>
          </a:ln>
        </c:spPr>
        <c:txPr>
          <a:bodyPr wrap="none"/>
          <a:lstStyle/>
          <a:p>
            <a:pPr>
              <a:defRPr sz="1000" kern="1200">
                <a:solidFill>
                  <a:schemeClr val="bg1"/>
                </a:solidFill>
                <a:latin typeface="+mn-lt"/>
                <a:ea typeface="+mn-ea"/>
                <a:cs typeface="+mn-cs"/>
              </a:defRPr>
            </a:pPr>
            <a:endParaRPr lang="fr-FR"/>
          </a:p>
        </c:txPr>
        <c:crossAx val="1015179456"/>
        <c:crosses val="min"/>
        <c:crossBetween val="between"/>
        <c:majorUnit val="2"/>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630274614869392E-2"/>
          <c:y val="4.1196013289036548E-2"/>
          <c:w val="0.9189551239115874"/>
          <c:h val="0.9176079734219269"/>
        </c:manualLayout>
      </c:layout>
      <c:barChart>
        <c:barDir val="col"/>
        <c:grouping val="clustered"/>
        <c:varyColors val="0"/>
        <c:ser>
          <c:idx val="0"/>
          <c:order val="0"/>
          <c:spPr>
            <a:solidFill>
              <a:srgbClr val="86BC25"/>
            </a:solidFill>
            <a:ln>
              <a:noFill/>
            </a:ln>
          </c:spPr>
          <c:invertIfNegative val="0"/>
          <c:val>
            <c:numRef>
              <c:f>Sheet1!$A$1:$C$1</c:f>
              <c:numCache>
                <c:formatCode>General</c:formatCode>
                <c:ptCount val="3"/>
                <c:pt idx="0">
                  <c:v>5.51</c:v>
                </c:pt>
                <c:pt idx="1">
                  <c:v>5.51</c:v>
                </c:pt>
                <c:pt idx="2">
                  <c:v>2.35</c:v>
                </c:pt>
              </c:numCache>
            </c:numRef>
          </c:val>
          <c:extLst>
            <c:ext xmlns:c16="http://schemas.microsoft.com/office/drawing/2014/chart" uri="{C3380CC4-5D6E-409C-BE32-E72D297353CC}">
              <c16:uniqueId val="{00000000-0307-4FBF-9A66-EA028953CB53}"/>
            </c:ext>
          </c:extLst>
        </c:ser>
        <c:ser>
          <c:idx val="1"/>
          <c:order val="1"/>
          <c:spPr>
            <a:solidFill>
              <a:srgbClr val="046A38"/>
            </a:solidFill>
            <a:ln>
              <a:noFill/>
            </a:ln>
          </c:spPr>
          <c:invertIfNegative val="0"/>
          <c:val>
            <c:numRef>
              <c:f>Sheet1!$A$2:$C$2</c:f>
              <c:numCache>
                <c:formatCode>General</c:formatCode>
                <c:ptCount val="3"/>
                <c:pt idx="0">
                  <c:v>4.16</c:v>
                </c:pt>
                <c:pt idx="1">
                  <c:v>2.65</c:v>
                </c:pt>
                <c:pt idx="2">
                  <c:v>1.34</c:v>
                </c:pt>
              </c:numCache>
            </c:numRef>
          </c:val>
          <c:extLst>
            <c:ext xmlns:c16="http://schemas.microsoft.com/office/drawing/2014/chart" uri="{C3380CC4-5D6E-409C-BE32-E72D297353CC}">
              <c16:uniqueId val="{00000001-0307-4FBF-9A66-EA028953CB53}"/>
            </c:ext>
          </c:extLst>
        </c:ser>
        <c:ser>
          <c:idx val="2"/>
          <c:order val="2"/>
          <c:spPr>
            <a:solidFill>
              <a:srgbClr val="62B5E5"/>
            </a:solidFill>
            <a:ln>
              <a:noFill/>
            </a:ln>
          </c:spPr>
          <c:invertIfNegative val="0"/>
          <c:val>
            <c:numRef>
              <c:f>Sheet1!$A$3:$C$3</c:f>
              <c:numCache>
                <c:formatCode>General</c:formatCode>
                <c:ptCount val="3"/>
                <c:pt idx="0">
                  <c:v>2.23</c:v>
                </c:pt>
                <c:pt idx="1">
                  <c:v>3.56</c:v>
                </c:pt>
                <c:pt idx="2">
                  <c:v>1.58</c:v>
                </c:pt>
              </c:numCache>
            </c:numRef>
          </c:val>
          <c:extLst>
            <c:ext xmlns:c16="http://schemas.microsoft.com/office/drawing/2014/chart" uri="{C3380CC4-5D6E-409C-BE32-E72D297353CC}">
              <c16:uniqueId val="{00000002-0307-4FBF-9A66-EA028953CB53}"/>
            </c:ext>
          </c:extLst>
        </c:ser>
        <c:dLbls>
          <c:showLegendKey val="0"/>
          <c:showVal val="0"/>
          <c:showCatName val="0"/>
          <c:showSerName val="0"/>
          <c:showPercent val="0"/>
          <c:showBubbleSize val="0"/>
        </c:dLbls>
        <c:gapWidth val="150"/>
        <c:axId val="1244820912"/>
        <c:axId val="1"/>
      </c:barChart>
      <c:catAx>
        <c:axId val="1244820912"/>
        <c:scaling>
          <c:orientation val="minMax"/>
        </c:scaling>
        <c:delete val="0"/>
        <c:axPos val="b"/>
        <c:majorGridlines>
          <c:spPr>
            <a:ln>
              <a:noFill/>
            </a:ln>
          </c:spPr>
        </c:majorGridlines>
        <c:majorTickMark val="out"/>
        <c:minorTickMark val="none"/>
        <c:tickLblPos val="none"/>
        <c:spPr>
          <a:ln w="9525" algn="ctr">
            <a:solidFill>
              <a:schemeClr val="bg1"/>
            </a:solidFill>
            <a:prstDash val="solid"/>
          </a:ln>
        </c:spPr>
        <c:txPr>
          <a:bodyPr wrap="none"/>
          <a:lstStyle/>
          <a:p>
            <a:pPr>
              <a:defRPr sz="1000" kern="1200">
                <a:latin typeface="+mn-lt"/>
                <a:ea typeface="+mn-ea"/>
                <a:cs typeface="+mn-cs"/>
              </a:defRPr>
            </a:pPr>
            <a:endParaRPr lang="fr-FR"/>
          </a:p>
        </c:txPr>
        <c:crossAx val="1"/>
        <c:crosses val="min"/>
        <c:auto val="0"/>
        <c:lblAlgn val="ctr"/>
        <c:lblOffset val="100"/>
        <c:noMultiLvlLbl val="0"/>
      </c:catAx>
      <c:valAx>
        <c:axId val="1"/>
        <c:scaling>
          <c:orientation val="minMax"/>
          <c:max val="6"/>
          <c:min val="0"/>
        </c:scaling>
        <c:delete val="0"/>
        <c:axPos val="l"/>
        <c:majorGridlines>
          <c:spPr>
            <a:ln>
              <a:noFill/>
            </a:ln>
          </c:spPr>
        </c:majorGridlines>
        <c:numFmt formatCode="#,##0;&quot;-&quot;#,##0" sourceLinked="0"/>
        <c:majorTickMark val="out"/>
        <c:minorTickMark val="none"/>
        <c:tickLblPos val="nextTo"/>
        <c:spPr>
          <a:ln w="9525" algn="ctr">
            <a:solidFill>
              <a:schemeClr val="bg1"/>
            </a:solidFill>
            <a:prstDash val="solid"/>
          </a:ln>
        </c:spPr>
        <c:txPr>
          <a:bodyPr wrap="none"/>
          <a:lstStyle/>
          <a:p>
            <a:pPr>
              <a:defRPr sz="1000" kern="1200">
                <a:solidFill>
                  <a:srgbClr val="FFFFFF"/>
                </a:solidFill>
                <a:latin typeface="+mn-lt"/>
                <a:ea typeface="+mn-ea"/>
                <a:cs typeface="+mn-cs"/>
              </a:defRPr>
            </a:pPr>
            <a:endParaRPr lang="fr-FR"/>
          </a:p>
        </c:txPr>
        <c:crossAx val="1244820912"/>
        <c:crosses val="min"/>
        <c:crossBetween val="between"/>
        <c:majorUnit val="1"/>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2945862" cy="495793"/>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50294" y="2"/>
            <a:ext cx="2945862" cy="495793"/>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3/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429307"/>
            <a:ext cx="2945862" cy="495793"/>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50294" y="9429307"/>
            <a:ext cx="2945862" cy="495793"/>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N°›</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332"/>
          </a:xfrm>
          <a:prstGeom prst="rect">
            <a:avLst/>
          </a:prstGeom>
        </p:spPr>
        <p:txBody>
          <a:bodyPr vert="horz" lIns="98478" tIns="49238" rIns="98478" bIns="49238" rtlCol="0"/>
          <a:lstStyle>
            <a:lvl1pPr algn="l" eaLnBrk="1">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850445" y="1"/>
            <a:ext cx="2945659" cy="496332"/>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GB" smtClean="0"/>
              <a:pPr/>
              <a:t>03/10/2022</a:t>
            </a:fld>
            <a:endParaRPr lang="en-GB" dirty="0"/>
          </a:p>
        </p:txBody>
      </p:sp>
      <p:sp>
        <p:nvSpPr>
          <p:cNvPr id="4" name="Slide Image Placeholder 3"/>
          <p:cNvSpPr>
            <a:spLocks noGrp="1" noRot="1" noChangeAspect="1"/>
          </p:cNvSpPr>
          <p:nvPr>
            <p:ph type="sldImg" idx="2"/>
          </p:nvPr>
        </p:nvSpPr>
        <p:spPr>
          <a:xfrm>
            <a:off x="92075" y="744538"/>
            <a:ext cx="6613525" cy="3721100"/>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8478" tIns="49238" rIns="98478" bIns="49238"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428585"/>
            <a:ext cx="2945659" cy="496332"/>
          </a:xfrm>
          <a:prstGeom prst="rect">
            <a:avLst/>
          </a:prstGeom>
        </p:spPr>
        <p:txBody>
          <a:bodyPr vert="horz" lIns="98478" tIns="49238" rIns="98478" bIns="49238" rtlCol="0" anchor="b"/>
          <a:lstStyle>
            <a:lvl1pPr algn="l" eaLnBrk="1">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50445" y="9428585"/>
            <a:ext cx="2945659" cy="496332"/>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GB" smtClean="0"/>
              <a:pPr/>
              <a:t>‹N°›</a:t>
            </a:fld>
            <a:endParaRPr lang="en-GB"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a:t>
            </a:fld>
            <a:endParaRPr lang="en-GB" dirty="0"/>
          </a:p>
        </p:txBody>
      </p:sp>
    </p:spTree>
    <p:extLst>
      <p:ext uri="{BB962C8B-B14F-4D97-AF65-F5344CB8AC3E}">
        <p14:creationId xmlns:p14="http://schemas.microsoft.com/office/powerpoint/2010/main" val="395475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7</a:t>
            </a:fld>
            <a:endParaRPr lang="en-GB" dirty="0"/>
          </a:p>
        </p:txBody>
      </p:sp>
    </p:spTree>
    <p:extLst>
      <p:ext uri="{BB962C8B-B14F-4D97-AF65-F5344CB8AC3E}">
        <p14:creationId xmlns:p14="http://schemas.microsoft.com/office/powerpoint/2010/main" val="15095983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8</a:t>
            </a:fld>
            <a:endParaRPr lang="en-GB" dirty="0"/>
          </a:p>
        </p:txBody>
      </p:sp>
    </p:spTree>
    <p:extLst>
      <p:ext uri="{BB962C8B-B14F-4D97-AF65-F5344CB8AC3E}">
        <p14:creationId xmlns:p14="http://schemas.microsoft.com/office/powerpoint/2010/main" val="24210296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GB" baseline="0" dirty="0"/>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1" dirty="0"/>
              <a:t>Goal</a:t>
            </a:r>
            <a:r>
              <a:rPr lang="en-GB" sz="1600" dirty="0"/>
              <a:t>: Get a deeper understanding of the consumer beyond the area of stationary fitness clubs (i.e. digital, outdoor, at-home).</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1" dirty="0"/>
              <a:t>Participants</a:t>
            </a:r>
            <a:r>
              <a:rPr lang="en-GB" sz="1600" dirty="0"/>
              <a:t>: Representative in terms of age, gender and urbanization in the respective countries; but not adequate for building a European average</a:t>
            </a:r>
            <a:endParaRPr lang="en-GB" dirty="0"/>
          </a:p>
          <a:p>
            <a:pPr marL="285750" indent="-285750">
              <a:buFont typeface="Arial" panose="020B0604020202020204" pitchFamily="34" charset="0"/>
              <a:buChar char="•"/>
            </a:pPr>
            <a:r>
              <a:rPr lang="en-GB" b="1" dirty="0"/>
              <a:t>Countries</a:t>
            </a:r>
            <a:r>
              <a:rPr lang="en-GB" b="0" dirty="0"/>
              <a:t>: Including major markets DE, UK, ES, FR, IT</a:t>
            </a:r>
          </a:p>
          <a:p>
            <a:pPr marL="285750" indent="-285750">
              <a:buFont typeface="Arial" panose="020B0604020202020204" pitchFamily="34" charset="0"/>
              <a:buChar char="•"/>
            </a:pPr>
            <a:r>
              <a:rPr lang="en-GB" b="1" dirty="0"/>
              <a:t>Time</a:t>
            </a:r>
            <a:r>
              <a:rPr lang="en-GB" b="0" dirty="0"/>
              <a:t>: January 2022, has to be interpreted as a snapshot (COVID-19 restrictions; winter, etc.)</a:t>
            </a:r>
          </a:p>
          <a:p>
            <a:pPr marL="285750" indent="-285750">
              <a:buFont typeface="Arial" panose="020B0604020202020204" pitchFamily="34" charset="0"/>
              <a:buChar char="•"/>
            </a:pPr>
            <a:r>
              <a:rPr lang="en-GB" b="1" dirty="0"/>
              <a:t>Sponsors</a:t>
            </a:r>
            <a:r>
              <a:rPr lang="en-GB" b="0" dirty="0"/>
              <a:t>: </a:t>
            </a:r>
            <a:r>
              <a:rPr lang="de-DE" b="0" i="0" dirty="0">
                <a:solidFill>
                  <a:schemeClr val="tx1"/>
                </a:solidFill>
              </a:rPr>
              <a:t>2021 </a:t>
            </a:r>
            <a:r>
              <a:rPr lang="de-DE" b="0" i="0" dirty="0" err="1">
                <a:solidFill>
                  <a:schemeClr val="tx1"/>
                </a:solidFill>
              </a:rPr>
              <a:t>President‘s</a:t>
            </a:r>
            <a:r>
              <a:rPr lang="de-DE" b="0" i="0" dirty="0">
                <a:solidFill>
                  <a:schemeClr val="tx1"/>
                </a:solidFill>
              </a:rPr>
              <a:t> Council </a:t>
            </a:r>
            <a:r>
              <a:rPr lang="de-DE" b="0" i="0" dirty="0" err="1">
                <a:solidFill>
                  <a:schemeClr val="tx1"/>
                </a:solidFill>
              </a:rPr>
              <a:t>for</a:t>
            </a:r>
            <a:r>
              <a:rPr lang="de-DE" b="0" i="0" dirty="0">
                <a:solidFill>
                  <a:schemeClr val="tx1"/>
                </a:solidFill>
              </a:rPr>
              <a:t> Operators (</a:t>
            </a:r>
            <a:r>
              <a:rPr lang="de-DE" b="0" i="0" dirty="0" err="1">
                <a:solidFill>
                  <a:schemeClr val="tx1"/>
                </a:solidFill>
              </a:rPr>
              <a:t>provided</a:t>
            </a:r>
            <a:r>
              <a:rPr lang="de-DE" b="0" i="0" dirty="0">
                <a:solidFill>
                  <a:schemeClr val="tx1"/>
                </a:solidFill>
              </a:rPr>
              <a:t> </a:t>
            </a:r>
            <a:r>
              <a:rPr lang="de-DE" b="0" i="0" dirty="0" err="1">
                <a:solidFill>
                  <a:schemeClr val="tx1"/>
                </a:solidFill>
              </a:rPr>
              <a:t>the</a:t>
            </a:r>
            <a:r>
              <a:rPr lang="de-DE" b="0" i="0" dirty="0">
                <a:solidFill>
                  <a:schemeClr val="tx1"/>
                </a:solidFill>
              </a:rPr>
              <a:t> </a:t>
            </a:r>
            <a:r>
              <a:rPr lang="de-DE" b="0" i="0" dirty="0" err="1">
                <a:solidFill>
                  <a:schemeClr val="tx1"/>
                </a:solidFill>
              </a:rPr>
              <a:t>funding</a:t>
            </a:r>
            <a:r>
              <a:rPr lang="de-DE" b="0" i="0" dirty="0">
                <a:solidFill>
                  <a:schemeClr val="tx1"/>
                </a:solidFill>
              </a:rPr>
              <a:t>)</a:t>
            </a:r>
            <a:endParaRPr lang="en-GB" b="0" i="0"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444148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GB" b="1" baseline="0" dirty="0"/>
              <a:t>Context</a:t>
            </a:r>
          </a:p>
          <a:p>
            <a:pPr marL="895335" lvl="1" indent="-285750">
              <a:buFont typeface="Arial" panose="020B0604020202020204" pitchFamily="34" charset="0"/>
              <a:buChar char="•"/>
            </a:pPr>
            <a:r>
              <a:rPr lang="en-GB" b="0" baseline="0" dirty="0"/>
              <a:t>Share of consumers who exercise at least once a week (Share of total sample)</a:t>
            </a:r>
          </a:p>
          <a:p>
            <a:pPr marL="895335" lvl="1" indent="-285750">
              <a:buFont typeface="Arial" panose="020B0604020202020204" pitchFamily="34" charset="0"/>
              <a:buChar char="•"/>
            </a:pPr>
            <a:endParaRPr lang="en-GB" b="0" baseline="0" dirty="0"/>
          </a:p>
          <a:p>
            <a:pPr marL="285750" indent="-285750">
              <a:buFont typeface="Arial" panose="020B0604020202020204" pitchFamily="34" charset="0"/>
              <a:buChar char="•"/>
            </a:pPr>
            <a:r>
              <a:rPr lang="en-GB" b="1" baseline="0" dirty="0"/>
              <a:t>Boxes (</a:t>
            </a:r>
            <a:r>
              <a:rPr lang="en-GB" b="1" baseline="0" dirty="0" err="1"/>
              <a:t>bei</a:t>
            </a:r>
            <a:r>
              <a:rPr lang="en-GB" b="1" baseline="0" dirty="0"/>
              <a:t> Klick):</a:t>
            </a:r>
          </a:p>
          <a:p>
            <a:pPr marL="952485" lvl="1" indent="-342900">
              <a:buFont typeface="Arial" panose="020B0604020202020204" pitchFamily="34" charset="0"/>
              <a:buAutoNum type="arabicPeriod"/>
            </a:pPr>
            <a:r>
              <a:rPr lang="en-GB" b="0" baseline="0" dirty="0"/>
              <a:t>Nordic countries with high fitness rates (except DK)</a:t>
            </a:r>
          </a:p>
          <a:p>
            <a:pPr marL="952485" lvl="1" indent="-342900">
              <a:buFont typeface="Arial" panose="020B0604020202020204" pitchFamily="34" charset="0"/>
              <a:buAutoNum type="arabicPeriod"/>
            </a:pPr>
            <a:r>
              <a:rPr lang="en-GB" b="0" baseline="0" dirty="0"/>
              <a:t>UK high rates after restrictions were lifted</a:t>
            </a:r>
          </a:p>
          <a:p>
            <a:pPr marL="952485" lvl="1" indent="-342900">
              <a:buFont typeface="Arial" panose="020B0604020202020204" pitchFamily="34" charset="0"/>
              <a:buAutoNum type="arabicPeriod"/>
            </a:pPr>
            <a:r>
              <a:rPr lang="en-GB" b="0" baseline="0" dirty="0"/>
              <a:t>High vaccination rates ES, PT</a:t>
            </a:r>
          </a:p>
          <a:p>
            <a:pPr marL="952485" lvl="1" indent="-342900">
              <a:buFont typeface="Arial" panose="020B0604020202020204" pitchFamily="34" charset="0"/>
              <a:buAutoNum type="arabicPeriod"/>
            </a:pPr>
            <a:r>
              <a:rPr lang="en-GB" b="0" baseline="0" dirty="0"/>
              <a:t>NL: clubs completely closed in Dec. 2021%</a:t>
            </a:r>
          </a:p>
          <a:p>
            <a:pPr marL="895335" lvl="1" indent="-285750">
              <a:buFont typeface="Arial" panose="020B0604020202020204" pitchFamily="34" charset="0"/>
              <a:buChar char="•"/>
            </a:pPr>
            <a:endParaRPr lang="en-GB" b="1" baseline="0"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557667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normAutofit fontScale="85000" lnSpcReduction="20000"/>
          </a:bodyPr>
          <a:lstStyle/>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800" b="1" i="0" u="none" strike="noStrike" baseline="0" dirty="0" err="1">
                <a:latin typeface="OpenSans-Light"/>
              </a:rPr>
              <a:t>Context</a:t>
            </a:r>
            <a:r>
              <a:rPr lang="de-DE" sz="1800" b="1" i="0" u="none" strike="noStrike" baseline="0" dirty="0">
                <a:latin typeface="OpenSans-Light"/>
              </a:rPr>
              <a:t>:</a:t>
            </a:r>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800" b="0" i="0" u="none" strike="noStrike" baseline="0" dirty="0">
                <a:latin typeface="OpenSans-Light"/>
              </a:rPr>
              <a:t>Share </a:t>
            </a:r>
            <a:r>
              <a:rPr lang="de-DE" sz="1800" b="0" i="0" u="none" strike="noStrike" baseline="0" dirty="0" err="1">
                <a:latin typeface="OpenSans-Light"/>
              </a:rPr>
              <a:t>of</a:t>
            </a:r>
            <a:r>
              <a:rPr lang="de-DE" sz="1800" b="0" i="0" u="none" strike="noStrike" baseline="0" dirty="0">
                <a:latin typeface="OpenSans-Light"/>
              </a:rPr>
              <a:t> </a:t>
            </a:r>
            <a:r>
              <a:rPr lang="de-DE" sz="1800" b="0" i="0" u="none" strike="noStrike" baseline="0" dirty="0" err="1">
                <a:latin typeface="OpenSans-Light"/>
              </a:rPr>
              <a:t>regularly</a:t>
            </a:r>
            <a:r>
              <a:rPr lang="de-DE" sz="1800" b="0" i="0" u="none" strike="noStrike" baseline="0" dirty="0">
                <a:latin typeface="OpenSans-Light"/>
              </a:rPr>
              <a:t> </a:t>
            </a:r>
            <a:r>
              <a:rPr lang="de-DE" sz="1800" b="0" i="0" u="none" strike="noStrike" baseline="0" dirty="0" err="1">
                <a:latin typeface="OpenSans-Light"/>
              </a:rPr>
              <a:t>active</a:t>
            </a:r>
            <a:r>
              <a:rPr lang="de-DE" sz="1800" b="0" i="0" u="none" strike="noStrike" baseline="0" dirty="0">
                <a:latin typeface="OpenSans-Light"/>
              </a:rPr>
              <a:t> </a:t>
            </a:r>
            <a:r>
              <a:rPr lang="de-DE" sz="1800" b="0" i="0" u="none" strike="noStrike" baseline="0" dirty="0" err="1">
                <a:latin typeface="OpenSans-Light"/>
              </a:rPr>
              <a:t>fitness</a:t>
            </a:r>
            <a:r>
              <a:rPr lang="de-DE" sz="1800" b="0" i="0" u="none" strike="noStrike" baseline="0" dirty="0">
                <a:latin typeface="OpenSans-Light"/>
              </a:rPr>
              <a:t> </a:t>
            </a:r>
            <a:r>
              <a:rPr lang="de-DE" sz="1800" b="0" i="0" u="none" strike="noStrike" baseline="0" dirty="0" err="1">
                <a:latin typeface="OpenSans-Light"/>
              </a:rPr>
              <a:t>practitioners</a:t>
            </a:r>
            <a:r>
              <a:rPr lang="de-DE" sz="1800" b="0" i="0" u="none" strike="noStrike" baseline="0" dirty="0">
                <a:latin typeface="OpenSans-Light"/>
              </a:rPr>
              <a:t> </a:t>
            </a:r>
            <a:r>
              <a:rPr lang="de-DE" sz="1800" b="0" i="0" u="none" strike="noStrike" baseline="0" dirty="0" err="1">
                <a:latin typeface="OpenSans-Light"/>
              </a:rPr>
              <a:t>who</a:t>
            </a:r>
            <a:r>
              <a:rPr lang="de-DE" sz="1800" b="0" i="0" u="none" strike="noStrike" baseline="0" dirty="0">
                <a:latin typeface="OpenSans-Light"/>
              </a:rPr>
              <a:t> </a:t>
            </a:r>
            <a:r>
              <a:rPr lang="de-DE" sz="1800" b="0" i="0" u="none" strike="noStrike" baseline="0" dirty="0" err="1">
                <a:latin typeface="OpenSans-Light"/>
              </a:rPr>
              <a:t>exercise</a:t>
            </a:r>
            <a:r>
              <a:rPr lang="de-DE" sz="1800" b="0" i="0" u="none" strike="noStrike" baseline="0" dirty="0">
                <a:latin typeface="OpenSans-Light"/>
              </a:rPr>
              <a:t> in </a:t>
            </a:r>
            <a:r>
              <a:rPr lang="de-DE" sz="1800" b="0" i="0" u="none" strike="noStrike" baseline="0" dirty="0" err="1">
                <a:latin typeface="OpenSans-Light"/>
              </a:rPr>
              <a:t>the</a:t>
            </a:r>
            <a:r>
              <a:rPr lang="de-DE" sz="1800" b="0" i="0" u="none" strike="noStrike" baseline="0" dirty="0">
                <a:latin typeface="OpenSans-Light"/>
              </a:rPr>
              <a:t> </a:t>
            </a:r>
            <a:r>
              <a:rPr lang="de-DE" sz="1800" b="0" i="0" u="none" strike="noStrike" baseline="0" dirty="0" err="1">
                <a:latin typeface="OpenSans-Light"/>
              </a:rPr>
              <a:t>respective</a:t>
            </a:r>
            <a:r>
              <a:rPr lang="de-DE" sz="1800" b="0" i="0" u="none" strike="noStrike" baseline="0" dirty="0">
                <a:latin typeface="OpenSans-Light"/>
              </a:rPr>
              <a:t> </a:t>
            </a:r>
            <a:r>
              <a:rPr lang="de-DE" sz="1800" b="0" i="0" u="none" strike="noStrike" baseline="0" dirty="0" err="1">
                <a:latin typeface="OpenSans-Light"/>
              </a:rPr>
              <a:t>setting</a:t>
            </a:r>
            <a:endParaRPr lang="de-DE" sz="1800" b="0" i="0" u="none" strike="noStrike" baseline="0" dirty="0">
              <a:latin typeface="OpenSans-Light"/>
            </a:endParaRPr>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800" b="0" i="0" u="none" strike="noStrike" baseline="0" dirty="0">
                <a:latin typeface="OpenSans-Light"/>
              </a:rPr>
              <a:t>Numbers </a:t>
            </a:r>
            <a:r>
              <a:rPr lang="de-DE" sz="1800" b="0" i="0" u="none" strike="noStrike" baseline="0" dirty="0" err="1">
                <a:latin typeface="OpenSans-Light"/>
              </a:rPr>
              <a:t>refer</a:t>
            </a:r>
            <a:r>
              <a:rPr lang="de-DE" sz="1800" b="0" i="0" u="none" strike="noStrike" baseline="0" dirty="0">
                <a:latin typeface="OpenSans-Light"/>
              </a:rPr>
              <a:t> </a:t>
            </a:r>
            <a:r>
              <a:rPr lang="de-DE" sz="1800" b="0" i="0" u="none" strike="noStrike" baseline="0" dirty="0" err="1">
                <a:latin typeface="OpenSans-Light"/>
              </a:rPr>
              <a:t>to</a:t>
            </a:r>
            <a:r>
              <a:rPr lang="de-DE" sz="1800" b="0" i="0" u="none" strike="noStrike" baseline="0" dirty="0">
                <a:latin typeface="OpenSans-Light"/>
              </a:rPr>
              <a:t> </a:t>
            </a:r>
            <a:r>
              <a:rPr lang="de-DE" sz="1800" b="0" i="0" u="none" strike="noStrike" baseline="0" dirty="0" err="1">
                <a:latin typeface="OpenSans-Light"/>
              </a:rPr>
              <a:t>the</a:t>
            </a:r>
            <a:r>
              <a:rPr lang="de-DE" sz="1800" b="0" i="0" u="none" strike="noStrike" baseline="0" dirty="0">
                <a:latin typeface="OpenSans-Light"/>
              </a:rPr>
              <a:t> </a:t>
            </a:r>
            <a:r>
              <a:rPr lang="de-DE" sz="1800" b="0" i="0" u="none" strike="noStrike" baseline="0" dirty="0" err="1">
                <a:latin typeface="OpenSans-Light"/>
              </a:rPr>
              <a:t>regularly</a:t>
            </a:r>
            <a:r>
              <a:rPr lang="de-DE" sz="1800" b="0" i="0" u="none" strike="noStrike" baseline="0" dirty="0">
                <a:latin typeface="OpenSans-Light"/>
              </a:rPr>
              <a:t> </a:t>
            </a:r>
            <a:r>
              <a:rPr lang="de-DE" sz="1800" b="0" i="0" u="none" strike="noStrike" baseline="0" dirty="0" err="1">
                <a:latin typeface="OpenSans-Light"/>
              </a:rPr>
              <a:t>active</a:t>
            </a:r>
            <a:r>
              <a:rPr lang="de-DE" sz="1800" b="0" i="0" u="none" strike="noStrike" baseline="0" dirty="0">
                <a:latin typeface="OpenSans-Light"/>
              </a:rPr>
              <a:t> </a:t>
            </a:r>
            <a:r>
              <a:rPr lang="de-DE" sz="1800" b="0" i="0" u="none" strike="noStrike" baseline="0" dirty="0" err="1">
                <a:latin typeface="OpenSans-Light"/>
              </a:rPr>
              <a:t>fitness</a:t>
            </a:r>
            <a:r>
              <a:rPr lang="de-DE" sz="1800" b="0" i="0" u="none" strike="noStrike" baseline="0" dirty="0">
                <a:latin typeface="OpenSans-Light"/>
              </a:rPr>
              <a:t> </a:t>
            </a:r>
            <a:r>
              <a:rPr lang="de-DE" sz="1800" b="0" i="0" u="none" strike="noStrike" baseline="0" dirty="0" err="1">
                <a:latin typeface="OpenSans-Light"/>
              </a:rPr>
              <a:t>practitioners</a:t>
            </a:r>
            <a:r>
              <a:rPr lang="de-DE" sz="1800" b="0" i="0" u="none" strike="noStrike" baseline="0" dirty="0">
                <a:latin typeface="OpenSans-Light"/>
              </a:rPr>
              <a:t> (not </a:t>
            </a:r>
            <a:r>
              <a:rPr lang="de-DE" sz="1800" b="0" i="0" u="none" strike="noStrike" baseline="0" dirty="0" err="1">
                <a:latin typeface="OpenSans-Light"/>
              </a:rPr>
              <a:t>the</a:t>
            </a:r>
            <a:r>
              <a:rPr lang="de-DE" sz="1800" b="0" i="0" u="none" strike="noStrike" baseline="0" dirty="0">
                <a:latin typeface="OpenSans-Light"/>
              </a:rPr>
              <a:t> </a:t>
            </a:r>
            <a:r>
              <a:rPr lang="de-DE" sz="1800" b="0" i="0" u="none" strike="noStrike" baseline="0" dirty="0" err="1">
                <a:latin typeface="OpenSans-Light"/>
              </a:rPr>
              <a:t>whole</a:t>
            </a:r>
            <a:r>
              <a:rPr lang="de-DE" sz="1800" b="0" i="0" u="none" strike="noStrike" baseline="0" dirty="0">
                <a:latin typeface="OpenSans-Light"/>
              </a:rPr>
              <a:t> </a:t>
            </a:r>
            <a:r>
              <a:rPr lang="de-DE" sz="1800" b="0" i="0" u="none" strike="noStrike" baseline="0" dirty="0" err="1">
                <a:latin typeface="OpenSans-Light"/>
              </a:rPr>
              <a:t>population</a:t>
            </a:r>
            <a:r>
              <a:rPr lang="de-DE" sz="1800" b="0" i="0" u="none" strike="noStrike" baseline="0" dirty="0">
                <a:latin typeface="OpenSans-Light"/>
              </a:rPr>
              <a:t>)!</a:t>
            </a:r>
          </a:p>
          <a:p>
            <a:pPr marL="609585" marR="0" lvl="1"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1800" b="0" i="0" u="none" strike="noStrike" baseline="0" dirty="0">
              <a:latin typeface="OpenSans-Light"/>
            </a:endParaRP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800" b="1" i="0" u="none" strike="noStrike" baseline="0" dirty="0">
                <a:latin typeface="OpenSans-Light"/>
              </a:rPr>
              <a:t>Animation (jeweils bei Klick): </a:t>
            </a:r>
          </a:p>
          <a:p>
            <a:pPr marL="952485" marR="0" lvl="1" indent="-342900" algn="l" defTabSz="121917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de-DE" sz="1800" b="0" i="0" u="none" strike="noStrike" baseline="0" dirty="0">
                <a:latin typeface="OpenSans-Light"/>
              </a:rPr>
              <a:t>Average </a:t>
            </a:r>
            <a:r>
              <a:rPr lang="de-DE" sz="1800" b="1" i="0" u="none" strike="noStrike" baseline="0" dirty="0">
                <a:latin typeface="OpenSans-Light"/>
              </a:rPr>
              <a:t>(66%) </a:t>
            </a:r>
            <a:r>
              <a:rPr lang="de-DE" sz="1800" b="0" i="0" u="none" strike="noStrike" baseline="0" dirty="0">
                <a:latin typeface="OpenSans-Light"/>
              </a:rPr>
              <a:t>and Top 5 countries </a:t>
            </a:r>
            <a:r>
              <a:rPr lang="de-DE" sz="1800" b="0" i="0" u="none" strike="noStrike" baseline="0" dirty="0" err="1">
                <a:latin typeface="OpenSans-Light"/>
              </a:rPr>
              <a:t>of</a:t>
            </a:r>
            <a:r>
              <a:rPr lang="de-DE" sz="1800" b="0" i="0" u="none" strike="noStrike" baseline="0" dirty="0">
                <a:latin typeface="OpenSans-Light"/>
              </a:rPr>
              <a:t> </a:t>
            </a:r>
            <a:r>
              <a:rPr lang="de-DE" sz="1800" b="1" i="0" u="none" strike="noStrike" baseline="0" dirty="0">
                <a:latin typeface="OpenSans-Light"/>
              </a:rPr>
              <a:t>at </a:t>
            </a:r>
            <a:r>
              <a:rPr lang="de-DE" sz="1800" b="1" i="0" u="none" strike="noStrike" baseline="0" dirty="0" err="1">
                <a:latin typeface="OpenSans-Light"/>
              </a:rPr>
              <a:t>home</a:t>
            </a:r>
            <a:r>
              <a:rPr lang="de-DE" sz="1800" b="1" i="0" u="none" strike="noStrike" baseline="0" dirty="0">
                <a:latin typeface="OpenSans-Light"/>
              </a:rPr>
              <a:t> </a:t>
            </a:r>
            <a:r>
              <a:rPr lang="de-DE" sz="1800" b="1" i="0" u="none" strike="noStrike" baseline="0" dirty="0" err="1">
                <a:latin typeface="OpenSans-Light"/>
              </a:rPr>
              <a:t>fitness</a:t>
            </a:r>
            <a:endParaRPr lang="de-DE" sz="1800" b="1" i="0" u="none" strike="noStrike" baseline="0" dirty="0">
              <a:latin typeface="OpenSans-Light"/>
            </a:endParaRPr>
          </a:p>
          <a:p>
            <a:pPr marL="952485" marR="0" lvl="1" indent="-342900" algn="l" defTabSz="121917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de-DE" sz="1800" b="0" i="0" u="none" strike="noStrike" baseline="0" dirty="0">
                <a:latin typeface="OpenSans-Light"/>
              </a:rPr>
              <a:t>Average </a:t>
            </a:r>
            <a:r>
              <a:rPr lang="de-DE" sz="1800" b="1" i="0" u="none" strike="noStrike" baseline="0" dirty="0">
                <a:latin typeface="OpenSans-Light"/>
              </a:rPr>
              <a:t>(51%) </a:t>
            </a:r>
            <a:r>
              <a:rPr lang="de-DE" sz="1800" b="0" i="0" u="none" strike="noStrike" baseline="0" dirty="0">
                <a:latin typeface="OpenSans-Light"/>
              </a:rPr>
              <a:t>and Top 5 countries </a:t>
            </a:r>
            <a:r>
              <a:rPr lang="de-DE" sz="1800" b="0" i="0" u="none" strike="noStrike" baseline="0" dirty="0" err="1">
                <a:latin typeface="OpenSans-Light"/>
              </a:rPr>
              <a:t>of</a:t>
            </a:r>
            <a:r>
              <a:rPr lang="de-DE" sz="1800" b="0" i="0" u="none" strike="noStrike" baseline="0" dirty="0">
                <a:latin typeface="OpenSans-Light"/>
              </a:rPr>
              <a:t> </a:t>
            </a:r>
            <a:r>
              <a:rPr lang="de-DE" sz="1800" b="1" i="0" u="none" strike="noStrike" baseline="0" dirty="0" err="1">
                <a:latin typeface="OpenSans-Light"/>
              </a:rPr>
              <a:t>outdoor</a:t>
            </a:r>
            <a:r>
              <a:rPr lang="de-DE" sz="1800" b="1" i="0" u="none" strike="noStrike" baseline="0" dirty="0">
                <a:latin typeface="OpenSans-Light"/>
              </a:rPr>
              <a:t> </a:t>
            </a:r>
            <a:r>
              <a:rPr lang="de-DE" sz="1800" b="1" i="0" u="none" strike="noStrike" baseline="0" dirty="0" err="1">
                <a:latin typeface="OpenSans-Light"/>
              </a:rPr>
              <a:t>fitness</a:t>
            </a:r>
            <a:endParaRPr lang="de-DE" sz="1800" b="1" i="0" u="none" strike="noStrike" baseline="0" dirty="0">
              <a:latin typeface="OpenSans-Light"/>
            </a:endParaRPr>
          </a:p>
          <a:p>
            <a:pPr marL="952485" marR="0" lvl="1" indent="-342900" algn="l" defTabSz="121917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de-DE" sz="1800" b="0" i="0" u="none" strike="noStrike" baseline="0" dirty="0">
                <a:latin typeface="OpenSans-Light"/>
              </a:rPr>
              <a:t>Average </a:t>
            </a:r>
            <a:r>
              <a:rPr lang="de-DE" sz="1800" b="1" i="0" u="none" strike="noStrike" baseline="0" dirty="0">
                <a:latin typeface="OpenSans-Light"/>
              </a:rPr>
              <a:t>(33%) </a:t>
            </a:r>
            <a:r>
              <a:rPr lang="de-DE" sz="1800" b="0" i="0" u="none" strike="noStrike" baseline="0" dirty="0">
                <a:latin typeface="OpenSans-Light"/>
              </a:rPr>
              <a:t>and Top 5 countries </a:t>
            </a:r>
            <a:r>
              <a:rPr lang="de-DE" sz="1800" b="0" i="0" u="none" strike="noStrike" baseline="0" dirty="0" err="1">
                <a:latin typeface="OpenSans-Light"/>
              </a:rPr>
              <a:t>of</a:t>
            </a:r>
            <a:r>
              <a:rPr lang="de-DE" sz="1800" b="0" i="0" u="none" strike="noStrike" baseline="0" dirty="0">
                <a:latin typeface="OpenSans-Light"/>
              </a:rPr>
              <a:t> </a:t>
            </a:r>
            <a:r>
              <a:rPr lang="de-DE" sz="1800" b="1" i="0" u="none" strike="noStrike" baseline="0" dirty="0" err="1">
                <a:latin typeface="OpenSans-Light"/>
              </a:rPr>
              <a:t>fitness</a:t>
            </a:r>
            <a:r>
              <a:rPr lang="de-DE" sz="1800" b="1" i="0" u="none" strike="noStrike" baseline="0" dirty="0">
                <a:latin typeface="OpenSans-Light"/>
              </a:rPr>
              <a:t> </a:t>
            </a:r>
            <a:r>
              <a:rPr lang="de-DE" sz="1800" b="1" i="0" u="none" strike="noStrike" baseline="0" dirty="0" err="1">
                <a:latin typeface="OpenSans-Light"/>
              </a:rPr>
              <a:t>club</a:t>
            </a:r>
            <a:r>
              <a:rPr lang="de-DE" sz="1800" b="1" i="0" u="none" strike="noStrike" baseline="0" dirty="0">
                <a:latin typeface="OpenSans-Light"/>
              </a:rPr>
              <a:t> </a:t>
            </a:r>
            <a:r>
              <a:rPr lang="de-DE" sz="1800" b="1" i="0" u="none" strike="noStrike" baseline="0" dirty="0" err="1">
                <a:latin typeface="OpenSans-Light"/>
              </a:rPr>
              <a:t>users</a:t>
            </a:r>
            <a:r>
              <a:rPr lang="de-DE" sz="1800" b="1" i="0" u="none" strike="noStrike" baseline="0" dirty="0">
                <a:latin typeface="OpenSans-Light"/>
              </a:rPr>
              <a:t> </a:t>
            </a:r>
            <a:r>
              <a:rPr lang="de-DE" sz="1800" b="0" i="0" u="none" strike="noStrike" baseline="0" dirty="0">
                <a:latin typeface="OpenSans-Light"/>
              </a:rPr>
              <a:t>(</a:t>
            </a:r>
            <a:r>
              <a:rPr lang="de-DE" sz="1800" b="0" i="0" u="none" strike="noStrike" baseline="0" dirty="0" err="1">
                <a:latin typeface="OpenSans-Light"/>
              </a:rPr>
              <a:t>comprise</a:t>
            </a:r>
            <a:r>
              <a:rPr lang="de-DE" sz="1800" b="0" i="0" u="none" strike="noStrike" baseline="0" dirty="0">
                <a:latin typeface="OpenSans-Light"/>
              </a:rPr>
              <a:t> </a:t>
            </a:r>
            <a:r>
              <a:rPr lang="de-DE" sz="1800" b="0" i="0" u="none" strike="noStrike" baseline="0" dirty="0" err="1">
                <a:latin typeface="OpenSans-Light"/>
              </a:rPr>
              <a:t>club</a:t>
            </a:r>
            <a:r>
              <a:rPr lang="de-DE" sz="1800" b="0" i="0" u="none" strike="noStrike" baseline="0" dirty="0">
                <a:latin typeface="OpenSans-Light"/>
              </a:rPr>
              <a:t> </a:t>
            </a:r>
            <a:r>
              <a:rPr lang="de-DE" sz="1800" b="0" i="0" u="none" strike="noStrike" baseline="0" dirty="0" err="1">
                <a:latin typeface="OpenSans-Light"/>
              </a:rPr>
              <a:t>members</a:t>
            </a:r>
            <a:r>
              <a:rPr lang="de-DE" sz="1800" b="0" i="0" u="none" strike="noStrike" baseline="0" dirty="0">
                <a:latin typeface="OpenSans-Light"/>
              </a:rPr>
              <a:t> + </a:t>
            </a:r>
            <a:r>
              <a:rPr lang="de-DE" sz="1800" b="0" i="0" u="none" strike="noStrike" baseline="0" dirty="0" err="1">
                <a:latin typeface="OpenSans-Light"/>
              </a:rPr>
              <a:t>intermediary</a:t>
            </a:r>
            <a:r>
              <a:rPr lang="de-DE" sz="1800" b="0" i="0" u="none" strike="noStrike" baseline="0" dirty="0">
                <a:latin typeface="OpenSans-Light"/>
              </a:rPr>
              <a:t> </a:t>
            </a:r>
            <a:r>
              <a:rPr lang="de-DE" sz="1800" b="0" i="0" u="none" strike="noStrike" baseline="0" dirty="0" err="1">
                <a:latin typeface="OpenSans-Light"/>
              </a:rPr>
              <a:t>clients</a:t>
            </a:r>
            <a:r>
              <a:rPr lang="de-DE" sz="1800" b="0" i="0" u="none" strike="noStrike" baseline="0" dirty="0">
                <a:latin typeface="OpenSans-Light"/>
              </a:rPr>
              <a:t> </a:t>
            </a:r>
            <a:r>
              <a:rPr lang="de-DE" sz="1800" b="0" i="0" u="none" strike="noStrike" baseline="0" dirty="0" err="1">
                <a:latin typeface="OpenSans-Light"/>
              </a:rPr>
              <a:t>who</a:t>
            </a:r>
            <a:r>
              <a:rPr lang="de-DE" sz="1800" b="0" i="0" u="none" strike="noStrike" baseline="0" dirty="0">
                <a:latin typeface="OpenSans-Light"/>
              </a:rPr>
              <a:t> </a:t>
            </a:r>
            <a:r>
              <a:rPr lang="de-DE" sz="1800" b="0" i="0" u="none" strike="noStrike" baseline="0" dirty="0" err="1">
                <a:latin typeface="OpenSans-Light"/>
              </a:rPr>
              <a:t>use</a:t>
            </a:r>
            <a:r>
              <a:rPr lang="de-DE" sz="1800" b="0" i="0" u="none" strike="noStrike" baseline="0" dirty="0">
                <a:latin typeface="OpenSans-Light"/>
              </a:rPr>
              <a:t> </a:t>
            </a:r>
            <a:r>
              <a:rPr lang="de-DE" sz="1800" b="0" i="0" u="none" strike="noStrike" baseline="0" dirty="0" err="1">
                <a:latin typeface="OpenSans-Light"/>
              </a:rPr>
              <a:t>the</a:t>
            </a:r>
            <a:r>
              <a:rPr lang="de-DE" sz="1800" b="0" i="0" u="none" strike="noStrike" baseline="0" dirty="0">
                <a:latin typeface="OpenSans-Light"/>
              </a:rPr>
              <a:t> </a:t>
            </a:r>
            <a:r>
              <a:rPr lang="de-DE" sz="1800" b="0" i="0" u="none" strike="noStrike" baseline="0" dirty="0" err="1">
                <a:latin typeface="OpenSans-Light"/>
              </a:rPr>
              <a:t>club</a:t>
            </a:r>
            <a:r>
              <a:rPr lang="de-DE" sz="1800" b="0" i="0" u="none" strike="noStrike" baseline="0" dirty="0">
                <a:latin typeface="OpenSans-Light"/>
              </a:rPr>
              <a:t>)</a:t>
            </a:r>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800" b="0" i="0" u="none" strike="noStrike" baseline="0" dirty="0">
              <a:latin typeface="OpenSans-Light"/>
            </a:endParaRPr>
          </a:p>
          <a:p>
            <a:pPr marL="285750" indent="-285750" algn="l">
              <a:buFont typeface="Arial" panose="020B0604020202020204" pitchFamily="34" charset="0"/>
              <a:buChar char="•"/>
            </a:pPr>
            <a:r>
              <a:rPr lang="en-US" sz="1800" b="0" i="0" u="none" strike="noStrike" baseline="0" dirty="0">
                <a:latin typeface="OpenSans-Light"/>
                <a:sym typeface="Wingdings" panose="05000000000000000000" pitchFamily="2" charset="2"/>
              </a:rPr>
              <a:t>T</a:t>
            </a:r>
            <a:r>
              <a:rPr lang="en-US" sz="1800" b="0" i="0" u="none" strike="noStrike" baseline="0" dirty="0">
                <a:latin typeface="OpenSans-Light"/>
              </a:rPr>
              <a:t>he popularity of the individual </a:t>
            </a:r>
            <a:r>
              <a:rPr lang="de-DE" sz="1800" b="0" i="0" u="none" strike="noStrike" baseline="0" dirty="0" err="1">
                <a:latin typeface="OpenSans-Light"/>
              </a:rPr>
              <a:t>training</a:t>
            </a:r>
            <a:r>
              <a:rPr lang="de-DE" sz="1800" b="0" i="0" u="none" strike="noStrike" baseline="0" dirty="0">
                <a:latin typeface="OpenSans-Light"/>
              </a:rPr>
              <a:t> </a:t>
            </a:r>
            <a:r>
              <a:rPr lang="de-DE" sz="1800" b="0" i="0" u="none" strike="noStrike" baseline="0" dirty="0" err="1">
                <a:latin typeface="OpenSans-Light"/>
              </a:rPr>
              <a:t>environments</a:t>
            </a:r>
            <a:r>
              <a:rPr lang="de-DE" sz="1800" b="0" i="0" u="none" strike="noStrike" baseline="0" dirty="0">
                <a:latin typeface="OpenSans-Light"/>
              </a:rPr>
              <a:t> </a:t>
            </a:r>
            <a:r>
              <a:rPr lang="de-DE" sz="1800" b="0" i="0" u="none" strike="noStrike" baseline="0" dirty="0" err="1">
                <a:latin typeface="OpenSans-Light"/>
              </a:rPr>
              <a:t>varies</a:t>
            </a:r>
            <a:r>
              <a:rPr lang="de-DE" sz="1800" b="0" i="0" u="none" strike="noStrike" baseline="0" dirty="0">
                <a:latin typeface="OpenSans-Light"/>
              </a:rPr>
              <a:t> </a:t>
            </a:r>
            <a:r>
              <a:rPr lang="de-DE" sz="1800" b="0" i="0" u="none" strike="noStrike" baseline="0" dirty="0" err="1">
                <a:latin typeface="OpenSans-Light"/>
              </a:rPr>
              <a:t>widely</a:t>
            </a:r>
            <a:r>
              <a:rPr lang="de-DE" sz="1800" b="0" i="0" u="none" strike="noStrike" baseline="0" dirty="0">
                <a:latin typeface="OpenSans-Light"/>
              </a:rPr>
              <a:t> </a:t>
            </a:r>
            <a:r>
              <a:rPr lang="en-US" sz="1800" b="0" i="0" u="none" strike="noStrike" baseline="0" dirty="0">
                <a:latin typeface="OpenSans-Light"/>
              </a:rPr>
              <a:t>between countries and may also depend on current regulations and restrictions, so that clear regional differences become </a:t>
            </a:r>
            <a:r>
              <a:rPr lang="de-DE" sz="1800" b="0" i="0" u="none" strike="noStrike" baseline="0" dirty="0">
                <a:latin typeface="OpenSans-Light"/>
              </a:rPr>
              <a:t>evident.</a:t>
            </a:r>
            <a:br>
              <a:rPr lang="de-DE" sz="1800" b="0" i="0" u="none" strike="noStrike" baseline="0" dirty="0">
                <a:latin typeface="OpenSans-Light"/>
              </a:rPr>
            </a:br>
            <a:endParaRPr lang="de-DE" sz="1800" b="0" i="0" u="none" strike="noStrike" baseline="0" dirty="0">
              <a:latin typeface="OpenSans-Light"/>
            </a:endParaRPr>
          </a:p>
          <a:p>
            <a:pPr marL="285750" indent="-285750" algn="l">
              <a:buFont typeface="Wingdings" panose="05000000000000000000" pitchFamily="2" charset="2"/>
              <a:buChar char="à"/>
            </a:pPr>
            <a:r>
              <a:rPr lang="de-DE" sz="1800" b="0" i="0" u="none" strike="noStrike" baseline="0" dirty="0">
                <a:latin typeface="OpenSans-Light"/>
              </a:rPr>
              <a:t>FI: Top 5 in all </a:t>
            </a:r>
            <a:r>
              <a:rPr lang="de-DE" sz="1800" b="0" i="0" u="none" strike="noStrike" baseline="0" dirty="0" err="1">
                <a:latin typeface="OpenSans-Light"/>
              </a:rPr>
              <a:t>categories</a:t>
            </a:r>
            <a:r>
              <a:rPr lang="de-DE" sz="1800" b="0" i="0" u="none" strike="noStrike" baseline="0" dirty="0">
                <a:latin typeface="OpenSans-Light"/>
              </a:rPr>
              <a:t> </a:t>
            </a:r>
          </a:p>
          <a:p>
            <a:pPr marL="285750" indent="-285750" algn="l">
              <a:buFont typeface="Wingdings" panose="05000000000000000000" pitchFamily="2" charset="2"/>
              <a:buChar char="à"/>
            </a:pPr>
            <a:r>
              <a:rPr lang="de-DE" sz="1800" b="0" i="0" u="none" strike="noStrike" baseline="0" dirty="0">
                <a:latin typeface="OpenSans-Light"/>
                <a:sym typeface="Wingdings" panose="05000000000000000000" pitchFamily="2" charset="2"/>
              </a:rPr>
              <a:t>PT, IE: high </a:t>
            </a:r>
            <a:r>
              <a:rPr lang="de-DE" sz="1800" b="0" i="0" u="none" strike="noStrike" baseline="0" dirty="0" err="1">
                <a:latin typeface="OpenSans-Light"/>
                <a:sym typeface="Wingdings" panose="05000000000000000000" pitchFamily="2" charset="2"/>
              </a:rPr>
              <a:t>shares</a:t>
            </a:r>
            <a:r>
              <a:rPr lang="de-DE" sz="1800" b="0" i="0" u="none" strike="noStrike" baseline="0" dirty="0">
                <a:latin typeface="OpenSans-Light"/>
                <a:sym typeface="Wingdings" panose="05000000000000000000" pitchFamily="2" charset="2"/>
              </a:rPr>
              <a:t> </a:t>
            </a:r>
            <a:r>
              <a:rPr lang="de-DE" sz="1800" b="0" i="0" u="none" strike="noStrike" baseline="0" dirty="0" err="1">
                <a:latin typeface="OpenSans-Light"/>
                <a:sym typeface="Wingdings" panose="05000000000000000000" pitchFamily="2" charset="2"/>
              </a:rPr>
              <a:t>of</a:t>
            </a:r>
            <a:r>
              <a:rPr lang="de-DE" sz="1800" b="0" i="0" u="none" strike="noStrike" baseline="0" dirty="0">
                <a:latin typeface="OpenSans-Light"/>
                <a:sym typeface="Wingdings" panose="05000000000000000000" pitchFamily="2" charset="2"/>
              </a:rPr>
              <a:t> </a:t>
            </a:r>
            <a:r>
              <a:rPr lang="de-DE" sz="1800" b="0" i="0" u="none" strike="noStrike" baseline="0" dirty="0" err="1">
                <a:latin typeface="OpenSans-Light"/>
                <a:sym typeface="Wingdings" panose="05000000000000000000" pitchFamily="2" charset="2"/>
              </a:rPr>
              <a:t>outdoor</a:t>
            </a:r>
            <a:r>
              <a:rPr lang="de-DE" sz="1800" b="0" i="0" u="none" strike="noStrike" baseline="0" dirty="0">
                <a:latin typeface="OpenSans-Light"/>
                <a:sym typeface="Wingdings" panose="05000000000000000000" pitchFamily="2" charset="2"/>
              </a:rPr>
              <a:t> </a:t>
            </a:r>
            <a:r>
              <a:rPr lang="de-DE" sz="1800" b="0" i="0" u="none" strike="noStrike" baseline="0" dirty="0" err="1">
                <a:latin typeface="OpenSans-Light"/>
                <a:sym typeface="Wingdings" panose="05000000000000000000" pitchFamily="2" charset="2"/>
              </a:rPr>
              <a:t>fitness</a:t>
            </a:r>
            <a:r>
              <a:rPr lang="de-DE" sz="1800" b="0" i="0" u="none" strike="noStrike" baseline="0" dirty="0">
                <a:latin typeface="OpenSans-Light"/>
                <a:sym typeface="Wingdings" panose="05000000000000000000" pitchFamily="2" charset="2"/>
              </a:rPr>
              <a:t>, but </a:t>
            </a:r>
            <a:r>
              <a:rPr lang="de-DE" sz="1800" b="0" i="0" u="none" strike="noStrike" baseline="0" dirty="0" err="1">
                <a:latin typeface="OpenSans-Light"/>
                <a:sym typeface="Wingdings" panose="05000000000000000000" pitchFamily="2" charset="2"/>
              </a:rPr>
              <a:t>relatively</a:t>
            </a:r>
            <a:r>
              <a:rPr lang="de-DE" sz="1800" b="0" i="0" u="none" strike="noStrike" baseline="0" dirty="0">
                <a:latin typeface="OpenSans-Light"/>
                <a:sym typeface="Wingdings" panose="05000000000000000000" pitchFamily="2" charset="2"/>
              </a:rPr>
              <a:t> </a:t>
            </a:r>
            <a:r>
              <a:rPr lang="de-DE" sz="1800" b="0" i="0" u="none" strike="noStrike" baseline="0" dirty="0" err="1">
                <a:latin typeface="OpenSans-Light"/>
                <a:sym typeface="Wingdings" panose="05000000000000000000" pitchFamily="2" charset="2"/>
              </a:rPr>
              <a:t>low</a:t>
            </a:r>
            <a:r>
              <a:rPr lang="de-DE" sz="1800" b="0" i="0" u="none" strike="noStrike" baseline="0" dirty="0">
                <a:latin typeface="OpenSans-Light"/>
                <a:sym typeface="Wingdings" panose="05000000000000000000" pitchFamily="2" charset="2"/>
              </a:rPr>
              <a:t> </a:t>
            </a:r>
            <a:r>
              <a:rPr lang="de-DE" sz="1800" b="0" i="0" u="none" strike="noStrike" baseline="0" dirty="0" err="1">
                <a:latin typeface="OpenSans-Light"/>
                <a:sym typeface="Wingdings" panose="05000000000000000000" pitchFamily="2" charset="2"/>
              </a:rPr>
              <a:t>shares</a:t>
            </a:r>
            <a:r>
              <a:rPr lang="de-DE" sz="1800" b="0" i="0" u="none" strike="noStrike" baseline="0" dirty="0">
                <a:latin typeface="OpenSans-Light"/>
                <a:sym typeface="Wingdings" panose="05000000000000000000" pitchFamily="2" charset="2"/>
              </a:rPr>
              <a:t> in </a:t>
            </a:r>
            <a:r>
              <a:rPr lang="de-DE" sz="1800" b="0" i="0" u="none" strike="noStrike" baseline="0" dirty="0" err="1">
                <a:latin typeface="OpenSans-Light"/>
                <a:sym typeface="Wingdings" panose="05000000000000000000" pitchFamily="2" charset="2"/>
              </a:rPr>
              <a:t>other</a:t>
            </a:r>
            <a:r>
              <a:rPr lang="de-DE" sz="1800" b="0" i="0" u="none" strike="noStrike" baseline="0" dirty="0">
                <a:latin typeface="OpenSans-Light"/>
                <a:sym typeface="Wingdings" panose="05000000000000000000" pitchFamily="2" charset="2"/>
              </a:rPr>
              <a:t> </a:t>
            </a:r>
            <a:r>
              <a:rPr lang="de-DE" sz="1800" b="0" i="0" u="none" strike="noStrike" baseline="0" dirty="0" err="1">
                <a:latin typeface="OpenSans-Light"/>
                <a:sym typeface="Wingdings" panose="05000000000000000000" pitchFamily="2" charset="2"/>
              </a:rPr>
              <a:t>categories</a:t>
            </a:r>
            <a:endParaRPr lang="de-DE" sz="1800" b="0" i="0" u="none" strike="noStrike" baseline="0" dirty="0">
              <a:latin typeface="OpenSans-Light"/>
              <a:sym typeface="Wingdings" panose="05000000000000000000" pitchFamily="2" charset="2"/>
            </a:endParaRPr>
          </a:p>
          <a:p>
            <a:pPr marL="285750" indent="-285750" algn="l">
              <a:buFont typeface="Wingdings" panose="05000000000000000000" pitchFamily="2" charset="2"/>
              <a:buChar char="à"/>
            </a:pPr>
            <a:r>
              <a:rPr lang="de-DE" sz="1800" b="0" i="0" u="none" strike="noStrike" baseline="0" dirty="0">
                <a:latin typeface="OpenSans-Light"/>
                <a:sym typeface="Wingdings" panose="05000000000000000000" pitchFamily="2" charset="2"/>
              </a:rPr>
              <a:t>HU, CZ: Focus on </a:t>
            </a:r>
            <a:r>
              <a:rPr lang="de-DE" sz="1800" b="0" i="0" u="none" strike="noStrike" baseline="0" dirty="0" err="1">
                <a:latin typeface="OpenSans-Light"/>
                <a:sym typeface="Wingdings" panose="05000000000000000000" pitchFamily="2" charset="2"/>
              </a:rPr>
              <a:t>home</a:t>
            </a:r>
            <a:r>
              <a:rPr lang="de-DE" sz="1800" b="0" i="0" u="none" strike="noStrike" baseline="0" dirty="0">
                <a:latin typeface="OpenSans-Light"/>
                <a:sym typeface="Wingdings" panose="05000000000000000000" pitchFamily="2" charset="2"/>
              </a:rPr>
              <a:t> </a:t>
            </a:r>
            <a:r>
              <a:rPr lang="de-DE" sz="1800" b="0" i="0" u="none" strike="noStrike" baseline="0" dirty="0" err="1">
                <a:latin typeface="OpenSans-Light"/>
                <a:sym typeface="Wingdings" panose="05000000000000000000" pitchFamily="2" charset="2"/>
              </a:rPr>
              <a:t>fitness</a:t>
            </a:r>
            <a:endParaRPr lang="de-DE" sz="1800" b="0" i="0" u="none" strike="noStrike" baseline="0" dirty="0">
              <a:latin typeface="OpenSans-Light"/>
              <a:sym typeface="Wingdings" panose="05000000000000000000" pitchFamily="2" charset="2"/>
            </a:endParaRPr>
          </a:p>
          <a:p>
            <a:pPr marL="285750" indent="-285750" algn="l">
              <a:buFont typeface="Wingdings" panose="05000000000000000000" pitchFamily="2" charset="2"/>
              <a:buChar char="à"/>
            </a:pPr>
            <a:r>
              <a:rPr lang="de-DE" sz="1800" b="0" i="0" u="none" strike="noStrike" baseline="0" dirty="0">
                <a:latin typeface="OpenSans-Light"/>
                <a:sym typeface="Wingdings" panose="05000000000000000000" pitchFamily="2" charset="2"/>
              </a:rPr>
              <a:t>NL, BE, DE, DK: „</a:t>
            </a:r>
            <a:r>
              <a:rPr lang="de-DE" sz="1800" b="0" i="0" u="none" strike="noStrike" baseline="0" dirty="0" err="1">
                <a:latin typeface="OpenSans-Light"/>
                <a:sym typeface="Wingdings" panose="05000000000000000000" pitchFamily="2" charset="2"/>
              </a:rPr>
              <a:t>typical</a:t>
            </a:r>
            <a:r>
              <a:rPr lang="de-DE" sz="1800" b="0" i="0" u="none" strike="noStrike" baseline="0" dirty="0">
                <a:latin typeface="OpenSans-Light"/>
                <a:sym typeface="Wingdings" panose="05000000000000000000" pitchFamily="2" charset="2"/>
              </a:rPr>
              <a:t> </a:t>
            </a:r>
            <a:r>
              <a:rPr lang="de-DE" sz="1800" b="0" i="0" u="none" strike="noStrike" baseline="0" dirty="0" err="1">
                <a:latin typeface="OpenSans-Light"/>
                <a:sym typeface="Wingdings" panose="05000000000000000000" pitchFamily="2" charset="2"/>
              </a:rPr>
              <a:t>fitness</a:t>
            </a:r>
            <a:r>
              <a:rPr lang="de-DE" sz="1800" b="0" i="0" u="none" strike="noStrike" baseline="0" dirty="0">
                <a:latin typeface="OpenSans-Light"/>
                <a:sym typeface="Wingdings" panose="05000000000000000000" pitchFamily="2" charset="2"/>
              </a:rPr>
              <a:t> </a:t>
            </a:r>
            <a:r>
              <a:rPr lang="de-DE" sz="1800" b="0" i="0" u="none" strike="noStrike" baseline="0" dirty="0" err="1">
                <a:latin typeface="OpenSans-Light"/>
                <a:sym typeface="Wingdings" panose="05000000000000000000" pitchFamily="2" charset="2"/>
              </a:rPr>
              <a:t>club</a:t>
            </a:r>
            <a:r>
              <a:rPr lang="de-DE" sz="1800" b="0" i="0" u="none" strike="noStrike" baseline="0" dirty="0">
                <a:latin typeface="OpenSans-Light"/>
                <a:sym typeface="Wingdings" panose="05000000000000000000" pitchFamily="2" charset="2"/>
              </a:rPr>
              <a:t> countries“</a:t>
            </a:r>
            <a:endParaRPr lang="en-GB" dirty="0"/>
          </a:p>
          <a:p>
            <a:pPr marL="285750" indent="-2857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85331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GB" baseline="0" dirty="0"/>
              <a:t>Countries with highest share of ‘combiners’: </a:t>
            </a:r>
            <a:r>
              <a:rPr lang="en-GB" baseline="0" dirty="0" err="1"/>
              <a:t>Finnland</a:t>
            </a:r>
            <a:r>
              <a:rPr lang="en-GB" baseline="0" dirty="0"/>
              <a:t>, Austria, Germany, Poland, Sweden</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793543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normAutofit fontScale="92500"/>
          </a:bodyPr>
          <a:lstStyle/>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1" dirty="0" err="1"/>
              <a:t>Context</a:t>
            </a:r>
            <a:r>
              <a:rPr lang="de-DE" b="1" dirty="0"/>
              <a:t> :</a:t>
            </a:r>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dirty="0"/>
              <a:t>Numbers </a:t>
            </a:r>
            <a:r>
              <a:rPr lang="de-DE" b="0" dirty="0" err="1"/>
              <a:t>refer</a:t>
            </a:r>
            <a:r>
              <a:rPr lang="de-DE" b="0" dirty="0"/>
              <a:t> </a:t>
            </a:r>
            <a:r>
              <a:rPr lang="de-DE" b="0" dirty="0" err="1"/>
              <a:t>to</a:t>
            </a:r>
            <a:r>
              <a:rPr lang="de-DE" b="0" dirty="0"/>
              <a:t> total sample</a:t>
            </a:r>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dirty="0"/>
              <a:t>Share </a:t>
            </a:r>
            <a:r>
              <a:rPr lang="de-DE" b="0" dirty="0" err="1"/>
              <a:t>of</a:t>
            </a:r>
            <a:r>
              <a:rPr lang="de-DE" b="0" dirty="0"/>
              <a:t> </a:t>
            </a:r>
            <a:r>
              <a:rPr lang="de-DE" b="0" dirty="0" err="1"/>
              <a:t>consumers</a:t>
            </a:r>
            <a:r>
              <a:rPr lang="de-DE" b="0" dirty="0"/>
              <a:t> </a:t>
            </a:r>
            <a:r>
              <a:rPr lang="de-DE" b="0" dirty="0" err="1"/>
              <a:t>that</a:t>
            </a:r>
            <a:r>
              <a:rPr lang="de-DE" b="0" dirty="0"/>
              <a:t> </a:t>
            </a:r>
            <a:r>
              <a:rPr lang="de-DE" b="0" dirty="0" err="1"/>
              <a:t>does</a:t>
            </a:r>
            <a:r>
              <a:rPr lang="de-DE" b="0" dirty="0"/>
              <a:t> </a:t>
            </a:r>
            <a:r>
              <a:rPr lang="de-DE" b="0" dirty="0" err="1"/>
              <a:t>more</a:t>
            </a:r>
            <a:r>
              <a:rPr lang="de-DE" b="0" dirty="0"/>
              <a:t>/</a:t>
            </a:r>
            <a:r>
              <a:rPr lang="de-DE" b="0" dirty="0" err="1"/>
              <a:t>less</a:t>
            </a:r>
            <a:r>
              <a:rPr lang="de-DE" b="0" dirty="0"/>
              <a:t>/</a:t>
            </a:r>
            <a:r>
              <a:rPr lang="de-DE" b="0" dirty="0" err="1"/>
              <a:t>as</a:t>
            </a:r>
            <a:r>
              <a:rPr lang="de-DE" b="0" dirty="0"/>
              <a:t> </a:t>
            </a:r>
            <a:r>
              <a:rPr lang="de-DE" b="0" dirty="0" err="1"/>
              <a:t>much</a:t>
            </a:r>
            <a:r>
              <a:rPr lang="de-DE" b="0" dirty="0"/>
              <a:t> </a:t>
            </a:r>
            <a:r>
              <a:rPr lang="de-DE" b="0" dirty="0" err="1"/>
              <a:t>as</a:t>
            </a:r>
            <a:r>
              <a:rPr lang="de-DE" b="0" dirty="0"/>
              <a:t> </a:t>
            </a:r>
            <a:r>
              <a:rPr lang="de-DE" b="0" dirty="0" err="1"/>
              <a:t>before</a:t>
            </a:r>
            <a:r>
              <a:rPr lang="de-DE" b="0" dirty="0"/>
              <a:t> </a:t>
            </a:r>
            <a:r>
              <a:rPr lang="de-DE" b="0" dirty="0" err="1"/>
              <a:t>the</a:t>
            </a:r>
            <a:r>
              <a:rPr lang="de-DE" b="0" dirty="0"/>
              <a:t> COVID-19 </a:t>
            </a:r>
            <a:r>
              <a:rPr lang="de-DE" b="0" dirty="0" err="1"/>
              <a:t>pandemic</a:t>
            </a:r>
            <a:endParaRPr lang="de-DE" b="0" dirty="0"/>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mj-lt"/>
              </a:rPr>
              <a:t>Percentage point differential between consumers who have increased their activity level compared to consumers who have decreased their activity level</a:t>
            </a:r>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mj-lt"/>
              </a:rPr>
              <a:t>The figures in the chart show the percentage point differential between consumers who intend to increase their activity level compared to consumers who intend to decrease their activity level</a:t>
            </a:r>
          </a:p>
          <a:p>
            <a:pPr marL="609585" marR="0" lvl="1"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dirty="0">
              <a:latin typeface="+mj-lt"/>
            </a:endParaRP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1" dirty="0"/>
              <a:t>Animation (bei Klick):</a:t>
            </a:r>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dirty="0"/>
              <a:t>Top 5, Low 5: </a:t>
            </a:r>
            <a:r>
              <a:rPr lang="de-DE" b="0" dirty="0" err="1"/>
              <a:t>Percentage</a:t>
            </a:r>
            <a:r>
              <a:rPr lang="de-DE" b="0" dirty="0"/>
              <a:t> </a:t>
            </a:r>
            <a:r>
              <a:rPr lang="de-DE" b="0" dirty="0" err="1"/>
              <a:t>points</a:t>
            </a:r>
            <a:r>
              <a:rPr lang="de-DE" b="0" dirty="0"/>
              <a:t> </a:t>
            </a:r>
            <a:r>
              <a:rPr lang="de-DE" b="0" dirty="0" err="1"/>
              <a:t>change</a:t>
            </a:r>
            <a:r>
              <a:rPr lang="de-DE" b="0" dirty="0"/>
              <a:t> </a:t>
            </a:r>
            <a:r>
              <a:rPr lang="de-DE" b="0" dirty="0" err="1"/>
              <a:t>of</a:t>
            </a:r>
            <a:r>
              <a:rPr lang="de-DE" b="0" dirty="0"/>
              <a:t> </a:t>
            </a:r>
            <a:r>
              <a:rPr lang="de-DE" b="1" dirty="0" err="1"/>
              <a:t>current</a:t>
            </a:r>
            <a:r>
              <a:rPr lang="de-DE" b="1" dirty="0"/>
              <a:t> </a:t>
            </a:r>
            <a:r>
              <a:rPr lang="de-DE" b="1" dirty="0" err="1"/>
              <a:t>fitness</a:t>
            </a:r>
            <a:r>
              <a:rPr lang="de-DE" b="1" dirty="0"/>
              <a:t> </a:t>
            </a:r>
            <a:r>
              <a:rPr lang="de-DE" b="1" dirty="0" err="1"/>
              <a:t>frequency</a:t>
            </a:r>
            <a:r>
              <a:rPr lang="de-DE" b="1" dirty="0"/>
              <a:t> </a:t>
            </a:r>
            <a:r>
              <a:rPr lang="de-DE" b="1" dirty="0" err="1"/>
              <a:t>compared</a:t>
            </a:r>
            <a:r>
              <a:rPr lang="de-DE" b="1" dirty="0"/>
              <a:t> </a:t>
            </a:r>
            <a:r>
              <a:rPr lang="de-DE" b="1" dirty="0" err="1"/>
              <a:t>to</a:t>
            </a:r>
            <a:r>
              <a:rPr lang="de-DE" b="1" dirty="0"/>
              <a:t> pre-COVID-19 </a:t>
            </a:r>
            <a:r>
              <a:rPr lang="de-DE" b="1" dirty="0" err="1"/>
              <a:t>level</a:t>
            </a:r>
            <a:r>
              <a:rPr lang="de-DE" b="0" dirty="0"/>
              <a:t>: People </a:t>
            </a:r>
            <a:r>
              <a:rPr lang="de-DE" b="0" dirty="0" err="1"/>
              <a:t>who</a:t>
            </a:r>
            <a:r>
              <a:rPr lang="de-DE" b="0" dirty="0"/>
              <a:t> </a:t>
            </a:r>
            <a:r>
              <a:rPr lang="de-DE" b="0" dirty="0" err="1"/>
              <a:t>have</a:t>
            </a:r>
            <a:r>
              <a:rPr lang="de-DE" b="0" dirty="0"/>
              <a:t> </a:t>
            </a:r>
            <a:r>
              <a:rPr lang="de-DE" b="0" dirty="0" err="1"/>
              <a:t>increased</a:t>
            </a:r>
            <a:r>
              <a:rPr lang="de-DE" b="0" dirty="0"/>
              <a:t> </a:t>
            </a:r>
            <a:r>
              <a:rPr lang="de-DE" b="0" dirty="0" err="1"/>
              <a:t>their</a:t>
            </a:r>
            <a:r>
              <a:rPr lang="de-DE" b="0" dirty="0"/>
              <a:t> </a:t>
            </a:r>
            <a:r>
              <a:rPr lang="de-DE" b="0" dirty="0" err="1"/>
              <a:t>frequency</a:t>
            </a:r>
            <a:r>
              <a:rPr lang="de-DE" b="0" dirty="0"/>
              <a:t> vs. People </a:t>
            </a:r>
            <a:r>
              <a:rPr lang="de-DE" b="0" dirty="0" err="1"/>
              <a:t>who</a:t>
            </a:r>
            <a:r>
              <a:rPr lang="de-DE" b="0" dirty="0"/>
              <a:t> </a:t>
            </a:r>
            <a:r>
              <a:rPr lang="de-DE" b="0" dirty="0" err="1"/>
              <a:t>have</a:t>
            </a:r>
            <a:r>
              <a:rPr lang="de-DE" b="0" dirty="0"/>
              <a:t> </a:t>
            </a:r>
            <a:r>
              <a:rPr lang="de-DE" b="0" dirty="0" err="1"/>
              <a:t>decreased</a:t>
            </a:r>
            <a:r>
              <a:rPr lang="de-DE" b="0" dirty="0"/>
              <a:t> </a:t>
            </a:r>
            <a:r>
              <a:rPr lang="de-DE" b="0" dirty="0" err="1"/>
              <a:t>their</a:t>
            </a:r>
            <a:r>
              <a:rPr lang="de-DE" b="0" dirty="0"/>
              <a:t> </a:t>
            </a:r>
            <a:r>
              <a:rPr lang="de-DE" b="0" dirty="0" err="1"/>
              <a:t>frequency</a:t>
            </a:r>
            <a:endParaRPr lang="de-DE" b="0" dirty="0"/>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0" dirty="0"/>
              <a:t>Top 5, Low 5: </a:t>
            </a:r>
            <a:r>
              <a:rPr lang="de-DE" b="1" dirty="0" err="1"/>
              <a:t>Intended</a:t>
            </a:r>
            <a:r>
              <a:rPr lang="de-DE" b="1" dirty="0"/>
              <a:t> </a:t>
            </a:r>
            <a:r>
              <a:rPr lang="de-DE" b="1" dirty="0" err="1"/>
              <a:t>future</a:t>
            </a:r>
            <a:r>
              <a:rPr lang="de-DE" b="1" dirty="0"/>
              <a:t> </a:t>
            </a:r>
            <a:r>
              <a:rPr lang="de-DE" b="1" dirty="0" err="1"/>
              <a:t>frequency</a:t>
            </a:r>
            <a:r>
              <a:rPr lang="de-DE" b="1" dirty="0"/>
              <a:t> </a:t>
            </a:r>
            <a:r>
              <a:rPr lang="de-DE" b="1" dirty="0" err="1"/>
              <a:t>compared</a:t>
            </a:r>
            <a:r>
              <a:rPr lang="de-DE" b="1" dirty="0"/>
              <a:t> </a:t>
            </a:r>
            <a:r>
              <a:rPr lang="de-DE" b="1" dirty="0" err="1"/>
              <a:t>to</a:t>
            </a:r>
            <a:r>
              <a:rPr lang="de-DE" b="1" dirty="0"/>
              <a:t> pre-COVID-19 </a:t>
            </a:r>
            <a:r>
              <a:rPr lang="de-DE" b="1" dirty="0" err="1"/>
              <a:t>level</a:t>
            </a:r>
            <a:endParaRPr lang="de-DE" b="1" dirty="0"/>
          </a:p>
          <a:p>
            <a:pPr marL="895335" marR="0" lvl="1"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600" dirty="0">
              <a:latin typeface="+mj-lt"/>
            </a:endParaRPr>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072751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GB" baseline="0"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24</a:t>
            </a:fld>
            <a:endParaRPr lang="en-GB" dirty="0"/>
          </a:p>
        </p:txBody>
      </p:sp>
    </p:spTree>
    <p:extLst>
      <p:ext uri="{BB962C8B-B14F-4D97-AF65-F5344CB8AC3E}">
        <p14:creationId xmlns:p14="http://schemas.microsoft.com/office/powerpoint/2010/main" val="35773958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7</a:t>
            </a:fld>
            <a:endParaRPr lang="en-US" dirty="0"/>
          </a:p>
        </p:txBody>
      </p:sp>
    </p:spTree>
    <p:extLst>
      <p:ext uri="{BB962C8B-B14F-4D97-AF65-F5344CB8AC3E}">
        <p14:creationId xmlns:p14="http://schemas.microsoft.com/office/powerpoint/2010/main" val="12870036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normAutofit/>
          </a:bodyPr>
          <a:lstStyle/>
          <a:p>
            <a:endParaRPr lang="en-GB" sz="1600" kern="1200" dirty="0">
              <a:solidFill>
                <a:schemeClr val="tx1"/>
              </a:solidFill>
              <a:effectLst/>
            </a:endParaRPr>
          </a:p>
        </p:txBody>
      </p:sp>
      <p:sp>
        <p:nvSpPr>
          <p:cNvPr id="4" name="Slide Number Placeholder 3"/>
          <p:cNvSpPr>
            <a:spLocks noGrp="1"/>
          </p:cNvSpPr>
          <p:nvPr>
            <p:ph type="sldNum" sz="quarter" idx="10"/>
          </p:nvPr>
        </p:nvSpPr>
        <p:spPr/>
        <p:txBody>
          <a:bodyPr/>
          <a:lstStyle/>
          <a:p>
            <a:fld id="{C0F4A2C8-6C88-4E71-83EE-698B9D4FE22F}" type="slidenum">
              <a:rPr lang="en-GB" smtClean="0"/>
              <a:pPr/>
              <a:t>4</a:t>
            </a:fld>
            <a:endParaRPr lang="en-GB" dirty="0"/>
          </a:p>
        </p:txBody>
      </p:sp>
    </p:spTree>
    <p:extLst>
      <p:ext uri="{BB962C8B-B14F-4D97-AF65-F5344CB8AC3E}">
        <p14:creationId xmlns:p14="http://schemas.microsoft.com/office/powerpoint/2010/main" val="19189756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pPr marL="0" lvl="0" indent="0" defTabSz="914400">
              <a:lnSpc>
                <a:spcPct val="106000"/>
              </a:lnSpc>
              <a:buFont typeface="Arial" panose="020B0604020202020204" pitchFamily="34" charset="0"/>
              <a:buNone/>
              <a:defRPr/>
            </a:pPr>
            <a:endParaRPr kumimoji="0" lang="en-US" sz="1600" i="0" u="none" strike="noStrike" kern="1200" cap="none" spc="0" normalizeH="0" baseline="0" noProof="0" dirty="0">
              <a:ln>
                <a:noFill/>
              </a:ln>
              <a:solidFill>
                <a:schemeClr val="bg1"/>
              </a:solidFill>
              <a:effectLst/>
              <a:uLnTx/>
              <a:uFillTx/>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GB" smtClean="0"/>
              <a:pPr/>
              <a:t>5</a:t>
            </a:fld>
            <a:endParaRPr lang="en-GB" dirty="0"/>
          </a:p>
        </p:txBody>
      </p:sp>
    </p:spTree>
    <p:extLst>
      <p:ext uri="{BB962C8B-B14F-4D97-AF65-F5344CB8AC3E}">
        <p14:creationId xmlns:p14="http://schemas.microsoft.com/office/powerpoint/2010/main" val="32933251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6</a:t>
            </a:fld>
            <a:endParaRPr lang="en-GB" dirty="0"/>
          </a:p>
        </p:txBody>
      </p:sp>
    </p:spTree>
    <p:extLst>
      <p:ext uri="{BB962C8B-B14F-4D97-AF65-F5344CB8AC3E}">
        <p14:creationId xmlns:p14="http://schemas.microsoft.com/office/powerpoint/2010/main" val="1940384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7</a:t>
            </a:fld>
            <a:endParaRPr lang="en-GB" dirty="0"/>
          </a:p>
        </p:txBody>
      </p:sp>
    </p:spTree>
    <p:extLst>
      <p:ext uri="{BB962C8B-B14F-4D97-AF65-F5344CB8AC3E}">
        <p14:creationId xmlns:p14="http://schemas.microsoft.com/office/powerpoint/2010/main" val="42227861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8</a:t>
            </a:fld>
            <a:endParaRPr lang="en-GB" dirty="0"/>
          </a:p>
        </p:txBody>
      </p:sp>
    </p:spTree>
    <p:extLst>
      <p:ext uri="{BB962C8B-B14F-4D97-AF65-F5344CB8AC3E}">
        <p14:creationId xmlns:p14="http://schemas.microsoft.com/office/powerpoint/2010/main" val="13617888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9</a:t>
            </a:fld>
            <a:endParaRPr lang="en-GB" dirty="0"/>
          </a:p>
        </p:txBody>
      </p:sp>
    </p:spTree>
    <p:extLst>
      <p:ext uri="{BB962C8B-B14F-4D97-AF65-F5344CB8AC3E}">
        <p14:creationId xmlns:p14="http://schemas.microsoft.com/office/powerpoint/2010/main" val="13641519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4834" name="Folienbildplatzhalter 1">
            <a:extLst>
              <a:ext uri="{FF2B5EF4-FFF2-40B4-BE49-F238E27FC236}">
                <a16:creationId xmlns:a16="http://schemas.microsoft.com/office/drawing/2014/main" id="{3A187B08-A8F2-491F-B3D1-02D66F6C82C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4835" name="Notizenplatzhalter 2">
            <a:extLst>
              <a:ext uri="{FF2B5EF4-FFF2-40B4-BE49-F238E27FC236}">
                <a16:creationId xmlns:a16="http://schemas.microsoft.com/office/drawing/2014/main" id="{69E32A13-703F-4F00-A221-AACDC20559C3}"/>
              </a:ext>
            </a:extLst>
          </p:cNvPr>
          <p:cNvSpPr>
            <a:spLocks noGrp="1" noChangeArrowheads="1"/>
          </p:cNvSpPr>
          <p:nvPr>
            <p:ph type="body"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nl-NL" altLang="nl-NL" dirty="0"/>
          </a:p>
        </p:txBody>
      </p:sp>
      <p:sp>
        <p:nvSpPr>
          <p:cNvPr id="4" name="Foliennummernplatzhalter 3">
            <a:extLst>
              <a:ext uri="{FF2B5EF4-FFF2-40B4-BE49-F238E27FC236}">
                <a16:creationId xmlns:a16="http://schemas.microsoft.com/office/drawing/2014/main" id="{796BA24D-2E40-44BB-B7DC-9FDEEB1A0386}"/>
              </a:ext>
            </a:extLst>
          </p:cNvPr>
          <p:cNvSpPr txBox="1"/>
          <p:nvPr/>
        </p:nvSpPr>
        <p:spPr>
          <a:xfrm>
            <a:off x="3888210" y="9496664"/>
            <a:ext cx="2974552" cy="499824"/>
          </a:xfrm>
          <a:prstGeom prst="rect">
            <a:avLst/>
          </a:prstGeom>
          <a:noFill/>
          <a:ln>
            <a:noFill/>
          </a:ln>
        </p:spPr>
        <p:txBody>
          <a:bodyPr lIns="96341" tIns="48171" rIns="96341" bIns="48171" anchor="b"/>
          <a:lstStyle/>
          <a:p>
            <a:pPr marL="0" marR="0" lvl="0" indent="0" algn="r" defTabSz="96341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B2C55524-C105-4B00-9CA8-9DCF2B773FBC}" type="slidenum">
              <a:rPr kumimoji="0" lang="de-DE" sz="1300" b="0" i="0" u="none" strike="noStrike" kern="0" cap="none" spc="0" normalizeH="0" baseline="0" noProof="0">
                <a:ln>
                  <a:noFill/>
                </a:ln>
                <a:solidFill>
                  <a:srgbClr val="000000"/>
                </a:solidFill>
                <a:effectLst/>
                <a:uLnTx/>
                <a:uFillTx/>
                <a:latin typeface="Calibri"/>
                <a:ea typeface="+mn-ea"/>
                <a:cs typeface="Arial" panose="020B0604020202020204" pitchFamily="34" charset="0"/>
              </a:rPr>
              <a:pPr marL="0" marR="0" lvl="0" indent="0" algn="r" defTabSz="96341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14</a:t>
            </a:fld>
            <a:endParaRPr kumimoji="0" lang="de-DE" sz="1300" b="0" i="0" u="none" strike="noStrike" kern="0" cap="none" spc="0" normalizeH="0" baseline="0" noProof="0">
              <a:ln>
                <a:noFill/>
              </a:ln>
              <a:solidFill>
                <a:srgbClr val="000000"/>
              </a:solidFill>
              <a:effectLst/>
              <a:uLnTx/>
              <a:uFillTx/>
              <a:latin typeface="Calibri"/>
              <a:ea typeface="+mn-ea"/>
              <a:cs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normAutofit/>
          </a:bodyPr>
          <a:lstStyle/>
          <a:p>
            <a:pPr marL="285750" indent="-285750">
              <a:buFont typeface="Arial" panose="020B0604020202020204" pitchFamily="34" charset="0"/>
              <a:buChar char="•"/>
            </a:pPr>
            <a:endParaRPr lang="en-GB" b="0"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6</a:t>
            </a:fld>
            <a:endParaRPr lang="en-GB" dirty="0"/>
          </a:p>
        </p:txBody>
      </p:sp>
    </p:spTree>
    <p:extLst>
      <p:ext uri="{BB962C8B-B14F-4D97-AF65-F5344CB8AC3E}">
        <p14:creationId xmlns:p14="http://schemas.microsoft.com/office/powerpoint/2010/main" val="31718609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770062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A68C317B-7F2C-4772-8E93-3030B78D2602}"/>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4" name="Rectangle 3"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1800" b="1" i="0" baseline="0" dirty="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p:cNvSpPr>
            <a:spLocks noGrp="1"/>
          </p:cNvSpPr>
          <p:nvPr>
            <p:ph type="ctrTitle" hasCustomPrompt="1"/>
          </p:nvPr>
        </p:nvSpPr>
        <p:spPr bwMode="gray">
          <a:xfrm>
            <a:off x="475200" y="5530390"/>
            <a:ext cx="5592012" cy="324000"/>
          </a:xfrm>
        </p:spPr>
        <p:txBody>
          <a:bodyPr vert="horz"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GB" noProof="0" dirty="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GB" noProof="0" dirty="0"/>
              <a:t>Click icon to add picture</a:t>
            </a:r>
          </a:p>
        </p:txBody>
      </p:sp>
      <p:pic>
        <p:nvPicPr>
          <p:cNvPr id="21" name="Picture 5">
            <a:extLst>
              <a:ext uri="{FF2B5EF4-FFF2-40B4-BE49-F238E27FC236}">
                <a16:creationId xmlns:a16="http://schemas.microsoft.com/office/drawing/2014/main" id="{91B28C5F-C9C8-489A-9641-6DB3508C48B9}"/>
              </a:ext>
            </a:extLst>
          </p:cNvPr>
          <p:cNvPicPr>
            <a:picLocks noChangeAspect="1"/>
          </p:cNvPicPr>
          <p:nvPr userDrawn="1"/>
        </p:nvPicPr>
        <p:blipFill>
          <a:blip r:embed="rId7"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9690218" y="296871"/>
            <a:ext cx="2166502" cy="685602"/>
          </a:xfrm>
          <a:prstGeom prst="rect">
            <a:avLst/>
          </a:prstGeom>
        </p:spPr>
      </p:pic>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84284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GB" noProof="0" dirty="0"/>
              <a:t>Click to edit Master title style</a:t>
            </a:r>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770062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A68C317B-7F2C-4772-8E93-3030B78D2602}"/>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4" name="Rectangle 3"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1800" b="1" i="0" baseline="0" dirty="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p:cNvSpPr>
            <a:spLocks noGrp="1"/>
          </p:cNvSpPr>
          <p:nvPr>
            <p:ph type="ctrTitle" hasCustomPrompt="1"/>
          </p:nvPr>
        </p:nvSpPr>
        <p:spPr bwMode="gray">
          <a:xfrm>
            <a:off x="475200" y="5530390"/>
            <a:ext cx="5592012" cy="324000"/>
          </a:xfrm>
        </p:spPr>
        <p:txBody>
          <a:bodyPr vert="horz"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GB" noProof="0" dirty="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GB" noProof="0" dirty="0"/>
              <a:t>Click icon to add picture</a:t>
            </a:r>
          </a:p>
        </p:txBody>
      </p:sp>
      <p:pic>
        <p:nvPicPr>
          <p:cNvPr id="21" name="Picture 5">
            <a:extLst>
              <a:ext uri="{FF2B5EF4-FFF2-40B4-BE49-F238E27FC236}">
                <a16:creationId xmlns:a16="http://schemas.microsoft.com/office/drawing/2014/main" id="{91B28C5F-C9C8-489A-9641-6DB3508C48B9}"/>
              </a:ext>
            </a:extLst>
          </p:cNvPr>
          <p:cNvPicPr>
            <a:picLocks noChangeAspect="1"/>
          </p:cNvPicPr>
          <p:nvPr userDrawn="1"/>
        </p:nvPicPr>
        <p:blipFill>
          <a:blip r:embed="rId7" cstate="email">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9690218" y="296871"/>
            <a:ext cx="2166502" cy="685602"/>
          </a:xfrm>
          <a:prstGeom prst="rect">
            <a:avLst/>
          </a:prstGeom>
        </p:spPr>
      </p:pic>
    </p:spTree>
    <p:extLst>
      <p:ext uri="{BB962C8B-B14F-4D97-AF65-F5344CB8AC3E}">
        <p14:creationId xmlns:p14="http://schemas.microsoft.com/office/powerpoint/2010/main" val="29086972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1"/>
            </p:custDataLst>
            <p:extLst>
              <p:ext uri="{D42A27DB-BD31-4B8C-83A1-F6EECF244321}">
                <p14:modId xmlns:p14="http://schemas.microsoft.com/office/powerpoint/2010/main" val="2482269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1800" b="1" i="0" baseline="0" dirty="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p:cNvSpPr>
            <a:spLocks noGrp="1"/>
          </p:cNvSpPr>
          <p:nvPr>
            <p:ph type="ctrTitle" hasCustomPrompt="1"/>
          </p:nvPr>
        </p:nvSpPr>
        <p:spPr bwMode="gray">
          <a:xfrm>
            <a:off x="475325" y="5530390"/>
            <a:ext cx="5594349" cy="324000"/>
          </a:xfrm>
        </p:spPr>
        <p:txBody>
          <a:bodyPr vert="horz"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GB" noProof="0" dirty="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Edit Master text styles</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GB" noProof="0" dirty="0"/>
              <a:t>Click icon to add picture</a:t>
            </a:r>
          </a:p>
        </p:txBody>
      </p:sp>
      <p:sp>
        <p:nvSpPr>
          <p:cNvPr id="8" name="Oval 5"/>
          <p:cNvSpPr>
            <a:spLocks noChangeArrowheads="1"/>
          </p:cNvSpPr>
          <p:nvPr userDrawn="1"/>
        </p:nvSpPr>
        <p:spPr bwMode="auto">
          <a:xfrm>
            <a:off x="2360691" y="726016"/>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tx1"/>
              </a:solidFill>
            </a:endParaRPr>
          </a:p>
        </p:txBody>
      </p:sp>
      <p:sp>
        <p:nvSpPr>
          <p:cNvPr id="9" name="Freeform 6"/>
          <p:cNvSpPr>
            <a:spLocks noEditPoints="1"/>
          </p:cNvSpPr>
          <p:nvPr userDrawn="1"/>
        </p:nvSpPr>
        <p:spPr bwMode="auto">
          <a:xfrm>
            <a:off x="469900" y="459691"/>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eaLnBrk="1"/>
            <a:endParaRPr lang="en-GB" sz="2600" dirty="0">
              <a:solidFill>
                <a:schemeClr val="tx1"/>
              </a:solidFill>
            </a:endParaRPr>
          </a:p>
        </p:txBody>
      </p:sp>
      <p:sp>
        <p:nvSpPr>
          <p:cNvPr id="10" name="Rectangle 7"/>
          <p:cNvSpPr>
            <a:spLocks noChangeArrowheads="1"/>
          </p:cNvSpPr>
          <p:nvPr userDrawn="1"/>
        </p:nvSpPr>
        <p:spPr bwMode="auto">
          <a:xfrm>
            <a:off x="1093666" y="457761"/>
            <a:ext cx="91615" cy="36861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eaLnBrk="1"/>
            <a:endParaRPr lang="en-GB" sz="2600" dirty="0">
              <a:solidFill>
                <a:schemeClr val="tx1"/>
              </a:solidFill>
            </a:endParaRPr>
          </a:p>
        </p:txBody>
      </p:sp>
      <p:sp>
        <p:nvSpPr>
          <p:cNvPr id="11" name="Freeform 8"/>
          <p:cNvSpPr>
            <a:spLocks noEditPoints="1"/>
          </p:cNvSpPr>
          <p:nvPr userDrawn="1"/>
        </p:nvSpPr>
        <p:spPr bwMode="auto">
          <a:xfrm>
            <a:off x="1222318" y="548466"/>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eaLnBrk="1"/>
            <a:endParaRPr lang="en-GB" sz="2600" dirty="0">
              <a:solidFill>
                <a:schemeClr val="tx1"/>
              </a:solidFill>
            </a:endParaRPr>
          </a:p>
        </p:txBody>
      </p:sp>
      <p:sp>
        <p:nvSpPr>
          <p:cNvPr id="12" name="Rectangle 9"/>
          <p:cNvSpPr>
            <a:spLocks noChangeArrowheads="1"/>
          </p:cNvSpPr>
          <p:nvPr userDrawn="1"/>
        </p:nvSpPr>
        <p:spPr bwMode="auto">
          <a:xfrm>
            <a:off x="1524454" y="552326"/>
            <a:ext cx="91615" cy="274044"/>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eaLnBrk="1"/>
            <a:endParaRPr lang="en-GB" sz="2600" dirty="0">
              <a:solidFill>
                <a:schemeClr val="tx1"/>
              </a:solidFill>
            </a:endParaRPr>
          </a:p>
        </p:txBody>
      </p:sp>
      <p:sp>
        <p:nvSpPr>
          <p:cNvPr id="13" name="Rectangle 10"/>
          <p:cNvSpPr>
            <a:spLocks noChangeArrowheads="1"/>
          </p:cNvSpPr>
          <p:nvPr userDrawn="1"/>
        </p:nvSpPr>
        <p:spPr bwMode="auto">
          <a:xfrm>
            <a:off x="1524454" y="457761"/>
            <a:ext cx="91615" cy="6175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eaLnBrk="1"/>
            <a:endParaRPr lang="en-GB" sz="2600" dirty="0">
              <a:solidFill>
                <a:schemeClr val="tx1"/>
              </a:solidFill>
            </a:endParaRPr>
          </a:p>
        </p:txBody>
      </p:sp>
      <p:sp>
        <p:nvSpPr>
          <p:cNvPr id="14" name="Freeform 11"/>
          <p:cNvSpPr>
            <a:spLocks/>
          </p:cNvSpPr>
          <p:nvPr userDrawn="1"/>
        </p:nvSpPr>
        <p:spPr bwMode="auto">
          <a:xfrm>
            <a:off x="1653106" y="465481"/>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eaLnBrk="1"/>
            <a:endParaRPr lang="en-GB" sz="2600" dirty="0">
              <a:solidFill>
                <a:schemeClr val="tx1"/>
              </a:solidFill>
            </a:endParaRPr>
          </a:p>
        </p:txBody>
      </p:sp>
      <p:sp>
        <p:nvSpPr>
          <p:cNvPr id="15" name="Freeform 12"/>
          <p:cNvSpPr>
            <a:spLocks/>
          </p:cNvSpPr>
          <p:nvPr userDrawn="1"/>
        </p:nvSpPr>
        <p:spPr bwMode="auto">
          <a:xfrm>
            <a:off x="1865577" y="465481"/>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eaLnBrk="1"/>
            <a:endParaRPr lang="en-GB" sz="2600" dirty="0">
              <a:solidFill>
                <a:schemeClr val="tx1"/>
              </a:solidFill>
            </a:endParaRPr>
          </a:p>
        </p:txBody>
      </p:sp>
      <p:sp>
        <p:nvSpPr>
          <p:cNvPr id="16" name="Freeform 13"/>
          <p:cNvSpPr>
            <a:spLocks noEditPoints="1"/>
          </p:cNvSpPr>
          <p:nvPr userDrawn="1"/>
        </p:nvSpPr>
        <p:spPr bwMode="auto">
          <a:xfrm>
            <a:off x="2079996" y="548466"/>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eaLnBrk="1"/>
            <a:endParaRPr lang="en-GB" sz="2600" dirty="0">
              <a:solidFill>
                <a:schemeClr val="tx1"/>
              </a:solidFill>
            </a:endParaRPr>
          </a:p>
        </p:txBody>
      </p:sp>
      <p:sp>
        <p:nvSpPr>
          <p:cNvPr id="17" name="Freeform 14"/>
          <p:cNvSpPr>
            <a:spLocks noEditPoints="1"/>
          </p:cNvSpPr>
          <p:nvPr userDrawn="1"/>
        </p:nvSpPr>
        <p:spPr bwMode="auto">
          <a:xfrm>
            <a:off x="801276" y="548466"/>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eaLnBrk="1"/>
            <a:endParaRPr lang="en-GB" sz="2600" dirty="0">
              <a:solidFill>
                <a:schemeClr val="tx1"/>
              </a:solidFill>
            </a:endParaRPr>
          </a:p>
        </p:txBody>
      </p:sp>
      <p:pic>
        <p:nvPicPr>
          <p:cNvPr id="19" name="Picture 18">
            <a:extLst>
              <a:ext uri="{FF2B5EF4-FFF2-40B4-BE49-F238E27FC236}">
                <a16:creationId xmlns:a16="http://schemas.microsoft.com/office/drawing/2014/main" id="{A0456FC2-C9EB-4877-AA4A-F23A8973F9A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726037" y="389459"/>
            <a:ext cx="2138941" cy="599777"/>
          </a:xfrm>
          <a:prstGeom prst="rect">
            <a:avLst/>
          </a:prstGeom>
          <a:extLst>
            <a:ext uri="{FAA26D3D-D897-4be2-8F04-BA451C77F1D7}">
              <ma14:placeholderFlag xmlns:wpc="http://schemas.microsoft.com/office/word/2010/wordprocessingCanvas"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w15="http://schemas.microsoft.com/office/word/2012/wordml" xmlns="" xmlns:mo="http://schemas.microsoft.com/office/mac/office/2008/main" xmlns:mv="urn:schemas-microsoft-com:mac:vml" xmlns:o="urn:schemas-microsoft-com:office:office" xmlns:v="urn:schemas-microsoft-com:vml" xmlns:w10="urn:schemas-microsoft-com:office:word" xmlns:w="http://schemas.openxmlformats.org/wordprocessingml/2006/main" xmlns:ma14="http://schemas.microsoft.com/office/mac/drawingml/2011/main" xmlns:lc="http://schemas.openxmlformats.org/drawingml/2006/lockedCanvas"/>
            </a:ext>
          </a:extLst>
        </p:spPr>
      </p:pic>
    </p:spTree>
    <p:extLst>
      <p:ext uri="{BB962C8B-B14F-4D97-AF65-F5344CB8AC3E}">
        <p14:creationId xmlns:p14="http://schemas.microsoft.com/office/powerpoint/2010/main" val="4270182666"/>
      </p:ext>
    </p:extLst>
  </p:cSld>
  <p:clrMapOvr>
    <a:masterClrMapping/>
  </p:clrMapOvr>
  <p:transition>
    <p:fade/>
  </p:transition>
  <p:extLst>
    <p:ext uri="{DCECCB84-F9BA-43D5-87BE-67443E8EF086}">
      <p15:sldGuideLst xmlns:p15="http://schemas.microsoft.com/office/powerpoint/2012/main">
        <p15:guide id="1" orient="horz" pos="411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Master_Contents.FirstPag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C3752CF-6E85-468C-AAA5-5AF23A26220D}"/>
              </a:ext>
            </a:extLst>
          </p:cNvPr>
          <p:cNvSpPr txBox="1"/>
          <p:nvPr userDrawn="1"/>
        </p:nvSpPr>
        <p:spPr>
          <a:xfrm>
            <a:off x="367194" y="601190"/>
            <a:ext cx="8420264" cy="367194"/>
          </a:xfrm>
          <a:prstGeom prst="rect">
            <a:avLst/>
          </a:prstGeom>
          <a:noFill/>
        </p:spPr>
        <p:txBody>
          <a:bodyPr vert="horz" wrap="square" lIns="0" tIns="0" rIns="0" bIns="0" rtlCol="0" anchor="ctr">
            <a:noAutofit/>
          </a:bodyPr>
          <a:lstStyle/>
          <a:p>
            <a:pPr marL="0" indent="0">
              <a:spcBef>
                <a:spcPts val="600"/>
              </a:spcBef>
              <a:buSzPct val="100000"/>
              <a:buFontTx/>
              <a:buNone/>
            </a:pPr>
            <a:r>
              <a:rPr lang="de-DE" sz="2000">
                <a:solidFill>
                  <a:srgbClr val="313131"/>
                </a:solidFill>
                <a:latin typeface="Calibri Light" panose="020F0302020204030204" pitchFamily="34" charset="0"/>
              </a:rPr>
              <a:t>Contents</a:t>
            </a:r>
            <a:endParaRPr lang="de-DE" sz="2000" dirty="0">
              <a:solidFill>
                <a:srgbClr val="313131"/>
              </a:solidFill>
              <a:latin typeface="Calibri Light" panose="020F0302020204030204" pitchFamily="34" charset="0"/>
            </a:endParaRPr>
          </a:p>
        </p:txBody>
      </p:sp>
      <p:sp>
        <p:nvSpPr>
          <p:cNvPr id="4" name="TextBox 3">
            <a:extLst>
              <a:ext uri="{FF2B5EF4-FFF2-40B4-BE49-F238E27FC236}">
                <a16:creationId xmlns:a16="http://schemas.microsoft.com/office/drawing/2014/main" id="{2A55884F-B643-41E8-92F1-E7B510776590}"/>
              </a:ext>
            </a:extLst>
          </p:cNvPr>
          <p:cNvSpPr txBox="1"/>
          <p:nvPr userDrawn="1"/>
        </p:nvSpPr>
        <p:spPr>
          <a:xfrm>
            <a:off x="469900" y="1017588"/>
            <a:ext cx="3314700" cy="184666"/>
          </a:xfrm>
          <a:prstGeom prst="rect">
            <a:avLst/>
          </a:prstGeom>
          <a:noFill/>
        </p:spPr>
        <p:txBody>
          <a:bodyPr wrap="square" lIns="0" tIns="0" rIns="0" bIns="0" rtlCol="0">
            <a:spAutoFit/>
          </a:bodyPr>
          <a:lstStyle/>
          <a:p>
            <a:pPr marL="0" indent="0">
              <a:spcBef>
                <a:spcPts val="600"/>
              </a:spcBef>
              <a:buSzPct val="100000"/>
              <a:buFont typeface="Arial"/>
              <a:buNone/>
            </a:pPr>
            <a:r>
              <a:rPr lang="de-DE" sz="1200" dirty="0">
                <a:solidFill>
                  <a:srgbClr val="313131"/>
                </a:solidFill>
              </a:rPr>
              <a:t>Legend</a:t>
            </a:r>
          </a:p>
        </p:txBody>
      </p:sp>
    </p:spTree>
    <p:extLst>
      <p:ext uri="{BB962C8B-B14F-4D97-AF65-F5344CB8AC3E}">
        <p14:creationId xmlns:p14="http://schemas.microsoft.com/office/powerpoint/2010/main" val="426645456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Master_Contents.ContinuationPag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17B8599-C92C-4C18-893F-7E06EC2B3B66}"/>
              </a:ext>
            </a:extLst>
          </p:cNvPr>
          <p:cNvSpPr txBox="1"/>
          <p:nvPr userDrawn="1"/>
        </p:nvSpPr>
        <p:spPr>
          <a:xfrm>
            <a:off x="367194" y="601190"/>
            <a:ext cx="8420264" cy="367194"/>
          </a:xfrm>
          <a:prstGeom prst="rect">
            <a:avLst/>
          </a:prstGeom>
          <a:noFill/>
        </p:spPr>
        <p:txBody>
          <a:bodyPr vert="horz" wrap="square" lIns="0" tIns="0" rIns="0" bIns="0" rtlCol="0" anchor="ctr">
            <a:noAutofit/>
          </a:bodyPr>
          <a:lstStyle/>
          <a:p>
            <a:pPr marL="0" indent="0">
              <a:spcBef>
                <a:spcPts val="600"/>
              </a:spcBef>
              <a:buSzPct val="100000"/>
              <a:buFontTx/>
              <a:buNone/>
            </a:pPr>
            <a:r>
              <a:rPr lang="de-DE" sz="2000">
                <a:solidFill>
                  <a:srgbClr val="313131"/>
                </a:solidFill>
                <a:latin typeface="Calibri Light" panose="020F0302020204030204" pitchFamily="34" charset="0"/>
              </a:rPr>
              <a:t>Contents (Continued)</a:t>
            </a:r>
            <a:endParaRPr lang="de-DE" sz="2000" dirty="0">
              <a:solidFill>
                <a:srgbClr val="313131"/>
              </a:solidFill>
              <a:latin typeface="Calibri Light" panose="020F0302020204030204" pitchFamily="34" charset="0"/>
            </a:endParaRPr>
          </a:p>
        </p:txBody>
      </p:sp>
    </p:spTree>
    <p:extLst>
      <p:ext uri="{BB962C8B-B14F-4D97-AF65-F5344CB8AC3E}">
        <p14:creationId xmlns:p14="http://schemas.microsoft.com/office/powerpoint/2010/main" val="83479417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 Deloitte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56658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3850" b="1" i="0" baseline="0" dirty="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18" name="Title 1"/>
          <p:cNvSpPr>
            <a:spLocks noGrp="1"/>
          </p:cNvSpPr>
          <p:nvPr>
            <p:ph type="title" hasCustomPrompt="1"/>
          </p:nvPr>
        </p:nvSpPr>
        <p:spPr bwMode="gray">
          <a:xfrm>
            <a:off x="469900" y="1705668"/>
            <a:ext cx="10418233" cy="1592403"/>
          </a:xfrm>
        </p:spPr>
        <p:txBody>
          <a:bodyPr vert="horz"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dirty="0"/>
              <a:t>Edit Master text styles</a:t>
            </a:r>
          </a:p>
        </p:txBody>
      </p:sp>
    </p:spTree>
    <p:extLst>
      <p:ext uri="{BB962C8B-B14F-4D97-AF65-F5344CB8AC3E}">
        <p14:creationId xmlns:p14="http://schemas.microsoft.com/office/powerpoint/2010/main" val="61744658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485813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3850" b="1" i="0" baseline="0" dirty="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p:cNvSpPr>
            <a:spLocks noGrp="1"/>
          </p:cNvSpPr>
          <p:nvPr>
            <p:ph type="title" hasCustomPrompt="1"/>
          </p:nvPr>
        </p:nvSpPr>
        <p:spPr bwMode="gray">
          <a:xfrm>
            <a:off x="469901" y="1705668"/>
            <a:ext cx="10418233" cy="1592403"/>
          </a:xfrm>
        </p:spPr>
        <p:txBody>
          <a:bodyPr vert="horz"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dirty="0"/>
              <a:t>Edit Master text styles</a:t>
            </a:r>
          </a:p>
        </p:txBody>
      </p:sp>
    </p:spTree>
    <p:extLst>
      <p:ext uri="{BB962C8B-B14F-4D97-AF65-F5344CB8AC3E}">
        <p14:creationId xmlns:p14="http://schemas.microsoft.com/office/powerpoint/2010/main" val="31328867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68423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a:t>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GB" sz="650" noProof="0" dirty="0">
                <a:solidFill>
                  <a:schemeClr val="tx1"/>
                </a:solidFill>
              </a:rPr>
              <a:t>Presentation title</a:t>
            </a:r>
            <a:br>
              <a:rPr lang="en-GB" sz="650" noProof="0" dirty="0">
                <a:solidFill>
                  <a:schemeClr val="tx1"/>
                </a:solidFill>
              </a:rPr>
            </a:br>
            <a:r>
              <a:rPr lang="en-GB" sz="650" noProof="0" dirty="0">
                <a:solidFill>
                  <a:schemeClr val="tx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GB" sz="650" noProof="0" dirty="0">
                <a:solidFill>
                  <a:schemeClr val="tx1"/>
                </a:solidFill>
              </a:rPr>
              <a:t>Member firms and DTTL: Insert appropriate copyright</a:t>
            </a:r>
            <a:br>
              <a:rPr lang="en-GB" sz="650" noProof="0" dirty="0">
                <a:solidFill>
                  <a:schemeClr val="tx1"/>
                </a:solidFill>
              </a:rPr>
            </a:br>
            <a:r>
              <a:rPr lang="en-GB" sz="650" noProof="0" dirty="0">
                <a:solidFill>
                  <a:schemeClr val="tx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tx1"/>
                </a:solidFill>
              </a:rPr>
              <a:pPr marL="0" indent="0" algn="r">
                <a:spcBef>
                  <a:spcPts val="800"/>
                </a:spcBef>
                <a:buSzPct val="100000"/>
                <a:buFont typeface="Arial"/>
                <a:buNone/>
              </a:pPr>
              <a:t>‹N°›</a:t>
            </a:fld>
            <a:endParaRPr lang="en-GB" sz="650" noProof="0" dirty="0">
              <a:solidFill>
                <a:schemeClr val="tx1"/>
              </a:solidFill>
            </a:endParaRPr>
          </a:p>
        </p:txBody>
      </p:sp>
    </p:spTree>
    <p:extLst>
      <p:ext uri="{BB962C8B-B14F-4D97-AF65-F5344CB8AC3E}">
        <p14:creationId xmlns:p14="http://schemas.microsoft.com/office/powerpoint/2010/main" val="408141918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7430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a:t>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GB" sz="650" noProof="0" dirty="0">
                <a:solidFill>
                  <a:schemeClr val="tx1"/>
                </a:solidFill>
              </a:rPr>
              <a:t>Presentation title</a:t>
            </a:r>
            <a:br>
              <a:rPr lang="en-GB" sz="650" noProof="0" dirty="0">
                <a:solidFill>
                  <a:schemeClr val="tx1"/>
                </a:solidFill>
              </a:rPr>
            </a:br>
            <a:r>
              <a:rPr lang="en-GB" sz="650" noProof="0" dirty="0">
                <a:solidFill>
                  <a:schemeClr val="tx1"/>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GB" sz="650" noProof="0" dirty="0">
                <a:solidFill>
                  <a:schemeClr val="tx1"/>
                </a:solidFill>
              </a:rPr>
              <a:t>Member firms and DTTL: Insert appropriate copyright</a:t>
            </a:r>
            <a:br>
              <a:rPr lang="en-GB" sz="650" noProof="0" dirty="0">
                <a:solidFill>
                  <a:schemeClr val="tx1"/>
                </a:solidFill>
              </a:rPr>
            </a:br>
            <a:r>
              <a:rPr lang="en-GB" sz="650" noProof="0" dirty="0">
                <a:solidFill>
                  <a:schemeClr val="tx1"/>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tx1"/>
                </a:solidFill>
              </a:rPr>
              <a:pPr marL="0" indent="0" algn="r">
                <a:spcBef>
                  <a:spcPts val="800"/>
                </a:spcBef>
                <a:buSzPct val="100000"/>
                <a:buFont typeface="Arial"/>
                <a:buNone/>
              </a:pPr>
              <a:t>‹N°›</a:t>
            </a:fld>
            <a:endParaRPr lang="en-GB" sz="650" noProof="0" dirty="0">
              <a:solidFill>
                <a:schemeClr val="tx1"/>
              </a:solidFill>
            </a:endParaRPr>
          </a:p>
        </p:txBody>
      </p:sp>
    </p:spTree>
    <p:extLst>
      <p:ext uri="{BB962C8B-B14F-4D97-AF65-F5344CB8AC3E}">
        <p14:creationId xmlns:p14="http://schemas.microsoft.com/office/powerpoint/2010/main" val="172145086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1"/>
            </p:custDataLst>
            <p:extLst>
              <p:ext uri="{D42A27DB-BD31-4B8C-83A1-F6EECF244321}">
                <p14:modId xmlns:p14="http://schemas.microsoft.com/office/powerpoint/2010/main" val="4219119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1800" b="1" i="0" baseline="0" dirty="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GB" noProof="0" dirty="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Edit Master text styles</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GB" noProof="0" dirty="0"/>
              <a:t>Click icon to add picture</a:t>
            </a:r>
          </a:p>
        </p:txBody>
      </p:sp>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218" y="296871"/>
            <a:ext cx="2166502" cy="685602"/>
          </a:xfrm>
          <a:prstGeom prst="rect">
            <a:avLst/>
          </a:prstGeom>
        </p:spPr>
      </p:pic>
      <p:grpSp>
        <p:nvGrpSpPr>
          <p:cNvPr id="7" name="Group 6"/>
          <p:cNvGrpSpPr>
            <a:grpSpLocks noChangeAspect="1"/>
          </p:cNvGrpSpPr>
          <p:nvPr userDrawn="1"/>
        </p:nvGrpSpPr>
        <p:grpSpPr>
          <a:xfrm>
            <a:off x="469900" y="457761"/>
            <a:ext cx="1998000" cy="374400"/>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9"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10"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1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12"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1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1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1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1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sp>
          <p:nvSpPr>
            <p:cNvPr id="1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sz="260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91019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GB" sz="650" noProof="0" dirty="0">
                <a:solidFill>
                  <a:schemeClr val="tx1"/>
                </a:solidFill>
              </a:rPr>
              <a:t>Presentation title</a:t>
            </a:r>
            <a:br>
              <a:rPr lang="en-GB" sz="650" noProof="0" dirty="0">
                <a:solidFill>
                  <a:schemeClr val="tx1"/>
                </a:solidFill>
              </a:rPr>
            </a:br>
            <a:r>
              <a:rPr lang="en-GB" sz="650" noProof="0" dirty="0">
                <a:solidFill>
                  <a:schemeClr val="tx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GB" sz="650" noProof="0" dirty="0">
                <a:solidFill>
                  <a:schemeClr val="tx1"/>
                </a:solidFill>
              </a:rPr>
              <a:t>Member firms and DTTL: Insert appropriate copyright</a:t>
            </a:r>
            <a:br>
              <a:rPr lang="en-GB" sz="650" noProof="0" dirty="0">
                <a:solidFill>
                  <a:schemeClr val="tx1"/>
                </a:solidFill>
              </a:rPr>
            </a:br>
            <a:r>
              <a:rPr lang="en-GB" sz="650" noProof="0" dirty="0">
                <a:solidFill>
                  <a:schemeClr val="tx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tx1"/>
                </a:solidFill>
              </a:rPr>
              <a:pPr marL="0" indent="0" algn="r">
                <a:spcBef>
                  <a:spcPts val="800"/>
                </a:spcBef>
                <a:buSzPct val="100000"/>
                <a:buFont typeface="Arial"/>
                <a:buNone/>
              </a:pPr>
              <a:t>‹N°›</a:t>
            </a:fld>
            <a:endParaRPr lang="en-GB" sz="650" noProof="0" dirty="0">
              <a:solidFill>
                <a:schemeClr val="tx1"/>
              </a:solidFill>
            </a:endParaRPr>
          </a:p>
        </p:txBody>
      </p:sp>
    </p:spTree>
    <p:extLst>
      <p:ext uri="{BB962C8B-B14F-4D97-AF65-F5344CB8AC3E}">
        <p14:creationId xmlns:p14="http://schemas.microsoft.com/office/powerpoint/2010/main" val="406482596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47863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a:t>Edit Master text styles</a:t>
            </a:r>
          </a:p>
        </p:txBody>
      </p:sp>
    </p:spTree>
    <p:extLst>
      <p:ext uri="{BB962C8B-B14F-4D97-AF65-F5344CB8AC3E}">
        <p14:creationId xmlns:p14="http://schemas.microsoft.com/office/powerpoint/2010/main" val="7111381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4504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tx1"/>
                </a:solidFill>
              </a:defRPr>
            </a:lvl1pPr>
          </a:lstStyle>
          <a:p>
            <a:r>
              <a:rPr lang="en-GB" noProof="0" dirty="0"/>
              <a:t>Click to edit Master title style</a:t>
            </a:r>
          </a:p>
        </p:txBody>
      </p:sp>
    </p:spTree>
    <p:extLst>
      <p:ext uri="{BB962C8B-B14F-4D97-AF65-F5344CB8AC3E}">
        <p14:creationId xmlns:p14="http://schemas.microsoft.com/office/powerpoint/2010/main" val="390175105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9444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4" name="Title Placeholder 1"/>
          <p:cNvSpPr>
            <a:spLocks noGrp="1"/>
          </p:cNvSpPr>
          <p:nvPr>
            <p:ph type="title" hasCustomPrompt="1"/>
          </p:nvPr>
        </p:nvSpPr>
        <p:spPr>
          <a:xfrm>
            <a:off x="469900" y="402586"/>
            <a:ext cx="11252200" cy="698501"/>
          </a:xfrm>
          <a:prstGeom prst="rect">
            <a:avLst/>
          </a:prstGeom>
        </p:spPr>
        <p:txBody>
          <a:bodyPr vert="horz" lIns="0" tIns="0" rIns="0" bIns="0" rtlCol="0" anchor="t" anchorCtr="0">
            <a:noAutofit/>
          </a:bodyPr>
          <a:lstStyle>
            <a:lvl1pPr>
              <a:defRPr sz="2000">
                <a:solidFill>
                  <a:schemeClr val="tx1"/>
                </a:solidFill>
              </a:defRPr>
            </a:lvl1pPr>
          </a:lstStyle>
          <a:p>
            <a:r>
              <a:rPr lang="en-GB" noProof="0" dirty="0"/>
              <a:t>Click to edit Master title style</a:t>
            </a:r>
          </a:p>
        </p:txBody>
      </p:sp>
    </p:spTree>
    <p:extLst>
      <p:ext uri="{BB962C8B-B14F-4D97-AF65-F5344CB8AC3E}">
        <p14:creationId xmlns:p14="http://schemas.microsoft.com/office/powerpoint/2010/main" val="361334374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60937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ivider - Deloitte gree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0621612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22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FCD8F17-B2C7-4BCF-A577-6CFFC4C1D7B0}"/>
              </a:ext>
            </a:extLst>
          </p:cNvPr>
          <p:cNvSpPr>
            <a:spLocks noGrp="1"/>
          </p:cNvSpPr>
          <p:nvPr>
            <p:ph type="dt" sz="half" idx="10"/>
          </p:nvPr>
        </p:nvSpPr>
        <p:spPr/>
        <p:txBody>
          <a:bodyPr/>
          <a:lstStyle>
            <a:lvl1pPr>
              <a:defRPr/>
            </a:lvl1pPr>
          </a:lstStyle>
          <a:p>
            <a:pPr>
              <a:defRPr/>
            </a:pPr>
            <a:fld id="{6C61B2E6-20D4-49D9-A985-E161022B8F97}" type="datetimeFigureOut">
              <a:rPr lang="nl-NL"/>
              <a:pPr>
                <a:defRPr/>
              </a:pPr>
              <a:t>3-10-2022</a:t>
            </a:fld>
            <a:endParaRPr lang="nl-NL"/>
          </a:p>
        </p:txBody>
      </p:sp>
      <p:sp>
        <p:nvSpPr>
          <p:cNvPr id="5" name="Footer Placeholder 4">
            <a:extLst>
              <a:ext uri="{FF2B5EF4-FFF2-40B4-BE49-F238E27FC236}">
                <a16:creationId xmlns:a16="http://schemas.microsoft.com/office/drawing/2014/main" id="{4A5060C7-6EC2-40C9-B7DF-F70C0C358D25}"/>
              </a:ext>
            </a:extLst>
          </p:cNvPr>
          <p:cNvSpPr>
            <a:spLocks noGrp="1"/>
          </p:cNvSpPr>
          <p:nvPr>
            <p:ph type="ftr" sz="quarter" idx="11"/>
          </p:nvPr>
        </p:nvSpPr>
        <p:spPr/>
        <p:txBody>
          <a:bodyPr/>
          <a:lstStyle>
            <a:lvl1pPr>
              <a:defRPr/>
            </a:lvl1pPr>
          </a:lstStyle>
          <a:p>
            <a:pPr>
              <a:defRPr/>
            </a:pPr>
            <a:endParaRPr lang="nl-NL"/>
          </a:p>
        </p:txBody>
      </p:sp>
      <p:sp>
        <p:nvSpPr>
          <p:cNvPr id="6" name="Slide Number Placeholder 5">
            <a:extLst>
              <a:ext uri="{FF2B5EF4-FFF2-40B4-BE49-F238E27FC236}">
                <a16:creationId xmlns:a16="http://schemas.microsoft.com/office/drawing/2014/main" id="{9FE886F4-2944-4E92-9F62-79D360159DE9}"/>
              </a:ext>
            </a:extLst>
          </p:cNvPr>
          <p:cNvSpPr>
            <a:spLocks noGrp="1"/>
          </p:cNvSpPr>
          <p:nvPr>
            <p:ph type="sldNum" sz="quarter" idx="12"/>
          </p:nvPr>
        </p:nvSpPr>
        <p:spPr/>
        <p:txBody>
          <a:bodyPr/>
          <a:lstStyle>
            <a:lvl1pPr>
              <a:defRPr/>
            </a:lvl1pPr>
          </a:lstStyle>
          <a:p>
            <a:pPr>
              <a:defRPr/>
            </a:pPr>
            <a:fld id="{5E26DDCF-F6B4-4648-B6EE-E036712324F4}" type="slidenum">
              <a:rPr lang="nl-NL" altLang="nl-NL"/>
              <a:pPr>
                <a:defRPr/>
              </a:pPr>
              <a:t>‹N°›</a:t>
            </a:fld>
            <a:endParaRPr lang="nl-NL" altLang="nl-NL"/>
          </a:p>
        </p:txBody>
      </p:sp>
    </p:spTree>
    <p:extLst>
      <p:ext uri="{BB962C8B-B14F-4D97-AF65-F5344CB8AC3E}">
        <p14:creationId xmlns:p14="http://schemas.microsoft.com/office/powerpoint/2010/main" val="27536525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E383B099-0476-403C-ADF3-D1EC85D0EAA6}"/>
              </a:ext>
            </a:extLst>
          </p:cNvPr>
          <p:cNvSpPr>
            <a:spLocks noGrp="1"/>
          </p:cNvSpPr>
          <p:nvPr>
            <p:ph type="dt" sz="half" idx="10"/>
          </p:nvPr>
        </p:nvSpPr>
        <p:spPr/>
        <p:txBody>
          <a:bodyPr/>
          <a:lstStyle>
            <a:lvl1pPr>
              <a:defRPr/>
            </a:lvl1pPr>
          </a:lstStyle>
          <a:p>
            <a:pPr>
              <a:defRPr/>
            </a:pPr>
            <a:fld id="{366463F3-4032-45AF-917C-B19982FCCDBD}" type="datetimeFigureOut">
              <a:rPr lang="nl-NL"/>
              <a:pPr>
                <a:defRPr/>
              </a:pPr>
              <a:t>3-10-2022</a:t>
            </a:fld>
            <a:endParaRPr lang="nl-NL"/>
          </a:p>
        </p:txBody>
      </p:sp>
      <p:sp>
        <p:nvSpPr>
          <p:cNvPr id="5" name="Footer Placeholder 4">
            <a:extLst>
              <a:ext uri="{FF2B5EF4-FFF2-40B4-BE49-F238E27FC236}">
                <a16:creationId xmlns:a16="http://schemas.microsoft.com/office/drawing/2014/main" id="{5C976AB8-4C16-437A-9684-4746C3E3F2A8}"/>
              </a:ext>
            </a:extLst>
          </p:cNvPr>
          <p:cNvSpPr>
            <a:spLocks noGrp="1"/>
          </p:cNvSpPr>
          <p:nvPr>
            <p:ph type="ftr" sz="quarter" idx="11"/>
          </p:nvPr>
        </p:nvSpPr>
        <p:spPr/>
        <p:txBody>
          <a:bodyPr/>
          <a:lstStyle>
            <a:lvl1pPr>
              <a:defRPr/>
            </a:lvl1pPr>
          </a:lstStyle>
          <a:p>
            <a:pPr>
              <a:defRPr/>
            </a:pPr>
            <a:endParaRPr lang="nl-NL"/>
          </a:p>
        </p:txBody>
      </p:sp>
      <p:sp>
        <p:nvSpPr>
          <p:cNvPr id="6" name="Slide Number Placeholder 5">
            <a:extLst>
              <a:ext uri="{FF2B5EF4-FFF2-40B4-BE49-F238E27FC236}">
                <a16:creationId xmlns:a16="http://schemas.microsoft.com/office/drawing/2014/main" id="{986F7688-8048-4375-9875-B98C88F73893}"/>
              </a:ext>
            </a:extLst>
          </p:cNvPr>
          <p:cNvSpPr>
            <a:spLocks noGrp="1"/>
          </p:cNvSpPr>
          <p:nvPr>
            <p:ph type="sldNum" sz="quarter" idx="12"/>
          </p:nvPr>
        </p:nvSpPr>
        <p:spPr/>
        <p:txBody>
          <a:bodyPr/>
          <a:lstStyle>
            <a:lvl1pPr>
              <a:defRPr/>
            </a:lvl1pPr>
          </a:lstStyle>
          <a:p>
            <a:pPr>
              <a:defRPr/>
            </a:pPr>
            <a:fld id="{6400ACCD-6273-450D-AC5E-B4E1DBFB83C6}" type="slidenum">
              <a:rPr lang="nl-NL" altLang="nl-NL"/>
              <a:pPr>
                <a:defRPr/>
              </a:pPr>
              <a:t>‹N°›</a:t>
            </a:fld>
            <a:endParaRPr lang="nl-NL" altLang="nl-NL"/>
          </a:p>
        </p:txBody>
      </p:sp>
    </p:spTree>
    <p:extLst>
      <p:ext uri="{BB962C8B-B14F-4D97-AF65-F5344CB8AC3E}">
        <p14:creationId xmlns:p14="http://schemas.microsoft.com/office/powerpoint/2010/main" val="12477360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45C53DA-B5F2-47D6-8F8A-CC265E559148}"/>
              </a:ext>
            </a:extLst>
          </p:cNvPr>
          <p:cNvSpPr>
            <a:spLocks noGrp="1"/>
          </p:cNvSpPr>
          <p:nvPr>
            <p:ph type="dt" sz="half" idx="10"/>
          </p:nvPr>
        </p:nvSpPr>
        <p:spPr/>
        <p:txBody>
          <a:bodyPr/>
          <a:lstStyle>
            <a:lvl1pPr>
              <a:defRPr/>
            </a:lvl1pPr>
          </a:lstStyle>
          <a:p>
            <a:pPr>
              <a:defRPr/>
            </a:pPr>
            <a:fld id="{B04C2E08-3F46-46EE-AD4A-B72B7E05DC4E}" type="datetimeFigureOut">
              <a:rPr lang="nl-NL"/>
              <a:pPr>
                <a:defRPr/>
              </a:pPr>
              <a:t>3-10-2022</a:t>
            </a:fld>
            <a:endParaRPr lang="nl-NL"/>
          </a:p>
        </p:txBody>
      </p:sp>
      <p:sp>
        <p:nvSpPr>
          <p:cNvPr id="5" name="Footer Placeholder 4">
            <a:extLst>
              <a:ext uri="{FF2B5EF4-FFF2-40B4-BE49-F238E27FC236}">
                <a16:creationId xmlns:a16="http://schemas.microsoft.com/office/drawing/2014/main" id="{A645C458-3466-470D-BA03-0581C4D8046A}"/>
              </a:ext>
            </a:extLst>
          </p:cNvPr>
          <p:cNvSpPr>
            <a:spLocks noGrp="1"/>
          </p:cNvSpPr>
          <p:nvPr>
            <p:ph type="ftr" sz="quarter" idx="11"/>
          </p:nvPr>
        </p:nvSpPr>
        <p:spPr/>
        <p:txBody>
          <a:bodyPr/>
          <a:lstStyle>
            <a:lvl1pPr>
              <a:defRPr/>
            </a:lvl1pPr>
          </a:lstStyle>
          <a:p>
            <a:pPr>
              <a:defRPr/>
            </a:pPr>
            <a:endParaRPr lang="nl-NL"/>
          </a:p>
        </p:txBody>
      </p:sp>
      <p:sp>
        <p:nvSpPr>
          <p:cNvPr id="6" name="Slide Number Placeholder 5">
            <a:extLst>
              <a:ext uri="{FF2B5EF4-FFF2-40B4-BE49-F238E27FC236}">
                <a16:creationId xmlns:a16="http://schemas.microsoft.com/office/drawing/2014/main" id="{AFCD42C0-F8DE-4249-9968-51A86353944A}"/>
              </a:ext>
            </a:extLst>
          </p:cNvPr>
          <p:cNvSpPr>
            <a:spLocks noGrp="1"/>
          </p:cNvSpPr>
          <p:nvPr>
            <p:ph type="sldNum" sz="quarter" idx="12"/>
          </p:nvPr>
        </p:nvSpPr>
        <p:spPr/>
        <p:txBody>
          <a:bodyPr/>
          <a:lstStyle>
            <a:lvl1pPr>
              <a:defRPr/>
            </a:lvl1pPr>
          </a:lstStyle>
          <a:p>
            <a:pPr>
              <a:defRPr/>
            </a:pPr>
            <a:fld id="{D4AC6B5B-6347-4A00-95BA-DC440285EB2A}" type="slidenum">
              <a:rPr lang="nl-NL" altLang="nl-NL"/>
              <a:pPr>
                <a:defRPr/>
              </a:pPr>
              <a:t>‹N°›</a:t>
            </a:fld>
            <a:endParaRPr lang="nl-NL" altLang="nl-NL"/>
          </a:p>
        </p:txBody>
      </p:sp>
    </p:spTree>
    <p:extLst>
      <p:ext uri="{BB962C8B-B14F-4D97-AF65-F5344CB8AC3E}">
        <p14:creationId xmlns:p14="http://schemas.microsoft.com/office/powerpoint/2010/main" val="16781787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a:extLst>
              <a:ext uri="{FF2B5EF4-FFF2-40B4-BE49-F238E27FC236}">
                <a16:creationId xmlns:a16="http://schemas.microsoft.com/office/drawing/2014/main" id="{CE164B5F-11DE-4E2D-96CC-6339774D92D6}"/>
              </a:ext>
            </a:extLst>
          </p:cNvPr>
          <p:cNvSpPr>
            <a:spLocks noGrp="1"/>
          </p:cNvSpPr>
          <p:nvPr>
            <p:ph type="dt" sz="half" idx="10"/>
          </p:nvPr>
        </p:nvSpPr>
        <p:spPr/>
        <p:txBody>
          <a:bodyPr/>
          <a:lstStyle>
            <a:lvl1pPr>
              <a:defRPr/>
            </a:lvl1pPr>
          </a:lstStyle>
          <a:p>
            <a:pPr>
              <a:defRPr/>
            </a:pPr>
            <a:fld id="{522B655F-EB00-427C-8EBF-75E3E3F4FC2A}" type="datetimeFigureOut">
              <a:rPr lang="nl-NL"/>
              <a:pPr>
                <a:defRPr/>
              </a:pPr>
              <a:t>3-10-2022</a:t>
            </a:fld>
            <a:endParaRPr lang="nl-NL"/>
          </a:p>
        </p:txBody>
      </p:sp>
      <p:sp>
        <p:nvSpPr>
          <p:cNvPr id="6" name="Footer Placeholder 4">
            <a:extLst>
              <a:ext uri="{FF2B5EF4-FFF2-40B4-BE49-F238E27FC236}">
                <a16:creationId xmlns:a16="http://schemas.microsoft.com/office/drawing/2014/main" id="{20A7B5C8-0439-4096-8E47-24F1FF9728EF}"/>
              </a:ext>
            </a:extLst>
          </p:cNvPr>
          <p:cNvSpPr>
            <a:spLocks noGrp="1"/>
          </p:cNvSpPr>
          <p:nvPr>
            <p:ph type="ftr" sz="quarter" idx="11"/>
          </p:nvPr>
        </p:nvSpPr>
        <p:spPr/>
        <p:txBody>
          <a:bodyPr/>
          <a:lstStyle>
            <a:lvl1pPr>
              <a:defRPr/>
            </a:lvl1pPr>
          </a:lstStyle>
          <a:p>
            <a:pPr>
              <a:defRPr/>
            </a:pPr>
            <a:endParaRPr lang="nl-NL"/>
          </a:p>
        </p:txBody>
      </p:sp>
      <p:sp>
        <p:nvSpPr>
          <p:cNvPr id="7" name="Slide Number Placeholder 5">
            <a:extLst>
              <a:ext uri="{FF2B5EF4-FFF2-40B4-BE49-F238E27FC236}">
                <a16:creationId xmlns:a16="http://schemas.microsoft.com/office/drawing/2014/main" id="{39BEB01F-3BA9-495A-94CC-114A02A3A371}"/>
              </a:ext>
            </a:extLst>
          </p:cNvPr>
          <p:cNvSpPr>
            <a:spLocks noGrp="1"/>
          </p:cNvSpPr>
          <p:nvPr>
            <p:ph type="sldNum" sz="quarter" idx="12"/>
          </p:nvPr>
        </p:nvSpPr>
        <p:spPr/>
        <p:txBody>
          <a:bodyPr/>
          <a:lstStyle>
            <a:lvl1pPr>
              <a:defRPr/>
            </a:lvl1pPr>
          </a:lstStyle>
          <a:p>
            <a:pPr>
              <a:defRPr/>
            </a:pPr>
            <a:fld id="{878179C0-298D-4A1A-9FB8-64C62382E20D}" type="slidenum">
              <a:rPr lang="nl-NL" altLang="nl-NL"/>
              <a:pPr>
                <a:defRPr/>
              </a:pPr>
              <a:t>‹N°›</a:t>
            </a:fld>
            <a:endParaRPr lang="nl-NL" altLang="nl-NL"/>
          </a:p>
        </p:txBody>
      </p:sp>
    </p:spTree>
    <p:extLst>
      <p:ext uri="{BB962C8B-B14F-4D97-AF65-F5344CB8AC3E}">
        <p14:creationId xmlns:p14="http://schemas.microsoft.com/office/powerpoint/2010/main" val="11491769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Deloitte blac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8137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3850" b="1" i="0" baseline="0" dirty="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GB" noProof="0" dirty="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dirty="0"/>
              <a:t>Edit Master text styles</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a:extLst>
              <a:ext uri="{FF2B5EF4-FFF2-40B4-BE49-F238E27FC236}">
                <a16:creationId xmlns:a16="http://schemas.microsoft.com/office/drawing/2014/main" id="{7765DD25-22A3-49DE-AB04-ABAA6805CDAA}"/>
              </a:ext>
            </a:extLst>
          </p:cNvPr>
          <p:cNvSpPr>
            <a:spLocks noGrp="1"/>
          </p:cNvSpPr>
          <p:nvPr>
            <p:ph type="dt" sz="half" idx="10"/>
          </p:nvPr>
        </p:nvSpPr>
        <p:spPr/>
        <p:txBody>
          <a:bodyPr/>
          <a:lstStyle>
            <a:lvl1pPr>
              <a:defRPr/>
            </a:lvl1pPr>
          </a:lstStyle>
          <a:p>
            <a:pPr>
              <a:defRPr/>
            </a:pPr>
            <a:fld id="{6A9842E1-0D92-4E75-938E-52D0F90006A5}" type="datetimeFigureOut">
              <a:rPr lang="nl-NL"/>
              <a:pPr>
                <a:defRPr/>
              </a:pPr>
              <a:t>3-10-2022</a:t>
            </a:fld>
            <a:endParaRPr lang="nl-NL"/>
          </a:p>
        </p:txBody>
      </p:sp>
      <p:sp>
        <p:nvSpPr>
          <p:cNvPr id="8" name="Footer Placeholder 4">
            <a:extLst>
              <a:ext uri="{FF2B5EF4-FFF2-40B4-BE49-F238E27FC236}">
                <a16:creationId xmlns:a16="http://schemas.microsoft.com/office/drawing/2014/main" id="{CE80140A-ABEB-4880-90DA-4C93190ED14B}"/>
              </a:ext>
            </a:extLst>
          </p:cNvPr>
          <p:cNvSpPr>
            <a:spLocks noGrp="1"/>
          </p:cNvSpPr>
          <p:nvPr>
            <p:ph type="ftr" sz="quarter" idx="11"/>
          </p:nvPr>
        </p:nvSpPr>
        <p:spPr/>
        <p:txBody>
          <a:bodyPr/>
          <a:lstStyle>
            <a:lvl1pPr>
              <a:defRPr/>
            </a:lvl1pPr>
          </a:lstStyle>
          <a:p>
            <a:pPr>
              <a:defRPr/>
            </a:pPr>
            <a:endParaRPr lang="nl-NL"/>
          </a:p>
        </p:txBody>
      </p:sp>
      <p:sp>
        <p:nvSpPr>
          <p:cNvPr id="9" name="Slide Number Placeholder 5">
            <a:extLst>
              <a:ext uri="{FF2B5EF4-FFF2-40B4-BE49-F238E27FC236}">
                <a16:creationId xmlns:a16="http://schemas.microsoft.com/office/drawing/2014/main" id="{CC566D13-4721-4076-A356-8B91A01AD58E}"/>
              </a:ext>
            </a:extLst>
          </p:cNvPr>
          <p:cNvSpPr>
            <a:spLocks noGrp="1"/>
          </p:cNvSpPr>
          <p:nvPr>
            <p:ph type="sldNum" sz="quarter" idx="12"/>
          </p:nvPr>
        </p:nvSpPr>
        <p:spPr/>
        <p:txBody>
          <a:bodyPr/>
          <a:lstStyle>
            <a:lvl1pPr>
              <a:defRPr/>
            </a:lvl1pPr>
          </a:lstStyle>
          <a:p>
            <a:pPr>
              <a:defRPr/>
            </a:pPr>
            <a:fld id="{175050B5-8CAF-455A-A2B9-E579DD08F707}" type="slidenum">
              <a:rPr lang="nl-NL" altLang="nl-NL"/>
              <a:pPr>
                <a:defRPr/>
              </a:pPr>
              <a:t>‹N°›</a:t>
            </a:fld>
            <a:endParaRPr lang="nl-NL" altLang="nl-NL"/>
          </a:p>
        </p:txBody>
      </p:sp>
    </p:spTree>
    <p:extLst>
      <p:ext uri="{BB962C8B-B14F-4D97-AF65-F5344CB8AC3E}">
        <p14:creationId xmlns:p14="http://schemas.microsoft.com/office/powerpoint/2010/main" val="23627980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3">
            <a:extLst>
              <a:ext uri="{FF2B5EF4-FFF2-40B4-BE49-F238E27FC236}">
                <a16:creationId xmlns:a16="http://schemas.microsoft.com/office/drawing/2014/main" id="{0E537487-8354-416C-94E3-76E4CEC158B2}"/>
              </a:ext>
            </a:extLst>
          </p:cNvPr>
          <p:cNvSpPr>
            <a:spLocks noGrp="1"/>
          </p:cNvSpPr>
          <p:nvPr>
            <p:ph type="dt" sz="half" idx="10"/>
          </p:nvPr>
        </p:nvSpPr>
        <p:spPr/>
        <p:txBody>
          <a:bodyPr/>
          <a:lstStyle>
            <a:lvl1pPr>
              <a:defRPr/>
            </a:lvl1pPr>
          </a:lstStyle>
          <a:p>
            <a:pPr>
              <a:defRPr/>
            </a:pPr>
            <a:fld id="{34B6417A-583D-4953-B806-498D3577466A}" type="datetimeFigureOut">
              <a:rPr lang="nl-NL"/>
              <a:pPr>
                <a:defRPr/>
              </a:pPr>
              <a:t>3-10-2022</a:t>
            </a:fld>
            <a:endParaRPr lang="nl-NL"/>
          </a:p>
        </p:txBody>
      </p:sp>
      <p:sp>
        <p:nvSpPr>
          <p:cNvPr id="4" name="Footer Placeholder 4">
            <a:extLst>
              <a:ext uri="{FF2B5EF4-FFF2-40B4-BE49-F238E27FC236}">
                <a16:creationId xmlns:a16="http://schemas.microsoft.com/office/drawing/2014/main" id="{9A3496F2-4B78-4B03-81A2-FF14206F19F4}"/>
              </a:ext>
            </a:extLst>
          </p:cNvPr>
          <p:cNvSpPr>
            <a:spLocks noGrp="1"/>
          </p:cNvSpPr>
          <p:nvPr>
            <p:ph type="ftr" sz="quarter" idx="11"/>
          </p:nvPr>
        </p:nvSpPr>
        <p:spPr/>
        <p:txBody>
          <a:bodyPr/>
          <a:lstStyle>
            <a:lvl1pPr>
              <a:defRPr/>
            </a:lvl1pPr>
          </a:lstStyle>
          <a:p>
            <a:pPr>
              <a:defRPr/>
            </a:pPr>
            <a:endParaRPr lang="nl-NL"/>
          </a:p>
        </p:txBody>
      </p:sp>
      <p:sp>
        <p:nvSpPr>
          <p:cNvPr id="5" name="Slide Number Placeholder 5">
            <a:extLst>
              <a:ext uri="{FF2B5EF4-FFF2-40B4-BE49-F238E27FC236}">
                <a16:creationId xmlns:a16="http://schemas.microsoft.com/office/drawing/2014/main" id="{860F6B8A-3F48-4744-8CB0-FDEFAFA142C4}"/>
              </a:ext>
            </a:extLst>
          </p:cNvPr>
          <p:cNvSpPr>
            <a:spLocks noGrp="1"/>
          </p:cNvSpPr>
          <p:nvPr>
            <p:ph type="sldNum" sz="quarter" idx="12"/>
          </p:nvPr>
        </p:nvSpPr>
        <p:spPr/>
        <p:txBody>
          <a:bodyPr/>
          <a:lstStyle>
            <a:lvl1pPr>
              <a:defRPr/>
            </a:lvl1pPr>
          </a:lstStyle>
          <a:p>
            <a:pPr>
              <a:defRPr/>
            </a:pPr>
            <a:fld id="{8D665ED8-A5D9-4798-AC21-8708F001FD09}" type="slidenum">
              <a:rPr lang="nl-NL" altLang="nl-NL"/>
              <a:pPr>
                <a:defRPr/>
              </a:pPr>
              <a:t>‹N°›</a:t>
            </a:fld>
            <a:endParaRPr lang="nl-NL" altLang="nl-NL"/>
          </a:p>
        </p:txBody>
      </p:sp>
    </p:spTree>
    <p:extLst>
      <p:ext uri="{BB962C8B-B14F-4D97-AF65-F5344CB8AC3E}">
        <p14:creationId xmlns:p14="http://schemas.microsoft.com/office/powerpoint/2010/main" val="25264716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87583A13-9CC6-4A7F-AEBA-D331ECAD37F8}"/>
              </a:ext>
            </a:extLst>
          </p:cNvPr>
          <p:cNvSpPr>
            <a:spLocks noGrp="1"/>
          </p:cNvSpPr>
          <p:nvPr>
            <p:ph type="dt" sz="half" idx="10"/>
          </p:nvPr>
        </p:nvSpPr>
        <p:spPr/>
        <p:txBody>
          <a:bodyPr/>
          <a:lstStyle>
            <a:lvl1pPr>
              <a:defRPr/>
            </a:lvl1pPr>
          </a:lstStyle>
          <a:p>
            <a:pPr>
              <a:defRPr/>
            </a:pPr>
            <a:fld id="{6092D14B-A09A-4DB3-93CF-479CC87950D8}" type="datetimeFigureOut">
              <a:rPr lang="nl-NL"/>
              <a:pPr>
                <a:defRPr/>
              </a:pPr>
              <a:t>3-10-2022</a:t>
            </a:fld>
            <a:endParaRPr lang="nl-NL"/>
          </a:p>
        </p:txBody>
      </p:sp>
      <p:sp>
        <p:nvSpPr>
          <p:cNvPr id="3" name="Footer Placeholder 4">
            <a:extLst>
              <a:ext uri="{FF2B5EF4-FFF2-40B4-BE49-F238E27FC236}">
                <a16:creationId xmlns:a16="http://schemas.microsoft.com/office/drawing/2014/main" id="{7DDD6D99-892B-4B7D-A124-4521BCE6B038}"/>
              </a:ext>
            </a:extLst>
          </p:cNvPr>
          <p:cNvSpPr>
            <a:spLocks noGrp="1"/>
          </p:cNvSpPr>
          <p:nvPr>
            <p:ph type="ftr" sz="quarter" idx="11"/>
          </p:nvPr>
        </p:nvSpPr>
        <p:spPr/>
        <p:txBody>
          <a:bodyPr/>
          <a:lstStyle>
            <a:lvl1pPr>
              <a:defRPr/>
            </a:lvl1pPr>
          </a:lstStyle>
          <a:p>
            <a:pPr>
              <a:defRPr/>
            </a:pPr>
            <a:endParaRPr lang="nl-NL"/>
          </a:p>
        </p:txBody>
      </p:sp>
      <p:sp>
        <p:nvSpPr>
          <p:cNvPr id="4" name="Slide Number Placeholder 5">
            <a:extLst>
              <a:ext uri="{FF2B5EF4-FFF2-40B4-BE49-F238E27FC236}">
                <a16:creationId xmlns:a16="http://schemas.microsoft.com/office/drawing/2014/main" id="{F595C45B-BAB8-4F39-98E4-61FCD04BF465}"/>
              </a:ext>
            </a:extLst>
          </p:cNvPr>
          <p:cNvSpPr>
            <a:spLocks noGrp="1"/>
          </p:cNvSpPr>
          <p:nvPr>
            <p:ph type="sldNum" sz="quarter" idx="12"/>
          </p:nvPr>
        </p:nvSpPr>
        <p:spPr/>
        <p:txBody>
          <a:bodyPr/>
          <a:lstStyle>
            <a:lvl1pPr>
              <a:defRPr/>
            </a:lvl1pPr>
          </a:lstStyle>
          <a:p>
            <a:pPr>
              <a:defRPr/>
            </a:pPr>
            <a:fld id="{2BEB7528-F141-42AE-BFBA-6F5E2B83DEF4}" type="slidenum">
              <a:rPr lang="nl-NL" altLang="nl-NL"/>
              <a:pPr>
                <a:defRPr/>
              </a:pPr>
              <a:t>‹N°›</a:t>
            </a:fld>
            <a:endParaRPr lang="nl-NL" altLang="nl-NL"/>
          </a:p>
        </p:txBody>
      </p:sp>
    </p:spTree>
    <p:extLst>
      <p:ext uri="{BB962C8B-B14F-4D97-AF65-F5344CB8AC3E}">
        <p14:creationId xmlns:p14="http://schemas.microsoft.com/office/powerpoint/2010/main" val="9004403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3">
            <a:extLst>
              <a:ext uri="{FF2B5EF4-FFF2-40B4-BE49-F238E27FC236}">
                <a16:creationId xmlns:a16="http://schemas.microsoft.com/office/drawing/2014/main" id="{B13B4D17-21A2-4FB3-AA31-130E70345ECC}"/>
              </a:ext>
            </a:extLst>
          </p:cNvPr>
          <p:cNvSpPr>
            <a:spLocks noGrp="1"/>
          </p:cNvSpPr>
          <p:nvPr>
            <p:ph type="dt" sz="half" idx="10"/>
          </p:nvPr>
        </p:nvSpPr>
        <p:spPr/>
        <p:txBody>
          <a:bodyPr/>
          <a:lstStyle>
            <a:lvl1pPr>
              <a:defRPr/>
            </a:lvl1pPr>
          </a:lstStyle>
          <a:p>
            <a:pPr>
              <a:defRPr/>
            </a:pPr>
            <a:fld id="{2E78B5EF-2908-420E-83E3-B0E0785E917D}" type="datetimeFigureOut">
              <a:rPr lang="nl-NL"/>
              <a:pPr>
                <a:defRPr/>
              </a:pPr>
              <a:t>3-10-2022</a:t>
            </a:fld>
            <a:endParaRPr lang="nl-NL"/>
          </a:p>
        </p:txBody>
      </p:sp>
      <p:sp>
        <p:nvSpPr>
          <p:cNvPr id="6" name="Footer Placeholder 4">
            <a:extLst>
              <a:ext uri="{FF2B5EF4-FFF2-40B4-BE49-F238E27FC236}">
                <a16:creationId xmlns:a16="http://schemas.microsoft.com/office/drawing/2014/main" id="{B3998CEE-BA95-4209-8048-EB80052A02E3}"/>
              </a:ext>
            </a:extLst>
          </p:cNvPr>
          <p:cNvSpPr>
            <a:spLocks noGrp="1"/>
          </p:cNvSpPr>
          <p:nvPr>
            <p:ph type="ftr" sz="quarter" idx="11"/>
          </p:nvPr>
        </p:nvSpPr>
        <p:spPr/>
        <p:txBody>
          <a:bodyPr/>
          <a:lstStyle>
            <a:lvl1pPr>
              <a:defRPr/>
            </a:lvl1pPr>
          </a:lstStyle>
          <a:p>
            <a:pPr>
              <a:defRPr/>
            </a:pPr>
            <a:endParaRPr lang="nl-NL"/>
          </a:p>
        </p:txBody>
      </p:sp>
      <p:sp>
        <p:nvSpPr>
          <p:cNvPr id="7" name="Slide Number Placeholder 5">
            <a:extLst>
              <a:ext uri="{FF2B5EF4-FFF2-40B4-BE49-F238E27FC236}">
                <a16:creationId xmlns:a16="http://schemas.microsoft.com/office/drawing/2014/main" id="{E1532AA0-E398-4D44-ABA6-5ED67ACD66EB}"/>
              </a:ext>
            </a:extLst>
          </p:cNvPr>
          <p:cNvSpPr>
            <a:spLocks noGrp="1"/>
          </p:cNvSpPr>
          <p:nvPr>
            <p:ph type="sldNum" sz="quarter" idx="12"/>
          </p:nvPr>
        </p:nvSpPr>
        <p:spPr/>
        <p:txBody>
          <a:bodyPr/>
          <a:lstStyle>
            <a:lvl1pPr>
              <a:defRPr/>
            </a:lvl1pPr>
          </a:lstStyle>
          <a:p>
            <a:pPr>
              <a:defRPr/>
            </a:pPr>
            <a:fld id="{BB2E64C9-3F94-4F28-B9D6-74F218E4E21C}" type="slidenum">
              <a:rPr lang="nl-NL" altLang="nl-NL"/>
              <a:pPr>
                <a:defRPr/>
              </a:pPr>
              <a:t>‹N°›</a:t>
            </a:fld>
            <a:endParaRPr lang="nl-NL" altLang="nl-NL"/>
          </a:p>
        </p:txBody>
      </p:sp>
    </p:spTree>
    <p:extLst>
      <p:ext uri="{BB962C8B-B14F-4D97-AF65-F5344CB8AC3E}">
        <p14:creationId xmlns:p14="http://schemas.microsoft.com/office/powerpoint/2010/main" val="33691501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3">
            <a:extLst>
              <a:ext uri="{FF2B5EF4-FFF2-40B4-BE49-F238E27FC236}">
                <a16:creationId xmlns:a16="http://schemas.microsoft.com/office/drawing/2014/main" id="{0614C996-91D9-410F-93F1-7FE72BAF48B2}"/>
              </a:ext>
            </a:extLst>
          </p:cNvPr>
          <p:cNvSpPr>
            <a:spLocks noGrp="1"/>
          </p:cNvSpPr>
          <p:nvPr>
            <p:ph type="dt" sz="half" idx="10"/>
          </p:nvPr>
        </p:nvSpPr>
        <p:spPr/>
        <p:txBody>
          <a:bodyPr/>
          <a:lstStyle>
            <a:lvl1pPr>
              <a:defRPr/>
            </a:lvl1pPr>
          </a:lstStyle>
          <a:p>
            <a:pPr>
              <a:defRPr/>
            </a:pPr>
            <a:fld id="{A5E7C4A2-AB13-419B-94FE-406B99E2DC02}" type="datetimeFigureOut">
              <a:rPr lang="nl-NL"/>
              <a:pPr>
                <a:defRPr/>
              </a:pPr>
              <a:t>3-10-2022</a:t>
            </a:fld>
            <a:endParaRPr lang="nl-NL"/>
          </a:p>
        </p:txBody>
      </p:sp>
      <p:sp>
        <p:nvSpPr>
          <p:cNvPr id="6" name="Footer Placeholder 4">
            <a:extLst>
              <a:ext uri="{FF2B5EF4-FFF2-40B4-BE49-F238E27FC236}">
                <a16:creationId xmlns:a16="http://schemas.microsoft.com/office/drawing/2014/main" id="{366A0E52-5F3D-41C0-9D2A-F0AA38C7E876}"/>
              </a:ext>
            </a:extLst>
          </p:cNvPr>
          <p:cNvSpPr>
            <a:spLocks noGrp="1"/>
          </p:cNvSpPr>
          <p:nvPr>
            <p:ph type="ftr" sz="quarter" idx="11"/>
          </p:nvPr>
        </p:nvSpPr>
        <p:spPr/>
        <p:txBody>
          <a:bodyPr/>
          <a:lstStyle>
            <a:lvl1pPr>
              <a:defRPr/>
            </a:lvl1pPr>
          </a:lstStyle>
          <a:p>
            <a:pPr>
              <a:defRPr/>
            </a:pPr>
            <a:endParaRPr lang="nl-NL"/>
          </a:p>
        </p:txBody>
      </p:sp>
      <p:sp>
        <p:nvSpPr>
          <p:cNvPr id="7" name="Slide Number Placeholder 5">
            <a:extLst>
              <a:ext uri="{FF2B5EF4-FFF2-40B4-BE49-F238E27FC236}">
                <a16:creationId xmlns:a16="http://schemas.microsoft.com/office/drawing/2014/main" id="{F3801FE1-64D0-4CDA-B120-907C997B1824}"/>
              </a:ext>
            </a:extLst>
          </p:cNvPr>
          <p:cNvSpPr>
            <a:spLocks noGrp="1"/>
          </p:cNvSpPr>
          <p:nvPr>
            <p:ph type="sldNum" sz="quarter" idx="12"/>
          </p:nvPr>
        </p:nvSpPr>
        <p:spPr/>
        <p:txBody>
          <a:bodyPr/>
          <a:lstStyle>
            <a:lvl1pPr>
              <a:defRPr/>
            </a:lvl1pPr>
          </a:lstStyle>
          <a:p>
            <a:pPr>
              <a:defRPr/>
            </a:pPr>
            <a:fld id="{E5C7AA0C-AC07-471D-A921-B725CEDB244D}" type="slidenum">
              <a:rPr lang="nl-NL" altLang="nl-NL"/>
              <a:pPr>
                <a:defRPr/>
              </a:pPr>
              <a:t>‹N°›</a:t>
            </a:fld>
            <a:endParaRPr lang="nl-NL" altLang="nl-NL"/>
          </a:p>
        </p:txBody>
      </p:sp>
    </p:spTree>
    <p:extLst>
      <p:ext uri="{BB962C8B-B14F-4D97-AF65-F5344CB8AC3E}">
        <p14:creationId xmlns:p14="http://schemas.microsoft.com/office/powerpoint/2010/main" val="41547832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D2F0DCBD-6166-4615-B9A9-1B6DCCAB566F}"/>
              </a:ext>
            </a:extLst>
          </p:cNvPr>
          <p:cNvSpPr>
            <a:spLocks noGrp="1"/>
          </p:cNvSpPr>
          <p:nvPr>
            <p:ph type="dt" sz="half" idx="10"/>
          </p:nvPr>
        </p:nvSpPr>
        <p:spPr/>
        <p:txBody>
          <a:bodyPr/>
          <a:lstStyle>
            <a:lvl1pPr>
              <a:defRPr/>
            </a:lvl1pPr>
          </a:lstStyle>
          <a:p>
            <a:pPr>
              <a:defRPr/>
            </a:pPr>
            <a:fld id="{85DFA85C-522D-42D5-8368-77F9F60AEE6F}" type="datetimeFigureOut">
              <a:rPr lang="nl-NL"/>
              <a:pPr>
                <a:defRPr/>
              </a:pPr>
              <a:t>3-10-2022</a:t>
            </a:fld>
            <a:endParaRPr lang="nl-NL"/>
          </a:p>
        </p:txBody>
      </p:sp>
      <p:sp>
        <p:nvSpPr>
          <p:cNvPr id="5" name="Footer Placeholder 4">
            <a:extLst>
              <a:ext uri="{FF2B5EF4-FFF2-40B4-BE49-F238E27FC236}">
                <a16:creationId xmlns:a16="http://schemas.microsoft.com/office/drawing/2014/main" id="{85F84867-2DD0-4F7B-AAE6-05D704065F2D}"/>
              </a:ext>
            </a:extLst>
          </p:cNvPr>
          <p:cNvSpPr>
            <a:spLocks noGrp="1"/>
          </p:cNvSpPr>
          <p:nvPr>
            <p:ph type="ftr" sz="quarter" idx="11"/>
          </p:nvPr>
        </p:nvSpPr>
        <p:spPr/>
        <p:txBody>
          <a:bodyPr/>
          <a:lstStyle>
            <a:lvl1pPr>
              <a:defRPr/>
            </a:lvl1pPr>
          </a:lstStyle>
          <a:p>
            <a:pPr>
              <a:defRPr/>
            </a:pPr>
            <a:endParaRPr lang="nl-NL"/>
          </a:p>
        </p:txBody>
      </p:sp>
      <p:sp>
        <p:nvSpPr>
          <p:cNvPr id="6" name="Slide Number Placeholder 5">
            <a:extLst>
              <a:ext uri="{FF2B5EF4-FFF2-40B4-BE49-F238E27FC236}">
                <a16:creationId xmlns:a16="http://schemas.microsoft.com/office/drawing/2014/main" id="{6BA1DB12-5E3C-40B1-BBE9-47B15E068EF6}"/>
              </a:ext>
            </a:extLst>
          </p:cNvPr>
          <p:cNvSpPr>
            <a:spLocks noGrp="1"/>
          </p:cNvSpPr>
          <p:nvPr>
            <p:ph type="sldNum" sz="quarter" idx="12"/>
          </p:nvPr>
        </p:nvSpPr>
        <p:spPr/>
        <p:txBody>
          <a:bodyPr/>
          <a:lstStyle>
            <a:lvl1pPr>
              <a:defRPr/>
            </a:lvl1pPr>
          </a:lstStyle>
          <a:p>
            <a:pPr>
              <a:defRPr/>
            </a:pPr>
            <a:fld id="{743DFDB3-681F-4A82-A932-90364E471FB2}" type="slidenum">
              <a:rPr lang="nl-NL" altLang="nl-NL"/>
              <a:pPr>
                <a:defRPr/>
              </a:pPr>
              <a:t>‹N°›</a:t>
            </a:fld>
            <a:endParaRPr lang="nl-NL" altLang="nl-NL"/>
          </a:p>
        </p:txBody>
      </p:sp>
    </p:spTree>
    <p:extLst>
      <p:ext uri="{BB962C8B-B14F-4D97-AF65-F5344CB8AC3E}">
        <p14:creationId xmlns:p14="http://schemas.microsoft.com/office/powerpoint/2010/main" val="15603510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CC32E60-C57C-4D99-A9C2-C904C5F663F0}"/>
              </a:ext>
            </a:extLst>
          </p:cNvPr>
          <p:cNvSpPr>
            <a:spLocks noGrp="1"/>
          </p:cNvSpPr>
          <p:nvPr>
            <p:ph type="dt" sz="half" idx="10"/>
          </p:nvPr>
        </p:nvSpPr>
        <p:spPr/>
        <p:txBody>
          <a:bodyPr/>
          <a:lstStyle>
            <a:lvl1pPr>
              <a:defRPr/>
            </a:lvl1pPr>
          </a:lstStyle>
          <a:p>
            <a:pPr>
              <a:defRPr/>
            </a:pPr>
            <a:fld id="{AA190D60-E957-4BDA-8CA3-4B9B077133EC}" type="datetimeFigureOut">
              <a:rPr lang="nl-NL"/>
              <a:pPr>
                <a:defRPr/>
              </a:pPr>
              <a:t>3-10-2022</a:t>
            </a:fld>
            <a:endParaRPr lang="nl-NL"/>
          </a:p>
        </p:txBody>
      </p:sp>
      <p:sp>
        <p:nvSpPr>
          <p:cNvPr id="5" name="Footer Placeholder 4">
            <a:extLst>
              <a:ext uri="{FF2B5EF4-FFF2-40B4-BE49-F238E27FC236}">
                <a16:creationId xmlns:a16="http://schemas.microsoft.com/office/drawing/2014/main" id="{14130083-7568-4733-B249-30C66C1790FE}"/>
              </a:ext>
            </a:extLst>
          </p:cNvPr>
          <p:cNvSpPr>
            <a:spLocks noGrp="1"/>
          </p:cNvSpPr>
          <p:nvPr>
            <p:ph type="ftr" sz="quarter" idx="11"/>
          </p:nvPr>
        </p:nvSpPr>
        <p:spPr/>
        <p:txBody>
          <a:bodyPr/>
          <a:lstStyle>
            <a:lvl1pPr>
              <a:defRPr/>
            </a:lvl1pPr>
          </a:lstStyle>
          <a:p>
            <a:pPr>
              <a:defRPr/>
            </a:pPr>
            <a:endParaRPr lang="nl-NL"/>
          </a:p>
        </p:txBody>
      </p:sp>
      <p:sp>
        <p:nvSpPr>
          <p:cNvPr id="6" name="Slide Number Placeholder 5">
            <a:extLst>
              <a:ext uri="{FF2B5EF4-FFF2-40B4-BE49-F238E27FC236}">
                <a16:creationId xmlns:a16="http://schemas.microsoft.com/office/drawing/2014/main" id="{31CC1E46-DF70-417F-A533-174D2FE2B911}"/>
              </a:ext>
            </a:extLst>
          </p:cNvPr>
          <p:cNvSpPr>
            <a:spLocks noGrp="1"/>
          </p:cNvSpPr>
          <p:nvPr>
            <p:ph type="sldNum" sz="quarter" idx="12"/>
          </p:nvPr>
        </p:nvSpPr>
        <p:spPr/>
        <p:txBody>
          <a:bodyPr/>
          <a:lstStyle>
            <a:lvl1pPr>
              <a:defRPr/>
            </a:lvl1pPr>
          </a:lstStyle>
          <a:p>
            <a:pPr>
              <a:defRPr/>
            </a:pPr>
            <a:fld id="{91684D5E-7919-4FAB-9FA2-FC6B1844E903}" type="slidenum">
              <a:rPr lang="nl-NL" altLang="nl-NL"/>
              <a:pPr>
                <a:defRPr/>
              </a:pPr>
              <a:t>‹N°›</a:t>
            </a:fld>
            <a:endParaRPr lang="nl-NL" altLang="nl-NL"/>
          </a:p>
        </p:txBody>
      </p:sp>
    </p:spTree>
    <p:extLst>
      <p:ext uri="{BB962C8B-B14F-4D97-AF65-F5344CB8AC3E}">
        <p14:creationId xmlns:p14="http://schemas.microsoft.com/office/powerpoint/2010/main" val="24499771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E7C097CC-E47E-48B9-B0E6-598758E721A7}"/>
              </a:ext>
            </a:extLst>
          </p:cNvPr>
          <p:cNvSpPr>
            <a:spLocks noGrp="1"/>
          </p:cNvSpPr>
          <p:nvPr>
            <p:ph type="dt" sz="half" idx="10"/>
          </p:nvPr>
        </p:nvSpPr>
        <p:spPr/>
        <p:txBody>
          <a:bodyPr/>
          <a:lstStyle>
            <a:lvl1pPr>
              <a:defRPr/>
            </a:lvl1pPr>
          </a:lstStyle>
          <a:p>
            <a:pPr>
              <a:defRPr/>
            </a:pPr>
            <a:fld id="{E730E0AD-C2DA-41BC-8008-9A359ABE70D8}" type="datetime1">
              <a:rPr lang="en-GB"/>
              <a:pPr>
                <a:defRPr/>
              </a:pPr>
              <a:t>03/10/2022</a:t>
            </a:fld>
            <a:endParaRPr lang="en-GB"/>
          </a:p>
        </p:txBody>
      </p:sp>
      <p:sp>
        <p:nvSpPr>
          <p:cNvPr id="5" name="Footer Placeholder 4">
            <a:extLst>
              <a:ext uri="{FF2B5EF4-FFF2-40B4-BE49-F238E27FC236}">
                <a16:creationId xmlns:a16="http://schemas.microsoft.com/office/drawing/2014/main" id="{FD2A5C55-68B1-4A2F-AA1E-4B32DC0D6CBB}"/>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DF6C891B-163B-47E8-8C91-DC9F19D0AF76}"/>
              </a:ext>
            </a:extLst>
          </p:cNvPr>
          <p:cNvSpPr>
            <a:spLocks noGrp="1"/>
          </p:cNvSpPr>
          <p:nvPr>
            <p:ph type="sldNum" sz="quarter" idx="12"/>
          </p:nvPr>
        </p:nvSpPr>
        <p:spPr/>
        <p:txBody>
          <a:bodyPr/>
          <a:lstStyle>
            <a:lvl1pPr>
              <a:defRPr/>
            </a:lvl1pPr>
          </a:lstStyle>
          <a:p>
            <a:pPr>
              <a:defRPr/>
            </a:pPr>
            <a:fld id="{AF3CA4F7-7EEF-4BB4-BCEA-A69A9957A45A}" type="slidenum">
              <a:rPr lang="en-GB"/>
              <a:pPr>
                <a:defRPr/>
              </a:pPr>
              <a:t>‹N°›</a:t>
            </a:fld>
            <a:endParaRPr lang="en-GB"/>
          </a:p>
        </p:txBody>
      </p:sp>
    </p:spTree>
    <p:extLst>
      <p:ext uri="{BB962C8B-B14F-4D97-AF65-F5344CB8AC3E}">
        <p14:creationId xmlns:p14="http://schemas.microsoft.com/office/powerpoint/2010/main" val="8676611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4D58CBA1-80B6-4FC1-8A8C-1D3959B1EB2B}"/>
              </a:ext>
            </a:extLst>
          </p:cNvPr>
          <p:cNvSpPr>
            <a:spLocks noGrp="1"/>
          </p:cNvSpPr>
          <p:nvPr>
            <p:ph type="dt" sz="half" idx="10"/>
          </p:nvPr>
        </p:nvSpPr>
        <p:spPr/>
        <p:txBody>
          <a:bodyPr/>
          <a:lstStyle>
            <a:lvl1pPr>
              <a:defRPr/>
            </a:lvl1pPr>
          </a:lstStyle>
          <a:p>
            <a:pPr>
              <a:defRPr/>
            </a:pPr>
            <a:fld id="{E730E0AD-C2DA-41BC-8008-9A359ABE70D8}" type="datetime1">
              <a:rPr lang="en-GB"/>
              <a:pPr>
                <a:defRPr/>
              </a:pPr>
              <a:t>03/10/2022</a:t>
            </a:fld>
            <a:endParaRPr lang="en-GB"/>
          </a:p>
        </p:txBody>
      </p:sp>
      <p:sp>
        <p:nvSpPr>
          <p:cNvPr id="5" name="Footer Placeholder 4">
            <a:extLst>
              <a:ext uri="{FF2B5EF4-FFF2-40B4-BE49-F238E27FC236}">
                <a16:creationId xmlns:a16="http://schemas.microsoft.com/office/drawing/2014/main" id="{2D5DD40C-B0DB-4593-9D7C-332C043554F5}"/>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D39E2EBE-5F82-4AF2-A543-E87118041F77}"/>
              </a:ext>
            </a:extLst>
          </p:cNvPr>
          <p:cNvSpPr>
            <a:spLocks noGrp="1"/>
          </p:cNvSpPr>
          <p:nvPr>
            <p:ph type="sldNum" sz="quarter" idx="12"/>
          </p:nvPr>
        </p:nvSpPr>
        <p:spPr/>
        <p:txBody>
          <a:bodyPr/>
          <a:lstStyle>
            <a:lvl1pPr>
              <a:defRPr/>
            </a:lvl1pPr>
          </a:lstStyle>
          <a:p>
            <a:pPr>
              <a:defRPr/>
            </a:pPr>
            <a:fld id="{F28F3A6F-5EB0-4D7F-80A2-0435C5CB7A27}" type="slidenum">
              <a:rPr lang="en-GB"/>
              <a:pPr>
                <a:defRPr/>
              </a:pPr>
              <a:t>‹N°›</a:t>
            </a:fld>
            <a:endParaRPr lang="en-GB"/>
          </a:p>
        </p:txBody>
      </p:sp>
    </p:spTree>
    <p:extLst>
      <p:ext uri="{BB962C8B-B14F-4D97-AF65-F5344CB8AC3E}">
        <p14:creationId xmlns:p14="http://schemas.microsoft.com/office/powerpoint/2010/main" val="11522115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A5DEA57-F571-4B2B-AED5-86BC7EFA6817}"/>
              </a:ext>
            </a:extLst>
          </p:cNvPr>
          <p:cNvSpPr>
            <a:spLocks noGrp="1"/>
          </p:cNvSpPr>
          <p:nvPr>
            <p:ph type="dt" sz="half" idx="10"/>
          </p:nvPr>
        </p:nvSpPr>
        <p:spPr/>
        <p:txBody>
          <a:bodyPr/>
          <a:lstStyle>
            <a:lvl1pPr>
              <a:defRPr/>
            </a:lvl1pPr>
          </a:lstStyle>
          <a:p>
            <a:pPr>
              <a:defRPr/>
            </a:pPr>
            <a:fld id="{E730E0AD-C2DA-41BC-8008-9A359ABE70D8}" type="datetime1">
              <a:rPr lang="en-GB"/>
              <a:pPr>
                <a:defRPr/>
              </a:pPr>
              <a:t>03/10/2022</a:t>
            </a:fld>
            <a:endParaRPr lang="en-GB"/>
          </a:p>
        </p:txBody>
      </p:sp>
      <p:sp>
        <p:nvSpPr>
          <p:cNvPr id="5" name="Footer Placeholder 4">
            <a:extLst>
              <a:ext uri="{FF2B5EF4-FFF2-40B4-BE49-F238E27FC236}">
                <a16:creationId xmlns:a16="http://schemas.microsoft.com/office/drawing/2014/main" id="{967AE964-4AAF-4F55-95EB-D74C32D818D1}"/>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CC10F66E-E40A-45A4-B2EF-096316631C6B}"/>
              </a:ext>
            </a:extLst>
          </p:cNvPr>
          <p:cNvSpPr>
            <a:spLocks noGrp="1"/>
          </p:cNvSpPr>
          <p:nvPr>
            <p:ph type="sldNum" sz="quarter" idx="12"/>
          </p:nvPr>
        </p:nvSpPr>
        <p:spPr/>
        <p:txBody>
          <a:bodyPr/>
          <a:lstStyle>
            <a:lvl1pPr>
              <a:defRPr/>
            </a:lvl1pPr>
          </a:lstStyle>
          <a:p>
            <a:pPr>
              <a:defRPr/>
            </a:pPr>
            <a:fld id="{5D389FB7-5577-4986-B38E-1F6D44589CC6}" type="slidenum">
              <a:rPr lang="en-GB"/>
              <a:pPr>
                <a:defRPr/>
              </a:pPr>
              <a:t>‹N°›</a:t>
            </a:fld>
            <a:endParaRPr lang="en-GB"/>
          </a:p>
        </p:txBody>
      </p:sp>
    </p:spTree>
    <p:extLst>
      <p:ext uri="{BB962C8B-B14F-4D97-AF65-F5344CB8AC3E}">
        <p14:creationId xmlns:p14="http://schemas.microsoft.com/office/powerpoint/2010/main" val="12503383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 Deloitte 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36231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3850" b="1" i="0" baseline="0" dirty="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dirty="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3414A269-2F57-4381-8033-754A9246A57D}"/>
              </a:ext>
            </a:extLst>
          </p:cNvPr>
          <p:cNvSpPr>
            <a:spLocks noGrp="1"/>
          </p:cNvSpPr>
          <p:nvPr>
            <p:ph type="dt" sz="half" idx="10"/>
          </p:nvPr>
        </p:nvSpPr>
        <p:spPr/>
        <p:txBody>
          <a:bodyPr/>
          <a:lstStyle>
            <a:lvl1pPr>
              <a:defRPr/>
            </a:lvl1pPr>
          </a:lstStyle>
          <a:p>
            <a:pPr>
              <a:defRPr/>
            </a:pPr>
            <a:fld id="{E730E0AD-C2DA-41BC-8008-9A359ABE70D8}" type="datetime1">
              <a:rPr lang="en-GB"/>
              <a:pPr>
                <a:defRPr/>
              </a:pPr>
              <a:t>03/10/2022</a:t>
            </a:fld>
            <a:endParaRPr lang="en-GB"/>
          </a:p>
        </p:txBody>
      </p:sp>
      <p:sp>
        <p:nvSpPr>
          <p:cNvPr id="6" name="Footer Placeholder 5">
            <a:extLst>
              <a:ext uri="{FF2B5EF4-FFF2-40B4-BE49-F238E27FC236}">
                <a16:creationId xmlns:a16="http://schemas.microsoft.com/office/drawing/2014/main" id="{F78E550D-5DF5-4A42-A26F-23D007468DF7}"/>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6">
            <a:extLst>
              <a:ext uri="{FF2B5EF4-FFF2-40B4-BE49-F238E27FC236}">
                <a16:creationId xmlns:a16="http://schemas.microsoft.com/office/drawing/2014/main" id="{EC5CF270-8447-40FF-B12A-DFDA7A54F999}"/>
              </a:ext>
            </a:extLst>
          </p:cNvPr>
          <p:cNvSpPr>
            <a:spLocks noGrp="1"/>
          </p:cNvSpPr>
          <p:nvPr>
            <p:ph type="sldNum" sz="quarter" idx="12"/>
          </p:nvPr>
        </p:nvSpPr>
        <p:spPr/>
        <p:txBody>
          <a:bodyPr/>
          <a:lstStyle>
            <a:lvl1pPr>
              <a:defRPr/>
            </a:lvl1pPr>
          </a:lstStyle>
          <a:p>
            <a:pPr>
              <a:defRPr/>
            </a:pPr>
            <a:fld id="{44B260C1-0B05-49BF-BC0D-465FD1B8EABA}" type="slidenum">
              <a:rPr lang="en-GB"/>
              <a:pPr>
                <a:defRPr/>
              </a:pPr>
              <a:t>‹N°›</a:t>
            </a:fld>
            <a:endParaRPr lang="en-GB"/>
          </a:p>
        </p:txBody>
      </p:sp>
    </p:spTree>
    <p:extLst>
      <p:ext uri="{BB962C8B-B14F-4D97-AF65-F5344CB8AC3E}">
        <p14:creationId xmlns:p14="http://schemas.microsoft.com/office/powerpoint/2010/main" val="5772770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7099D938-6838-429B-95F9-C7CE24DEE376}"/>
              </a:ext>
            </a:extLst>
          </p:cNvPr>
          <p:cNvSpPr>
            <a:spLocks noGrp="1"/>
          </p:cNvSpPr>
          <p:nvPr>
            <p:ph type="dt" sz="half" idx="10"/>
          </p:nvPr>
        </p:nvSpPr>
        <p:spPr/>
        <p:txBody>
          <a:bodyPr/>
          <a:lstStyle>
            <a:lvl1pPr>
              <a:defRPr/>
            </a:lvl1pPr>
          </a:lstStyle>
          <a:p>
            <a:pPr>
              <a:defRPr/>
            </a:pPr>
            <a:fld id="{E730E0AD-C2DA-41BC-8008-9A359ABE70D8}" type="datetime1">
              <a:rPr lang="en-GB"/>
              <a:pPr>
                <a:defRPr/>
              </a:pPr>
              <a:t>03/10/2022</a:t>
            </a:fld>
            <a:endParaRPr lang="en-GB"/>
          </a:p>
        </p:txBody>
      </p:sp>
      <p:sp>
        <p:nvSpPr>
          <p:cNvPr id="8" name="Footer Placeholder 7">
            <a:extLst>
              <a:ext uri="{FF2B5EF4-FFF2-40B4-BE49-F238E27FC236}">
                <a16:creationId xmlns:a16="http://schemas.microsoft.com/office/drawing/2014/main" id="{5BED4C68-5695-4D47-83BB-841B2CBF6180}"/>
              </a:ext>
            </a:extLst>
          </p:cNvPr>
          <p:cNvSpPr>
            <a:spLocks noGrp="1"/>
          </p:cNvSpPr>
          <p:nvPr>
            <p:ph type="ftr" sz="quarter" idx="11"/>
          </p:nvPr>
        </p:nvSpPr>
        <p:spPr/>
        <p:txBody>
          <a:bodyPr/>
          <a:lstStyle>
            <a:lvl1pPr>
              <a:defRPr/>
            </a:lvl1pPr>
          </a:lstStyle>
          <a:p>
            <a:pPr>
              <a:defRPr/>
            </a:pPr>
            <a:endParaRPr lang="en-GB"/>
          </a:p>
        </p:txBody>
      </p:sp>
      <p:sp>
        <p:nvSpPr>
          <p:cNvPr id="9" name="Slide Number Placeholder 8">
            <a:extLst>
              <a:ext uri="{FF2B5EF4-FFF2-40B4-BE49-F238E27FC236}">
                <a16:creationId xmlns:a16="http://schemas.microsoft.com/office/drawing/2014/main" id="{491E71B5-66AA-46A3-865A-A81604204F5B}"/>
              </a:ext>
            </a:extLst>
          </p:cNvPr>
          <p:cNvSpPr>
            <a:spLocks noGrp="1"/>
          </p:cNvSpPr>
          <p:nvPr>
            <p:ph type="sldNum" sz="quarter" idx="12"/>
          </p:nvPr>
        </p:nvSpPr>
        <p:spPr/>
        <p:txBody>
          <a:bodyPr/>
          <a:lstStyle>
            <a:lvl1pPr>
              <a:defRPr/>
            </a:lvl1pPr>
          </a:lstStyle>
          <a:p>
            <a:pPr>
              <a:defRPr/>
            </a:pPr>
            <a:fld id="{D4594E99-A3DA-491A-96C6-5310571854B1}" type="slidenum">
              <a:rPr lang="en-GB"/>
              <a:pPr>
                <a:defRPr/>
              </a:pPr>
              <a:t>‹N°›</a:t>
            </a:fld>
            <a:endParaRPr lang="en-GB"/>
          </a:p>
        </p:txBody>
      </p:sp>
    </p:spTree>
    <p:extLst>
      <p:ext uri="{BB962C8B-B14F-4D97-AF65-F5344CB8AC3E}">
        <p14:creationId xmlns:p14="http://schemas.microsoft.com/office/powerpoint/2010/main" val="1339212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53750753-DB54-4195-8EC1-1B9DE2F9686D}"/>
              </a:ext>
            </a:extLst>
          </p:cNvPr>
          <p:cNvSpPr>
            <a:spLocks noGrp="1"/>
          </p:cNvSpPr>
          <p:nvPr>
            <p:ph type="dt" sz="half" idx="10"/>
          </p:nvPr>
        </p:nvSpPr>
        <p:spPr/>
        <p:txBody>
          <a:bodyPr/>
          <a:lstStyle>
            <a:lvl1pPr>
              <a:defRPr/>
            </a:lvl1pPr>
          </a:lstStyle>
          <a:p>
            <a:pPr>
              <a:defRPr/>
            </a:pPr>
            <a:fld id="{E730E0AD-C2DA-41BC-8008-9A359ABE70D8}" type="datetime1">
              <a:rPr lang="en-GB"/>
              <a:pPr>
                <a:defRPr/>
              </a:pPr>
              <a:t>03/10/2022</a:t>
            </a:fld>
            <a:endParaRPr lang="en-GB"/>
          </a:p>
        </p:txBody>
      </p:sp>
      <p:sp>
        <p:nvSpPr>
          <p:cNvPr id="4" name="Footer Placeholder 3">
            <a:extLst>
              <a:ext uri="{FF2B5EF4-FFF2-40B4-BE49-F238E27FC236}">
                <a16:creationId xmlns:a16="http://schemas.microsoft.com/office/drawing/2014/main" id="{3A71D26A-BC3C-4239-A200-DEB9BAFEBD30}"/>
              </a:ext>
            </a:extLst>
          </p:cNvPr>
          <p:cNvSpPr>
            <a:spLocks noGrp="1"/>
          </p:cNvSpPr>
          <p:nvPr>
            <p:ph type="ftr" sz="quarter" idx="11"/>
          </p:nvPr>
        </p:nvSpPr>
        <p:spPr/>
        <p:txBody>
          <a:bodyPr/>
          <a:lstStyle>
            <a:lvl1pPr>
              <a:defRPr/>
            </a:lvl1pPr>
          </a:lstStyle>
          <a:p>
            <a:pPr>
              <a:defRPr/>
            </a:pPr>
            <a:endParaRPr lang="en-GB"/>
          </a:p>
        </p:txBody>
      </p:sp>
      <p:sp>
        <p:nvSpPr>
          <p:cNvPr id="5" name="Slide Number Placeholder 4">
            <a:extLst>
              <a:ext uri="{FF2B5EF4-FFF2-40B4-BE49-F238E27FC236}">
                <a16:creationId xmlns:a16="http://schemas.microsoft.com/office/drawing/2014/main" id="{519BEDB4-2A0C-494E-92DD-1E50DB241CA8}"/>
              </a:ext>
            </a:extLst>
          </p:cNvPr>
          <p:cNvSpPr>
            <a:spLocks noGrp="1"/>
          </p:cNvSpPr>
          <p:nvPr>
            <p:ph type="sldNum" sz="quarter" idx="12"/>
          </p:nvPr>
        </p:nvSpPr>
        <p:spPr/>
        <p:txBody>
          <a:bodyPr/>
          <a:lstStyle>
            <a:lvl1pPr>
              <a:defRPr/>
            </a:lvl1pPr>
          </a:lstStyle>
          <a:p>
            <a:pPr>
              <a:defRPr/>
            </a:pPr>
            <a:fld id="{C909667F-AD35-4BD1-897F-0699BE217347}" type="slidenum">
              <a:rPr lang="en-GB"/>
              <a:pPr>
                <a:defRPr/>
              </a:pPr>
              <a:t>‹N°›</a:t>
            </a:fld>
            <a:endParaRPr lang="en-GB"/>
          </a:p>
        </p:txBody>
      </p:sp>
    </p:spTree>
    <p:extLst>
      <p:ext uri="{BB962C8B-B14F-4D97-AF65-F5344CB8AC3E}">
        <p14:creationId xmlns:p14="http://schemas.microsoft.com/office/powerpoint/2010/main" val="9612192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FE5879-2107-4D56-9F6E-965056316CDB}"/>
              </a:ext>
            </a:extLst>
          </p:cNvPr>
          <p:cNvSpPr>
            <a:spLocks noGrp="1"/>
          </p:cNvSpPr>
          <p:nvPr>
            <p:ph type="dt" sz="half" idx="10"/>
          </p:nvPr>
        </p:nvSpPr>
        <p:spPr/>
        <p:txBody>
          <a:bodyPr/>
          <a:lstStyle>
            <a:lvl1pPr>
              <a:defRPr/>
            </a:lvl1pPr>
          </a:lstStyle>
          <a:p>
            <a:pPr>
              <a:defRPr/>
            </a:pPr>
            <a:fld id="{E730E0AD-C2DA-41BC-8008-9A359ABE70D8}" type="datetime1">
              <a:rPr lang="en-GB"/>
              <a:pPr>
                <a:defRPr/>
              </a:pPr>
              <a:t>03/10/2022</a:t>
            </a:fld>
            <a:endParaRPr lang="en-GB"/>
          </a:p>
        </p:txBody>
      </p:sp>
      <p:sp>
        <p:nvSpPr>
          <p:cNvPr id="3" name="Footer Placeholder 2">
            <a:extLst>
              <a:ext uri="{FF2B5EF4-FFF2-40B4-BE49-F238E27FC236}">
                <a16:creationId xmlns:a16="http://schemas.microsoft.com/office/drawing/2014/main" id="{201A193A-E1B4-4102-A47F-869A5793FF7A}"/>
              </a:ext>
            </a:extLst>
          </p:cNvPr>
          <p:cNvSpPr>
            <a:spLocks noGrp="1"/>
          </p:cNvSpPr>
          <p:nvPr>
            <p:ph type="ftr" sz="quarter" idx="11"/>
          </p:nvPr>
        </p:nvSpPr>
        <p:spPr/>
        <p:txBody>
          <a:bodyPr/>
          <a:lstStyle>
            <a:lvl1pPr>
              <a:defRPr/>
            </a:lvl1pPr>
          </a:lstStyle>
          <a:p>
            <a:pPr>
              <a:defRPr/>
            </a:pPr>
            <a:endParaRPr lang="en-GB"/>
          </a:p>
        </p:txBody>
      </p:sp>
      <p:sp>
        <p:nvSpPr>
          <p:cNvPr id="4" name="Slide Number Placeholder 3">
            <a:extLst>
              <a:ext uri="{FF2B5EF4-FFF2-40B4-BE49-F238E27FC236}">
                <a16:creationId xmlns:a16="http://schemas.microsoft.com/office/drawing/2014/main" id="{5E5D69F1-699E-483C-AAC5-8FC65C5DCB14}"/>
              </a:ext>
            </a:extLst>
          </p:cNvPr>
          <p:cNvSpPr>
            <a:spLocks noGrp="1"/>
          </p:cNvSpPr>
          <p:nvPr>
            <p:ph type="sldNum" sz="quarter" idx="12"/>
          </p:nvPr>
        </p:nvSpPr>
        <p:spPr/>
        <p:txBody>
          <a:bodyPr/>
          <a:lstStyle>
            <a:lvl1pPr>
              <a:defRPr/>
            </a:lvl1pPr>
          </a:lstStyle>
          <a:p>
            <a:pPr>
              <a:defRPr/>
            </a:pPr>
            <a:fld id="{68CDE4A0-97CC-4E97-9ABA-5968C954D14A}" type="slidenum">
              <a:rPr lang="en-GB"/>
              <a:pPr>
                <a:defRPr/>
              </a:pPr>
              <a:t>‹N°›</a:t>
            </a:fld>
            <a:endParaRPr lang="en-GB"/>
          </a:p>
        </p:txBody>
      </p:sp>
    </p:spTree>
    <p:extLst>
      <p:ext uri="{BB962C8B-B14F-4D97-AF65-F5344CB8AC3E}">
        <p14:creationId xmlns:p14="http://schemas.microsoft.com/office/powerpoint/2010/main" val="13057506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EF7731C5-9860-4003-9FAF-524485098737}"/>
              </a:ext>
            </a:extLst>
          </p:cNvPr>
          <p:cNvSpPr>
            <a:spLocks noGrp="1"/>
          </p:cNvSpPr>
          <p:nvPr>
            <p:ph type="dt" sz="half" idx="10"/>
          </p:nvPr>
        </p:nvSpPr>
        <p:spPr/>
        <p:txBody>
          <a:bodyPr/>
          <a:lstStyle>
            <a:lvl1pPr>
              <a:defRPr/>
            </a:lvl1pPr>
          </a:lstStyle>
          <a:p>
            <a:pPr>
              <a:defRPr/>
            </a:pPr>
            <a:fld id="{E730E0AD-C2DA-41BC-8008-9A359ABE70D8}" type="datetime1">
              <a:rPr lang="en-GB"/>
              <a:pPr>
                <a:defRPr/>
              </a:pPr>
              <a:t>03/10/2022</a:t>
            </a:fld>
            <a:endParaRPr lang="en-GB"/>
          </a:p>
        </p:txBody>
      </p:sp>
      <p:sp>
        <p:nvSpPr>
          <p:cNvPr id="6" name="Footer Placeholder 5">
            <a:extLst>
              <a:ext uri="{FF2B5EF4-FFF2-40B4-BE49-F238E27FC236}">
                <a16:creationId xmlns:a16="http://schemas.microsoft.com/office/drawing/2014/main" id="{0F43850D-E3B6-4875-B8B9-D16D72C95691}"/>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6">
            <a:extLst>
              <a:ext uri="{FF2B5EF4-FFF2-40B4-BE49-F238E27FC236}">
                <a16:creationId xmlns:a16="http://schemas.microsoft.com/office/drawing/2014/main" id="{FA10F38A-AD1A-49FA-95D3-2014D24AA03B}"/>
              </a:ext>
            </a:extLst>
          </p:cNvPr>
          <p:cNvSpPr>
            <a:spLocks noGrp="1"/>
          </p:cNvSpPr>
          <p:nvPr>
            <p:ph type="sldNum" sz="quarter" idx="12"/>
          </p:nvPr>
        </p:nvSpPr>
        <p:spPr/>
        <p:txBody>
          <a:bodyPr/>
          <a:lstStyle>
            <a:lvl1pPr>
              <a:defRPr/>
            </a:lvl1pPr>
          </a:lstStyle>
          <a:p>
            <a:pPr>
              <a:defRPr/>
            </a:pPr>
            <a:fld id="{837E9661-5166-41EC-B800-82B3788B5304}" type="slidenum">
              <a:rPr lang="en-GB"/>
              <a:pPr>
                <a:defRPr/>
              </a:pPr>
              <a:t>‹N°›</a:t>
            </a:fld>
            <a:endParaRPr lang="en-GB"/>
          </a:p>
        </p:txBody>
      </p:sp>
    </p:spTree>
    <p:extLst>
      <p:ext uri="{BB962C8B-B14F-4D97-AF65-F5344CB8AC3E}">
        <p14:creationId xmlns:p14="http://schemas.microsoft.com/office/powerpoint/2010/main" val="2059683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1671ECEA-4BED-461C-BED4-5A609123DBEE}"/>
              </a:ext>
            </a:extLst>
          </p:cNvPr>
          <p:cNvSpPr>
            <a:spLocks noGrp="1"/>
          </p:cNvSpPr>
          <p:nvPr>
            <p:ph type="dt" sz="half" idx="10"/>
          </p:nvPr>
        </p:nvSpPr>
        <p:spPr/>
        <p:txBody>
          <a:bodyPr/>
          <a:lstStyle>
            <a:lvl1pPr>
              <a:defRPr/>
            </a:lvl1pPr>
          </a:lstStyle>
          <a:p>
            <a:pPr>
              <a:defRPr/>
            </a:pPr>
            <a:fld id="{E730E0AD-C2DA-41BC-8008-9A359ABE70D8}" type="datetime1">
              <a:rPr lang="en-GB"/>
              <a:pPr>
                <a:defRPr/>
              </a:pPr>
              <a:t>03/10/2022</a:t>
            </a:fld>
            <a:endParaRPr lang="en-GB"/>
          </a:p>
        </p:txBody>
      </p:sp>
      <p:sp>
        <p:nvSpPr>
          <p:cNvPr id="6" name="Footer Placeholder 5">
            <a:extLst>
              <a:ext uri="{FF2B5EF4-FFF2-40B4-BE49-F238E27FC236}">
                <a16:creationId xmlns:a16="http://schemas.microsoft.com/office/drawing/2014/main" id="{D0895080-9E17-41F5-84FE-FD2ECA2A1952}"/>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6">
            <a:extLst>
              <a:ext uri="{FF2B5EF4-FFF2-40B4-BE49-F238E27FC236}">
                <a16:creationId xmlns:a16="http://schemas.microsoft.com/office/drawing/2014/main" id="{5F5D60E6-C0CF-49B5-928A-822601A95502}"/>
              </a:ext>
            </a:extLst>
          </p:cNvPr>
          <p:cNvSpPr>
            <a:spLocks noGrp="1"/>
          </p:cNvSpPr>
          <p:nvPr>
            <p:ph type="sldNum" sz="quarter" idx="12"/>
          </p:nvPr>
        </p:nvSpPr>
        <p:spPr/>
        <p:txBody>
          <a:bodyPr/>
          <a:lstStyle>
            <a:lvl1pPr>
              <a:defRPr/>
            </a:lvl1pPr>
          </a:lstStyle>
          <a:p>
            <a:pPr>
              <a:defRPr/>
            </a:pPr>
            <a:fld id="{1D89E0A2-FF8D-4A07-96AC-6271EB1C3F62}" type="slidenum">
              <a:rPr lang="en-GB"/>
              <a:pPr>
                <a:defRPr/>
              </a:pPr>
              <a:t>‹N°›</a:t>
            </a:fld>
            <a:endParaRPr lang="en-GB"/>
          </a:p>
        </p:txBody>
      </p:sp>
    </p:spTree>
    <p:extLst>
      <p:ext uri="{BB962C8B-B14F-4D97-AF65-F5344CB8AC3E}">
        <p14:creationId xmlns:p14="http://schemas.microsoft.com/office/powerpoint/2010/main" val="39265637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39035D4-7919-4999-8FAF-61CE41C7EC66}"/>
              </a:ext>
            </a:extLst>
          </p:cNvPr>
          <p:cNvSpPr>
            <a:spLocks noGrp="1"/>
          </p:cNvSpPr>
          <p:nvPr>
            <p:ph type="dt" sz="half" idx="10"/>
          </p:nvPr>
        </p:nvSpPr>
        <p:spPr/>
        <p:txBody>
          <a:bodyPr/>
          <a:lstStyle>
            <a:lvl1pPr>
              <a:defRPr/>
            </a:lvl1pPr>
          </a:lstStyle>
          <a:p>
            <a:pPr>
              <a:defRPr/>
            </a:pPr>
            <a:fld id="{E730E0AD-C2DA-41BC-8008-9A359ABE70D8}" type="datetime1">
              <a:rPr lang="en-GB"/>
              <a:pPr>
                <a:defRPr/>
              </a:pPr>
              <a:t>03/10/2022</a:t>
            </a:fld>
            <a:endParaRPr lang="en-GB"/>
          </a:p>
        </p:txBody>
      </p:sp>
      <p:sp>
        <p:nvSpPr>
          <p:cNvPr id="5" name="Footer Placeholder 4">
            <a:extLst>
              <a:ext uri="{FF2B5EF4-FFF2-40B4-BE49-F238E27FC236}">
                <a16:creationId xmlns:a16="http://schemas.microsoft.com/office/drawing/2014/main" id="{708769C6-3D12-4D4C-B2BE-864495054FDD}"/>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5D177849-C564-4431-BC64-9ABEAB367C47}"/>
              </a:ext>
            </a:extLst>
          </p:cNvPr>
          <p:cNvSpPr>
            <a:spLocks noGrp="1"/>
          </p:cNvSpPr>
          <p:nvPr>
            <p:ph type="sldNum" sz="quarter" idx="12"/>
          </p:nvPr>
        </p:nvSpPr>
        <p:spPr/>
        <p:txBody>
          <a:bodyPr/>
          <a:lstStyle>
            <a:lvl1pPr>
              <a:defRPr/>
            </a:lvl1pPr>
          </a:lstStyle>
          <a:p>
            <a:pPr>
              <a:defRPr/>
            </a:pPr>
            <a:fld id="{4AE12D38-DC08-4D50-AAA0-4357B8379BA7}" type="slidenum">
              <a:rPr lang="en-GB"/>
              <a:pPr>
                <a:defRPr/>
              </a:pPr>
              <a:t>‹N°›</a:t>
            </a:fld>
            <a:endParaRPr lang="en-GB"/>
          </a:p>
        </p:txBody>
      </p:sp>
    </p:spTree>
    <p:extLst>
      <p:ext uri="{BB962C8B-B14F-4D97-AF65-F5344CB8AC3E}">
        <p14:creationId xmlns:p14="http://schemas.microsoft.com/office/powerpoint/2010/main" val="10493120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B59D1C60-A287-4D3F-AE3A-BB43B2D93A27}"/>
              </a:ext>
            </a:extLst>
          </p:cNvPr>
          <p:cNvSpPr>
            <a:spLocks noGrp="1"/>
          </p:cNvSpPr>
          <p:nvPr>
            <p:ph type="dt" sz="half" idx="10"/>
          </p:nvPr>
        </p:nvSpPr>
        <p:spPr/>
        <p:txBody>
          <a:bodyPr/>
          <a:lstStyle>
            <a:lvl1pPr>
              <a:defRPr/>
            </a:lvl1pPr>
          </a:lstStyle>
          <a:p>
            <a:pPr>
              <a:defRPr/>
            </a:pPr>
            <a:fld id="{E730E0AD-C2DA-41BC-8008-9A359ABE70D8}" type="datetime1">
              <a:rPr lang="en-GB"/>
              <a:pPr>
                <a:defRPr/>
              </a:pPr>
              <a:t>03/10/2022</a:t>
            </a:fld>
            <a:endParaRPr lang="en-GB"/>
          </a:p>
        </p:txBody>
      </p:sp>
      <p:sp>
        <p:nvSpPr>
          <p:cNvPr id="5" name="Footer Placeholder 4">
            <a:extLst>
              <a:ext uri="{FF2B5EF4-FFF2-40B4-BE49-F238E27FC236}">
                <a16:creationId xmlns:a16="http://schemas.microsoft.com/office/drawing/2014/main" id="{1DA0A50A-464D-4F1B-96ED-55ECCF986447}"/>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1AEFC209-8B0F-4A80-8256-C5EA612178AD}"/>
              </a:ext>
            </a:extLst>
          </p:cNvPr>
          <p:cNvSpPr>
            <a:spLocks noGrp="1"/>
          </p:cNvSpPr>
          <p:nvPr>
            <p:ph type="sldNum" sz="quarter" idx="12"/>
          </p:nvPr>
        </p:nvSpPr>
        <p:spPr/>
        <p:txBody>
          <a:bodyPr/>
          <a:lstStyle>
            <a:lvl1pPr>
              <a:defRPr/>
            </a:lvl1pPr>
          </a:lstStyle>
          <a:p>
            <a:pPr>
              <a:defRPr/>
            </a:pPr>
            <a:fld id="{4BEB47FB-72FF-477A-A730-8A3631E5E012}" type="slidenum">
              <a:rPr lang="en-GB"/>
              <a:pPr>
                <a:defRPr/>
              </a:pPr>
              <a:t>‹N°›</a:t>
            </a:fld>
            <a:endParaRPr lang="en-GB"/>
          </a:p>
        </p:txBody>
      </p:sp>
    </p:spTree>
    <p:extLst>
      <p:ext uri="{BB962C8B-B14F-4D97-AF65-F5344CB8AC3E}">
        <p14:creationId xmlns:p14="http://schemas.microsoft.com/office/powerpoint/2010/main" val="35769049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statement dar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68423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a:t>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GB" sz="650" noProof="0" dirty="0">
                <a:solidFill>
                  <a:schemeClr val="bg1"/>
                </a:solidFill>
              </a:rPr>
              <a:t>Presentation title</a:t>
            </a:r>
            <a:br>
              <a:rPr lang="en-GB" sz="650" noProof="0" dirty="0">
                <a:solidFill>
                  <a:schemeClr val="bg1"/>
                </a:solidFill>
              </a:rPr>
            </a:br>
            <a:r>
              <a:rPr lang="en-GB" sz="650" noProof="0" dirty="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GB" sz="650" noProof="0" dirty="0">
                <a:solidFill>
                  <a:schemeClr val="bg1"/>
                </a:solidFill>
              </a:rPr>
              <a:t>Member firms and DTTL: Insert appropriate copyright</a:t>
            </a:r>
            <a:br>
              <a:rPr lang="en-GB" sz="650" noProof="0" dirty="0">
                <a:solidFill>
                  <a:schemeClr val="bg1"/>
                </a:solidFill>
              </a:rPr>
            </a:br>
            <a:r>
              <a:rPr lang="en-GB"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bg1"/>
                </a:solidFill>
              </a:rPr>
              <a:pPr marL="0" indent="0" algn="r">
                <a:spcBef>
                  <a:spcPts val="800"/>
                </a:spcBef>
                <a:buSzPct val="100000"/>
                <a:buFont typeface="Arial"/>
                <a:buNone/>
              </a:pPr>
              <a:t>‹N°›</a:t>
            </a:fld>
            <a:endParaRPr lang="en-GB"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statement te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7430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a:t>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GB" sz="650" noProof="0" dirty="0">
                <a:solidFill>
                  <a:schemeClr val="bg1"/>
                </a:solidFill>
              </a:rPr>
              <a:t>Presentation title</a:t>
            </a:r>
            <a:br>
              <a:rPr lang="en-GB" sz="650" noProof="0" dirty="0">
                <a:solidFill>
                  <a:schemeClr val="bg1"/>
                </a:solidFill>
              </a:rPr>
            </a:br>
            <a:r>
              <a:rPr lang="en-GB" sz="650" noProof="0" dirty="0">
                <a:solidFill>
                  <a:schemeClr val="bg1"/>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GB" sz="650" noProof="0" dirty="0">
                <a:solidFill>
                  <a:schemeClr val="bg1"/>
                </a:solidFill>
              </a:rPr>
              <a:t>Member firms and DTTL: Insert appropriate copyright</a:t>
            </a:r>
            <a:br>
              <a:rPr lang="en-GB" sz="650" noProof="0" dirty="0">
                <a:solidFill>
                  <a:schemeClr val="bg1"/>
                </a:solidFill>
              </a:rPr>
            </a:br>
            <a:r>
              <a:rPr lang="en-GB" sz="650" noProof="0" dirty="0">
                <a:solidFill>
                  <a:schemeClr val="bg1"/>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bg1"/>
                </a:solidFill>
              </a:rPr>
              <a:pPr marL="0" indent="0" algn="r">
                <a:spcBef>
                  <a:spcPts val="800"/>
                </a:spcBef>
                <a:buSzPct val="100000"/>
                <a:buFont typeface="Arial"/>
                <a:buNone/>
              </a:pPr>
              <a:t>‹N°›</a:t>
            </a:fld>
            <a:endParaRPr lang="en-GB"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91019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GB" sz="650" noProof="0" dirty="0">
                <a:solidFill>
                  <a:schemeClr val="bg1"/>
                </a:solidFill>
              </a:rPr>
              <a:t>Presentation title</a:t>
            </a:r>
            <a:br>
              <a:rPr lang="en-GB" sz="650" noProof="0" dirty="0">
                <a:solidFill>
                  <a:schemeClr val="bg1"/>
                </a:solidFill>
              </a:rPr>
            </a:br>
            <a:r>
              <a:rPr lang="en-GB" sz="650" noProof="0" dirty="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GB" sz="650" noProof="0" dirty="0">
                <a:solidFill>
                  <a:schemeClr val="bg1"/>
                </a:solidFill>
              </a:rPr>
              <a:t>Member firms and DTTL: Insert appropriate copyright</a:t>
            </a:r>
            <a:br>
              <a:rPr lang="en-GB" sz="650" noProof="0" dirty="0">
                <a:solidFill>
                  <a:schemeClr val="bg1"/>
                </a:solidFill>
              </a:rPr>
            </a:br>
            <a:r>
              <a:rPr lang="en-GB" sz="650" noProof="0" dirty="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bg1"/>
                </a:solidFill>
              </a:rPr>
              <a:pPr marL="0" indent="0" algn="r">
                <a:spcBef>
                  <a:spcPts val="800"/>
                </a:spcBef>
                <a:buSzPct val="100000"/>
                <a:buFont typeface="Arial"/>
                <a:buNone/>
              </a:pPr>
              <a:t>‹N°›</a:t>
            </a:fld>
            <a:endParaRPr lang="en-GB"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statement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47863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dirty="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4504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6000"/>
              </a:lnSpc>
              <a:buFont typeface="Wingdings 2" pitchFamily="18" charset="2"/>
              <a:buNone/>
            </a:pPr>
            <a:endParaRPr lang="en-GB"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GB" noProof="0" dirty="0"/>
              <a:t>Click to edit Master title sty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oleObject" Target="../embeddings/oleObject12.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21.xml"/><Relationship Id="rId2" Type="http://schemas.openxmlformats.org/officeDocument/2006/relationships/slideLayout" Target="../slideLayouts/slideLayout13.xml"/><Relationship Id="rId16" Type="http://schemas.openxmlformats.org/officeDocument/2006/relationships/tags" Target="../tags/tag2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1326450005"/>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15" imgW="270" imgH="270" progId="TCLayout.ActiveDocument.1">
                  <p:embed/>
                </p:oleObj>
              </mc:Choice>
              <mc:Fallback>
                <p:oleObj name="think-cell Folie" r:id="rId15" imgW="270" imgH="270" progId="TCLayout.ActiveDocument.1">
                  <p:embed/>
                  <p:pic>
                    <p:nvPicPr>
                      <p:cNvPr id="4" name="Object 3" hidden="1"/>
                      <p:cNvPicPr/>
                      <p:nvPr/>
                    </p:nvPicPr>
                    <p:blipFill>
                      <a:blip r:embed="rId16"/>
                      <a:stretch>
                        <a:fillRect/>
                      </a:stretch>
                    </p:blipFill>
                    <p:spPr>
                      <a:xfrm>
                        <a:off x="2119" y="1589"/>
                        <a:ext cx="2116" cy="1587"/>
                      </a:xfrm>
                      <a:prstGeom prst="rect">
                        <a:avLst/>
                      </a:prstGeom>
                    </p:spPr>
                  </p:pic>
                </p:oleObj>
              </mc:Fallback>
            </mc:AlternateContent>
          </a:graphicData>
        </a:graphic>
      </p:graphicFrame>
      <p:sp>
        <p:nvSpPr>
          <p:cNvPr id="3" name="Rectangle 2" hidden="1"/>
          <p:cNvSpPr/>
          <p:nvPr userDrawn="1">
            <p:custDataLst>
              <p:tags r:id="rId14"/>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0000"/>
              </a:lnSpc>
              <a:spcBef>
                <a:spcPct val="0"/>
              </a:spcBef>
              <a:spcAft>
                <a:spcPct val="0"/>
              </a:spcAft>
              <a:buFont typeface="Wingdings 2" pitchFamily="18" charset="2"/>
              <a:buNone/>
            </a:pPr>
            <a:endParaRPr lang="en-GB"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GB" noProof="0" dirty="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GB" sz="650" noProof="0" dirty="0">
                <a:solidFill>
                  <a:schemeClr val="bg1"/>
                </a:solidFill>
              </a:rPr>
              <a:t>Deloitte &amp; EuropeActive 2022</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bg1"/>
                </a:solidFill>
              </a:rPr>
              <a:pPr marL="0" indent="0" algn="r">
                <a:spcBef>
                  <a:spcPts val="800"/>
                </a:spcBef>
                <a:buSzPct val="100000"/>
                <a:buFont typeface="Arial"/>
                <a:buNone/>
              </a:pPr>
              <a:t>‹N°›</a:t>
            </a:fld>
            <a:endParaRPr lang="en-GB" sz="650" noProof="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07" r:id="rId3"/>
    <p:sldLayoutId id="2147483713" r:id="rId4"/>
    <p:sldLayoutId id="2147483708" r:id="rId5"/>
    <p:sldLayoutId id="2147483754" r:id="rId6"/>
    <p:sldLayoutId id="2147483711" r:id="rId7"/>
    <p:sldLayoutId id="2147483753" r:id="rId8"/>
    <p:sldLayoutId id="2147483695" r:id="rId9"/>
    <p:sldLayoutId id="2147483752" r:id="rId10"/>
    <p:sldLayoutId id="2147483696" r:id="rId1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6"/>
            </p:custDataLst>
            <p:extLst>
              <p:ext uri="{D42A27DB-BD31-4B8C-83A1-F6EECF244321}">
                <p14:modId xmlns:p14="http://schemas.microsoft.com/office/powerpoint/2010/main" val="1326450005"/>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2119" y="1589"/>
                        <a:ext cx="2116" cy="1587"/>
                      </a:xfrm>
                      <a:prstGeom prst="rect">
                        <a:avLst/>
                      </a:prstGeom>
                    </p:spPr>
                  </p:pic>
                </p:oleObj>
              </mc:Fallback>
            </mc:AlternateContent>
          </a:graphicData>
        </a:graphic>
      </p:graphicFrame>
      <p:sp>
        <p:nvSpPr>
          <p:cNvPr id="3" name="Rectangle 2" hidden="1"/>
          <p:cNvSpPr/>
          <p:nvPr userDrawn="1">
            <p:custDataLst>
              <p:tags r:id="rId17"/>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eaLnBrk="1">
              <a:lnSpc>
                <a:spcPct val="100000"/>
              </a:lnSpc>
              <a:spcBef>
                <a:spcPct val="0"/>
              </a:spcBef>
              <a:spcAft>
                <a:spcPct val="0"/>
              </a:spcAft>
              <a:buFont typeface="Wingdings 2" pitchFamily="18" charset="2"/>
              <a:buNone/>
            </a:pPr>
            <a:endParaRPr lang="en-GB"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GB" noProof="0" dirty="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GB" sz="650" noProof="0" smtClean="0">
                <a:solidFill>
                  <a:schemeClr val="tx1"/>
                </a:solidFill>
              </a:rPr>
              <a:pPr marL="0" indent="0" algn="r">
                <a:spcBef>
                  <a:spcPts val="800"/>
                </a:spcBef>
                <a:buSzPct val="100000"/>
                <a:buFont typeface="Arial"/>
                <a:buNone/>
              </a:pPr>
              <a:t>‹N°›</a:t>
            </a:fld>
            <a:endParaRPr lang="en-GB" sz="650" noProof="0" dirty="0">
              <a:solidFill>
                <a:schemeClr val="tx1"/>
              </a:solidFill>
            </a:endParaRPr>
          </a:p>
        </p:txBody>
      </p:sp>
    </p:spTree>
    <p:extLst>
      <p:ext uri="{BB962C8B-B14F-4D97-AF65-F5344CB8AC3E}">
        <p14:creationId xmlns:p14="http://schemas.microsoft.com/office/powerpoint/2010/main" val="2580289836"/>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3" orient="horz" pos="3968">
          <p15:clr>
            <a:srgbClr val="F26B43"/>
          </p15:clr>
        </p15:guide>
        <p15:guide id="4" pos="296">
          <p15:clr>
            <a:srgbClr val="F26B43"/>
          </p15:clr>
        </p15:guide>
        <p15:guide id="5" pos="7378">
          <p15:clr>
            <a:srgbClr val="F26B43"/>
          </p15:clr>
        </p15:guide>
        <p15:guide id="6" orient="horz" pos="1071">
          <p15:clr>
            <a:srgbClr val="F26B43"/>
          </p15:clr>
        </p15:guide>
        <p15:guide id="7" orient="horz" pos="245">
          <p15:clr>
            <a:srgbClr val="F26B43"/>
          </p15:clr>
        </p15:guide>
        <p15:guide id="8" orient="horz" pos="4081">
          <p15:clr>
            <a:srgbClr val="F26B43"/>
          </p15:clr>
        </p15:guide>
        <p15:guide id="17" pos="3783">
          <p15:clr>
            <a:srgbClr val="F26B43"/>
          </p15:clr>
        </p15:guide>
        <p15:guide id="18" pos="3896">
          <p15:clr>
            <a:srgbClr val="F26B43"/>
          </p15:clr>
        </p15:guide>
        <p15:guide id="19" pos="3840">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Title Placeholder 1">
            <a:extLst>
              <a:ext uri="{FF2B5EF4-FFF2-40B4-BE49-F238E27FC236}">
                <a16:creationId xmlns:a16="http://schemas.microsoft.com/office/drawing/2014/main" id="{83485737-02E1-467A-AFE5-13BC1DC9BD90}"/>
              </a:ext>
            </a:extLst>
          </p:cNvPr>
          <p:cNvSpPr>
            <a:spLocks noGrp="1"/>
          </p:cNvSpPr>
          <p:nvPr>
            <p:ph type="title"/>
          </p:nvPr>
        </p:nvSpPr>
        <p:spPr bwMode="auto">
          <a:xfrm>
            <a:off x="838200" y="365127"/>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nl-NL"/>
              <a:t>Click to edit Master title style</a:t>
            </a:r>
          </a:p>
        </p:txBody>
      </p:sp>
      <p:sp>
        <p:nvSpPr>
          <p:cNvPr id="14339" name="Text Placeholder 2">
            <a:extLst>
              <a:ext uri="{FF2B5EF4-FFF2-40B4-BE49-F238E27FC236}">
                <a16:creationId xmlns:a16="http://schemas.microsoft.com/office/drawing/2014/main" id="{0282C2B2-6673-449C-8757-26707C9DB99B}"/>
              </a:ext>
            </a:extLst>
          </p:cNvPr>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nl-NL"/>
              <a:t>Click to edit Master text styles</a:t>
            </a:r>
          </a:p>
          <a:p>
            <a:pPr lvl="1"/>
            <a:r>
              <a:rPr lang="en-US" altLang="nl-NL"/>
              <a:t>Second level</a:t>
            </a:r>
          </a:p>
          <a:p>
            <a:pPr lvl="2"/>
            <a:r>
              <a:rPr lang="en-US" altLang="nl-NL"/>
              <a:t>Third level</a:t>
            </a:r>
          </a:p>
          <a:p>
            <a:pPr lvl="3"/>
            <a:r>
              <a:rPr lang="en-US" altLang="nl-NL"/>
              <a:t>Fourth level</a:t>
            </a:r>
          </a:p>
          <a:p>
            <a:pPr lvl="4"/>
            <a:r>
              <a:rPr lang="en-US" altLang="nl-NL"/>
              <a:t>Fifth level</a:t>
            </a:r>
          </a:p>
        </p:txBody>
      </p:sp>
      <p:sp>
        <p:nvSpPr>
          <p:cNvPr id="4" name="Date Placeholder 3">
            <a:extLst>
              <a:ext uri="{FF2B5EF4-FFF2-40B4-BE49-F238E27FC236}">
                <a16:creationId xmlns:a16="http://schemas.microsoft.com/office/drawing/2014/main" id="{B3B17014-1CE1-4A6C-9D41-3A3383B5990C}"/>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fld id="{11C17864-4689-4F60-9C04-BBD6B3A90E6F}" type="datetimeFigureOut">
              <a:rPr lang="nl-NL"/>
              <a:pPr>
                <a:defRPr/>
              </a:pPr>
              <a:t>3-10-2022</a:t>
            </a:fld>
            <a:endParaRPr lang="nl-NL"/>
          </a:p>
        </p:txBody>
      </p:sp>
      <p:sp>
        <p:nvSpPr>
          <p:cNvPr id="5" name="Footer Placeholder 4">
            <a:extLst>
              <a:ext uri="{FF2B5EF4-FFF2-40B4-BE49-F238E27FC236}">
                <a16:creationId xmlns:a16="http://schemas.microsoft.com/office/drawing/2014/main" id="{66328C90-0E7C-4BEB-815C-6607D112602A}"/>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a:defRPr/>
            </a:pPr>
            <a:endParaRPr lang="nl-NL"/>
          </a:p>
        </p:txBody>
      </p:sp>
      <p:sp>
        <p:nvSpPr>
          <p:cNvPr id="6" name="Slide Number Placeholder 5">
            <a:extLst>
              <a:ext uri="{FF2B5EF4-FFF2-40B4-BE49-F238E27FC236}">
                <a16:creationId xmlns:a16="http://schemas.microsoft.com/office/drawing/2014/main" id="{65083108-0672-4B4A-A51E-8623BBF5FDD7}"/>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a:defRPr/>
            </a:pPr>
            <a:fld id="{5B669EEC-CAD3-4F50-86CC-574A1F88F569}" type="slidenum">
              <a:rPr lang="nl-NL" altLang="nl-NL"/>
              <a:pPr>
                <a:defRPr/>
              </a:pPr>
              <a:t>‹N°›</a:t>
            </a:fld>
            <a:endParaRPr lang="nl-NL" altLang="nl-NL"/>
          </a:p>
        </p:txBody>
      </p:sp>
    </p:spTree>
    <p:extLst>
      <p:ext uri="{BB962C8B-B14F-4D97-AF65-F5344CB8AC3E}">
        <p14:creationId xmlns:p14="http://schemas.microsoft.com/office/powerpoint/2010/main" val="1775766797"/>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Lst>
  <p:txStyles>
    <p:titleStyle>
      <a:lvl1pPr algn="l"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342900" algn="l" rtl="0" fontAlgn="base">
        <a:lnSpc>
          <a:spcPct val="90000"/>
        </a:lnSpc>
        <a:spcBef>
          <a:spcPct val="0"/>
        </a:spcBef>
        <a:spcAft>
          <a:spcPct val="0"/>
        </a:spcAft>
        <a:defRPr sz="3300">
          <a:solidFill>
            <a:schemeClr val="tx1"/>
          </a:solidFill>
          <a:latin typeface="Calibri Light" panose="020F0302020204030204" pitchFamily="34" charset="0"/>
        </a:defRPr>
      </a:lvl6pPr>
      <a:lvl7pPr marL="685800" algn="l" rtl="0" fontAlgn="base">
        <a:lnSpc>
          <a:spcPct val="90000"/>
        </a:lnSpc>
        <a:spcBef>
          <a:spcPct val="0"/>
        </a:spcBef>
        <a:spcAft>
          <a:spcPct val="0"/>
        </a:spcAft>
        <a:defRPr sz="3300">
          <a:solidFill>
            <a:schemeClr val="tx1"/>
          </a:solidFill>
          <a:latin typeface="Calibri Light" panose="020F0302020204030204" pitchFamily="34" charset="0"/>
        </a:defRPr>
      </a:lvl7pPr>
      <a:lvl8pPr marL="1028700" algn="l" rtl="0" fontAlgn="base">
        <a:lnSpc>
          <a:spcPct val="90000"/>
        </a:lnSpc>
        <a:spcBef>
          <a:spcPct val="0"/>
        </a:spcBef>
        <a:spcAft>
          <a:spcPct val="0"/>
        </a:spcAft>
        <a:defRPr sz="3300">
          <a:solidFill>
            <a:schemeClr val="tx1"/>
          </a:solidFill>
          <a:latin typeface="Calibri Light" panose="020F0302020204030204" pitchFamily="34" charset="0"/>
        </a:defRPr>
      </a:lvl8pPr>
      <a:lvl9pPr marL="1371600" algn="l"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Title Placeholder 1">
            <a:extLst>
              <a:ext uri="{FF2B5EF4-FFF2-40B4-BE49-F238E27FC236}">
                <a16:creationId xmlns:a16="http://schemas.microsoft.com/office/drawing/2014/main" id="{6FBC4CFF-0DB2-4F46-B9CD-246A169E6EE8}"/>
              </a:ext>
            </a:extLst>
          </p:cNvPr>
          <p:cNvSpPr>
            <a:spLocks noGrp="1"/>
          </p:cNvSpPr>
          <p:nvPr>
            <p:ph type="title"/>
          </p:nvPr>
        </p:nvSpPr>
        <p:spPr bwMode="auto">
          <a:xfrm>
            <a:off x="838200" y="365127"/>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nl-NL"/>
              <a:t>Click to edit Master title style</a:t>
            </a:r>
          </a:p>
        </p:txBody>
      </p:sp>
      <p:sp>
        <p:nvSpPr>
          <p:cNvPr id="19459" name="Text Placeholder 2">
            <a:extLst>
              <a:ext uri="{FF2B5EF4-FFF2-40B4-BE49-F238E27FC236}">
                <a16:creationId xmlns:a16="http://schemas.microsoft.com/office/drawing/2014/main" id="{3083AB09-BC9A-4F6A-85AD-019F1F2840CD}"/>
              </a:ext>
            </a:extLst>
          </p:cNvPr>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nl-NL"/>
              <a:t>Click to edit Master text styles</a:t>
            </a:r>
          </a:p>
          <a:p>
            <a:pPr lvl="1"/>
            <a:r>
              <a:rPr lang="en-US" altLang="nl-NL"/>
              <a:t>Second level</a:t>
            </a:r>
          </a:p>
          <a:p>
            <a:pPr lvl="2"/>
            <a:r>
              <a:rPr lang="en-US" altLang="nl-NL"/>
              <a:t>Third level</a:t>
            </a:r>
          </a:p>
          <a:p>
            <a:pPr lvl="3"/>
            <a:r>
              <a:rPr lang="en-US" altLang="nl-NL"/>
              <a:t>Fourth level</a:t>
            </a:r>
          </a:p>
          <a:p>
            <a:pPr lvl="4"/>
            <a:r>
              <a:rPr lang="en-US" altLang="nl-NL"/>
              <a:t>Fifth level</a:t>
            </a:r>
          </a:p>
        </p:txBody>
      </p:sp>
      <p:sp>
        <p:nvSpPr>
          <p:cNvPr id="4" name="Date Placeholder 3">
            <a:extLst>
              <a:ext uri="{FF2B5EF4-FFF2-40B4-BE49-F238E27FC236}">
                <a16:creationId xmlns:a16="http://schemas.microsoft.com/office/drawing/2014/main" id="{1FC290BD-00F4-460F-B0B6-D26328A48DE1}"/>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fld id="{DE60A864-1FCF-44BD-BCA1-C962A8CCDE47}" type="datetimeFigureOut">
              <a:rPr lang="nl-NL"/>
              <a:pPr>
                <a:defRPr/>
              </a:pPr>
              <a:t>3-10-2022</a:t>
            </a:fld>
            <a:endParaRPr lang="nl-NL"/>
          </a:p>
        </p:txBody>
      </p:sp>
      <p:sp>
        <p:nvSpPr>
          <p:cNvPr id="5" name="Footer Placeholder 4">
            <a:extLst>
              <a:ext uri="{FF2B5EF4-FFF2-40B4-BE49-F238E27FC236}">
                <a16:creationId xmlns:a16="http://schemas.microsoft.com/office/drawing/2014/main" id="{17981FE9-976C-4ED7-B840-EA695D6D19AD}"/>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a:defRPr/>
            </a:pPr>
            <a:endParaRPr lang="nl-NL"/>
          </a:p>
        </p:txBody>
      </p:sp>
      <p:sp>
        <p:nvSpPr>
          <p:cNvPr id="6" name="Slide Number Placeholder 5">
            <a:extLst>
              <a:ext uri="{FF2B5EF4-FFF2-40B4-BE49-F238E27FC236}">
                <a16:creationId xmlns:a16="http://schemas.microsoft.com/office/drawing/2014/main" id="{6D78A279-FD3E-49CA-86B2-B5EA852A5947}"/>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a:defRPr/>
            </a:pPr>
            <a:fld id="{C4DEF803-C80D-4C63-9F7D-0304E04D6AE5}" type="slidenum">
              <a:rPr lang="nl-NL" altLang="nl-NL"/>
              <a:pPr>
                <a:defRPr/>
              </a:pPr>
              <a:t>‹N°›</a:t>
            </a:fld>
            <a:endParaRPr lang="nl-NL" altLang="nl-NL"/>
          </a:p>
        </p:txBody>
      </p:sp>
    </p:spTree>
    <p:extLst>
      <p:ext uri="{BB962C8B-B14F-4D97-AF65-F5344CB8AC3E}">
        <p14:creationId xmlns:p14="http://schemas.microsoft.com/office/powerpoint/2010/main" val="1284895079"/>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Lst>
  <p:txStyles>
    <p:titleStyle>
      <a:lvl1pPr algn="l"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342900" algn="l" rtl="0" fontAlgn="base">
        <a:lnSpc>
          <a:spcPct val="90000"/>
        </a:lnSpc>
        <a:spcBef>
          <a:spcPct val="0"/>
        </a:spcBef>
        <a:spcAft>
          <a:spcPct val="0"/>
        </a:spcAft>
        <a:defRPr sz="3300">
          <a:solidFill>
            <a:schemeClr val="tx1"/>
          </a:solidFill>
          <a:latin typeface="Calibri Light" panose="020F0302020204030204" pitchFamily="34" charset="0"/>
        </a:defRPr>
      </a:lvl6pPr>
      <a:lvl7pPr marL="685800" algn="l" rtl="0" fontAlgn="base">
        <a:lnSpc>
          <a:spcPct val="90000"/>
        </a:lnSpc>
        <a:spcBef>
          <a:spcPct val="0"/>
        </a:spcBef>
        <a:spcAft>
          <a:spcPct val="0"/>
        </a:spcAft>
        <a:defRPr sz="3300">
          <a:solidFill>
            <a:schemeClr val="tx1"/>
          </a:solidFill>
          <a:latin typeface="Calibri Light" panose="020F0302020204030204" pitchFamily="34" charset="0"/>
        </a:defRPr>
      </a:lvl7pPr>
      <a:lvl8pPr marL="1028700" algn="l" rtl="0" fontAlgn="base">
        <a:lnSpc>
          <a:spcPct val="90000"/>
        </a:lnSpc>
        <a:spcBef>
          <a:spcPct val="0"/>
        </a:spcBef>
        <a:spcAft>
          <a:spcPct val="0"/>
        </a:spcAft>
        <a:defRPr sz="3300">
          <a:solidFill>
            <a:schemeClr val="tx1"/>
          </a:solidFill>
          <a:latin typeface="Calibri Light" panose="020F0302020204030204" pitchFamily="34" charset="0"/>
        </a:defRPr>
      </a:lvl8pPr>
      <a:lvl9pPr marL="1371600" algn="l"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slideLayout" Target="../slideLayouts/slideLayout1.xml"/><Relationship Id="rId21" Type="http://schemas.openxmlformats.org/officeDocument/2006/relationships/image" Target="../media/image21.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 Type="http://schemas.openxmlformats.org/officeDocument/2006/relationships/tags" Target="../tags/tag39.xml"/><Relationship Id="rId16" Type="http://schemas.openxmlformats.org/officeDocument/2006/relationships/image" Target="../media/image16.png"/><Relationship Id="rId20" Type="http://schemas.openxmlformats.org/officeDocument/2006/relationships/image" Target="../media/image20.png"/><Relationship Id="rId1" Type="http://schemas.openxmlformats.org/officeDocument/2006/relationships/tags" Target="../tags/tag38.xml"/><Relationship Id="rId6" Type="http://schemas.openxmlformats.org/officeDocument/2006/relationships/image" Target="../media/image6.emf"/><Relationship Id="rId11" Type="http://schemas.openxmlformats.org/officeDocument/2006/relationships/image" Target="../media/image11.png"/><Relationship Id="rId5" Type="http://schemas.openxmlformats.org/officeDocument/2006/relationships/oleObject" Target="../embeddings/oleObject23.bin"/><Relationship Id="rId15" Type="http://schemas.openxmlformats.org/officeDocument/2006/relationships/image" Target="../media/image15.png"/><Relationship Id="rId23" Type="http://schemas.openxmlformats.org/officeDocument/2006/relationships/image" Target="../media/image23.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notesSlide" Target="../notesSlides/notesSlide1.xml"/><Relationship Id="rId9" Type="http://schemas.openxmlformats.org/officeDocument/2006/relationships/image" Target="../media/image9.png"/><Relationship Id="rId14" Type="http://schemas.openxmlformats.org/officeDocument/2006/relationships/image" Target="../media/image14.png"/><Relationship Id="rId22" Type="http://schemas.openxmlformats.org/officeDocument/2006/relationships/image" Target="../media/image22.png"/></Relationships>
</file>

<file path=ppt/slides/_rels/slide1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10.xml"/><Relationship Id="rId4"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Layout" Target="../slideLayouts/slideLayout10.xml"/><Relationship Id="rId4" Type="http://schemas.openxmlformats.org/officeDocument/2006/relationships/image" Target="../media/image50.png"/></Relationships>
</file>

<file path=ppt/slides/_rels/slide1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image" Target="../media/image55.jpeg"/><Relationship Id="rId7" Type="http://schemas.openxmlformats.org/officeDocument/2006/relationships/image" Target="../media/image47.png"/><Relationship Id="rId2" Type="http://schemas.openxmlformats.org/officeDocument/2006/relationships/image" Target="../media/image54.jpeg"/><Relationship Id="rId1" Type="http://schemas.openxmlformats.org/officeDocument/2006/relationships/slideLayout" Target="../slideLayouts/slideLayout7.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jpeg"/></Relationships>
</file>

<file path=ppt/slides/_rels/slide1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notesSlide" Target="../notesSlides/notesSlide9.xml"/><Relationship Id="rId7" Type="http://schemas.openxmlformats.org/officeDocument/2006/relationships/image" Target="../media/image60.png"/><Relationship Id="rId2" Type="http://schemas.openxmlformats.org/officeDocument/2006/relationships/slideLayout" Target="../slideLayouts/slideLayout11.xml"/><Relationship Id="rId1" Type="http://schemas.openxmlformats.org/officeDocument/2006/relationships/tags" Target="../tags/tag200.x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image" Target="../media/image59.jpeg"/></Relationships>
</file>

<file path=ppt/slides/_rels/slide17.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10.xml"/><Relationship Id="rId7" Type="http://schemas.openxmlformats.org/officeDocument/2006/relationships/image" Target="../media/image63.png"/><Relationship Id="rId2" Type="http://schemas.openxmlformats.org/officeDocument/2006/relationships/slideLayout" Target="../slideLayouts/slideLayout11.xml"/><Relationship Id="rId1" Type="http://schemas.openxmlformats.org/officeDocument/2006/relationships/tags" Target="../tags/tag201.xml"/><Relationship Id="rId6" Type="http://schemas.openxmlformats.org/officeDocument/2006/relationships/image" Target="../media/image62.jpeg"/><Relationship Id="rId5" Type="http://schemas.openxmlformats.org/officeDocument/2006/relationships/image" Target="../media/image6.emf"/><Relationship Id="rId4" Type="http://schemas.openxmlformats.org/officeDocument/2006/relationships/oleObject" Target="../embeddings/oleObject31.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6.emf"/><Relationship Id="rId5" Type="http://schemas.openxmlformats.org/officeDocument/2006/relationships/oleObject" Target="../embeddings/oleObject32.bin"/><Relationship Id="rId4"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png"/><Relationship Id="rId3" Type="http://schemas.openxmlformats.org/officeDocument/2006/relationships/slideLayout" Target="../slideLayouts/slideLayout23.xml"/><Relationship Id="rId7" Type="http://schemas.openxmlformats.org/officeDocument/2006/relationships/image" Target="../media/image7.png"/><Relationship Id="rId12" Type="http://schemas.openxmlformats.org/officeDocument/2006/relationships/image" Target="../media/image69.png"/><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6.emf"/><Relationship Id="rId11" Type="http://schemas.openxmlformats.org/officeDocument/2006/relationships/image" Target="../media/image68.png"/><Relationship Id="rId5" Type="http://schemas.openxmlformats.org/officeDocument/2006/relationships/oleObject" Target="../embeddings/oleObject33.bin"/><Relationship Id="rId10" Type="http://schemas.openxmlformats.org/officeDocument/2006/relationships/image" Target="../media/image67.png"/><Relationship Id="rId4" Type="http://schemas.openxmlformats.org/officeDocument/2006/relationships/notesSlide" Target="../notesSlides/notesSlide12.xml"/><Relationship Id="rId9" Type="http://schemas.openxmlformats.org/officeDocument/2006/relationships/image" Target="../media/image66.png"/><Relationship Id="rId14" Type="http://schemas.openxmlformats.org/officeDocument/2006/relationships/image" Target="../media/image7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72.jpg"/><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image" Target="../media/image6.emf"/><Relationship Id="rId5" Type="http://schemas.openxmlformats.org/officeDocument/2006/relationships/oleObject" Target="../embeddings/oleObject34.bin"/><Relationship Id="rId4" Type="http://schemas.openxmlformats.org/officeDocument/2006/relationships/notesSlide" Target="../notesSlides/notesSlide1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73.jp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notesSlide" Target="../notesSlides/notesSlide14.xml"/></Relationships>
</file>

<file path=ppt/slides/_rels/slide22.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slideLayout" Target="../slideLayouts/slideLayout23.xml"/><Relationship Id="rId7" Type="http://schemas.openxmlformats.org/officeDocument/2006/relationships/image" Target="../media/image74.jpg"/><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6.emf"/><Relationship Id="rId5" Type="http://schemas.openxmlformats.org/officeDocument/2006/relationships/oleObject" Target="../embeddings/oleObject36.bin"/><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23.xml"/><Relationship Id="rId7" Type="http://schemas.openxmlformats.org/officeDocument/2006/relationships/image" Target="../media/image76.jpg"/><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image" Target="../media/image6.emf"/><Relationship Id="rId5" Type="http://schemas.openxmlformats.org/officeDocument/2006/relationships/oleObject" Target="../embeddings/oleObject37.bin"/><Relationship Id="rId4"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8.png"/><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image" Target="../media/image6.emf"/><Relationship Id="rId5" Type="http://schemas.openxmlformats.org/officeDocument/2006/relationships/oleObject" Target="../embeddings/oleObject38.bin"/><Relationship Id="rId4" Type="http://schemas.openxmlformats.org/officeDocument/2006/relationships/notesSlide" Target="../notesSlides/notesSlide17.xml"/></Relationships>
</file>

<file path=ppt/slides/_rels/slide2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0.jpeg"/><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image" Target="../media/image6.emf"/><Relationship Id="rId5" Type="http://schemas.openxmlformats.org/officeDocument/2006/relationships/oleObject" Target="../embeddings/oleObject39.bin"/><Relationship Id="rId4"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xml"/><Relationship Id="rId1" Type="http://schemas.openxmlformats.org/officeDocument/2006/relationships/tags" Target="../tags/tag40.xml"/><Relationship Id="rId6" Type="http://schemas.openxmlformats.org/officeDocument/2006/relationships/image" Target="../media/image24.jpeg"/><Relationship Id="rId5" Type="http://schemas.openxmlformats.org/officeDocument/2006/relationships/image" Target="../media/image6.emf"/><Relationship Id="rId4" Type="http://schemas.openxmlformats.org/officeDocument/2006/relationships/oleObject" Target="../embeddings/oleObject24.bin"/></Relationships>
</file>

<file path=ppt/slides/_rels/slide5.xml.rels><?xml version="1.0" encoding="UTF-8" standalone="yes"?>
<Relationships xmlns="http://schemas.openxmlformats.org/package/2006/relationships"><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9" Type="http://schemas.openxmlformats.org/officeDocument/2006/relationships/tags" Target="../tags/tag79.xml"/><Relationship Id="rId21" Type="http://schemas.openxmlformats.org/officeDocument/2006/relationships/tags" Target="../tags/tag61.xml"/><Relationship Id="rId34" Type="http://schemas.openxmlformats.org/officeDocument/2006/relationships/tags" Target="../tags/tag74.xml"/><Relationship Id="rId42" Type="http://schemas.openxmlformats.org/officeDocument/2006/relationships/tags" Target="../tags/tag82.xml"/><Relationship Id="rId47" Type="http://schemas.openxmlformats.org/officeDocument/2006/relationships/tags" Target="../tags/tag87.xml"/><Relationship Id="rId50" Type="http://schemas.openxmlformats.org/officeDocument/2006/relationships/tags" Target="../tags/tag90.xml"/><Relationship Id="rId55" Type="http://schemas.openxmlformats.org/officeDocument/2006/relationships/tags" Target="../tags/tag95.xml"/><Relationship Id="rId63" Type="http://schemas.openxmlformats.org/officeDocument/2006/relationships/tags" Target="../tags/tag103.xml"/><Relationship Id="rId68" Type="http://schemas.openxmlformats.org/officeDocument/2006/relationships/tags" Target="../tags/tag108.xml"/><Relationship Id="rId76" Type="http://schemas.openxmlformats.org/officeDocument/2006/relationships/slideLayout" Target="../slideLayouts/slideLayout10.xml"/><Relationship Id="rId7" Type="http://schemas.openxmlformats.org/officeDocument/2006/relationships/tags" Target="../tags/tag47.xml"/><Relationship Id="rId71" Type="http://schemas.openxmlformats.org/officeDocument/2006/relationships/tags" Target="../tags/tag111.xml"/><Relationship Id="rId2" Type="http://schemas.openxmlformats.org/officeDocument/2006/relationships/tags" Target="../tags/tag42.xml"/><Relationship Id="rId16" Type="http://schemas.openxmlformats.org/officeDocument/2006/relationships/tags" Target="../tags/tag56.xml"/><Relationship Id="rId29" Type="http://schemas.openxmlformats.org/officeDocument/2006/relationships/tags" Target="../tags/tag69.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tags" Target="../tags/tag72.xml"/><Relationship Id="rId37" Type="http://schemas.openxmlformats.org/officeDocument/2006/relationships/tags" Target="../tags/tag77.xml"/><Relationship Id="rId40" Type="http://schemas.openxmlformats.org/officeDocument/2006/relationships/tags" Target="../tags/tag80.xml"/><Relationship Id="rId45" Type="http://schemas.openxmlformats.org/officeDocument/2006/relationships/tags" Target="../tags/tag85.xml"/><Relationship Id="rId53" Type="http://schemas.openxmlformats.org/officeDocument/2006/relationships/tags" Target="../tags/tag93.xml"/><Relationship Id="rId58" Type="http://schemas.openxmlformats.org/officeDocument/2006/relationships/tags" Target="../tags/tag98.xml"/><Relationship Id="rId66" Type="http://schemas.openxmlformats.org/officeDocument/2006/relationships/tags" Target="../tags/tag106.xml"/><Relationship Id="rId74" Type="http://schemas.openxmlformats.org/officeDocument/2006/relationships/tags" Target="../tags/tag114.xml"/><Relationship Id="rId79" Type="http://schemas.openxmlformats.org/officeDocument/2006/relationships/image" Target="../media/image6.emf"/><Relationship Id="rId5" Type="http://schemas.openxmlformats.org/officeDocument/2006/relationships/tags" Target="../tags/tag45.xml"/><Relationship Id="rId61" Type="http://schemas.openxmlformats.org/officeDocument/2006/relationships/tags" Target="../tags/tag101.xml"/><Relationship Id="rId82" Type="http://schemas.openxmlformats.org/officeDocument/2006/relationships/chart" Target="../charts/chart3.xml"/><Relationship Id="rId10" Type="http://schemas.openxmlformats.org/officeDocument/2006/relationships/tags" Target="../tags/tag50.xml"/><Relationship Id="rId19" Type="http://schemas.openxmlformats.org/officeDocument/2006/relationships/tags" Target="../tags/tag59.xml"/><Relationship Id="rId31" Type="http://schemas.openxmlformats.org/officeDocument/2006/relationships/tags" Target="../tags/tag71.xml"/><Relationship Id="rId44" Type="http://schemas.openxmlformats.org/officeDocument/2006/relationships/tags" Target="../tags/tag84.xml"/><Relationship Id="rId52" Type="http://schemas.openxmlformats.org/officeDocument/2006/relationships/tags" Target="../tags/tag92.xml"/><Relationship Id="rId60" Type="http://schemas.openxmlformats.org/officeDocument/2006/relationships/tags" Target="../tags/tag100.xml"/><Relationship Id="rId65" Type="http://schemas.openxmlformats.org/officeDocument/2006/relationships/tags" Target="../tags/tag105.xml"/><Relationship Id="rId73" Type="http://schemas.openxmlformats.org/officeDocument/2006/relationships/tags" Target="../tags/tag113.xml"/><Relationship Id="rId78" Type="http://schemas.openxmlformats.org/officeDocument/2006/relationships/oleObject" Target="../embeddings/oleObject25.bin"/><Relationship Id="rId81" Type="http://schemas.openxmlformats.org/officeDocument/2006/relationships/chart" Target="../charts/chart2.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tags" Target="../tags/tag70.xml"/><Relationship Id="rId35" Type="http://schemas.openxmlformats.org/officeDocument/2006/relationships/tags" Target="../tags/tag75.xml"/><Relationship Id="rId43" Type="http://schemas.openxmlformats.org/officeDocument/2006/relationships/tags" Target="../tags/tag83.xml"/><Relationship Id="rId48" Type="http://schemas.openxmlformats.org/officeDocument/2006/relationships/tags" Target="../tags/tag88.xml"/><Relationship Id="rId56" Type="http://schemas.openxmlformats.org/officeDocument/2006/relationships/tags" Target="../tags/tag96.xml"/><Relationship Id="rId64" Type="http://schemas.openxmlformats.org/officeDocument/2006/relationships/tags" Target="../tags/tag104.xml"/><Relationship Id="rId69" Type="http://schemas.openxmlformats.org/officeDocument/2006/relationships/tags" Target="../tags/tag109.xml"/><Relationship Id="rId77" Type="http://schemas.openxmlformats.org/officeDocument/2006/relationships/notesSlide" Target="../notesSlides/notesSlide3.xml"/><Relationship Id="rId8" Type="http://schemas.openxmlformats.org/officeDocument/2006/relationships/tags" Target="../tags/tag48.xml"/><Relationship Id="rId51" Type="http://schemas.openxmlformats.org/officeDocument/2006/relationships/tags" Target="../tags/tag91.xml"/><Relationship Id="rId72" Type="http://schemas.openxmlformats.org/officeDocument/2006/relationships/tags" Target="../tags/tag112.xml"/><Relationship Id="rId80" Type="http://schemas.openxmlformats.org/officeDocument/2006/relationships/chart" Target="../charts/chart1.xml"/><Relationship Id="rId3" Type="http://schemas.openxmlformats.org/officeDocument/2006/relationships/tags" Target="../tags/tag43.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33" Type="http://schemas.openxmlformats.org/officeDocument/2006/relationships/tags" Target="../tags/tag73.xml"/><Relationship Id="rId38" Type="http://schemas.openxmlformats.org/officeDocument/2006/relationships/tags" Target="../tags/tag78.xml"/><Relationship Id="rId46" Type="http://schemas.openxmlformats.org/officeDocument/2006/relationships/tags" Target="../tags/tag86.xml"/><Relationship Id="rId59" Type="http://schemas.openxmlformats.org/officeDocument/2006/relationships/tags" Target="../tags/tag99.xml"/><Relationship Id="rId67" Type="http://schemas.openxmlformats.org/officeDocument/2006/relationships/tags" Target="../tags/tag107.xml"/><Relationship Id="rId20" Type="http://schemas.openxmlformats.org/officeDocument/2006/relationships/tags" Target="../tags/tag60.xml"/><Relationship Id="rId41" Type="http://schemas.openxmlformats.org/officeDocument/2006/relationships/tags" Target="../tags/tag81.xml"/><Relationship Id="rId54" Type="http://schemas.openxmlformats.org/officeDocument/2006/relationships/tags" Target="../tags/tag94.xml"/><Relationship Id="rId62" Type="http://schemas.openxmlformats.org/officeDocument/2006/relationships/tags" Target="../tags/tag102.xml"/><Relationship Id="rId70" Type="http://schemas.openxmlformats.org/officeDocument/2006/relationships/tags" Target="../tags/tag110.xml"/><Relationship Id="rId75" Type="http://schemas.openxmlformats.org/officeDocument/2006/relationships/tags" Target="../tags/tag115.xml"/><Relationship Id="rId1" Type="http://schemas.openxmlformats.org/officeDocument/2006/relationships/tags" Target="../tags/tag41.xml"/><Relationship Id="rId6" Type="http://schemas.openxmlformats.org/officeDocument/2006/relationships/tags" Target="../tags/tag46.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tags" Target="../tags/tag68.xml"/><Relationship Id="rId36" Type="http://schemas.openxmlformats.org/officeDocument/2006/relationships/tags" Target="../tags/tag76.xml"/><Relationship Id="rId49" Type="http://schemas.openxmlformats.org/officeDocument/2006/relationships/tags" Target="../tags/tag89.xml"/><Relationship Id="rId57" Type="http://schemas.openxmlformats.org/officeDocument/2006/relationships/tags" Target="../tags/tag97.xml"/></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png"/><Relationship Id="rId3" Type="http://schemas.openxmlformats.org/officeDocument/2006/relationships/slideLayout" Target="../slideLayouts/slideLayout10.xml"/><Relationship Id="rId21" Type="http://schemas.openxmlformats.org/officeDocument/2006/relationships/image" Target="../media/image39.png"/><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png"/><Relationship Id="rId2" Type="http://schemas.openxmlformats.org/officeDocument/2006/relationships/tags" Target="../tags/tag117.xml"/><Relationship Id="rId16" Type="http://schemas.openxmlformats.org/officeDocument/2006/relationships/image" Target="../media/image34.png"/><Relationship Id="rId20" Type="http://schemas.openxmlformats.org/officeDocument/2006/relationships/image" Target="../media/image38.png"/><Relationship Id="rId1" Type="http://schemas.openxmlformats.org/officeDocument/2006/relationships/tags" Target="../tags/tag116.xml"/><Relationship Id="rId6" Type="http://schemas.openxmlformats.org/officeDocument/2006/relationships/image" Target="../media/image6.emf"/><Relationship Id="rId11" Type="http://schemas.openxmlformats.org/officeDocument/2006/relationships/image" Target="../media/image29.png"/><Relationship Id="rId24" Type="http://schemas.openxmlformats.org/officeDocument/2006/relationships/image" Target="../media/image42.png"/><Relationship Id="rId5" Type="http://schemas.openxmlformats.org/officeDocument/2006/relationships/oleObject" Target="../embeddings/oleObject26.bin"/><Relationship Id="rId15" Type="http://schemas.openxmlformats.org/officeDocument/2006/relationships/image" Target="../media/image33.png"/><Relationship Id="rId23" Type="http://schemas.openxmlformats.org/officeDocument/2006/relationships/image" Target="../media/image41.png"/><Relationship Id="rId10" Type="http://schemas.openxmlformats.org/officeDocument/2006/relationships/image" Target="../media/image28.png"/><Relationship Id="rId19" Type="http://schemas.openxmlformats.org/officeDocument/2006/relationships/image" Target="../media/image37.png"/><Relationship Id="rId4" Type="http://schemas.openxmlformats.org/officeDocument/2006/relationships/notesSlide" Target="../notesSlides/notesSlide4.xml"/><Relationship Id="rId9" Type="http://schemas.openxmlformats.org/officeDocument/2006/relationships/image" Target="../media/image27.png"/><Relationship Id="rId14" Type="http://schemas.openxmlformats.org/officeDocument/2006/relationships/image" Target="../media/image32.png"/><Relationship Id="rId22" Type="http://schemas.openxmlformats.org/officeDocument/2006/relationships/image" Target="../media/image40.png"/></Relationships>
</file>

<file path=ppt/slides/_rels/slide7.xml.rels><?xml version="1.0" encoding="UTF-8" standalone="yes"?>
<Relationships xmlns="http://schemas.openxmlformats.org/package/2006/relationships"><Relationship Id="rId13" Type="http://schemas.openxmlformats.org/officeDocument/2006/relationships/tags" Target="../tags/tag130.xml"/><Relationship Id="rId18" Type="http://schemas.openxmlformats.org/officeDocument/2006/relationships/tags" Target="../tags/tag135.xml"/><Relationship Id="rId26" Type="http://schemas.openxmlformats.org/officeDocument/2006/relationships/tags" Target="../tags/tag143.xml"/><Relationship Id="rId39" Type="http://schemas.openxmlformats.org/officeDocument/2006/relationships/tags" Target="../tags/tag156.xml"/><Relationship Id="rId21" Type="http://schemas.openxmlformats.org/officeDocument/2006/relationships/tags" Target="../tags/tag138.xml"/><Relationship Id="rId34" Type="http://schemas.openxmlformats.org/officeDocument/2006/relationships/tags" Target="../tags/tag151.xml"/><Relationship Id="rId42" Type="http://schemas.openxmlformats.org/officeDocument/2006/relationships/tags" Target="../tags/tag159.xml"/><Relationship Id="rId47" Type="http://schemas.openxmlformats.org/officeDocument/2006/relationships/tags" Target="../tags/tag164.xml"/><Relationship Id="rId50" Type="http://schemas.openxmlformats.org/officeDocument/2006/relationships/tags" Target="../tags/tag167.xml"/><Relationship Id="rId55" Type="http://schemas.openxmlformats.org/officeDocument/2006/relationships/tags" Target="../tags/tag172.xml"/><Relationship Id="rId63" Type="http://schemas.openxmlformats.org/officeDocument/2006/relationships/tags" Target="../tags/tag180.xml"/><Relationship Id="rId68" Type="http://schemas.openxmlformats.org/officeDocument/2006/relationships/tags" Target="../tags/tag185.xml"/><Relationship Id="rId76" Type="http://schemas.openxmlformats.org/officeDocument/2006/relationships/tags" Target="../tags/tag193.xml"/><Relationship Id="rId84" Type="http://schemas.openxmlformats.org/officeDocument/2006/relationships/chart" Target="../charts/chart5.xml"/><Relationship Id="rId7" Type="http://schemas.openxmlformats.org/officeDocument/2006/relationships/tags" Target="../tags/tag124.xml"/><Relationship Id="rId71" Type="http://schemas.openxmlformats.org/officeDocument/2006/relationships/tags" Target="../tags/tag188.xml"/><Relationship Id="rId2" Type="http://schemas.openxmlformats.org/officeDocument/2006/relationships/tags" Target="../tags/tag119.xml"/><Relationship Id="rId16" Type="http://schemas.openxmlformats.org/officeDocument/2006/relationships/tags" Target="../tags/tag133.xml"/><Relationship Id="rId29" Type="http://schemas.openxmlformats.org/officeDocument/2006/relationships/tags" Target="../tags/tag146.xml"/><Relationship Id="rId11" Type="http://schemas.openxmlformats.org/officeDocument/2006/relationships/tags" Target="../tags/tag128.xml"/><Relationship Id="rId24" Type="http://schemas.openxmlformats.org/officeDocument/2006/relationships/tags" Target="../tags/tag141.xml"/><Relationship Id="rId32" Type="http://schemas.openxmlformats.org/officeDocument/2006/relationships/tags" Target="../tags/tag149.xml"/><Relationship Id="rId37" Type="http://schemas.openxmlformats.org/officeDocument/2006/relationships/tags" Target="../tags/tag154.xml"/><Relationship Id="rId40" Type="http://schemas.openxmlformats.org/officeDocument/2006/relationships/tags" Target="../tags/tag157.xml"/><Relationship Id="rId45" Type="http://schemas.openxmlformats.org/officeDocument/2006/relationships/tags" Target="../tags/tag162.xml"/><Relationship Id="rId53" Type="http://schemas.openxmlformats.org/officeDocument/2006/relationships/tags" Target="../tags/tag170.xml"/><Relationship Id="rId58" Type="http://schemas.openxmlformats.org/officeDocument/2006/relationships/tags" Target="../tags/tag175.xml"/><Relationship Id="rId66" Type="http://schemas.openxmlformats.org/officeDocument/2006/relationships/tags" Target="../tags/tag183.xml"/><Relationship Id="rId74" Type="http://schemas.openxmlformats.org/officeDocument/2006/relationships/tags" Target="../tags/tag191.xml"/><Relationship Id="rId79" Type="http://schemas.openxmlformats.org/officeDocument/2006/relationships/slideLayout" Target="../slideLayouts/slideLayout10.xml"/><Relationship Id="rId5" Type="http://schemas.openxmlformats.org/officeDocument/2006/relationships/tags" Target="../tags/tag122.xml"/><Relationship Id="rId61" Type="http://schemas.openxmlformats.org/officeDocument/2006/relationships/tags" Target="../tags/tag178.xml"/><Relationship Id="rId82" Type="http://schemas.openxmlformats.org/officeDocument/2006/relationships/image" Target="../media/image6.emf"/><Relationship Id="rId10" Type="http://schemas.openxmlformats.org/officeDocument/2006/relationships/tags" Target="../tags/tag127.xml"/><Relationship Id="rId19" Type="http://schemas.openxmlformats.org/officeDocument/2006/relationships/tags" Target="../tags/tag136.xml"/><Relationship Id="rId31" Type="http://schemas.openxmlformats.org/officeDocument/2006/relationships/tags" Target="../tags/tag148.xml"/><Relationship Id="rId44" Type="http://schemas.openxmlformats.org/officeDocument/2006/relationships/tags" Target="../tags/tag161.xml"/><Relationship Id="rId52" Type="http://schemas.openxmlformats.org/officeDocument/2006/relationships/tags" Target="../tags/tag169.xml"/><Relationship Id="rId60" Type="http://schemas.openxmlformats.org/officeDocument/2006/relationships/tags" Target="../tags/tag177.xml"/><Relationship Id="rId65" Type="http://schemas.openxmlformats.org/officeDocument/2006/relationships/tags" Target="../tags/tag182.xml"/><Relationship Id="rId73" Type="http://schemas.openxmlformats.org/officeDocument/2006/relationships/tags" Target="../tags/tag190.xml"/><Relationship Id="rId78" Type="http://schemas.openxmlformats.org/officeDocument/2006/relationships/tags" Target="../tags/tag195.xml"/><Relationship Id="rId81" Type="http://schemas.openxmlformats.org/officeDocument/2006/relationships/oleObject" Target="../embeddings/oleObject27.bin"/><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tags" Target="../tags/tag139.xml"/><Relationship Id="rId27" Type="http://schemas.openxmlformats.org/officeDocument/2006/relationships/tags" Target="../tags/tag144.xml"/><Relationship Id="rId30" Type="http://schemas.openxmlformats.org/officeDocument/2006/relationships/tags" Target="../tags/tag147.xml"/><Relationship Id="rId35" Type="http://schemas.openxmlformats.org/officeDocument/2006/relationships/tags" Target="../tags/tag152.xml"/><Relationship Id="rId43" Type="http://schemas.openxmlformats.org/officeDocument/2006/relationships/tags" Target="../tags/tag160.xml"/><Relationship Id="rId48" Type="http://schemas.openxmlformats.org/officeDocument/2006/relationships/tags" Target="../tags/tag165.xml"/><Relationship Id="rId56" Type="http://schemas.openxmlformats.org/officeDocument/2006/relationships/tags" Target="../tags/tag173.xml"/><Relationship Id="rId64" Type="http://schemas.openxmlformats.org/officeDocument/2006/relationships/tags" Target="../tags/tag181.xml"/><Relationship Id="rId69" Type="http://schemas.openxmlformats.org/officeDocument/2006/relationships/tags" Target="../tags/tag186.xml"/><Relationship Id="rId77" Type="http://schemas.openxmlformats.org/officeDocument/2006/relationships/tags" Target="../tags/tag194.xml"/><Relationship Id="rId8" Type="http://schemas.openxmlformats.org/officeDocument/2006/relationships/tags" Target="../tags/tag125.xml"/><Relationship Id="rId51" Type="http://schemas.openxmlformats.org/officeDocument/2006/relationships/tags" Target="../tags/tag168.xml"/><Relationship Id="rId72" Type="http://schemas.openxmlformats.org/officeDocument/2006/relationships/tags" Target="../tags/tag189.xml"/><Relationship Id="rId80" Type="http://schemas.openxmlformats.org/officeDocument/2006/relationships/notesSlide" Target="../notesSlides/notesSlide5.xml"/><Relationship Id="rId3" Type="http://schemas.openxmlformats.org/officeDocument/2006/relationships/tags" Target="../tags/tag120.xml"/><Relationship Id="rId12" Type="http://schemas.openxmlformats.org/officeDocument/2006/relationships/tags" Target="../tags/tag129.xml"/><Relationship Id="rId17" Type="http://schemas.openxmlformats.org/officeDocument/2006/relationships/tags" Target="../tags/tag134.xml"/><Relationship Id="rId25" Type="http://schemas.openxmlformats.org/officeDocument/2006/relationships/tags" Target="../tags/tag142.xml"/><Relationship Id="rId33" Type="http://schemas.openxmlformats.org/officeDocument/2006/relationships/tags" Target="../tags/tag150.xml"/><Relationship Id="rId38" Type="http://schemas.openxmlformats.org/officeDocument/2006/relationships/tags" Target="../tags/tag155.xml"/><Relationship Id="rId46" Type="http://schemas.openxmlformats.org/officeDocument/2006/relationships/tags" Target="../tags/tag163.xml"/><Relationship Id="rId59" Type="http://schemas.openxmlformats.org/officeDocument/2006/relationships/tags" Target="../tags/tag176.xml"/><Relationship Id="rId67" Type="http://schemas.openxmlformats.org/officeDocument/2006/relationships/tags" Target="../tags/tag184.xml"/><Relationship Id="rId20" Type="http://schemas.openxmlformats.org/officeDocument/2006/relationships/tags" Target="../tags/tag137.xml"/><Relationship Id="rId41" Type="http://schemas.openxmlformats.org/officeDocument/2006/relationships/tags" Target="../tags/tag158.xml"/><Relationship Id="rId54" Type="http://schemas.openxmlformats.org/officeDocument/2006/relationships/tags" Target="../tags/tag171.xml"/><Relationship Id="rId62" Type="http://schemas.openxmlformats.org/officeDocument/2006/relationships/tags" Target="../tags/tag179.xml"/><Relationship Id="rId70" Type="http://schemas.openxmlformats.org/officeDocument/2006/relationships/tags" Target="../tags/tag187.xml"/><Relationship Id="rId75" Type="http://schemas.openxmlformats.org/officeDocument/2006/relationships/tags" Target="../tags/tag192.xml"/><Relationship Id="rId83" Type="http://schemas.openxmlformats.org/officeDocument/2006/relationships/chart" Target="../charts/chart4.xml"/><Relationship Id="rId1" Type="http://schemas.openxmlformats.org/officeDocument/2006/relationships/tags" Target="../tags/tag118.xml"/><Relationship Id="rId6" Type="http://schemas.openxmlformats.org/officeDocument/2006/relationships/tags" Target="../tags/tag123.xml"/><Relationship Id="rId15" Type="http://schemas.openxmlformats.org/officeDocument/2006/relationships/tags" Target="../tags/tag132.xml"/><Relationship Id="rId23" Type="http://schemas.openxmlformats.org/officeDocument/2006/relationships/tags" Target="../tags/tag140.xml"/><Relationship Id="rId28" Type="http://schemas.openxmlformats.org/officeDocument/2006/relationships/tags" Target="../tags/tag145.xml"/><Relationship Id="rId36" Type="http://schemas.openxmlformats.org/officeDocument/2006/relationships/tags" Target="../tags/tag153.xml"/><Relationship Id="rId49" Type="http://schemas.openxmlformats.org/officeDocument/2006/relationships/tags" Target="../tags/tag166.xml"/><Relationship Id="rId57" Type="http://schemas.openxmlformats.org/officeDocument/2006/relationships/tags" Target="../tags/tag174.xml"/></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7.png"/><Relationship Id="rId3" Type="http://schemas.openxmlformats.org/officeDocument/2006/relationships/slideLayout" Target="../slideLayouts/slideLayout10.xml"/><Relationship Id="rId7" Type="http://schemas.openxmlformats.org/officeDocument/2006/relationships/image" Target="../media/image29.png"/><Relationship Id="rId12" Type="http://schemas.openxmlformats.org/officeDocument/2006/relationships/image" Target="../media/image43.png"/><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6.emf"/><Relationship Id="rId11" Type="http://schemas.openxmlformats.org/officeDocument/2006/relationships/image" Target="../media/image32.png"/><Relationship Id="rId5" Type="http://schemas.openxmlformats.org/officeDocument/2006/relationships/oleObject" Target="../embeddings/oleObject28.bin"/><Relationship Id="rId10" Type="http://schemas.openxmlformats.org/officeDocument/2006/relationships/image" Target="../media/image42.png"/><Relationship Id="rId4" Type="http://schemas.openxmlformats.org/officeDocument/2006/relationships/notesSlide" Target="../notesSlides/notesSlide6.xml"/><Relationship Id="rId9" Type="http://schemas.openxmlformats.org/officeDocument/2006/relationships/image" Target="../media/image34.png"/><Relationship Id="rId14" Type="http://schemas.openxmlformats.org/officeDocument/2006/relationships/image" Target="../media/image40.png"/></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3.png"/><Relationship Id="rId3" Type="http://schemas.openxmlformats.org/officeDocument/2006/relationships/slideLayout" Target="../slideLayouts/slideLayout10.xml"/><Relationship Id="rId7" Type="http://schemas.openxmlformats.org/officeDocument/2006/relationships/image" Target="../media/image43.png"/><Relationship Id="rId12" Type="http://schemas.openxmlformats.org/officeDocument/2006/relationships/image" Target="../media/image42.png"/><Relationship Id="rId2" Type="http://schemas.openxmlformats.org/officeDocument/2006/relationships/tags" Target="../tags/tag199.xml"/><Relationship Id="rId16" Type="http://schemas.openxmlformats.org/officeDocument/2006/relationships/image" Target="../media/image34.png"/><Relationship Id="rId1" Type="http://schemas.openxmlformats.org/officeDocument/2006/relationships/tags" Target="../tags/tag198.xml"/><Relationship Id="rId6" Type="http://schemas.openxmlformats.org/officeDocument/2006/relationships/image" Target="../media/image6.emf"/><Relationship Id="rId11" Type="http://schemas.openxmlformats.org/officeDocument/2006/relationships/image" Target="../media/image30.png"/><Relationship Id="rId5" Type="http://schemas.openxmlformats.org/officeDocument/2006/relationships/oleObject" Target="../embeddings/oleObject29.bin"/><Relationship Id="rId15" Type="http://schemas.openxmlformats.org/officeDocument/2006/relationships/image" Target="../media/image29.png"/><Relationship Id="rId10" Type="http://schemas.openxmlformats.org/officeDocument/2006/relationships/image" Target="../media/image40.png"/><Relationship Id="rId4" Type="http://schemas.openxmlformats.org/officeDocument/2006/relationships/notesSlide" Target="../notesSlides/notesSlide7.xml"/><Relationship Id="rId9" Type="http://schemas.openxmlformats.org/officeDocument/2006/relationships/image" Target="../media/image37.png"/><Relationship Id="rId1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extLst>
              <p:ext uri="{D42A27DB-BD31-4B8C-83A1-F6EECF244321}">
                <p14:modId xmlns:p14="http://schemas.microsoft.com/office/powerpoint/2010/main" val="829994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93" imgH="493" progId="TCLayout.ActiveDocument.1">
                  <p:embed/>
                </p:oleObj>
              </mc:Choice>
              <mc:Fallback>
                <p:oleObj name="think-cell Folie" r:id="rId5" imgW="493" imgH="493" progId="TCLayout.ActiveDocument.1">
                  <p:embed/>
                  <p:pic>
                    <p:nvPicPr>
                      <p:cNvPr id="10" name="Object 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ctrTitle"/>
          </p:nvPr>
        </p:nvSpPr>
        <p:spPr>
          <a:xfrm>
            <a:off x="475200" y="4774692"/>
            <a:ext cx="6954300" cy="1306623"/>
          </a:xfrm>
        </p:spPr>
        <p:txBody>
          <a:bodyPr vert="horz"/>
          <a:lstStyle/>
          <a:p>
            <a:r>
              <a:rPr lang="en-GB" sz="2400" noProof="0" dirty="0">
                <a:solidFill>
                  <a:schemeClr val="bg1"/>
                </a:solidFill>
              </a:rPr>
              <a:t>Le </a:t>
            </a:r>
            <a:r>
              <a:rPr lang="en-GB" sz="2400" noProof="0" dirty="0" err="1">
                <a:solidFill>
                  <a:schemeClr val="bg1"/>
                </a:solidFill>
              </a:rPr>
              <a:t>marché</a:t>
            </a:r>
            <a:r>
              <a:rPr lang="en-GB" sz="2400" noProof="0" dirty="0">
                <a:solidFill>
                  <a:schemeClr val="bg1"/>
                </a:solidFill>
              </a:rPr>
              <a:t> </a:t>
            </a:r>
            <a:r>
              <a:rPr lang="en-GB" sz="2400" noProof="0" dirty="0" err="1">
                <a:solidFill>
                  <a:schemeClr val="bg1"/>
                </a:solidFill>
              </a:rPr>
              <a:t>européen</a:t>
            </a:r>
            <a:r>
              <a:rPr lang="en-GB" sz="2400" noProof="0" dirty="0">
                <a:solidFill>
                  <a:schemeClr val="bg1"/>
                </a:solidFill>
              </a:rPr>
              <a:t> du fitness et de la </a:t>
            </a:r>
            <a:r>
              <a:rPr lang="en-GB" sz="2400" noProof="0" dirty="0" err="1">
                <a:solidFill>
                  <a:schemeClr val="bg1"/>
                </a:solidFill>
              </a:rPr>
              <a:t>santé</a:t>
            </a:r>
            <a:endParaRPr lang="en-GB" sz="2400" noProof="0" dirty="0">
              <a:solidFill>
                <a:schemeClr val="bg1"/>
              </a:solidFill>
            </a:endParaRPr>
          </a:p>
        </p:txBody>
      </p:sp>
      <p:sp>
        <p:nvSpPr>
          <p:cNvPr id="7" name="Rectangle 6"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buFont typeface="Wingdings 2" pitchFamily="18" charset="2"/>
              <a:buNone/>
            </a:pPr>
            <a:endParaRPr lang="en-GB" sz="1800" b="1" dirty="0">
              <a:solidFill>
                <a:schemeClr val="bg1"/>
              </a:solidFill>
              <a:latin typeface="Verdana" panose="020B0604030504040204" pitchFamily="34" charset="0"/>
              <a:ea typeface="Open Sans" panose="020B0606030504020204" pitchFamily="34" charset="0"/>
              <a:cs typeface="Open Sans" panose="020B0606030504020204" pitchFamily="34" charset="0"/>
              <a:sym typeface="Verdana" panose="020B0604030504040204" pitchFamily="34" charset="0"/>
            </a:endParaRPr>
          </a:p>
        </p:txBody>
      </p:sp>
      <p:sp>
        <p:nvSpPr>
          <p:cNvPr id="11" name="Textplatzhalter 10">
            <a:extLst>
              <a:ext uri="{FF2B5EF4-FFF2-40B4-BE49-F238E27FC236}">
                <a16:creationId xmlns:a16="http://schemas.microsoft.com/office/drawing/2014/main" id="{4FA8369B-13CE-40A6-9EF2-54918CB2FC56}"/>
              </a:ext>
            </a:extLst>
          </p:cNvPr>
          <p:cNvSpPr>
            <a:spLocks noGrp="1"/>
          </p:cNvSpPr>
          <p:nvPr>
            <p:ph type="body" sz="quarter" idx="10"/>
          </p:nvPr>
        </p:nvSpPr>
        <p:spPr>
          <a:xfrm>
            <a:off x="475200" y="5808863"/>
            <a:ext cx="5594349" cy="1211516"/>
          </a:xfrm>
        </p:spPr>
        <p:txBody>
          <a:bodyPr/>
          <a:lstStyle/>
          <a:p>
            <a:r>
              <a:rPr lang="de-DE" sz="1800" b="1" dirty="0">
                <a:solidFill>
                  <a:srgbClr val="FFFF00"/>
                </a:solidFill>
              </a:rPr>
              <a:t>Herman Rutgers, Paris 22 </a:t>
            </a:r>
            <a:r>
              <a:rPr lang="de-DE" sz="1800" b="1" dirty="0" err="1">
                <a:solidFill>
                  <a:srgbClr val="FFFF00"/>
                </a:solidFill>
              </a:rPr>
              <a:t>Septembre</a:t>
            </a:r>
            <a:r>
              <a:rPr lang="de-DE" sz="1800" b="1" dirty="0">
                <a:solidFill>
                  <a:srgbClr val="FFFF00"/>
                </a:solidFill>
              </a:rPr>
              <a:t> 2022</a:t>
            </a:r>
          </a:p>
        </p:txBody>
      </p:sp>
      <p:pic>
        <p:nvPicPr>
          <p:cNvPr id="18" name="image479.png">
            <a:extLst>
              <a:ext uri="{FF2B5EF4-FFF2-40B4-BE49-F238E27FC236}">
                <a16:creationId xmlns:a16="http://schemas.microsoft.com/office/drawing/2014/main" id="{4D04E1A5-07B8-4513-A1FE-4E924D27680D}"/>
              </a:ext>
            </a:extLst>
          </p:cNvPr>
          <p:cNvPicPr/>
          <p:nvPr/>
        </p:nvPicPr>
        <p:blipFill>
          <a:blip r:embed="rId7" cstate="print"/>
          <a:stretch>
            <a:fillRect/>
          </a:stretch>
        </p:blipFill>
        <p:spPr>
          <a:xfrm>
            <a:off x="8672703" y="4383532"/>
            <a:ext cx="1357630" cy="391160"/>
          </a:xfrm>
          <a:prstGeom prst="rect">
            <a:avLst/>
          </a:prstGeom>
        </p:spPr>
      </p:pic>
      <p:pic>
        <p:nvPicPr>
          <p:cNvPr id="19" name="image480.png">
            <a:extLst>
              <a:ext uri="{FF2B5EF4-FFF2-40B4-BE49-F238E27FC236}">
                <a16:creationId xmlns:a16="http://schemas.microsoft.com/office/drawing/2014/main" id="{3B1380D3-C639-4FBB-B591-8D1DEE7320A2}"/>
              </a:ext>
            </a:extLst>
          </p:cNvPr>
          <p:cNvPicPr/>
          <p:nvPr/>
        </p:nvPicPr>
        <p:blipFill>
          <a:blip r:embed="rId8" cstate="print"/>
          <a:stretch>
            <a:fillRect/>
          </a:stretch>
        </p:blipFill>
        <p:spPr>
          <a:xfrm>
            <a:off x="10262299" y="4412425"/>
            <a:ext cx="1532255" cy="333375"/>
          </a:xfrm>
          <a:prstGeom prst="rect">
            <a:avLst/>
          </a:prstGeom>
        </p:spPr>
      </p:pic>
      <p:grpSp>
        <p:nvGrpSpPr>
          <p:cNvPr id="20" name="docshapegroup4467">
            <a:extLst>
              <a:ext uri="{FF2B5EF4-FFF2-40B4-BE49-F238E27FC236}">
                <a16:creationId xmlns:a16="http://schemas.microsoft.com/office/drawing/2014/main" id="{48CE3A7F-1749-47BD-BD9E-5460FCFC583D}"/>
              </a:ext>
            </a:extLst>
          </p:cNvPr>
          <p:cNvGrpSpPr>
            <a:grpSpLocks/>
          </p:cNvGrpSpPr>
          <p:nvPr/>
        </p:nvGrpSpPr>
        <p:grpSpPr bwMode="auto">
          <a:xfrm>
            <a:off x="8652383" y="5039106"/>
            <a:ext cx="1398270" cy="378460"/>
            <a:chOff x="9014" y="522"/>
            <a:chExt cx="2202" cy="596"/>
          </a:xfrm>
        </p:grpSpPr>
        <p:sp>
          <p:nvSpPr>
            <p:cNvPr id="21" name="docshape4468">
              <a:extLst>
                <a:ext uri="{FF2B5EF4-FFF2-40B4-BE49-F238E27FC236}">
                  <a16:creationId xmlns:a16="http://schemas.microsoft.com/office/drawing/2014/main" id="{8BE9C8B6-DB5A-46A3-BFAD-42C2845242C5}"/>
                </a:ext>
              </a:extLst>
            </p:cNvPr>
            <p:cNvSpPr>
              <a:spLocks/>
            </p:cNvSpPr>
            <p:nvPr/>
          </p:nvSpPr>
          <p:spPr bwMode="auto">
            <a:xfrm>
              <a:off x="9014" y="522"/>
              <a:ext cx="2202" cy="596"/>
            </a:xfrm>
            <a:custGeom>
              <a:avLst/>
              <a:gdLst>
                <a:gd name="T0" fmla="+- 0 10653 9014"/>
                <a:gd name="T1" fmla="*/ T0 w 2202"/>
                <a:gd name="T2" fmla="+- 0 522 522"/>
                <a:gd name="T3" fmla="*/ 522 h 596"/>
                <a:gd name="T4" fmla="+- 0 9014 9014"/>
                <a:gd name="T5" fmla="*/ T4 w 2202"/>
                <a:gd name="T6" fmla="+- 0 522 522"/>
                <a:gd name="T7" fmla="*/ 522 h 596"/>
                <a:gd name="T8" fmla="+- 0 9014 9014"/>
                <a:gd name="T9" fmla="*/ T8 w 2202"/>
                <a:gd name="T10" fmla="+- 0 747 522"/>
                <a:gd name="T11" fmla="*/ 747 h 596"/>
                <a:gd name="T12" fmla="+- 0 9104 9014"/>
                <a:gd name="T13" fmla="*/ T12 w 2202"/>
                <a:gd name="T14" fmla="+- 0 837 522"/>
                <a:gd name="T15" fmla="*/ 837 h 596"/>
                <a:gd name="T16" fmla="+- 0 9140 9014"/>
                <a:gd name="T17" fmla="*/ T16 w 2202"/>
                <a:gd name="T18" fmla="+- 0 837 522"/>
                <a:gd name="T19" fmla="*/ 837 h 596"/>
                <a:gd name="T20" fmla="+- 0 9140 9014"/>
                <a:gd name="T21" fmla="*/ T20 w 2202"/>
                <a:gd name="T22" fmla="+- 0 960 522"/>
                <a:gd name="T23" fmla="*/ 960 h 596"/>
                <a:gd name="T24" fmla="+- 0 9222 9014"/>
                <a:gd name="T25" fmla="*/ T24 w 2202"/>
                <a:gd name="T26" fmla="+- 0 1042 522"/>
                <a:gd name="T27" fmla="*/ 1042 h 596"/>
                <a:gd name="T28" fmla="+- 0 9401 9014"/>
                <a:gd name="T29" fmla="*/ T28 w 2202"/>
                <a:gd name="T30" fmla="+- 0 1042 522"/>
                <a:gd name="T31" fmla="*/ 1042 h 596"/>
                <a:gd name="T32" fmla="+- 0 9401 9014"/>
                <a:gd name="T33" fmla="*/ T32 w 2202"/>
                <a:gd name="T34" fmla="+- 0 1013 522"/>
                <a:gd name="T35" fmla="*/ 1013 h 596"/>
                <a:gd name="T36" fmla="+- 0 9741 9014"/>
                <a:gd name="T37" fmla="*/ T36 w 2202"/>
                <a:gd name="T38" fmla="+- 0 1013 522"/>
                <a:gd name="T39" fmla="*/ 1013 h 596"/>
                <a:gd name="T40" fmla="+- 0 9845 9014"/>
                <a:gd name="T41" fmla="*/ T40 w 2202"/>
                <a:gd name="T42" fmla="+- 0 1117 522"/>
                <a:gd name="T43" fmla="*/ 1117 h 596"/>
                <a:gd name="T44" fmla="+- 0 10759 9014"/>
                <a:gd name="T45" fmla="*/ T44 w 2202"/>
                <a:gd name="T46" fmla="+- 0 1117 522"/>
                <a:gd name="T47" fmla="*/ 1117 h 596"/>
                <a:gd name="T48" fmla="+- 0 10815 9014"/>
                <a:gd name="T49" fmla="*/ T48 w 2202"/>
                <a:gd name="T50" fmla="+- 0 1013 522"/>
                <a:gd name="T51" fmla="*/ 1013 h 596"/>
                <a:gd name="T52" fmla="+- 0 11190 9014"/>
                <a:gd name="T53" fmla="*/ T52 w 2202"/>
                <a:gd name="T54" fmla="+- 0 1013 522"/>
                <a:gd name="T55" fmla="*/ 1013 h 596"/>
                <a:gd name="T56" fmla="+- 0 11190 9014"/>
                <a:gd name="T57" fmla="*/ T56 w 2202"/>
                <a:gd name="T58" fmla="+- 0 792 522"/>
                <a:gd name="T59" fmla="*/ 792 h 596"/>
                <a:gd name="T60" fmla="+- 0 11200 9014"/>
                <a:gd name="T61" fmla="*/ T60 w 2202"/>
                <a:gd name="T62" fmla="+- 0 783 522"/>
                <a:gd name="T63" fmla="*/ 783 h 596"/>
                <a:gd name="T64" fmla="+- 0 11207 9014"/>
                <a:gd name="T65" fmla="*/ T64 w 2202"/>
                <a:gd name="T66" fmla="+- 0 773 522"/>
                <a:gd name="T67" fmla="*/ 773 h 596"/>
                <a:gd name="T68" fmla="+- 0 11213 9014"/>
                <a:gd name="T69" fmla="*/ T68 w 2202"/>
                <a:gd name="T70" fmla="+- 0 761 522"/>
                <a:gd name="T71" fmla="*/ 761 h 596"/>
                <a:gd name="T72" fmla="+- 0 11216 9014"/>
                <a:gd name="T73" fmla="*/ T72 w 2202"/>
                <a:gd name="T74" fmla="+- 0 747 522"/>
                <a:gd name="T75" fmla="*/ 747 h 596"/>
                <a:gd name="T76" fmla="+- 0 11215 9014"/>
                <a:gd name="T77" fmla="*/ T76 w 2202"/>
                <a:gd name="T78" fmla="+- 0 735 522"/>
                <a:gd name="T79" fmla="*/ 735 h 596"/>
                <a:gd name="T80" fmla="+- 0 11108 9014"/>
                <a:gd name="T81" fmla="*/ T80 w 2202"/>
                <a:gd name="T82" fmla="+- 0 612 522"/>
                <a:gd name="T83" fmla="*/ 612 h 596"/>
                <a:gd name="T84" fmla="+- 0 11065 9014"/>
                <a:gd name="T85" fmla="*/ T84 w 2202"/>
                <a:gd name="T86" fmla="+- 0 593 522"/>
                <a:gd name="T87" fmla="*/ 593 h 596"/>
                <a:gd name="T88" fmla="+- 0 11046 9014"/>
                <a:gd name="T89" fmla="*/ T88 w 2202"/>
                <a:gd name="T90" fmla="+- 0 596 522"/>
                <a:gd name="T91" fmla="*/ 596 h 596"/>
                <a:gd name="T92" fmla="+- 0 11031 9014"/>
                <a:gd name="T93" fmla="*/ T92 w 2202"/>
                <a:gd name="T94" fmla="+- 0 603 522"/>
                <a:gd name="T95" fmla="*/ 603 h 596"/>
                <a:gd name="T96" fmla="+- 0 11020 9014"/>
                <a:gd name="T97" fmla="*/ T96 w 2202"/>
                <a:gd name="T98" fmla="+- 0 614 522"/>
                <a:gd name="T99" fmla="*/ 614 h 596"/>
                <a:gd name="T100" fmla="+- 0 11012 9014"/>
                <a:gd name="T101" fmla="*/ T100 w 2202"/>
                <a:gd name="T102" fmla="+- 0 626 522"/>
                <a:gd name="T103" fmla="*/ 626 h 596"/>
                <a:gd name="T104" fmla="+- 0 10757 9014"/>
                <a:gd name="T105" fmla="*/ T104 w 2202"/>
                <a:gd name="T106" fmla="+- 0 626 522"/>
                <a:gd name="T107" fmla="*/ 626 h 596"/>
                <a:gd name="T108" fmla="+- 0 10653 9014"/>
                <a:gd name="T109" fmla="*/ T108 w 2202"/>
                <a:gd name="T110" fmla="+- 0 522 522"/>
                <a:gd name="T111" fmla="*/ 522 h 59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Lst>
              <a:rect l="0" t="0" r="r" b="b"/>
              <a:pathLst>
                <a:path w="2202" h="596">
                  <a:moveTo>
                    <a:pt x="1639" y="0"/>
                  </a:moveTo>
                  <a:lnTo>
                    <a:pt x="0" y="0"/>
                  </a:lnTo>
                  <a:lnTo>
                    <a:pt x="0" y="225"/>
                  </a:lnTo>
                  <a:lnTo>
                    <a:pt x="90" y="315"/>
                  </a:lnTo>
                  <a:lnTo>
                    <a:pt x="126" y="315"/>
                  </a:lnTo>
                  <a:lnTo>
                    <a:pt x="126" y="438"/>
                  </a:lnTo>
                  <a:lnTo>
                    <a:pt x="208" y="520"/>
                  </a:lnTo>
                  <a:lnTo>
                    <a:pt x="387" y="520"/>
                  </a:lnTo>
                  <a:lnTo>
                    <a:pt x="387" y="491"/>
                  </a:lnTo>
                  <a:lnTo>
                    <a:pt x="727" y="491"/>
                  </a:lnTo>
                  <a:lnTo>
                    <a:pt x="831" y="595"/>
                  </a:lnTo>
                  <a:lnTo>
                    <a:pt x="1745" y="595"/>
                  </a:lnTo>
                  <a:lnTo>
                    <a:pt x="1801" y="491"/>
                  </a:lnTo>
                  <a:lnTo>
                    <a:pt x="2176" y="491"/>
                  </a:lnTo>
                  <a:lnTo>
                    <a:pt x="2176" y="270"/>
                  </a:lnTo>
                  <a:lnTo>
                    <a:pt x="2186" y="261"/>
                  </a:lnTo>
                  <a:lnTo>
                    <a:pt x="2193" y="251"/>
                  </a:lnTo>
                  <a:lnTo>
                    <a:pt x="2199" y="239"/>
                  </a:lnTo>
                  <a:lnTo>
                    <a:pt x="2202" y="225"/>
                  </a:lnTo>
                  <a:lnTo>
                    <a:pt x="2201" y="213"/>
                  </a:lnTo>
                  <a:lnTo>
                    <a:pt x="2094" y="90"/>
                  </a:lnTo>
                  <a:lnTo>
                    <a:pt x="2051" y="71"/>
                  </a:lnTo>
                  <a:lnTo>
                    <a:pt x="2032" y="74"/>
                  </a:lnTo>
                  <a:lnTo>
                    <a:pt x="2017" y="81"/>
                  </a:lnTo>
                  <a:lnTo>
                    <a:pt x="2006" y="92"/>
                  </a:lnTo>
                  <a:lnTo>
                    <a:pt x="1998" y="104"/>
                  </a:lnTo>
                  <a:lnTo>
                    <a:pt x="1743" y="104"/>
                  </a:lnTo>
                  <a:lnTo>
                    <a:pt x="16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22" name="docshape4469">
              <a:extLst>
                <a:ext uri="{FF2B5EF4-FFF2-40B4-BE49-F238E27FC236}">
                  <a16:creationId xmlns:a16="http://schemas.microsoft.com/office/drawing/2014/main" id="{D910DA37-E5B4-415F-B94B-7CCE93975C3C}"/>
                </a:ext>
              </a:extLst>
            </p:cNvPr>
            <p:cNvSpPr>
              <a:spLocks/>
            </p:cNvSpPr>
            <p:nvPr/>
          </p:nvSpPr>
          <p:spPr bwMode="auto">
            <a:xfrm>
              <a:off x="9025" y="533"/>
              <a:ext cx="2179" cy="573"/>
            </a:xfrm>
            <a:custGeom>
              <a:avLst/>
              <a:gdLst>
                <a:gd name="T0" fmla="+- 0 10648 9026"/>
                <a:gd name="T1" fmla="*/ T0 w 2179"/>
                <a:gd name="T2" fmla="+- 0 533 533"/>
                <a:gd name="T3" fmla="*/ 533 h 573"/>
                <a:gd name="T4" fmla="+- 0 9026 9026"/>
                <a:gd name="T5" fmla="*/ T4 w 2179"/>
                <a:gd name="T6" fmla="+- 0 533 533"/>
                <a:gd name="T7" fmla="*/ 533 h 573"/>
                <a:gd name="T8" fmla="+- 0 9026 9026"/>
                <a:gd name="T9" fmla="*/ T8 w 2179"/>
                <a:gd name="T10" fmla="+- 0 742 533"/>
                <a:gd name="T11" fmla="*/ 742 h 573"/>
                <a:gd name="T12" fmla="+- 0 9109 9026"/>
                <a:gd name="T13" fmla="*/ T12 w 2179"/>
                <a:gd name="T14" fmla="+- 0 826 533"/>
                <a:gd name="T15" fmla="*/ 826 h 573"/>
                <a:gd name="T16" fmla="+- 0 9151 9026"/>
                <a:gd name="T17" fmla="*/ T16 w 2179"/>
                <a:gd name="T18" fmla="+- 0 826 533"/>
                <a:gd name="T19" fmla="*/ 826 h 573"/>
                <a:gd name="T20" fmla="+- 0 9151 9026"/>
                <a:gd name="T21" fmla="*/ T20 w 2179"/>
                <a:gd name="T22" fmla="+- 0 956 533"/>
                <a:gd name="T23" fmla="*/ 956 h 573"/>
                <a:gd name="T24" fmla="+- 0 9226 9026"/>
                <a:gd name="T25" fmla="*/ T24 w 2179"/>
                <a:gd name="T26" fmla="+- 0 1031 533"/>
                <a:gd name="T27" fmla="*/ 1031 h 573"/>
                <a:gd name="T28" fmla="+- 0 9390 9026"/>
                <a:gd name="T29" fmla="*/ T28 w 2179"/>
                <a:gd name="T30" fmla="+- 0 1031 533"/>
                <a:gd name="T31" fmla="*/ 1031 h 573"/>
                <a:gd name="T32" fmla="+- 0 9390 9026"/>
                <a:gd name="T33" fmla="*/ T32 w 2179"/>
                <a:gd name="T34" fmla="+- 0 1002 533"/>
                <a:gd name="T35" fmla="*/ 1002 h 573"/>
                <a:gd name="T36" fmla="+- 0 9746 9026"/>
                <a:gd name="T37" fmla="*/ T36 w 2179"/>
                <a:gd name="T38" fmla="+- 0 1002 533"/>
                <a:gd name="T39" fmla="*/ 1002 h 573"/>
                <a:gd name="T40" fmla="+- 0 9850 9026"/>
                <a:gd name="T41" fmla="*/ T40 w 2179"/>
                <a:gd name="T42" fmla="+- 0 1106 533"/>
                <a:gd name="T43" fmla="*/ 1106 h 573"/>
                <a:gd name="T44" fmla="+- 0 10752 9026"/>
                <a:gd name="T45" fmla="*/ T44 w 2179"/>
                <a:gd name="T46" fmla="+- 0 1106 533"/>
                <a:gd name="T47" fmla="*/ 1106 h 573"/>
                <a:gd name="T48" fmla="+- 0 10809 9026"/>
                <a:gd name="T49" fmla="*/ T48 w 2179"/>
                <a:gd name="T50" fmla="+- 0 1002 533"/>
                <a:gd name="T51" fmla="*/ 1002 h 573"/>
                <a:gd name="T52" fmla="+- 0 11179 9026"/>
                <a:gd name="T53" fmla="*/ T52 w 2179"/>
                <a:gd name="T54" fmla="+- 0 1002 533"/>
                <a:gd name="T55" fmla="*/ 1002 h 573"/>
                <a:gd name="T56" fmla="+- 0 11179 9026"/>
                <a:gd name="T57" fmla="*/ T56 w 2179"/>
                <a:gd name="T58" fmla="+- 0 785 533"/>
                <a:gd name="T59" fmla="*/ 785 h 573"/>
                <a:gd name="T60" fmla="+- 0 11188 9026"/>
                <a:gd name="T61" fmla="*/ T60 w 2179"/>
                <a:gd name="T62" fmla="+- 0 778 533"/>
                <a:gd name="T63" fmla="*/ 778 h 573"/>
                <a:gd name="T64" fmla="+- 0 11196 9026"/>
                <a:gd name="T65" fmla="*/ T64 w 2179"/>
                <a:gd name="T66" fmla="+- 0 770 533"/>
                <a:gd name="T67" fmla="*/ 770 h 573"/>
                <a:gd name="T68" fmla="+- 0 11201 9026"/>
                <a:gd name="T69" fmla="*/ T68 w 2179"/>
                <a:gd name="T70" fmla="+- 0 759 533"/>
                <a:gd name="T71" fmla="*/ 759 h 573"/>
                <a:gd name="T72" fmla="+- 0 11204 9026"/>
                <a:gd name="T73" fmla="*/ T72 w 2179"/>
                <a:gd name="T74" fmla="+- 0 747 533"/>
                <a:gd name="T75" fmla="*/ 747 h 573"/>
                <a:gd name="T76" fmla="+- 0 11204 9026"/>
                <a:gd name="T77" fmla="*/ T76 w 2179"/>
                <a:gd name="T78" fmla="+- 0 734 533"/>
                <a:gd name="T79" fmla="*/ 734 h 573"/>
                <a:gd name="T80" fmla="+- 0 11201 9026"/>
                <a:gd name="T81" fmla="*/ T80 w 2179"/>
                <a:gd name="T82" fmla="+- 0 723 533"/>
                <a:gd name="T83" fmla="*/ 723 h 573"/>
                <a:gd name="T84" fmla="+- 0 11193 9026"/>
                <a:gd name="T85" fmla="*/ T84 w 2179"/>
                <a:gd name="T86" fmla="+- 0 713 533"/>
                <a:gd name="T87" fmla="*/ 713 h 573"/>
                <a:gd name="T88" fmla="+- 0 11099 9026"/>
                <a:gd name="T89" fmla="*/ T88 w 2179"/>
                <a:gd name="T90" fmla="+- 0 620 533"/>
                <a:gd name="T91" fmla="*/ 620 h 573"/>
                <a:gd name="T92" fmla="+- 0 11092 9026"/>
                <a:gd name="T93" fmla="*/ T92 w 2179"/>
                <a:gd name="T94" fmla="+- 0 610 533"/>
                <a:gd name="T95" fmla="*/ 610 h 573"/>
                <a:gd name="T96" fmla="+- 0 11077 9026"/>
                <a:gd name="T97" fmla="*/ T96 w 2179"/>
                <a:gd name="T98" fmla="+- 0 604 533"/>
                <a:gd name="T99" fmla="*/ 604 h 573"/>
                <a:gd name="T100" fmla="+- 0 11065 9026"/>
                <a:gd name="T101" fmla="*/ T100 w 2179"/>
                <a:gd name="T102" fmla="+- 0 604 533"/>
                <a:gd name="T103" fmla="*/ 604 h 573"/>
                <a:gd name="T104" fmla="+- 0 11044 9026"/>
                <a:gd name="T105" fmla="*/ T104 w 2179"/>
                <a:gd name="T106" fmla="+- 0 605 533"/>
                <a:gd name="T107" fmla="*/ 605 h 573"/>
                <a:gd name="T108" fmla="+- 0 11032 9026"/>
                <a:gd name="T109" fmla="*/ T108 w 2179"/>
                <a:gd name="T110" fmla="+- 0 609 533"/>
                <a:gd name="T111" fmla="*/ 609 h 573"/>
                <a:gd name="T112" fmla="+- 0 11026 9026"/>
                <a:gd name="T113" fmla="*/ T112 w 2179"/>
                <a:gd name="T114" fmla="+- 0 618 533"/>
                <a:gd name="T115" fmla="*/ 618 h 573"/>
                <a:gd name="T116" fmla="+- 0 11020 9026"/>
                <a:gd name="T117" fmla="*/ T116 w 2179"/>
                <a:gd name="T118" fmla="+- 0 637 533"/>
                <a:gd name="T119" fmla="*/ 637 h 573"/>
                <a:gd name="T120" fmla="+- 0 10752 9026"/>
                <a:gd name="T121" fmla="*/ T120 w 2179"/>
                <a:gd name="T122" fmla="+- 0 637 533"/>
                <a:gd name="T123" fmla="*/ 637 h 573"/>
                <a:gd name="T124" fmla="+- 0 10648 9026"/>
                <a:gd name="T125" fmla="*/ T124 w 2179"/>
                <a:gd name="T126" fmla="+- 0 533 533"/>
                <a:gd name="T127" fmla="*/ 533 h 573"/>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Lst>
              <a:rect l="0" t="0" r="r" b="b"/>
              <a:pathLst>
                <a:path w="2179" h="573">
                  <a:moveTo>
                    <a:pt x="1622" y="0"/>
                  </a:moveTo>
                  <a:lnTo>
                    <a:pt x="0" y="0"/>
                  </a:lnTo>
                  <a:lnTo>
                    <a:pt x="0" y="209"/>
                  </a:lnTo>
                  <a:lnTo>
                    <a:pt x="83" y="293"/>
                  </a:lnTo>
                  <a:lnTo>
                    <a:pt x="125" y="293"/>
                  </a:lnTo>
                  <a:lnTo>
                    <a:pt x="125" y="423"/>
                  </a:lnTo>
                  <a:lnTo>
                    <a:pt x="200" y="498"/>
                  </a:lnTo>
                  <a:lnTo>
                    <a:pt x="364" y="498"/>
                  </a:lnTo>
                  <a:lnTo>
                    <a:pt x="364" y="469"/>
                  </a:lnTo>
                  <a:lnTo>
                    <a:pt x="720" y="469"/>
                  </a:lnTo>
                  <a:lnTo>
                    <a:pt x="824" y="573"/>
                  </a:lnTo>
                  <a:lnTo>
                    <a:pt x="1726" y="573"/>
                  </a:lnTo>
                  <a:lnTo>
                    <a:pt x="1783" y="469"/>
                  </a:lnTo>
                  <a:lnTo>
                    <a:pt x="2153" y="469"/>
                  </a:lnTo>
                  <a:lnTo>
                    <a:pt x="2153" y="252"/>
                  </a:lnTo>
                  <a:lnTo>
                    <a:pt x="2162" y="245"/>
                  </a:lnTo>
                  <a:lnTo>
                    <a:pt x="2170" y="237"/>
                  </a:lnTo>
                  <a:lnTo>
                    <a:pt x="2175" y="226"/>
                  </a:lnTo>
                  <a:lnTo>
                    <a:pt x="2178" y="214"/>
                  </a:lnTo>
                  <a:lnTo>
                    <a:pt x="2178" y="201"/>
                  </a:lnTo>
                  <a:lnTo>
                    <a:pt x="2175" y="190"/>
                  </a:lnTo>
                  <a:lnTo>
                    <a:pt x="2167" y="180"/>
                  </a:lnTo>
                  <a:lnTo>
                    <a:pt x="2073" y="87"/>
                  </a:lnTo>
                  <a:lnTo>
                    <a:pt x="2066" y="77"/>
                  </a:lnTo>
                  <a:lnTo>
                    <a:pt x="2051" y="71"/>
                  </a:lnTo>
                  <a:lnTo>
                    <a:pt x="2039" y="71"/>
                  </a:lnTo>
                  <a:lnTo>
                    <a:pt x="2018" y="72"/>
                  </a:lnTo>
                  <a:lnTo>
                    <a:pt x="2006" y="76"/>
                  </a:lnTo>
                  <a:lnTo>
                    <a:pt x="2000" y="85"/>
                  </a:lnTo>
                  <a:lnTo>
                    <a:pt x="1994" y="104"/>
                  </a:lnTo>
                  <a:lnTo>
                    <a:pt x="1726" y="104"/>
                  </a:lnTo>
                  <a:lnTo>
                    <a:pt x="1622" y="0"/>
                  </a:lnTo>
                  <a:close/>
                </a:path>
              </a:pathLst>
            </a:custGeom>
            <a:solidFill>
              <a:srgbClr val="F4E11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23" name="docshape4470">
              <a:extLst>
                <a:ext uri="{FF2B5EF4-FFF2-40B4-BE49-F238E27FC236}">
                  <a16:creationId xmlns:a16="http://schemas.microsoft.com/office/drawing/2014/main" id="{A24A4143-183B-4964-8D64-DCA5C8D867BB}"/>
                </a:ext>
              </a:extLst>
            </p:cNvPr>
            <p:cNvSpPr>
              <a:spLocks/>
            </p:cNvSpPr>
            <p:nvPr/>
          </p:nvSpPr>
          <p:spPr bwMode="auto">
            <a:xfrm>
              <a:off x="9077" y="615"/>
              <a:ext cx="1315" cy="304"/>
            </a:xfrm>
            <a:custGeom>
              <a:avLst/>
              <a:gdLst>
                <a:gd name="T0" fmla="+- 0 10393 9078"/>
                <a:gd name="T1" fmla="*/ T0 w 1315"/>
                <a:gd name="T2" fmla="+- 0 616 616"/>
                <a:gd name="T3" fmla="*/ 616 h 304"/>
                <a:gd name="T4" fmla="+- 0 9078 9078"/>
                <a:gd name="T5" fmla="*/ T4 w 1315"/>
                <a:gd name="T6" fmla="+- 0 616 616"/>
                <a:gd name="T7" fmla="*/ 616 h 304"/>
                <a:gd name="T8" fmla="+- 0 9078 9078"/>
                <a:gd name="T9" fmla="*/ T8 w 1315"/>
                <a:gd name="T10" fmla="+- 0 660 616"/>
                <a:gd name="T11" fmla="*/ 660 h 304"/>
                <a:gd name="T12" fmla="+- 0 9233 9078"/>
                <a:gd name="T13" fmla="*/ T12 w 1315"/>
                <a:gd name="T14" fmla="+- 0 660 616"/>
                <a:gd name="T15" fmla="*/ 660 h 304"/>
                <a:gd name="T16" fmla="+- 0 9233 9078"/>
                <a:gd name="T17" fmla="*/ T16 w 1315"/>
                <a:gd name="T18" fmla="+- 0 920 616"/>
                <a:gd name="T19" fmla="*/ 920 h 304"/>
                <a:gd name="T20" fmla="+- 0 9279 9078"/>
                <a:gd name="T21" fmla="*/ T20 w 1315"/>
                <a:gd name="T22" fmla="+- 0 920 616"/>
                <a:gd name="T23" fmla="*/ 920 h 304"/>
                <a:gd name="T24" fmla="+- 0 9279 9078"/>
                <a:gd name="T25" fmla="*/ T24 w 1315"/>
                <a:gd name="T26" fmla="+- 0 660 616"/>
                <a:gd name="T27" fmla="*/ 660 h 304"/>
                <a:gd name="T28" fmla="+- 0 10393 9078"/>
                <a:gd name="T29" fmla="*/ T28 w 1315"/>
                <a:gd name="T30" fmla="+- 0 660 616"/>
                <a:gd name="T31" fmla="*/ 660 h 304"/>
                <a:gd name="T32" fmla="+- 0 10393 9078"/>
                <a:gd name="T33" fmla="*/ T32 w 1315"/>
                <a:gd name="T34" fmla="+- 0 616 616"/>
                <a:gd name="T35" fmla="*/ 616 h 304"/>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Lst>
              <a:rect l="0" t="0" r="r" b="b"/>
              <a:pathLst>
                <a:path w="1315" h="304">
                  <a:moveTo>
                    <a:pt x="1315" y="0"/>
                  </a:moveTo>
                  <a:lnTo>
                    <a:pt x="0" y="0"/>
                  </a:lnTo>
                  <a:lnTo>
                    <a:pt x="0" y="44"/>
                  </a:lnTo>
                  <a:lnTo>
                    <a:pt x="155" y="44"/>
                  </a:lnTo>
                  <a:lnTo>
                    <a:pt x="155" y="304"/>
                  </a:lnTo>
                  <a:lnTo>
                    <a:pt x="201" y="304"/>
                  </a:lnTo>
                  <a:lnTo>
                    <a:pt x="201" y="44"/>
                  </a:lnTo>
                  <a:lnTo>
                    <a:pt x="1315" y="44"/>
                  </a:lnTo>
                  <a:lnTo>
                    <a:pt x="1315" y="0"/>
                  </a:lnTo>
                  <a:close/>
                </a:path>
              </a:pathLst>
            </a:custGeom>
            <a:solidFill>
              <a:srgbClr val="FFDE0C"/>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24" name="docshape4471">
              <a:extLst>
                <a:ext uri="{FF2B5EF4-FFF2-40B4-BE49-F238E27FC236}">
                  <a16:creationId xmlns:a16="http://schemas.microsoft.com/office/drawing/2014/main" id="{08B985FB-DA54-44D5-96C0-3571EDF8058F}"/>
                </a:ext>
              </a:extLst>
            </p:cNvPr>
            <p:cNvSpPr>
              <a:spLocks/>
            </p:cNvSpPr>
            <p:nvPr/>
          </p:nvSpPr>
          <p:spPr bwMode="auto">
            <a:xfrm>
              <a:off x="9077" y="615"/>
              <a:ext cx="1315" cy="304"/>
            </a:xfrm>
            <a:custGeom>
              <a:avLst/>
              <a:gdLst>
                <a:gd name="T0" fmla="+- 0 10393 9078"/>
                <a:gd name="T1" fmla="*/ T0 w 1315"/>
                <a:gd name="T2" fmla="+- 0 616 616"/>
                <a:gd name="T3" fmla="*/ 616 h 304"/>
                <a:gd name="T4" fmla="+- 0 9078 9078"/>
                <a:gd name="T5" fmla="*/ T4 w 1315"/>
                <a:gd name="T6" fmla="+- 0 616 616"/>
                <a:gd name="T7" fmla="*/ 616 h 304"/>
                <a:gd name="T8" fmla="+- 0 9078 9078"/>
                <a:gd name="T9" fmla="*/ T8 w 1315"/>
                <a:gd name="T10" fmla="+- 0 660 616"/>
                <a:gd name="T11" fmla="*/ 660 h 304"/>
                <a:gd name="T12" fmla="+- 0 9233 9078"/>
                <a:gd name="T13" fmla="*/ T12 w 1315"/>
                <a:gd name="T14" fmla="+- 0 660 616"/>
                <a:gd name="T15" fmla="*/ 660 h 304"/>
                <a:gd name="T16" fmla="+- 0 9233 9078"/>
                <a:gd name="T17" fmla="*/ T16 w 1315"/>
                <a:gd name="T18" fmla="+- 0 920 616"/>
                <a:gd name="T19" fmla="*/ 920 h 304"/>
                <a:gd name="T20" fmla="+- 0 9279 9078"/>
                <a:gd name="T21" fmla="*/ T20 w 1315"/>
                <a:gd name="T22" fmla="+- 0 920 616"/>
                <a:gd name="T23" fmla="*/ 920 h 304"/>
                <a:gd name="T24" fmla="+- 0 9279 9078"/>
                <a:gd name="T25" fmla="*/ T24 w 1315"/>
                <a:gd name="T26" fmla="+- 0 660 616"/>
                <a:gd name="T27" fmla="*/ 660 h 304"/>
                <a:gd name="T28" fmla="+- 0 10393 9078"/>
                <a:gd name="T29" fmla="*/ T28 w 1315"/>
                <a:gd name="T30" fmla="+- 0 660 616"/>
                <a:gd name="T31" fmla="*/ 660 h 304"/>
                <a:gd name="T32" fmla="+- 0 10393 9078"/>
                <a:gd name="T33" fmla="*/ T32 w 1315"/>
                <a:gd name="T34" fmla="+- 0 616 616"/>
                <a:gd name="T35" fmla="*/ 616 h 304"/>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Lst>
              <a:rect l="0" t="0" r="r" b="b"/>
              <a:pathLst>
                <a:path w="1315" h="304">
                  <a:moveTo>
                    <a:pt x="1315" y="0"/>
                  </a:moveTo>
                  <a:lnTo>
                    <a:pt x="0" y="0"/>
                  </a:lnTo>
                  <a:lnTo>
                    <a:pt x="0" y="44"/>
                  </a:lnTo>
                  <a:lnTo>
                    <a:pt x="155" y="44"/>
                  </a:lnTo>
                  <a:lnTo>
                    <a:pt x="155" y="304"/>
                  </a:lnTo>
                  <a:lnTo>
                    <a:pt x="201" y="304"/>
                  </a:lnTo>
                  <a:lnTo>
                    <a:pt x="201" y="44"/>
                  </a:lnTo>
                  <a:lnTo>
                    <a:pt x="1315" y="44"/>
                  </a:lnTo>
                  <a:lnTo>
                    <a:pt x="131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25" name="docshape4472">
              <a:extLst>
                <a:ext uri="{FF2B5EF4-FFF2-40B4-BE49-F238E27FC236}">
                  <a16:creationId xmlns:a16="http://schemas.microsoft.com/office/drawing/2014/main" id="{D12939CE-FBF8-45A4-94CD-0841569E2A4E}"/>
                </a:ext>
              </a:extLst>
            </p:cNvPr>
            <p:cNvSpPr>
              <a:spLocks/>
            </p:cNvSpPr>
            <p:nvPr/>
          </p:nvSpPr>
          <p:spPr bwMode="auto">
            <a:xfrm>
              <a:off x="9315" y="718"/>
              <a:ext cx="176" cy="172"/>
            </a:xfrm>
            <a:custGeom>
              <a:avLst/>
              <a:gdLst>
                <a:gd name="T0" fmla="+- 0 9491 9316"/>
                <a:gd name="T1" fmla="*/ T0 w 176"/>
                <a:gd name="T2" fmla="+- 0 844 718"/>
                <a:gd name="T3" fmla="*/ 844 h 172"/>
                <a:gd name="T4" fmla="+- 0 9361 9316"/>
                <a:gd name="T5" fmla="*/ T4 w 176"/>
                <a:gd name="T6" fmla="+- 0 844 718"/>
                <a:gd name="T7" fmla="*/ 844 h 172"/>
                <a:gd name="T8" fmla="+- 0 9361 9316"/>
                <a:gd name="T9" fmla="*/ T8 w 176"/>
                <a:gd name="T10" fmla="+- 0 824 718"/>
                <a:gd name="T11" fmla="*/ 824 h 172"/>
                <a:gd name="T12" fmla="+- 0 9441 9316"/>
                <a:gd name="T13" fmla="*/ T12 w 176"/>
                <a:gd name="T14" fmla="+- 0 824 718"/>
                <a:gd name="T15" fmla="*/ 824 h 172"/>
                <a:gd name="T16" fmla="+- 0 9441 9316"/>
                <a:gd name="T17" fmla="*/ T16 w 176"/>
                <a:gd name="T18" fmla="+- 0 782 718"/>
                <a:gd name="T19" fmla="*/ 782 h 172"/>
                <a:gd name="T20" fmla="+- 0 9361 9316"/>
                <a:gd name="T21" fmla="*/ T20 w 176"/>
                <a:gd name="T22" fmla="+- 0 782 718"/>
                <a:gd name="T23" fmla="*/ 782 h 172"/>
                <a:gd name="T24" fmla="+- 0 9361 9316"/>
                <a:gd name="T25" fmla="*/ T24 w 176"/>
                <a:gd name="T26" fmla="+- 0 764 718"/>
                <a:gd name="T27" fmla="*/ 764 h 172"/>
                <a:gd name="T28" fmla="+- 0 9488 9316"/>
                <a:gd name="T29" fmla="*/ T28 w 176"/>
                <a:gd name="T30" fmla="+- 0 764 718"/>
                <a:gd name="T31" fmla="*/ 764 h 172"/>
                <a:gd name="T32" fmla="+- 0 9488 9316"/>
                <a:gd name="T33" fmla="*/ T32 w 176"/>
                <a:gd name="T34" fmla="+- 0 718 718"/>
                <a:gd name="T35" fmla="*/ 718 h 172"/>
                <a:gd name="T36" fmla="+- 0 9316 9316"/>
                <a:gd name="T37" fmla="*/ T36 w 176"/>
                <a:gd name="T38" fmla="+- 0 718 718"/>
                <a:gd name="T39" fmla="*/ 718 h 172"/>
                <a:gd name="T40" fmla="+- 0 9316 9316"/>
                <a:gd name="T41" fmla="*/ T40 w 176"/>
                <a:gd name="T42" fmla="+- 0 764 718"/>
                <a:gd name="T43" fmla="*/ 764 h 172"/>
                <a:gd name="T44" fmla="+- 0 9316 9316"/>
                <a:gd name="T45" fmla="*/ T44 w 176"/>
                <a:gd name="T46" fmla="+- 0 782 718"/>
                <a:gd name="T47" fmla="*/ 782 h 172"/>
                <a:gd name="T48" fmla="+- 0 9316 9316"/>
                <a:gd name="T49" fmla="*/ T48 w 176"/>
                <a:gd name="T50" fmla="+- 0 824 718"/>
                <a:gd name="T51" fmla="*/ 824 h 172"/>
                <a:gd name="T52" fmla="+- 0 9316 9316"/>
                <a:gd name="T53" fmla="*/ T52 w 176"/>
                <a:gd name="T54" fmla="+- 0 844 718"/>
                <a:gd name="T55" fmla="*/ 844 h 172"/>
                <a:gd name="T56" fmla="+- 0 9316 9316"/>
                <a:gd name="T57" fmla="*/ T56 w 176"/>
                <a:gd name="T58" fmla="+- 0 890 718"/>
                <a:gd name="T59" fmla="*/ 890 h 172"/>
                <a:gd name="T60" fmla="+- 0 9491 9316"/>
                <a:gd name="T61" fmla="*/ T60 w 176"/>
                <a:gd name="T62" fmla="+- 0 890 718"/>
                <a:gd name="T63" fmla="*/ 890 h 172"/>
                <a:gd name="T64" fmla="+- 0 9491 9316"/>
                <a:gd name="T65" fmla="*/ T64 w 176"/>
                <a:gd name="T66" fmla="+- 0 844 718"/>
                <a:gd name="T67" fmla="*/ 844 h 172"/>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Lst>
              <a:rect l="0" t="0" r="r" b="b"/>
              <a:pathLst>
                <a:path w="176" h="172">
                  <a:moveTo>
                    <a:pt x="175" y="126"/>
                  </a:moveTo>
                  <a:lnTo>
                    <a:pt x="45" y="126"/>
                  </a:lnTo>
                  <a:lnTo>
                    <a:pt x="45" y="106"/>
                  </a:lnTo>
                  <a:lnTo>
                    <a:pt x="125" y="106"/>
                  </a:lnTo>
                  <a:lnTo>
                    <a:pt x="125" y="64"/>
                  </a:lnTo>
                  <a:lnTo>
                    <a:pt x="45" y="64"/>
                  </a:lnTo>
                  <a:lnTo>
                    <a:pt x="45" y="46"/>
                  </a:lnTo>
                  <a:lnTo>
                    <a:pt x="172" y="46"/>
                  </a:lnTo>
                  <a:lnTo>
                    <a:pt x="172" y="0"/>
                  </a:lnTo>
                  <a:lnTo>
                    <a:pt x="0" y="0"/>
                  </a:lnTo>
                  <a:lnTo>
                    <a:pt x="0" y="46"/>
                  </a:lnTo>
                  <a:lnTo>
                    <a:pt x="0" y="64"/>
                  </a:lnTo>
                  <a:lnTo>
                    <a:pt x="0" y="106"/>
                  </a:lnTo>
                  <a:lnTo>
                    <a:pt x="0" y="126"/>
                  </a:lnTo>
                  <a:lnTo>
                    <a:pt x="0" y="172"/>
                  </a:lnTo>
                  <a:lnTo>
                    <a:pt x="175" y="172"/>
                  </a:lnTo>
                  <a:lnTo>
                    <a:pt x="175" y="126"/>
                  </a:lnTo>
                  <a:close/>
                </a:path>
              </a:pathLst>
            </a:custGeom>
            <a:solidFill>
              <a:srgbClr val="FFDE0C"/>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26" name="docshape4473">
              <a:extLst>
                <a:ext uri="{FF2B5EF4-FFF2-40B4-BE49-F238E27FC236}">
                  <a16:creationId xmlns:a16="http://schemas.microsoft.com/office/drawing/2014/main" id="{B045FB13-8F10-4A76-8F8A-CABAB3327653}"/>
                </a:ext>
              </a:extLst>
            </p:cNvPr>
            <p:cNvSpPr>
              <a:spLocks/>
            </p:cNvSpPr>
            <p:nvPr/>
          </p:nvSpPr>
          <p:spPr bwMode="auto">
            <a:xfrm>
              <a:off x="9315" y="718"/>
              <a:ext cx="176" cy="172"/>
            </a:xfrm>
            <a:custGeom>
              <a:avLst/>
              <a:gdLst>
                <a:gd name="T0" fmla="+- 0 9491 9316"/>
                <a:gd name="T1" fmla="*/ T0 w 176"/>
                <a:gd name="T2" fmla="+- 0 844 718"/>
                <a:gd name="T3" fmla="*/ 844 h 172"/>
                <a:gd name="T4" fmla="+- 0 9361 9316"/>
                <a:gd name="T5" fmla="*/ T4 w 176"/>
                <a:gd name="T6" fmla="+- 0 844 718"/>
                <a:gd name="T7" fmla="*/ 844 h 172"/>
                <a:gd name="T8" fmla="+- 0 9361 9316"/>
                <a:gd name="T9" fmla="*/ T8 w 176"/>
                <a:gd name="T10" fmla="+- 0 824 718"/>
                <a:gd name="T11" fmla="*/ 824 h 172"/>
                <a:gd name="T12" fmla="+- 0 9441 9316"/>
                <a:gd name="T13" fmla="*/ T12 w 176"/>
                <a:gd name="T14" fmla="+- 0 824 718"/>
                <a:gd name="T15" fmla="*/ 824 h 172"/>
                <a:gd name="T16" fmla="+- 0 9441 9316"/>
                <a:gd name="T17" fmla="*/ T16 w 176"/>
                <a:gd name="T18" fmla="+- 0 782 718"/>
                <a:gd name="T19" fmla="*/ 782 h 172"/>
                <a:gd name="T20" fmla="+- 0 9361 9316"/>
                <a:gd name="T21" fmla="*/ T20 w 176"/>
                <a:gd name="T22" fmla="+- 0 782 718"/>
                <a:gd name="T23" fmla="*/ 782 h 172"/>
                <a:gd name="T24" fmla="+- 0 9361 9316"/>
                <a:gd name="T25" fmla="*/ T24 w 176"/>
                <a:gd name="T26" fmla="+- 0 764 718"/>
                <a:gd name="T27" fmla="*/ 764 h 172"/>
                <a:gd name="T28" fmla="+- 0 9488 9316"/>
                <a:gd name="T29" fmla="*/ T28 w 176"/>
                <a:gd name="T30" fmla="+- 0 764 718"/>
                <a:gd name="T31" fmla="*/ 764 h 172"/>
                <a:gd name="T32" fmla="+- 0 9488 9316"/>
                <a:gd name="T33" fmla="*/ T32 w 176"/>
                <a:gd name="T34" fmla="+- 0 718 718"/>
                <a:gd name="T35" fmla="*/ 718 h 172"/>
                <a:gd name="T36" fmla="+- 0 9316 9316"/>
                <a:gd name="T37" fmla="*/ T36 w 176"/>
                <a:gd name="T38" fmla="+- 0 718 718"/>
                <a:gd name="T39" fmla="*/ 718 h 172"/>
                <a:gd name="T40" fmla="+- 0 9316 9316"/>
                <a:gd name="T41" fmla="*/ T40 w 176"/>
                <a:gd name="T42" fmla="+- 0 764 718"/>
                <a:gd name="T43" fmla="*/ 764 h 172"/>
                <a:gd name="T44" fmla="+- 0 9316 9316"/>
                <a:gd name="T45" fmla="*/ T44 w 176"/>
                <a:gd name="T46" fmla="+- 0 782 718"/>
                <a:gd name="T47" fmla="*/ 782 h 172"/>
                <a:gd name="T48" fmla="+- 0 9316 9316"/>
                <a:gd name="T49" fmla="*/ T48 w 176"/>
                <a:gd name="T50" fmla="+- 0 824 718"/>
                <a:gd name="T51" fmla="*/ 824 h 172"/>
                <a:gd name="T52" fmla="+- 0 9316 9316"/>
                <a:gd name="T53" fmla="*/ T52 w 176"/>
                <a:gd name="T54" fmla="+- 0 844 718"/>
                <a:gd name="T55" fmla="*/ 844 h 172"/>
                <a:gd name="T56" fmla="+- 0 9316 9316"/>
                <a:gd name="T57" fmla="*/ T56 w 176"/>
                <a:gd name="T58" fmla="+- 0 890 718"/>
                <a:gd name="T59" fmla="*/ 890 h 172"/>
                <a:gd name="T60" fmla="+- 0 9491 9316"/>
                <a:gd name="T61" fmla="*/ T60 w 176"/>
                <a:gd name="T62" fmla="+- 0 890 718"/>
                <a:gd name="T63" fmla="*/ 890 h 172"/>
                <a:gd name="T64" fmla="+- 0 9491 9316"/>
                <a:gd name="T65" fmla="*/ T64 w 176"/>
                <a:gd name="T66" fmla="+- 0 844 718"/>
                <a:gd name="T67" fmla="*/ 844 h 172"/>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Lst>
              <a:rect l="0" t="0" r="r" b="b"/>
              <a:pathLst>
                <a:path w="176" h="172">
                  <a:moveTo>
                    <a:pt x="175" y="126"/>
                  </a:moveTo>
                  <a:lnTo>
                    <a:pt x="45" y="126"/>
                  </a:lnTo>
                  <a:lnTo>
                    <a:pt x="45" y="106"/>
                  </a:lnTo>
                  <a:lnTo>
                    <a:pt x="125" y="106"/>
                  </a:lnTo>
                  <a:lnTo>
                    <a:pt x="125" y="64"/>
                  </a:lnTo>
                  <a:lnTo>
                    <a:pt x="45" y="64"/>
                  </a:lnTo>
                  <a:lnTo>
                    <a:pt x="45" y="46"/>
                  </a:lnTo>
                  <a:lnTo>
                    <a:pt x="172" y="46"/>
                  </a:lnTo>
                  <a:lnTo>
                    <a:pt x="172" y="0"/>
                  </a:lnTo>
                  <a:lnTo>
                    <a:pt x="0" y="0"/>
                  </a:lnTo>
                  <a:lnTo>
                    <a:pt x="0" y="46"/>
                  </a:lnTo>
                  <a:lnTo>
                    <a:pt x="0" y="64"/>
                  </a:lnTo>
                  <a:lnTo>
                    <a:pt x="0" y="106"/>
                  </a:lnTo>
                  <a:lnTo>
                    <a:pt x="0" y="126"/>
                  </a:lnTo>
                  <a:lnTo>
                    <a:pt x="0" y="172"/>
                  </a:lnTo>
                  <a:lnTo>
                    <a:pt x="175" y="172"/>
                  </a:lnTo>
                  <a:lnTo>
                    <a:pt x="175" y="1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pic>
          <p:nvPicPr>
            <p:cNvPr id="27" name="docshape4474">
              <a:extLst>
                <a:ext uri="{FF2B5EF4-FFF2-40B4-BE49-F238E27FC236}">
                  <a16:creationId xmlns:a16="http://schemas.microsoft.com/office/drawing/2014/main" id="{415C4207-13BC-41AF-9817-AD7C377972A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43" y="718"/>
              <a:ext cx="184"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docshape4475">
              <a:extLst>
                <a:ext uri="{FF2B5EF4-FFF2-40B4-BE49-F238E27FC236}">
                  <a16:creationId xmlns:a16="http://schemas.microsoft.com/office/drawing/2014/main" id="{D70CDF53-C4D0-41FB-B86D-0A0C8A25E91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60" y="718"/>
              <a:ext cx="204"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docshape4476">
              <a:extLst>
                <a:ext uri="{FF2B5EF4-FFF2-40B4-BE49-F238E27FC236}">
                  <a16:creationId xmlns:a16="http://schemas.microsoft.com/office/drawing/2014/main" id="{DD7C13F4-4AA0-4B8C-9109-AE9D9012F63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235" y="718"/>
              <a:ext cx="144"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docshape4477">
              <a:extLst>
                <a:ext uri="{FF2B5EF4-FFF2-40B4-BE49-F238E27FC236}">
                  <a16:creationId xmlns:a16="http://schemas.microsoft.com/office/drawing/2014/main" id="{888FE1AC-6A23-49C1-81E8-01BF53610E13}"/>
                </a:ext>
              </a:extLst>
            </p:cNvPr>
            <p:cNvSpPr>
              <a:spLocks/>
            </p:cNvSpPr>
            <p:nvPr/>
          </p:nvSpPr>
          <p:spPr bwMode="auto">
            <a:xfrm>
              <a:off x="10209" y="872"/>
              <a:ext cx="170" cy="19"/>
            </a:xfrm>
            <a:custGeom>
              <a:avLst/>
              <a:gdLst>
                <a:gd name="T0" fmla="+- 0 10209 10209"/>
                <a:gd name="T1" fmla="*/ T0 w 170"/>
                <a:gd name="T2" fmla="+- 0 872 872"/>
                <a:gd name="T3" fmla="*/ 872 h 19"/>
                <a:gd name="T4" fmla="+- 0 10217 10209"/>
                <a:gd name="T5" fmla="*/ T4 w 170"/>
                <a:gd name="T6" fmla="+- 0 880 872"/>
                <a:gd name="T7" fmla="*/ 880 h 19"/>
                <a:gd name="T8" fmla="+- 0 10226 10209"/>
                <a:gd name="T9" fmla="*/ T8 w 170"/>
                <a:gd name="T10" fmla="+- 0 886 872"/>
                <a:gd name="T11" fmla="*/ 886 h 19"/>
                <a:gd name="T12" fmla="+- 0 10237 10209"/>
                <a:gd name="T13" fmla="*/ T12 w 170"/>
                <a:gd name="T14" fmla="+- 0 889 872"/>
                <a:gd name="T15" fmla="*/ 889 h 19"/>
                <a:gd name="T16" fmla="+- 0 10248 10209"/>
                <a:gd name="T17" fmla="*/ T16 w 170"/>
                <a:gd name="T18" fmla="+- 0 891 872"/>
                <a:gd name="T19" fmla="*/ 891 h 19"/>
                <a:gd name="T20" fmla="+- 0 10237 10209"/>
                <a:gd name="T21" fmla="*/ T20 w 170"/>
                <a:gd name="T22" fmla="+- 0 889 872"/>
                <a:gd name="T23" fmla="*/ 889 h 19"/>
                <a:gd name="T24" fmla="+- 0 10226 10209"/>
                <a:gd name="T25" fmla="*/ T24 w 170"/>
                <a:gd name="T26" fmla="+- 0 886 872"/>
                <a:gd name="T27" fmla="*/ 886 h 19"/>
                <a:gd name="T28" fmla="+- 0 10217 10209"/>
                <a:gd name="T29" fmla="*/ T28 w 170"/>
                <a:gd name="T30" fmla="+- 0 880 872"/>
                <a:gd name="T31" fmla="*/ 880 h 19"/>
                <a:gd name="T32" fmla="+- 0 10209 10209"/>
                <a:gd name="T33" fmla="*/ T32 w 170"/>
                <a:gd name="T34" fmla="+- 0 872 872"/>
                <a:gd name="T35" fmla="*/ 872 h 19"/>
                <a:gd name="T36" fmla="+- 0 10379 10209"/>
                <a:gd name="T37" fmla="*/ T36 w 170"/>
                <a:gd name="T38" fmla="+- 0 874 872"/>
                <a:gd name="T39" fmla="*/ 874 h 19"/>
                <a:gd name="T40" fmla="+- 0 10371 10209"/>
                <a:gd name="T41" fmla="*/ T40 w 170"/>
                <a:gd name="T42" fmla="+- 0 881 872"/>
                <a:gd name="T43" fmla="*/ 881 h 19"/>
                <a:gd name="T44" fmla="+- 0 10362 10209"/>
                <a:gd name="T45" fmla="*/ T44 w 170"/>
                <a:gd name="T46" fmla="+- 0 886 872"/>
                <a:gd name="T47" fmla="*/ 886 h 19"/>
                <a:gd name="T48" fmla="+- 0 10352 10209"/>
                <a:gd name="T49" fmla="*/ T48 w 170"/>
                <a:gd name="T50" fmla="+- 0 889 872"/>
                <a:gd name="T51" fmla="*/ 889 h 19"/>
                <a:gd name="T52" fmla="+- 0 10341 10209"/>
                <a:gd name="T53" fmla="*/ T52 w 170"/>
                <a:gd name="T54" fmla="+- 0 890 872"/>
                <a:gd name="T55" fmla="*/ 890 h 19"/>
                <a:gd name="T56" fmla="+- 0 10352 10209"/>
                <a:gd name="T57" fmla="*/ T56 w 170"/>
                <a:gd name="T58" fmla="+- 0 889 872"/>
                <a:gd name="T59" fmla="*/ 889 h 19"/>
                <a:gd name="T60" fmla="+- 0 10362 10209"/>
                <a:gd name="T61" fmla="*/ T60 w 170"/>
                <a:gd name="T62" fmla="+- 0 886 872"/>
                <a:gd name="T63" fmla="*/ 886 h 19"/>
                <a:gd name="T64" fmla="+- 0 10371 10209"/>
                <a:gd name="T65" fmla="*/ T64 w 170"/>
                <a:gd name="T66" fmla="+- 0 881 872"/>
                <a:gd name="T67" fmla="*/ 881 h 19"/>
                <a:gd name="T68" fmla="+- 0 10379 10209"/>
                <a:gd name="T69" fmla="*/ T68 w 170"/>
                <a:gd name="T70" fmla="+- 0 874 872"/>
                <a:gd name="T71" fmla="*/ 874 h 1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Lst>
              <a:rect l="0" t="0" r="r" b="b"/>
              <a:pathLst>
                <a:path w="170" h="19">
                  <a:moveTo>
                    <a:pt x="0" y="0"/>
                  </a:moveTo>
                  <a:lnTo>
                    <a:pt x="8" y="8"/>
                  </a:lnTo>
                  <a:lnTo>
                    <a:pt x="17" y="14"/>
                  </a:lnTo>
                  <a:lnTo>
                    <a:pt x="28" y="17"/>
                  </a:lnTo>
                  <a:lnTo>
                    <a:pt x="39" y="19"/>
                  </a:lnTo>
                  <a:lnTo>
                    <a:pt x="28" y="17"/>
                  </a:lnTo>
                  <a:lnTo>
                    <a:pt x="17" y="14"/>
                  </a:lnTo>
                  <a:lnTo>
                    <a:pt x="8" y="8"/>
                  </a:lnTo>
                  <a:lnTo>
                    <a:pt x="0" y="0"/>
                  </a:lnTo>
                  <a:close/>
                  <a:moveTo>
                    <a:pt x="170" y="2"/>
                  </a:moveTo>
                  <a:lnTo>
                    <a:pt x="162" y="9"/>
                  </a:lnTo>
                  <a:lnTo>
                    <a:pt x="153" y="14"/>
                  </a:lnTo>
                  <a:lnTo>
                    <a:pt x="143" y="17"/>
                  </a:lnTo>
                  <a:lnTo>
                    <a:pt x="132" y="18"/>
                  </a:lnTo>
                  <a:lnTo>
                    <a:pt x="143" y="17"/>
                  </a:lnTo>
                  <a:lnTo>
                    <a:pt x="153" y="14"/>
                  </a:lnTo>
                  <a:lnTo>
                    <a:pt x="162" y="9"/>
                  </a:lnTo>
                  <a:lnTo>
                    <a:pt x="170" y="2"/>
                  </a:lnTo>
                  <a:close/>
                </a:path>
              </a:pathLst>
            </a:custGeom>
            <a:solidFill>
              <a:srgbClr val="FFDE0C"/>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31" name="docshape4478">
              <a:extLst>
                <a:ext uri="{FF2B5EF4-FFF2-40B4-BE49-F238E27FC236}">
                  <a16:creationId xmlns:a16="http://schemas.microsoft.com/office/drawing/2014/main" id="{189E0966-1D4A-4629-8020-BADFA437D721}"/>
                </a:ext>
              </a:extLst>
            </p:cNvPr>
            <p:cNvSpPr>
              <a:spLocks/>
            </p:cNvSpPr>
            <p:nvPr/>
          </p:nvSpPr>
          <p:spPr bwMode="auto">
            <a:xfrm>
              <a:off x="10209" y="872"/>
              <a:ext cx="170" cy="19"/>
            </a:xfrm>
            <a:custGeom>
              <a:avLst/>
              <a:gdLst>
                <a:gd name="T0" fmla="+- 0 10209 10209"/>
                <a:gd name="T1" fmla="*/ T0 w 170"/>
                <a:gd name="T2" fmla="+- 0 872 872"/>
                <a:gd name="T3" fmla="*/ 872 h 19"/>
                <a:gd name="T4" fmla="+- 0 10217 10209"/>
                <a:gd name="T5" fmla="*/ T4 w 170"/>
                <a:gd name="T6" fmla="+- 0 880 872"/>
                <a:gd name="T7" fmla="*/ 880 h 19"/>
                <a:gd name="T8" fmla="+- 0 10226 10209"/>
                <a:gd name="T9" fmla="*/ T8 w 170"/>
                <a:gd name="T10" fmla="+- 0 886 872"/>
                <a:gd name="T11" fmla="*/ 886 h 19"/>
                <a:gd name="T12" fmla="+- 0 10237 10209"/>
                <a:gd name="T13" fmla="*/ T12 w 170"/>
                <a:gd name="T14" fmla="+- 0 889 872"/>
                <a:gd name="T15" fmla="*/ 889 h 19"/>
                <a:gd name="T16" fmla="+- 0 10248 10209"/>
                <a:gd name="T17" fmla="*/ T16 w 170"/>
                <a:gd name="T18" fmla="+- 0 891 872"/>
                <a:gd name="T19" fmla="*/ 891 h 19"/>
                <a:gd name="T20" fmla="+- 0 10237 10209"/>
                <a:gd name="T21" fmla="*/ T20 w 170"/>
                <a:gd name="T22" fmla="+- 0 889 872"/>
                <a:gd name="T23" fmla="*/ 889 h 19"/>
                <a:gd name="T24" fmla="+- 0 10226 10209"/>
                <a:gd name="T25" fmla="*/ T24 w 170"/>
                <a:gd name="T26" fmla="+- 0 886 872"/>
                <a:gd name="T27" fmla="*/ 886 h 19"/>
                <a:gd name="T28" fmla="+- 0 10217 10209"/>
                <a:gd name="T29" fmla="*/ T28 w 170"/>
                <a:gd name="T30" fmla="+- 0 880 872"/>
                <a:gd name="T31" fmla="*/ 880 h 19"/>
                <a:gd name="T32" fmla="+- 0 10209 10209"/>
                <a:gd name="T33" fmla="*/ T32 w 170"/>
                <a:gd name="T34" fmla="+- 0 872 872"/>
                <a:gd name="T35" fmla="*/ 872 h 19"/>
                <a:gd name="T36" fmla="+- 0 10379 10209"/>
                <a:gd name="T37" fmla="*/ T36 w 170"/>
                <a:gd name="T38" fmla="+- 0 874 872"/>
                <a:gd name="T39" fmla="*/ 874 h 19"/>
                <a:gd name="T40" fmla="+- 0 10371 10209"/>
                <a:gd name="T41" fmla="*/ T40 w 170"/>
                <a:gd name="T42" fmla="+- 0 881 872"/>
                <a:gd name="T43" fmla="*/ 881 h 19"/>
                <a:gd name="T44" fmla="+- 0 10362 10209"/>
                <a:gd name="T45" fmla="*/ T44 w 170"/>
                <a:gd name="T46" fmla="+- 0 886 872"/>
                <a:gd name="T47" fmla="*/ 886 h 19"/>
                <a:gd name="T48" fmla="+- 0 10352 10209"/>
                <a:gd name="T49" fmla="*/ T48 w 170"/>
                <a:gd name="T50" fmla="+- 0 889 872"/>
                <a:gd name="T51" fmla="*/ 889 h 19"/>
                <a:gd name="T52" fmla="+- 0 10341 10209"/>
                <a:gd name="T53" fmla="*/ T52 w 170"/>
                <a:gd name="T54" fmla="+- 0 890 872"/>
                <a:gd name="T55" fmla="*/ 890 h 19"/>
                <a:gd name="T56" fmla="+- 0 10352 10209"/>
                <a:gd name="T57" fmla="*/ T56 w 170"/>
                <a:gd name="T58" fmla="+- 0 889 872"/>
                <a:gd name="T59" fmla="*/ 889 h 19"/>
                <a:gd name="T60" fmla="+- 0 10362 10209"/>
                <a:gd name="T61" fmla="*/ T60 w 170"/>
                <a:gd name="T62" fmla="+- 0 886 872"/>
                <a:gd name="T63" fmla="*/ 886 h 19"/>
                <a:gd name="T64" fmla="+- 0 10371 10209"/>
                <a:gd name="T65" fmla="*/ T64 w 170"/>
                <a:gd name="T66" fmla="+- 0 881 872"/>
                <a:gd name="T67" fmla="*/ 881 h 19"/>
                <a:gd name="T68" fmla="+- 0 10379 10209"/>
                <a:gd name="T69" fmla="*/ T68 w 170"/>
                <a:gd name="T70" fmla="+- 0 874 872"/>
                <a:gd name="T71" fmla="*/ 874 h 1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Lst>
              <a:rect l="0" t="0" r="r" b="b"/>
              <a:pathLst>
                <a:path w="170" h="19">
                  <a:moveTo>
                    <a:pt x="0" y="0"/>
                  </a:moveTo>
                  <a:lnTo>
                    <a:pt x="8" y="8"/>
                  </a:lnTo>
                  <a:lnTo>
                    <a:pt x="17" y="14"/>
                  </a:lnTo>
                  <a:lnTo>
                    <a:pt x="28" y="17"/>
                  </a:lnTo>
                  <a:lnTo>
                    <a:pt x="39" y="19"/>
                  </a:lnTo>
                  <a:lnTo>
                    <a:pt x="28" y="17"/>
                  </a:lnTo>
                  <a:lnTo>
                    <a:pt x="17" y="14"/>
                  </a:lnTo>
                  <a:lnTo>
                    <a:pt x="8" y="8"/>
                  </a:lnTo>
                  <a:lnTo>
                    <a:pt x="0" y="0"/>
                  </a:lnTo>
                  <a:close/>
                  <a:moveTo>
                    <a:pt x="170" y="2"/>
                  </a:moveTo>
                  <a:lnTo>
                    <a:pt x="162" y="9"/>
                  </a:lnTo>
                  <a:lnTo>
                    <a:pt x="153" y="14"/>
                  </a:lnTo>
                  <a:lnTo>
                    <a:pt x="143" y="17"/>
                  </a:lnTo>
                  <a:lnTo>
                    <a:pt x="132" y="18"/>
                  </a:lnTo>
                  <a:lnTo>
                    <a:pt x="143" y="17"/>
                  </a:lnTo>
                  <a:lnTo>
                    <a:pt x="153" y="14"/>
                  </a:lnTo>
                  <a:lnTo>
                    <a:pt x="162" y="9"/>
                  </a:lnTo>
                  <a:lnTo>
                    <a:pt x="17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32" name="docshape4479">
              <a:extLst>
                <a:ext uri="{FF2B5EF4-FFF2-40B4-BE49-F238E27FC236}">
                  <a16:creationId xmlns:a16="http://schemas.microsoft.com/office/drawing/2014/main" id="{132990EC-0B3C-4CEC-BCE8-E598126CBAEB}"/>
                </a:ext>
              </a:extLst>
            </p:cNvPr>
            <p:cNvSpPr>
              <a:spLocks/>
            </p:cNvSpPr>
            <p:nvPr/>
          </p:nvSpPr>
          <p:spPr bwMode="auto">
            <a:xfrm>
              <a:off x="9514" y="718"/>
              <a:ext cx="196" cy="172"/>
            </a:xfrm>
            <a:custGeom>
              <a:avLst/>
              <a:gdLst>
                <a:gd name="T0" fmla="+- 0 9659 9515"/>
                <a:gd name="T1" fmla="*/ T0 w 196"/>
                <a:gd name="T2" fmla="+- 0 719 719"/>
                <a:gd name="T3" fmla="*/ 719 h 172"/>
                <a:gd name="T4" fmla="+- 0 9566 9515"/>
                <a:gd name="T5" fmla="*/ T4 w 196"/>
                <a:gd name="T6" fmla="+- 0 719 719"/>
                <a:gd name="T7" fmla="*/ 719 h 172"/>
                <a:gd name="T8" fmla="+- 0 9515 9515"/>
                <a:gd name="T9" fmla="*/ T8 w 196"/>
                <a:gd name="T10" fmla="+- 0 770 719"/>
                <a:gd name="T11" fmla="*/ 770 h 172"/>
                <a:gd name="T12" fmla="+- 0 9515 9515"/>
                <a:gd name="T13" fmla="*/ T12 w 196"/>
                <a:gd name="T14" fmla="+- 0 839 719"/>
                <a:gd name="T15" fmla="*/ 839 h 172"/>
                <a:gd name="T16" fmla="+- 0 9519 9515"/>
                <a:gd name="T17" fmla="*/ T16 w 196"/>
                <a:gd name="T18" fmla="+- 0 859 719"/>
                <a:gd name="T19" fmla="*/ 859 h 172"/>
                <a:gd name="T20" fmla="+- 0 9530 9515"/>
                <a:gd name="T21" fmla="*/ T20 w 196"/>
                <a:gd name="T22" fmla="+- 0 875 719"/>
                <a:gd name="T23" fmla="*/ 875 h 172"/>
                <a:gd name="T24" fmla="+- 0 9546 9515"/>
                <a:gd name="T25" fmla="*/ T24 w 196"/>
                <a:gd name="T26" fmla="+- 0 886 719"/>
                <a:gd name="T27" fmla="*/ 886 h 172"/>
                <a:gd name="T28" fmla="+- 0 9566 9515"/>
                <a:gd name="T29" fmla="*/ T28 w 196"/>
                <a:gd name="T30" fmla="+- 0 891 719"/>
                <a:gd name="T31" fmla="*/ 891 h 172"/>
                <a:gd name="T32" fmla="+- 0 9659 9515"/>
                <a:gd name="T33" fmla="*/ T32 w 196"/>
                <a:gd name="T34" fmla="+- 0 891 719"/>
                <a:gd name="T35" fmla="*/ 891 h 172"/>
                <a:gd name="T36" fmla="+- 0 9679 9515"/>
                <a:gd name="T37" fmla="*/ T36 w 196"/>
                <a:gd name="T38" fmla="+- 0 886 719"/>
                <a:gd name="T39" fmla="*/ 886 h 172"/>
                <a:gd name="T40" fmla="+- 0 9696 9515"/>
                <a:gd name="T41" fmla="*/ T40 w 196"/>
                <a:gd name="T42" fmla="+- 0 875 719"/>
                <a:gd name="T43" fmla="*/ 875 h 172"/>
                <a:gd name="T44" fmla="+- 0 9707 9515"/>
                <a:gd name="T45" fmla="*/ T44 w 196"/>
                <a:gd name="T46" fmla="+- 0 859 719"/>
                <a:gd name="T47" fmla="*/ 859 h 172"/>
                <a:gd name="T48" fmla="+- 0 9711 9515"/>
                <a:gd name="T49" fmla="*/ T48 w 196"/>
                <a:gd name="T50" fmla="+- 0 839 719"/>
                <a:gd name="T51" fmla="*/ 839 h 172"/>
                <a:gd name="T52" fmla="+- 0 9711 9515"/>
                <a:gd name="T53" fmla="*/ T52 w 196"/>
                <a:gd name="T54" fmla="+- 0 825 719"/>
                <a:gd name="T55" fmla="*/ 825 h 172"/>
                <a:gd name="T56" fmla="+- 0 9665 9515"/>
                <a:gd name="T57" fmla="*/ T56 w 196"/>
                <a:gd name="T58" fmla="+- 0 825 719"/>
                <a:gd name="T59" fmla="*/ 825 h 172"/>
                <a:gd name="T60" fmla="+- 0 9665 9515"/>
                <a:gd name="T61" fmla="*/ T60 w 196"/>
                <a:gd name="T62" fmla="+- 0 839 719"/>
                <a:gd name="T63" fmla="*/ 839 h 172"/>
                <a:gd name="T64" fmla="+- 0 9659 9515"/>
                <a:gd name="T65" fmla="*/ T64 w 196"/>
                <a:gd name="T66" fmla="+- 0 844 719"/>
                <a:gd name="T67" fmla="*/ 844 h 172"/>
                <a:gd name="T68" fmla="+- 0 9566 9515"/>
                <a:gd name="T69" fmla="*/ T68 w 196"/>
                <a:gd name="T70" fmla="+- 0 844 719"/>
                <a:gd name="T71" fmla="*/ 844 h 172"/>
                <a:gd name="T72" fmla="+- 0 9560 9515"/>
                <a:gd name="T73" fmla="*/ T72 w 196"/>
                <a:gd name="T74" fmla="+- 0 839 719"/>
                <a:gd name="T75" fmla="*/ 839 h 172"/>
                <a:gd name="T76" fmla="+- 0 9560 9515"/>
                <a:gd name="T77" fmla="*/ T76 w 196"/>
                <a:gd name="T78" fmla="+- 0 770 719"/>
                <a:gd name="T79" fmla="*/ 770 h 172"/>
                <a:gd name="T80" fmla="+- 0 9566 9515"/>
                <a:gd name="T81" fmla="*/ T80 w 196"/>
                <a:gd name="T82" fmla="+- 0 764 719"/>
                <a:gd name="T83" fmla="*/ 764 h 172"/>
                <a:gd name="T84" fmla="+- 0 9659 9515"/>
                <a:gd name="T85" fmla="*/ T84 w 196"/>
                <a:gd name="T86" fmla="+- 0 764 719"/>
                <a:gd name="T87" fmla="*/ 764 h 172"/>
                <a:gd name="T88" fmla="+- 0 9665 9515"/>
                <a:gd name="T89" fmla="*/ T88 w 196"/>
                <a:gd name="T90" fmla="+- 0 770 719"/>
                <a:gd name="T91" fmla="*/ 770 h 172"/>
                <a:gd name="T92" fmla="+- 0 9665 9515"/>
                <a:gd name="T93" fmla="*/ T92 w 196"/>
                <a:gd name="T94" fmla="+- 0 783 719"/>
                <a:gd name="T95" fmla="*/ 783 h 172"/>
                <a:gd name="T96" fmla="+- 0 9711 9515"/>
                <a:gd name="T97" fmla="*/ T96 w 196"/>
                <a:gd name="T98" fmla="+- 0 783 719"/>
                <a:gd name="T99" fmla="*/ 783 h 172"/>
                <a:gd name="T100" fmla="+- 0 9711 9515"/>
                <a:gd name="T101" fmla="*/ T100 w 196"/>
                <a:gd name="T102" fmla="+- 0 770 719"/>
                <a:gd name="T103" fmla="*/ 770 h 172"/>
                <a:gd name="T104" fmla="+- 0 9707 9515"/>
                <a:gd name="T105" fmla="*/ T104 w 196"/>
                <a:gd name="T106" fmla="+- 0 750 719"/>
                <a:gd name="T107" fmla="*/ 750 h 172"/>
                <a:gd name="T108" fmla="+- 0 9696 9515"/>
                <a:gd name="T109" fmla="*/ T108 w 196"/>
                <a:gd name="T110" fmla="+- 0 734 719"/>
                <a:gd name="T111" fmla="*/ 734 h 172"/>
                <a:gd name="T112" fmla="+- 0 9679 9515"/>
                <a:gd name="T113" fmla="*/ T112 w 196"/>
                <a:gd name="T114" fmla="+- 0 723 719"/>
                <a:gd name="T115" fmla="*/ 723 h 172"/>
                <a:gd name="T116" fmla="+- 0 9659 9515"/>
                <a:gd name="T117" fmla="*/ T116 w 196"/>
                <a:gd name="T118" fmla="+- 0 719 719"/>
                <a:gd name="T119" fmla="*/ 719 h 172"/>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Lst>
              <a:rect l="0" t="0" r="r" b="b"/>
              <a:pathLst>
                <a:path w="196" h="172">
                  <a:moveTo>
                    <a:pt x="144" y="0"/>
                  </a:moveTo>
                  <a:lnTo>
                    <a:pt x="51" y="0"/>
                  </a:lnTo>
                  <a:lnTo>
                    <a:pt x="0" y="51"/>
                  </a:lnTo>
                  <a:lnTo>
                    <a:pt x="0" y="120"/>
                  </a:lnTo>
                  <a:lnTo>
                    <a:pt x="4" y="140"/>
                  </a:lnTo>
                  <a:lnTo>
                    <a:pt x="15" y="156"/>
                  </a:lnTo>
                  <a:lnTo>
                    <a:pt x="31" y="167"/>
                  </a:lnTo>
                  <a:lnTo>
                    <a:pt x="51" y="172"/>
                  </a:lnTo>
                  <a:lnTo>
                    <a:pt x="144" y="172"/>
                  </a:lnTo>
                  <a:lnTo>
                    <a:pt x="164" y="167"/>
                  </a:lnTo>
                  <a:lnTo>
                    <a:pt x="181" y="156"/>
                  </a:lnTo>
                  <a:lnTo>
                    <a:pt x="192" y="140"/>
                  </a:lnTo>
                  <a:lnTo>
                    <a:pt x="196" y="120"/>
                  </a:lnTo>
                  <a:lnTo>
                    <a:pt x="196" y="106"/>
                  </a:lnTo>
                  <a:lnTo>
                    <a:pt x="150" y="106"/>
                  </a:lnTo>
                  <a:lnTo>
                    <a:pt x="150" y="120"/>
                  </a:lnTo>
                  <a:lnTo>
                    <a:pt x="144" y="125"/>
                  </a:lnTo>
                  <a:lnTo>
                    <a:pt x="51" y="125"/>
                  </a:lnTo>
                  <a:lnTo>
                    <a:pt x="45" y="120"/>
                  </a:lnTo>
                  <a:lnTo>
                    <a:pt x="45" y="51"/>
                  </a:lnTo>
                  <a:lnTo>
                    <a:pt x="51" y="45"/>
                  </a:lnTo>
                  <a:lnTo>
                    <a:pt x="144" y="45"/>
                  </a:lnTo>
                  <a:lnTo>
                    <a:pt x="150" y="51"/>
                  </a:lnTo>
                  <a:lnTo>
                    <a:pt x="150" y="64"/>
                  </a:lnTo>
                  <a:lnTo>
                    <a:pt x="196" y="64"/>
                  </a:lnTo>
                  <a:lnTo>
                    <a:pt x="196" y="51"/>
                  </a:lnTo>
                  <a:lnTo>
                    <a:pt x="192" y="31"/>
                  </a:lnTo>
                  <a:lnTo>
                    <a:pt x="181" y="15"/>
                  </a:lnTo>
                  <a:lnTo>
                    <a:pt x="164" y="4"/>
                  </a:lnTo>
                  <a:lnTo>
                    <a:pt x="144" y="0"/>
                  </a:lnTo>
                  <a:close/>
                </a:path>
              </a:pathLst>
            </a:custGeom>
            <a:solidFill>
              <a:srgbClr val="FFDE0C"/>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33" name="docshape4480">
              <a:extLst>
                <a:ext uri="{FF2B5EF4-FFF2-40B4-BE49-F238E27FC236}">
                  <a16:creationId xmlns:a16="http://schemas.microsoft.com/office/drawing/2014/main" id="{1C958528-F313-4C40-8D23-92216B0FA820}"/>
                </a:ext>
              </a:extLst>
            </p:cNvPr>
            <p:cNvSpPr>
              <a:spLocks/>
            </p:cNvSpPr>
            <p:nvPr/>
          </p:nvSpPr>
          <p:spPr bwMode="auto">
            <a:xfrm>
              <a:off x="9514" y="718"/>
              <a:ext cx="196" cy="172"/>
            </a:xfrm>
            <a:custGeom>
              <a:avLst/>
              <a:gdLst>
                <a:gd name="T0" fmla="+- 0 9659 9515"/>
                <a:gd name="T1" fmla="*/ T0 w 196"/>
                <a:gd name="T2" fmla="+- 0 719 719"/>
                <a:gd name="T3" fmla="*/ 719 h 172"/>
                <a:gd name="T4" fmla="+- 0 9566 9515"/>
                <a:gd name="T5" fmla="*/ T4 w 196"/>
                <a:gd name="T6" fmla="+- 0 719 719"/>
                <a:gd name="T7" fmla="*/ 719 h 172"/>
                <a:gd name="T8" fmla="+- 0 9515 9515"/>
                <a:gd name="T9" fmla="*/ T8 w 196"/>
                <a:gd name="T10" fmla="+- 0 770 719"/>
                <a:gd name="T11" fmla="*/ 770 h 172"/>
                <a:gd name="T12" fmla="+- 0 9515 9515"/>
                <a:gd name="T13" fmla="*/ T12 w 196"/>
                <a:gd name="T14" fmla="+- 0 839 719"/>
                <a:gd name="T15" fmla="*/ 839 h 172"/>
                <a:gd name="T16" fmla="+- 0 9519 9515"/>
                <a:gd name="T17" fmla="*/ T16 w 196"/>
                <a:gd name="T18" fmla="+- 0 859 719"/>
                <a:gd name="T19" fmla="*/ 859 h 172"/>
                <a:gd name="T20" fmla="+- 0 9530 9515"/>
                <a:gd name="T21" fmla="*/ T20 w 196"/>
                <a:gd name="T22" fmla="+- 0 875 719"/>
                <a:gd name="T23" fmla="*/ 875 h 172"/>
                <a:gd name="T24" fmla="+- 0 9546 9515"/>
                <a:gd name="T25" fmla="*/ T24 w 196"/>
                <a:gd name="T26" fmla="+- 0 886 719"/>
                <a:gd name="T27" fmla="*/ 886 h 172"/>
                <a:gd name="T28" fmla="+- 0 9566 9515"/>
                <a:gd name="T29" fmla="*/ T28 w 196"/>
                <a:gd name="T30" fmla="+- 0 891 719"/>
                <a:gd name="T31" fmla="*/ 891 h 172"/>
                <a:gd name="T32" fmla="+- 0 9659 9515"/>
                <a:gd name="T33" fmla="*/ T32 w 196"/>
                <a:gd name="T34" fmla="+- 0 891 719"/>
                <a:gd name="T35" fmla="*/ 891 h 172"/>
                <a:gd name="T36" fmla="+- 0 9679 9515"/>
                <a:gd name="T37" fmla="*/ T36 w 196"/>
                <a:gd name="T38" fmla="+- 0 886 719"/>
                <a:gd name="T39" fmla="*/ 886 h 172"/>
                <a:gd name="T40" fmla="+- 0 9696 9515"/>
                <a:gd name="T41" fmla="*/ T40 w 196"/>
                <a:gd name="T42" fmla="+- 0 875 719"/>
                <a:gd name="T43" fmla="*/ 875 h 172"/>
                <a:gd name="T44" fmla="+- 0 9707 9515"/>
                <a:gd name="T45" fmla="*/ T44 w 196"/>
                <a:gd name="T46" fmla="+- 0 859 719"/>
                <a:gd name="T47" fmla="*/ 859 h 172"/>
                <a:gd name="T48" fmla="+- 0 9711 9515"/>
                <a:gd name="T49" fmla="*/ T48 w 196"/>
                <a:gd name="T50" fmla="+- 0 839 719"/>
                <a:gd name="T51" fmla="*/ 839 h 172"/>
                <a:gd name="T52" fmla="+- 0 9711 9515"/>
                <a:gd name="T53" fmla="*/ T52 w 196"/>
                <a:gd name="T54" fmla="+- 0 825 719"/>
                <a:gd name="T55" fmla="*/ 825 h 172"/>
                <a:gd name="T56" fmla="+- 0 9665 9515"/>
                <a:gd name="T57" fmla="*/ T56 w 196"/>
                <a:gd name="T58" fmla="+- 0 825 719"/>
                <a:gd name="T59" fmla="*/ 825 h 172"/>
                <a:gd name="T60" fmla="+- 0 9665 9515"/>
                <a:gd name="T61" fmla="*/ T60 w 196"/>
                <a:gd name="T62" fmla="+- 0 839 719"/>
                <a:gd name="T63" fmla="*/ 839 h 172"/>
                <a:gd name="T64" fmla="+- 0 9659 9515"/>
                <a:gd name="T65" fmla="*/ T64 w 196"/>
                <a:gd name="T66" fmla="+- 0 844 719"/>
                <a:gd name="T67" fmla="*/ 844 h 172"/>
                <a:gd name="T68" fmla="+- 0 9566 9515"/>
                <a:gd name="T69" fmla="*/ T68 w 196"/>
                <a:gd name="T70" fmla="+- 0 844 719"/>
                <a:gd name="T71" fmla="*/ 844 h 172"/>
                <a:gd name="T72" fmla="+- 0 9560 9515"/>
                <a:gd name="T73" fmla="*/ T72 w 196"/>
                <a:gd name="T74" fmla="+- 0 839 719"/>
                <a:gd name="T75" fmla="*/ 839 h 172"/>
                <a:gd name="T76" fmla="+- 0 9560 9515"/>
                <a:gd name="T77" fmla="*/ T76 w 196"/>
                <a:gd name="T78" fmla="+- 0 770 719"/>
                <a:gd name="T79" fmla="*/ 770 h 172"/>
                <a:gd name="T80" fmla="+- 0 9566 9515"/>
                <a:gd name="T81" fmla="*/ T80 w 196"/>
                <a:gd name="T82" fmla="+- 0 764 719"/>
                <a:gd name="T83" fmla="*/ 764 h 172"/>
                <a:gd name="T84" fmla="+- 0 9659 9515"/>
                <a:gd name="T85" fmla="*/ T84 w 196"/>
                <a:gd name="T86" fmla="+- 0 764 719"/>
                <a:gd name="T87" fmla="*/ 764 h 172"/>
                <a:gd name="T88" fmla="+- 0 9665 9515"/>
                <a:gd name="T89" fmla="*/ T88 w 196"/>
                <a:gd name="T90" fmla="+- 0 770 719"/>
                <a:gd name="T91" fmla="*/ 770 h 172"/>
                <a:gd name="T92" fmla="+- 0 9665 9515"/>
                <a:gd name="T93" fmla="*/ T92 w 196"/>
                <a:gd name="T94" fmla="+- 0 783 719"/>
                <a:gd name="T95" fmla="*/ 783 h 172"/>
                <a:gd name="T96" fmla="+- 0 9711 9515"/>
                <a:gd name="T97" fmla="*/ T96 w 196"/>
                <a:gd name="T98" fmla="+- 0 783 719"/>
                <a:gd name="T99" fmla="*/ 783 h 172"/>
                <a:gd name="T100" fmla="+- 0 9711 9515"/>
                <a:gd name="T101" fmla="*/ T100 w 196"/>
                <a:gd name="T102" fmla="+- 0 770 719"/>
                <a:gd name="T103" fmla="*/ 770 h 172"/>
                <a:gd name="T104" fmla="+- 0 9707 9515"/>
                <a:gd name="T105" fmla="*/ T104 w 196"/>
                <a:gd name="T106" fmla="+- 0 750 719"/>
                <a:gd name="T107" fmla="*/ 750 h 172"/>
                <a:gd name="T108" fmla="+- 0 9696 9515"/>
                <a:gd name="T109" fmla="*/ T108 w 196"/>
                <a:gd name="T110" fmla="+- 0 734 719"/>
                <a:gd name="T111" fmla="*/ 734 h 172"/>
                <a:gd name="T112" fmla="+- 0 9679 9515"/>
                <a:gd name="T113" fmla="*/ T112 w 196"/>
                <a:gd name="T114" fmla="+- 0 723 719"/>
                <a:gd name="T115" fmla="*/ 723 h 172"/>
                <a:gd name="T116" fmla="+- 0 9659 9515"/>
                <a:gd name="T117" fmla="*/ T116 w 196"/>
                <a:gd name="T118" fmla="+- 0 719 719"/>
                <a:gd name="T119" fmla="*/ 719 h 172"/>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Lst>
              <a:rect l="0" t="0" r="r" b="b"/>
              <a:pathLst>
                <a:path w="196" h="172">
                  <a:moveTo>
                    <a:pt x="144" y="0"/>
                  </a:moveTo>
                  <a:lnTo>
                    <a:pt x="51" y="0"/>
                  </a:lnTo>
                  <a:lnTo>
                    <a:pt x="0" y="51"/>
                  </a:lnTo>
                  <a:lnTo>
                    <a:pt x="0" y="120"/>
                  </a:lnTo>
                  <a:lnTo>
                    <a:pt x="4" y="140"/>
                  </a:lnTo>
                  <a:lnTo>
                    <a:pt x="15" y="156"/>
                  </a:lnTo>
                  <a:lnTo>
                    <a:pt x="31" y="167"/>
                  </a:lnTo>
                  <a:lnTo>
                    <a:pt x="51" y="172"/>
                  </a:lnTo>
                  <a:lnTo>
                    <a:pt x="144" y="172"/>
                  </a:lnTo>
                  <a:lnTo>
                    <a:pt x="164" y="167"/>
                  </a:lnTo>
                  <a:lnTo>
                    <a:pt x="181" y="156"/>
                  </a:lnTo>
                  <a:lnTo>
                    <a:pt x="192" y="140"/>
                  </a:lnTo>
                  <a:lnTo>
                    <a:pt x="196" y="120"/>
                  </a:lnTo>
                  <a:lnTo>
                    <a:pt x="196" y="106"/>
                  </a:lnTo>
                  <a:lnTo>
                    <a:pt x="150" y="106"/>
                  </a:lnTo>
                  <a:lnTo>
                    <a:pt x="150" y="120"/>
                  </a:lnTo>
                  <a:lnTo>
                    <a:pt x="144" y="125"/>
                  </a:lnTo>
                  <a:lnTo>
                    <a:pt x="51" y="125"/>
                  </a:lnTo>
                  <a:lnTo>
                    <a:pt x="45" y="120"/>
                  </a:lnTo>
                  <a:lnTo>
                    <a:pt x="45" y="51"/>
                  </a:lnTo>
                  <a:lnTo>
                    <a:pt x="51" y="45"/>
                  </a:lnTo>
                  <a:lnTo>
                    <a:pt x="144" y="45"/>
                  </a:lnTo>
                  <a:lnTo>
                    <a:pt x="150" y="51"/>
                  </a:lnTo>
                  <a:lnTo>
                    <a:pt x="150" y="64"/>
                  </a:lnTo>
                  <a:lnTo>
                    <a:pt x="196" y="64"/>
                  </a:lnTo>
                  <a:lnTo>
                    <a:pt x="196" y="51"/>
                  </a:lnTo>
                  <a:lnTo>
                    <a:pt x="192" y="31"/>
                  </a:lnTo>
                  <a:lnTo>
                    <a:pt x="181" y="15"/>
                  </a:lnTo>
                  <a:lnTo>
                    <a:pt x="164" y="4"/>
                  </a:lnTo>
                  <a:lnTo>
                    <a:pt x="1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pic>
          <p:nvPicPr>
            <p:cNvPr id="34" name="docshape4481">
              <a:extLst>
                <a:ext uri="{FF2B5EF4-FFF2-40B4-BE49-F238E27FC236}">
                  <a16:creationId xmlns:a16="http://schemas.microsoft.com/office/drawing/2014/main" id="{53B4F126-1DFB-4660-94E4-F76EBD2E8F8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426" y="658"/>
              <a:ext cx="213"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docshape4482">
              <a:extLst>
                <a:ext uri="{FF2B5EF4-FFF2-40B4-BE49-F238E27FC236}">
                  <a16:creationId xmlns:a16="http://schemas.microsoft.com/office/drawing/2014/main" id="{EC541902-0125-4409-BC91-FF6CE597AC6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863" y="718"/>
              <a:ext cx="234"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docshape4483">
              <a:extLst>
                <a:ext uri="{FF2B5EF4-FFF2-40B4-BE49-F238E27FC236}">
                  <a16:creationId xmlns:a16="http://schemas.microsoft.com/office/drawing/2014/main" id="{5514E661-5638-48A7-831D-29BBC4B13001}"/>
                </a:ext>
              </a:extLst>
            </p:cNvPr>
            <p:cNvSpPr>
              <a:spLocks/>
            </p:cNvSpPr>
            <p:nvPr/>
          </p:nvSpPr>
          <p:spPr bwMode="auto">
            <a:xfrm>
              <a:off x="9881" y="718"/>
              <a:ext cx="958" cy="277"/>
            </a:xfrm>
            <a:custGeom>
              <a:avLst/>
              <a:gdLst>
                <a:gd name="T0" fmla="+- 0 10839 9881"/>
                <a:gd name="T1" fmla="*/ T0 w 958"/>
                <a:gd name="T2" fmla="+- 0 719 719"/>
                <a:gd name="T3" fmla="*/ 719 h 277"/>
                <a:gd name="T4" fmla="+- 0 10787 9881"/>
                <a:gd name="T5" fmla="*/ T4 w 958"/>
                <a:gd name="T6" fmla="+- 0 719 719"/>
                <a:gd name="T7" fmla="*/ 719 h 277"/>
                <a:gd name="T8" fmla="+- 0 10745 9881"/>
                <a:gd name="T9" fmla="*/ T8 w 958"/>
                <a:gd name="T10" fmla="+- 0 797 719"/>
                <a:gd name="T11" fmla="*/ 797 h 277"/>
                <a:gd name="T12" fmla="+- 0 10703 9881"/>
                <a:gd name="T13" fmla="*/ T12 w 958"/>
                <a:gd name="T14" fmla="+- 0 719 719"/>
                <a:gd name="T15" fmla="*/ 719 h 277"/>
                <a:gd name="T16" fmla="+- 0 10651 9881"/>
                <a:gd name="T17" fmla="*/ T16 w 958"/>
                <a:gd name="T18" fmla="+- 0 719 719"/>
                <a:gd name="T19" fmla="*/ 719 h 277"/>
                <a:gd name="T20" fmla="+- 0 10719 9881"/>
                <a:gd name="T21" fmla="*/ T20 w 958"/>
                <a:gd name="T22" fmla="+- 0 844 719"/>
                <a:gd name="T23" fmla="*/ 844 h 277"/>
                <a:gd name="T24" fmla="+- 0 10662 9881"/>
                <a:gd name="T25" fmla="*/ T24 w 958"/>
                <a:gd name="T26" fmla="+- 0 949 719"/>
                <a:gd name="T27" fmla="*/ 949 h 277"/>
                <a:gd name="T28" fmla="+- 0 9881 9881"/>
                <a:gd name="T29" fmla="*/ T28 w 958"/>
                <a:gd name="T30" fmla="+- 0 949 719"/>
                <a:gd name="T31" fmla="*/ 949 h 277"/>
                <a:gd name="T32" fmla="+- 0 9881 9881"/>
                <a:gd name="T33" fmla="*/ T32 w 958"/>
                <a:gd name="T34" fmla="+- 0 995 719"/>
                <a:gd name="T35" fmla="*/ 995 h 277"/>
                <a:gd name="T36" fmla="+- 0 10691 9881"/>
                <a:gd name="T37" fmla="*/ T36 w 958"/>
                <a:gd name="T38" fmla="+- 0 995 719"/>
                <a:gd name="T39" fmla="*/ 995 h 277"/>
                <a:gd name="T40" fmla="+- 0 10839 9881"/>
                <a:gd name="T41" fmla="*/ T40 w 958"/>
                <a:gd name="T42" fmla="+- 0 719 719"/>
                <a:gd name="T43" fmla="*/ 719 h 27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Lst>
              <a:rect l="0" t="0" r="r" b="b"/>
              <a:pathLst>
                <a:path w="958" h="277">
                  <a:moveTo>
                    <a:pt x="958" y="0"/>
                  </a:moveTo>
                  <a:lnTo>
                    <a:pt x="906" y="0"/>
                  </a:lnTo>
                  <a:lnTo>
                    <a:pt x="864" y="78"/>
                  </a:lnTo>
                  <a:lnTo>
                    <a:pt x="822" y="0"/>
                  </a:lnTo>
                  <a:lnTo>
                    <a:pt x="770" y="0"/>
                  </a:lnTo>
                  <a:lnTo>
                    <a:pt x="838" y="125"/>
                  </a:lnTo>
                  <a:lnTo>
                    <a:pt x="781" y="230"/>
                  </a:lnTo>
                  <a:lnTo>
                    <a:pt x="0" y="230"/>
                  </a:lnTo>
                  <a:lnTo>
                    <a:pt x="0" y="276"/>
                  </a:lnTo>
                  <a:lnTo>
                    <a:pt x="810" y="276"/>
                  </a:lnTo>
                  <a:lnTo>
                    <a:pt x="958" y="0"/>
                  </a:lnTo>
                  <a:close/>
                </a:path>
              </a:pathLst>
            </a:custGeom>
            <a:solidFill>
              <a:srgbClr val="FFDE0C"/>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37" name="docshape4484">
              <a:extLst>
                <a:ext uri="{FF2B5EF4-FFF2-40B4-BE49-F238E27FC236}">
                  <a16:creationId xmlns:a16="http://schemas.microsoft.com/office/drawing/2014/main" id="{655E63ED-A938-4027-9858-D0401E812126}"/>
                </a:ext>
              </a:extLst>
            </p:cNvPr>
            <p:cNvSpPr>
              <a:spLocks/>
            </p:cNvSpPr>
            <p:nvPr/>
          </p:nvSpPr>
          <p:spPr bwMode="auto">
            <a:xfrm>
              <a:off x="9881" y="718"/>
              <a:ext cx="958" cy="277"/>
            </a:xfrm>
            <a:custGeom>
              <a:avLst/>
              <a:gdLst>
                <a:gd name="T0" fmla="+- 0 10839 9881"/>
                <a:gd name="T1" fmla="*/ T0 w 958"/>
                <a:gd name="T2" fmla="+- 0 719 719"/>
                <a:gd name="T3" fmla="*/ 719 h 277"/>
                <a:gd name="T4" fmla="+- 0 10787 9881"/>
                <a:gd name="T5" fmla="*/ T4 w 958"/>
                <a:gd name="T6" fmla="+- 0 719 719"/>
                <a:gd name="T7" fmla="*/ 719 h 277"/>
                <a:gd name="T8" fmla="+- 0 10745 9881"/>
                <a:gd name="T9" fmla="*/ T8 w 958"/>
                <a:gd name="T10" fmla="+- 0 797 719"/>
                <a:gd name="T11" fmla="*/ 797 h 277"/>
                <a:gd name="T12" fmla="+- 0 10703 9881"/>
                <a:gd name="T13" fmla="*/ T12 w 958"/>
                <a:gd name="T14" fmla="+- 0 719 719"/>
                <a:gd name="T15" fmla="*/ 719 h 277"/>
                <a:gd name="T16" fmla="+- 0 10651 9881"/>
                <a:gd name="T17" fmla="*/ T16 w 958"/>
                <a:gd name="T18" fmla="+- 0 719 719"/>
                <a:gd name="T19" fmla="*/ 719 h 277"/>
                <a:gd name="T20" fmla="+- 0 10719 9881"/>
                <a:gd name="T21" fmla="*/ T20 w 958"/>
                <a:gd name="T22" fmla="+- 0 844 719"/>
                <a:gd name="T23" fmla="*/ 844 h 277"/>
                <a:gd name="T24" fmla="+- 0 10662 9881"/>
                <a:gd name="T25" fmla="*/ T24 w 958"/>
                <a:gd name="T26" fmla="+- 0 949 719"/>
                <a:gd name="T27" fmla="*/ 949 h 277"/>
                <a:gd name="T28" fmla="+- 0 9881 9881"/>
                <a:gd name="T29" fmla="*/ T28 w 958"/>
                <a:gd name="T30" fmla="+- 0 949 719"/>
                <a:gd name="T31" fmla="*/ 949 h 277"/>
                <a:gd name="T32" fmla="+- 0 9881 9881"/>
                <a:gd name="T33" fmla="*/ T32 w 958"/>
                <a:gd name="T34" fmla="+- 0 995 719"/>
                <a:gd name="T35" fmla="*/ 995 h 277"/>
                <a:gd name="T36" fmla="+- 0 10691 9881"/>
                <a:gd name="T37" fmla="*/ T36 w 958"/>
                <a:gd name="T38" fmla="+- 0 995 719"/>
                <a:gd name="T39" fmla="*/ 995 h 277"/>
                <a:gd name="T40" fmla="+- 0 10839 9881"/>
                <a:gd name="T41" fmla="*/ T40 w 958"/>
                <a:gd name="T42" fmla="+- 0 719 719"/>
                <a:gd name="T43" fmla="*/ 719 h 27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Lst>
              <a:rect l="0" t="0" r="r" b="b"/>
              <a:pathLst>
                <a:path w="958" h="277">
                  <a:moveTo>
                    <a:pt x="958" y="0"/>
                  </a:moveTo>
                  <a:lnTo>
                    <a:pt x="906" y="0"/>
                  </a:lnTo>
                  <a:lnTo>
                    <a:pt x="864" y="78"/>
                  </a:lnTo>
                  <a:lnTo>
                    <a:pt x="822" y="0"/>
                  </a:lnTo>
                  <a:lnTo>
                    <a:pt x="770" y="0"/>
                  </a:lnTo>
                  <a:lnTo>
                    <a:pt x="838" y="125"/>
                  </a:lnTo>
                  <a:lnTo>
                    <a:pt x="781" y="230"/>
                  </a:lnTo>
                  <a:lnTo>
                    <a:pt x="0" y="230"/>
                  </a:lnTo>
                  <a:lnTo>
                    <a:pt x="0" y="276"/>
                  </a:lnTo>
                  <a:lnTo>
                    <a:pt x="810" y="276"/>
                  </a:lnTo>
                  <a:lnTo>
                    <a:pt x="95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38" name="docshape4485">
              <a:extLst>
                <a:ext uri="{FF2B5EF4-FFF2-40B4-BE49-F238E27FC236}">
                  <a16:creationId xmlns:a16="http://schemas.microsoft.com/office/drawing/2014/main" id="{B1C8B664-3AC8-424F-A186-7225CD9E2241}"/>
                </a:ext>
              </a:extLst>
            </p:cNvPr>
            <p:cNvSpPr>
              <a:spLocks/>
            </p:cNvSpPr>
            <p:nvPr/>
          </p:nvSpPr>
          <p:spPr bwMode="auto">
            <a:xfrm>
              <a:off x="11028" y="615"/>
              <a:ext cx="72" cy="72"/>
            </a:xfrm>
            <a:custGeom>
              <a:avLst/>
              <a:gdLst>
                <a:gd name="T0" fmla="+- 0 11065 11029"/>
                <a:gd name="T1" fmla="*/ T0 w 72"/>
                <a:gd name="T2" fmla="+- 0 616 616"/>
                <a:gd name="T3" fmla="*/ 616 h 72"/>
                <a:gd name="T4" fmla="+- 0 11051 11029"/>
                <a:gd name="T5" fmla="*/ T4 w 72"/>
                <a:gd name="T6" fmla="+- 0 618 616"/>
                <a:gd name="T7" fmla="*/ 618 h 72"/>
                <a:gd name="T8" fmla="+- 0 11039 11029"/>
                <a:gd name="T9" fmla="*/ T8 w 72"/>
                <a:gd name="T10" fmla="+- 0 626 616"/>
                <a:gd name="T11" fmla="*/ 626 h 72"/>
                <a:gd name="T12" fmla="+- 0 11032 11029"/>
                <a:gd name="T13" fmla="*/ T12 w 72"/>
                <a:gd name="T14" fmla="+- 0 637 616"/>
                <a:gd name="T15" fmla="*/ 637 h 72"/>
                <a:gd name="T16" fmla="+- 0 11029 11029"/>
                <a:gd name="T17" fmla="*/ T16 w 72"/>
                <a:gd name="T18" fmla="+- 0 651 616"/>
                <a:gd name="T19" fmla="*/ 651 h 72"/>
                <a:gd name="T20" fmla="+- 0 11032 11029"/>
                <a:gd name="T21" fmla="*/ T20 w 72"/>
                <a:gd name="T22" fmla="+- 0 665 616"/>
                <a:gd name="T23" fmla="*/ 665 h 72"/>
                <a:gd name="T24" fmla="+- 0 11039 11029"/>
                <a:gd name="T25" fmla="*/ T24 w 72"/>
                <a:gd name="T26" fmla="+- 0 677 616"/>
                <a:gd name="T27" fmla="*/ 677 h 72"/>
                <a:gd name="T28" fmla="+- 0 11051 11029"/>
                <a:gd name="T29" fmla="*/ T28 w 72"/>
                <a:gd name="T30" fmla="+- 0 685 616"/>
                <a:gd name="T31" fmla="*/ 685 h 72"/>
                <a:gd name="T32" fmla="+- 0 11065 11029"/>
                <a:gd name="T33" fmla="*/ T32 w 72"/>
                <a:gd name="T34" fmla="+- 0 687 616"/>
                <a:gd name="T35" fmla="*/ 687 h 72"/>
                <a:gd name="T36" fmla="+- 0 11079 11029"/>
                <a:gd name="T37" fmla="*/ T36 w 72"/>
                <a:gd name="T38" fmla="+- 0 685 616"/>
                <a:gd name="T39" fmla="*/ 685 h 72"/>
                <a:gd name="T40" fmla="+- 0 11082 11029"/>
                <a:gd name="T41" fmla="*/ T40 w 72"/>
                <a:gd name="T42" fmla="+- 0 682 616"/>
                <a:gd name="T43" fmla="*/ 682 h 72"/>
                <a:gd name="T44" fmla="+- 0 11065 11029"/>
                <a:gd name="T45" fmla="*/ T44 w 72"/>
                <a:gd name="T46" fmla="+- 0 682 616"/>
                <a:gd name="T47" fmla="*/ 682 h 72"/>
                <a:gd name="T48" fmla="+- 0 11053 11029"/>
                <a:gd name="T49" fmla="*/ T48 w 72"/>
                <a:gd name="T50" fmla="+- 0 680 616"/>
                <a:gd name="T51" fmla="*/ 680 h 72"/>
                <a:gd name="T52" fmla="+- 0 11043 11029"/>
                <a:gd name="T53" fmla="*/ T52 w 72"/>
                <a:gd name="T54" fmla="+- 0 673 616"/>
                <a:gd name="T55" fmla="*/ 673 h 72"/>
                <a:gd name="T56" fmla="+- 0 11036 11029"/>
                <a:gd name="T57" fmla="*/ T56 w 72"/>
                <a:gd name="T58" fmla="+- 0 663 616"/>
                <a:gd name="T59" fmla="*/ 663 h 72"/>
                <a:gd name="T60" fmla="+- 0 11034 11029"/>
                <a:gd name="T61" fmla="*/ T60 w 72"/>
                <a:gd name="T62" fmla="+- 0 651 616"/>
                <a:gd name="T63" fmla="*/ 651 h 72"/>
                <a:gd name="T64" fmla="+- 0 11036 11029"/>
                <a:gd name="T65" fmla="*/ T64 w 72"/>
                <a:gd name="T66" fmla="+- 0 639 616"/>
                <a:gd name="T67" fmla="*/ 639 h 72"/>
                <a:gd name="T68" fmla="+- 0 11043 11029"/>
                <a:gd name="T69" fmla="*/ T68 w 72"/>
                <a:gd name="T70" fmla="+- 0 630 616"/>
                <a:gd name="T71" fmla="*/ 630 h 72"/>
                <a:gd name="T72" fmla="+- 0 11053 11029"/>
                <a:gd name="T73" fmla="*/ T72 w 72"/>
                <a:gd name="T74" fmla="+- 0 623 616"/>
                <a:gd name="T75" fmla="*/ 623 h 72"/>
                <a:gd name="T76" fmla="+- 0 11065 11029"/>
                <a:gd name="T77" fmla="*/ T76 w 72"/>
                <a:gd name="T78" fmla="+- 0 621 616"/>
                <a:gd name="T79" fmla="*/ 621 h 72"/>
                <a:gd name="T80" fmla="+- 0 11082 11029"/>
                <a:gd name="T81" fmla="*/ T80 w 72"/>
                <a:gd name="T82" fmla="+- 0 621 616"/>
                <a:gd name="T83" fmla="*/ 621 h 72"/>
                <a:gd name="T84" fmla="+- 0 11079 11029"/>
                <a:gd name="T85" fmla="*/ T84 w 72"/>
                <a:gd name="T86" fmla="+- 0 618 616"/>
                <a:gd name="T87" fmla="*/ 618 h 72"/>
                <a:gd name="T88" fmla="+- 0 11065 11029"/>
                <a:gd name="T89" fmla="*/ T88 w 72"/>
                <a:gd name="T90" fmla="+- 0 616 616"/>
                <a:gd name="T91" fmla="*/ 616 h 72"/>
                <a:gd name="T92" fmla="+- 0 11082 11029"/>
                <a:gd name="T93" fmla="*/ T92 w 72"/>
                <a:gd name="T94" fmla="+- 0 621 616"/>
                <a:gd name="T95" fmla="*/ 621 h 72"/>
                <a:gd name="T96" fmla="+- 0 11065 11029"/>
                <a:gd name="T97" fmla="*/ T96 w 72"/>
                <a:gd name="T98" fmla="+- 0 621 616"/>
                <a:gd name="T99" fmla="*/ 621 h 72"/>
                <a:gd name="T100" fmla="+- 0 11077 11029"/>
                <a:gd name="T101" fmla="*/ T100 w 72"/>
                <a:gd name="T102" fmla="+- 0 623 616"/>
                <a:gd name="T103" fmla="*/ 623 h 72"/>
                <a:gd name="T104" fmla="+- 0 11087 11029"/>
                <a:gd name="T105" fmla="*/ T104 w 72"/>
                <a:gd name="T106" fmla="+- 0 630 616"/>
                <a:gd name="T107" fmla="*/ 630 h 72"/>
                <a:gd name="T108" fmla="+- 0 11093 11029"/>
                <a:gd name="T109" fmla="*/ T108 w 72"/>
                <a:gd name="T110" fmla="+- 0 639 616"/>
                <a:gd name="T111" fmla="*/ 639 h 72"/>
                <a:gd name="T112" fmla="+- 0 11096 11029"/>
                <a:gd name="T113" fmla="*/ T112 w 72"/>
                <a:gd name="T114" fmla="+- 0 651 616"/>
                <a:gd name="T115" fmla="*/ 651 h 72"/>
                <a:gd name="T116" fmla="+- 0 11093 11029"/>
                <a:gd name="T117" fmla="*/ T116 w 72"/>
                <a:gd name="T118" fmla="+- 0 663 616"/>
                <a:gd name="T119" fmla="*/ 663 h 72"/>
                <a:gd name="T120" fmla="+- 0 11087 11029"/>
                <a:gd name="T121" fmla="*/ T120 w 72"/>
                <a:gd name="T122" fmla="+- 0 673 616"/>
                <a:gd name="T123" fmla="*/ 673 h 72"/>
                <a:gd name="T124" fmla="+- 0 11077 11029"/>
                <a:gd name="T125" fmla="*/ T124 w 72"/>
                <a:gd name="T126" fmla="+- 0 680 616"/>
                <a:gd name="T127" fmla="*/ 680 h 72"/>
                <a:gd name="T128" fmla="+- 0 11065 11029"/>
                <a:gd name="T129" fmla="*/ T128 w 72"/>
                <a:gd name="T130" fmla="+- 0 682 616"/>
                <a:gd name="T131" fmla="*/ 682 h 72"/>
                <a:gd name="T132" fmla="+- 0 11082 11029"/>
                <a:gd name="T133" fmla="*/ T132 w 72"/>
                <a:gd name="T134" fmla="+- 0 682 616"/>
                <a:gd name="T135" fmla="*/ 682 h 72"/>
                <a:gd name="T136" fmla="+- 0 11090 11029"/>
                <a:gd name="T137" fmla="*/ T136 w 72"/>
                <a:gd name="T138" fmla="+- 0 677 616"/>
                <a:gd name="T139" fmla="*/ 677 h 72"/>
                <a:gd name="T140" fmla="+- 0 11098 11029"/>
                <a:gd name="T141" fmla="*/ T140 w 72"/>
                <a:gd name="T142" fmla="+- 0 665 616"/>
                <a:gd name="T143" fmla="*/ 665 h 72"/>
                <a:gd name="T144" fmla="+- 0 11101 11029"/>
                <a:gd name="T145" fmla="*/ T144 w 72"/>
                <a:gd name="T146" fmla="+- 0 651 616"/>
                <a:gd name="T147" fmla="*/ 651 h 72"/>
                <a:gd name="T148" fmla="+- 0 11098 11029"/>
                <a:gd name="T149" fmla="*/ T148 w 72"/>
                <a:gd name="T150" fmla="+- 0 637 616"/>
                <a:gd name="T151" fmla="*/ 637 h 72"/>
                <a:gd name="T152" fmla="+- 0 11090 11029"/>
                <a:gd name="T153" fmla="*/ T152 w 72"/>
                <a:gd name="T154" fmla="+- 0 626 616"/>
                <a:gd name="T155" fmla="*/ 626 h 72"/>
                <a:gd name="T156" fmla="+- 0 11082 11029"/>
                <a:gd name="T157" fmla="*/ T156 w 72"/>
                <a:gd name="T158" fmla="+- 0 621 616"/>
                <a:gd name="T159" fmla="*/ 621 h 72"/>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72" h="72">
                  <a:moveTo>
                    <a:pt x="36" y="0"/>
                  </a:moveTo>
                  <a:lnTo>
                    <a:pt x="22" y="2"/>
                  </a:lnTo>
                  <a:lnTo>
                    <a:pt x="10" y="10"/>
                  </a:lnTo>
                  <a:lnTo>
                    <a:pt x="3" y="21"/>
                  </a:lnTo>
                  <a:lnTo>
                    <a:pt x="0" y="35"/>
                  </a:lnTo>
                  <a:lnTo>
                    <a:pt x="3" y="49"/>
                  </a:lnTo>
                  <a:lnTo>
                    <a:pt x="10" y="61"/>
                  </a:lnTo>
                  <a:lnTo>
                    <a:pt x="22" y="69"/>
                  </a:lnTo>
                  <a:lnTo>
                    <a:pt x="36" y="71"/>
                  </a:lnTo>
                  <a:lnTo>
                    <a:pt x="50" y="69"/>
                  </a:lnTo>
                  <a:lnTo>
                    <a:pt x="53" y="66"/>
                  </a:lnTo>
                  <a:lnTo>
                    <a:pt x="36" y="66"/>
                  </a:lnTo>
                  <a:lnTo>
                    <a:pt x="24" y="64"/>
                  </a:lnTo>
                  <a:lnTo>
                    <a:pt x="14" y="57"/>
                  </a:lnTo>
                  <a:lnTo>
                    <a:pt x="7" y="47"/>
                  </a:lnTo>
                  <a:lnTo>
                    <a:pt x="5" y="35"/>
                  </a:lnTo>
                  <a:lnTo>
                    <a:pt x="7" y="23"/>
                  </a:lnTo>
                  <a:lnTo>
                    <a:pt x="14" y="14"/>
                  </a:lnTo>
                  <a:lnTo>
                    <a:pt x="24" y="7"/>
                  </a:lnTo>
                  <a:lnTo>
                    <a:pt x="36" y="5"/>
                  </a:lnTo>
                  <a:lnTo>
                    <a:pt x="53" y="5"/>
                  </a:lnTo>
                  <a:lnTo>
                    <a:pt x="50" y="2"/>
                  </a:lnTo>
                  <a:lnTo>
                    <a:pt x="36" y="0"/>
                  </a:lnTo>
                  <a:close/>
                  <a:moveTo>
                    <a:pt x="53" y="5"/>
                  </a:moveTo>
                  <a:lnTo>
                    <a:pt x="36" y="5"/>
                  </a:lnTo>
                  <a:lnTo>
                    <a:pt x="48" y="7"/>
                  </a:lnTo>
                  <a:lnTo>
                    <a:pt x="58" y="14"/>
                  </a:lnTo>
                  <a:lnTo>
                    <a:pt x="64" y="23"/>
                  </a:lnTo>
                  <a:lnTo>
                    <a:pt x="67" y="35"/>
                  </a:lnTo>
                  <a:lnTo>
                    <a:pt x="64" y="47"/>
                  </a:lnTo>
                  <a:lnTo>
                    <a:pt x="58" y="57"/>
                  </a:lnTo>
                  <a:lnTo>
                    <a:pt x="48" y="64"/>
                  </a:lnTo>
                  <a:lnTo>
                    <a:pt x="36" y="66"/>
                  </a:lnTo>
                  <a:lnTo>
                    <a:pt x="53" y="66"/>
                  </a:lnTo>
                  <a:lnTo>
                    <a:pt x="61" y="61"/>
                  </a:lnTo>
                  <a:lnTo>
                    <a:pt x="69" y="49"/>
                  </a:lnTo>
                  <a:lnTo>
                    <a:pt x="72" y="35"/>
                  </a:lnTo>
                  <a:lnTo>
                    <a:pt x="69" y="21"/>
                  </a:lnTo>
                  <a:lnTo>
                    <a:pt x="61" y="10"/>
                  </a:lnTo>
                  <a:lnTo>
                    <a:pt x="53" y="5"/>
                  </a:lnTo>
                  <a:close/>
                </a:path>
              </a:pathLst>
            </a:custGeom>
            <a:solidFill>
              <a:srgbClr val="FFDE0C"/>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39" name="docshape4486">
              <a:extLst>
                <a:ext uri="{FF2B5EF4-FFF2-40B4-BE49-F238E27FC236}">
                  <a16:creationId xmlns:a16="http://schemas.microsoft.com/office/drawing/2014/main" id="{7E74E5B9-1D62-4B1B-8D39-375AF0E6CA34}"/>
                </a:ext>
              </a:extLst>
            </p:cNvPr>
            <p:cNvSpPr>
              <a:spLocks/>
            </p:cNvSpPr>
            <p:nvPr/>
          </p:nvSpPr>
          <p:spPr bwMode="auto">
            <a:xfrm>
              <a:off x="11028" y="615"/>
              <a:ext cx="72" cy="72"/>
            </a:xfrm>
            <a:custGeom>
              <a:avLst/>
              <a:gdLst>
                <a:gd name="T0" fmla="+- 0 11065 11029"/>
                <a:gd name="T1" fmla="*/ T0 w 72"/>
                <a:gd name="T2" fmla="+- 0 616 616"/>
                <a:gd name="T3" fmla="*/ 616 h 72"/>
                <a:gd name="T4" fmla="+- 0 11051 11029"/>
                <a:gd name="T5" fmla="*/ T4 w 72"/>
                <a:gd name="T6" fmla="+- 0 618 616"/>
                <a:gd name="T7" fmla="*/ 618 h 72"/>
                <a:gd name="T8" fmla="+- 0 11039 11029"/>
                <a:gd name="T9" fmla="*/ T8 w 72"/>
                <a:gd name="T10" fmla="+- 0 626 616"/>
                <a:gd name="T11" fmla="*/ 626 h 72"/>
                <a:gd name="T12" fmla="+- 0 11032 11029"/>
                <a:gd name="T13" fmla="*/ T12 w 72"/>
                <a:gd name="T14" fmla="+- 0 637 616"/>
                <a:gd name="T15" fmla="*/ 637 h 72"/>
                <a:gd name="T16" fmla="+- 0 11029 11029"/>
                <a:gd name="T17" fmla="*/ T16 w 72"/>
                <a:gd name="T18" fmla="+- 0 651 616"/>
                <a:gd name="T19" fmla="*/ 651 h 72"/>
                <a:gd name="T20" fmla="+- 0 11032 11029"/>
                <a:gd name="T21" fmla="*/ T20 w 72"/>
                <a:gd name="T22" fmla="+- 0 665 616"/>
                <a:gd name="T23" fmla="*/ 665 h 72"/>
                <a:gd name="T24" fmla="+- 0 11039 11029"/>
                <a:gd name="T25" fmla="*/ T24 w 72"/>
                <a:gd name="T26" fmla="+- 0 677 616"/>
                <a:gd name="T27" fmla="*/ 677 h 72"/>
                <a:gd name="T28" fmla="+- 0 11051 11029"/>
                <a:gd name="T29" fmla="*/ T28 w 72"/>
                <a:gd name="T30" fmla="+- 0 685 616"/>
                <a:gd name="T31" fmla="*/ 685 h 72"/>
                <a:gd name="T32" fmla="+- 0 11065 11029"/>
                <a:gd name="T33" fmla="*/ T32 w 72"/>
                <a:gd name="T34" fmla="+- 0 687 616"/>
                <a:gd name="T35" fmla="*/ 687 h 72"/>
                <a:gd name="T36" fmla="+- 0 11079 11029"/>
                <a:gd name="T37" fmla="*/ T36 w 72"/>
                <a:gd name="T38" fmla="+- 0 685 616"/>
                <a:gd name="T39" fmla="*/ 685 h 72"/>
                <a:gd name="T40" fmla="+- 0 11082 11029"/>
                <a:gd name="T41" fmla="*/ T40 w 72"/>
                <a:gd name="T42" fmla="+- 0 682 616"/>
                <a:gd name="T43" fmla="*/ 682 h 72"/>
                <a:gd name="T44" fmla="+- 0 11065 11029"/>
                <a:gd name="T45" fmla="*/ T44 w 72"/>
                <a:gd name="T46" fmla="+- 0 682 616"/>
                <a:gd name="T47" fmla="*/ 682 h 72"/>
                <a:gd name="T48" fmla="+- 0 11053 11029"/>
                <a:gd name="T49" fmla="*/ T48 w 72"/>
                <a:gd name="T50" fmla="+- 0 680 616"/>
                <a:gd name="T51" fmla="*/ 680 h 72"/>
                <a:gd name="T52" fmla="+- 0 11043 11029"/>
                <a:gd name="T53" fmla="*/ T52 w 72"/>
                <a:gd name="T54" fmla="+- 0 673 616"/>
                <a:gd name="T55" fmla="*/ 673 h 72"/>
                <a:gd name="T56" fmla="+- 0 11036 11029"/>
                <a:gd name="T57" fmla="*/ T56 w 72"/>
                <a:gd name="T58" fmla="+- 0 663 616"/>
                <a:gd name="T59" fmla="*/ 663 h 72"/>
                <a:gd name="T60" fmla="+- 0 11034 11029"/>
                <a:gd name="T61" fmla="*/ T60 w 72"/>
                <a:gd name="T62" fmla="+- 0 651 616"/>
                <a:gd name="T63" fmla="*/ 651 h 72"/>
                <a:gd name="T64" fmla="+- 0 11036 11029"/>
                <a:gd name="T65" fmla="*/ T64 w 72"/>
                <a:gd name="T66" fmla="+- 0 639 616"/>
                <a:gd name="T67" fmla="*/ 639 h 72"/>
                <a:gd name="T68" fmla="+- 0 11043 11029"/>
                <a:gd name="T69" fmla="*/ T68 w 72"/>
                <a:gd name="T70" fmla="+- 0 630 616"/>
                <a:gd name="T71" fmla="*/ 630 h 72"/>
                <a:gd name="T72" fmla="+- 0 11053 11029"/>
                <a:gd name="T73" fmla="*/ T72 w 72"/>
                <a:gd name="T74" fmla="+- 0 623 616"/>
                <a:gd name="T75" fmla="*/ 623 h 72"/>
                <a:gd name="T76" fmla="+- 0 11065 11029"/>
                <a:gd name="T77" fmla="*/ T76 w 72"/>
                <a:gd name="T78" fmla="+- 0 621 616"/>
                <a:gd name="T79" fmla="*/ 621 h 72"/>
                <a:gd name="T80" fmla="+- 0 11082 11029"/>
                <a:gd name="T81" fmla="*/ T80 w 72"/>
                <a:gd name="T82" fmla="+- 0 621 616"/>
                <a:gd name="T83" fmla="*/ 621 h 72"/>
                <a:gd name="T84" fmla="+- 0 11079 11029"/>
                <a:gd name="T85" fmla="*/ T84 w 72"/>
                <a:gd name="T86" fmla="+- 0 618 616"/>
                <a:gd name="T87" fmla="*/ 618 h 72"/>
                <a:gd name="T88" fmla="+- 0 11065 11029"/>
                <a:gd name="T89" fmla="*/ T88 w 72"/>
                <a:gd name="T90" fmla="+- 0 616 616"/>
                <a:gd name="T91" fmla="*/ 616 h 72"/>
                <a:gd name="T92" fmla="+- 0 11082 11029"/>
                <a:gd name="T93" fmla="*/ T92 w 72"/>
                <a:gd name="T94" fmla="+- 0 621 616"/>
                <a:gd name="T95" fmla="*/ 621 h 72"/>
                <a:gd name="T96" fmla="+- 0 11065 11029"/>
                <a:gd name="T97" fmla="*/ T96 w 72"/>
                <a:gd name="T98" fmla="+- 0 621 616"/>
                <a:gd name="T99" fmla="*/ 621 h 72"/>
                <a:gd name="T100" fmla="+- 0 11077 11029"/>
                <a:gd name="T101" fmla="*/ T100 w 72"/>
                <a:gd name="T102" fmla="+- 0 623 616"/>
                <a:gd name="T103" fmla="*/ 623 h 72"/>
                <a:gd name="T104" fmla="+- 0 11087 11029"/>
                <a:gd name="T105" fmla="*/ T104 w 72"/>
                <a:gd name="T106" fmla="+- 0 630 616"/>
                <a:gd name="T107" fmla="*/ 630 h 72"/>
                <a:gd name="T108" fmla="+- 0 11093 11029"/>
                <a:gd name="T109" fmla="*/ T108 w 72"/>
                <a:gd name="T110" fmla="+- 0 639 616"/>
                <a:gd name="T111" fmla="*/ 639 h 72"/>
                <a:gd name="T112" fmla="+- 0 11096 11029"/>
                <a:gd name="T113" fmla="*/ T112 w 72"/>
                <a:gd name="T114" fmla="+- 0 651 616"/>
                <a:gd name="T115" fmla="*/ 651 h 72"/>
                <a:gd name="T116" fmla="+- 0 11093 11029"/>
                <a:gd name="T117" fmla="*/ T116 w 72"/>
                <a:gd name="T118" fmla="+- 0 663 616"/>
                <a:gd name="T119" fmla="*/ 663 h 72"/>
                <a:gd name="T120" fmla="+- 0 11087 11029"/>
                <a:gd name="T121" fmla="*/ T120 w 72"/>
                <a:gd name="T122" fmla="+- 0 673 616"/>
                <a:gd name="T123" fmla="*/ 673 h 72"/>
                <a:gd name="T124" fmla="+- 0 11077 11029"/>
                <a:gd name="T125" fmla="*/ T124 w 72"/>
                <a:gd name="T126" fmla="+- 0 680 616"/>
                <a:gd name="T127" fmla="*/ 680 h 72"/>
                <a:gd name="T128" fmla="+- 0 11065 11029"/>
                <a:gd name="T129" fmla="*/ T128 w 72"/>
                <a:gd name="T130" fmla="+- 0 682 616"/>
                <a:gd name="T131" fmla="*/ 682 h 72"/>
                <a:gd name="T132" fmla="+- 0 11082 11029"/>
                <a:gd name="T133" fmla="*/ T132 w 72"/>
                <a:gd name="T134" fmla="+- 0 682 616"/>
                <a:gd name="T135" fmla="*/ 682 h 72"/>
                <a:gd name="T136" fmla="+- 0 11090 11029"/>
                <a:gd name="T137" fmla="*/ T136 w 72"/>
                <a:gd name="T138" fmla="+- 0 677 616"/>
                <a:gd name="T139" fmla="*/ 677 h 72"/>
                <a:gd name="T140" fmla="+- 0 11098 11029"/>
                <a:gd name="T141" fmla="*/ T140 w 72"/>
                <a:gd name="T142" fmla="+- 0 665 616"/>
                <a:gd name="T143" fmla="*/ 665 h 72"/>
                <a:gd name="T144" fmla="+- 0 11101 11029"/>
                <a:gd name="T145" fmla="*/ T144 w 72"/>
                <a:gd name="T146" fmla="+- 0 651 616"/>
                <a:gd name="T147" fmla="*/ 651 h 72"/>
                <a:gd name="T148" fmla="+- 0 11098 11029"/>
                <a:gd name="T149" fmla="*/ T148 w 72"/>
                <a:gd name="T150" fmla="+- 0 637 616"/>
                <a:gd name="T151" fmla="*/ 637 h 72"/>
                <a:gd name="T152" fmla="+- 0 11090 11029"/>
                <a:gd name="T153" fmla="*/ T152 w 72"/>
                <a:gd name="T154" fmla="+- 0 626 616"/>
                <a:gd name="T155" fmla="*/ 626 h 72"/>
                <a:gd name="T156" fmla="+- 0 11082 11029"/>
                <a:gd name="T157" fmla="*/ T156 w 72"/>
                <a:gd name="T158" fmla="+- 0 621 616"/>
                <a:gd name="T159" fmla="*/ 621 h 72"/>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72" h="72">
                  <a:moveTo>
                    <a:pt x="36" y="0"/>
                  </a:moveTo>
                  <a:lnTo>
                    <a:pt x="22" y="2"/>
                  </a:lnTo>
                  <a:lnTo>
                    <a:pt x="10" y="10"/>
                  </a:lnTo>
                  <a:lnTo>
                    <a:pt x="3" y="21"/>
                  </a:lnTo>
                  <a:lnTo>
                    <a:pt x="0" y="35"/>
                  </a:lnTo>
                  <a:lnTo>
                    <a:pt x="3" y="49"/>
                  </a:lnTo>
                  <a:lnTo>
                    <a:pt x="10" y="61"/>
                  </a:lnTo>
                  <a:lnTo>
                    <a:pt x="22" y="69"/>
                  </a:lnTo>
                  <a:lnTo>
                    <a:pt x="36" y="71"/>
                  </a:lnTo>
                  <a:lnTo>
                    <a:pt x="50" y="69"/>
                  </a:lnTo>
                  <a:lnTo>
                    <a:pt x="53" y="66"/>
                  </a:lnTo>
                  <a:lnTo>
                    <a:pt x="36" y="66"/>
                  </a:lnTo>
                  <a:lnTo>
                    <a:pt x="24" y="64"/>
                  </a:lnTo>
                  <a:lnTo>
                    <a:pt x="14" y="57"/>
                  </a:lnTo>
                  <a:lnTo>
                    <a:pt x="7" y="47"/>
                  </a:lnTo>
                  <a:lnTo>
                    <a:pt x="5" y="35"/>
                  </a:lnTo>
                  <a:lnTo>
                    <a:pt x="7" y="23"/>
                  </a:lnTo>
                  <a:lnTo>
                    <a:pt x="14" y="14"/>
                  </a:lnTo>
                  <a:lnTo>
                    <a:pt x="24" y="7"/>
                  </a:lnTo>
                  <a:lnTo>
                    <a:pt x="36" y="5"/>
                  </a:lnTo>
                  <a:lnTo>
                    <a:pt x="53" y="5"/>
                  </a:lnTo>
                  <a:lnTo>
                    <a:pt x="50" y="2"/>
                  </a:lnTo>
                  <a:lnTo>
                    <a:pt x="36" y="0"/>
                  </a:lnTo>
                  <a:close/>
                  <a:moveTo>
                    <a:pt x="53" y="5"/>
                  </a:moveTo>
                  <a:lnTo>
                    <a:pt x="36" y="5"/>
                  </a:lnTo>
                  <a:lnTo>
                    <a:pt x="48" y="7"/>
                  </a:lnTo>
                  <a:lnTo>
                    <a:pt x="58" y="14"/>
                  </a:lnTo>
                  <a:lnTo>
                    <a:pt x="64" y="23"/>
                  </a:lnTo>
                  <a:lnTo>
                    <a:pt x="67" y="35"/>
                  </a:lnTo>
                  <a:lnTo>
                    <a:pt x="64" y="47"/>
                  </a:lnTo>
                  <a:lnTo>
                    <a:pt x="58" y="57"/>
                  </a:lnTo>
                  <a:lnTo>
                    <a:pt x="48" y="64"/>
                  </a:lnTo>
                  <a:lnTo>
                    <a:pt x="36" y="66"/>
                  </a:lnTo>
                  <a:lnTo>
                    <a:pt x="53" y="66"/>
                  </a:lnTo>
                  <a:lnTo>
                    <a:pt x="61" y="61"/>
                  </a:lnTo>
                  <a:lnTo>
                    <a:pt x="69" y="49"/>
                  </a:lnTo>
                  <a:lnTo>
                    <a:pt x="72" y="35"/>
                  </a:lnTo>
                  <a:lnTo>
                    <a:pt x="69" y="21"/>
                  </a:lnTo>
                  <a:lnTo>
                    <a:pt x="61" y="10"/>
                  </a:lnTo>
                  <a:lnTo>
                    <a:pt x="5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40" name="docshape4487">
              <a:extLst>
                <a:ext uri="{FF2B5EF4-FFF2-40B4-BE49-F238E27FC236}">
                  <a16:creationId xmlns:a16="http://schemas.microsoft.com/office/drawing/2014/main" id="{D904B931-8DD8-4D47-B174-11D2CFB63A35}"/>
                </a:ext>
              </a:extLst>
            </p:cNvPr>
            <p:cNvSpPr>
              <a:spLocks/>
            </p:cNvSpPr>
            <p:nvPr/>
          </p:nvSpPr>
          <p:spPr bwMode="auto">
            <a:xfrm>
              <a:off x="11049" y="633"/>
              <a:ext cx="30" cy="37"/>
            </a:xfrm>
            <a:custGeom>
              <a:avLst/>
              <a:gdLst>
                <a:gd name="T0" fmla="+- 0 11069 11050"/>
                <a:gd name="T1" fmla="*/ T0 w 30"/>
                <a:gd name="T2" fmla="+- 0 633 633"/>
                <a:gd name="T3" fmla="*/ 633 h 37"/>
                <a:gd name="T4" fmla="+- 0 11050 11050"/>
                <a:gd name="T5" fmla="*/ T4 w 30"/>
                <a:gd name="T6" fmla="+- 0 633 633"/>
                <a:gd name="T7" fmla="*/ 633 h 37"/>
                <a:gd name="T8" fmla="+- 0 11050 11050"/>
                <a:gd name="T9" fmla="*/ T8 w 30"/>
                <a:gd name="T10" fmla="+- 0 670 633"/>
                <a:gd name="T11" fmla="*/ 670 h 37"/>
                <a:gd name="T12" fmla="+- 0 11057 11050"/>
                <a:gd name="T13" fmla="*/ T12 w 30"/>
                <a:gd name="T14" fmla="+- 0 670 633"/>
                <a:gd name="T15" fmla="*/ 670 h 37"/>
                <a:gd name="T16" fmla="+- 0 11057 11050"/>
                <a:gd name="T17" fmla="*/ T16 w 30"/>
                <a:gd name="T18" fmla="+- 0 658 633"/>
                <a:gd name="T19" fmla="*/ 658 h 37"/>
                <a:gd name="T20" fmla="+- 0 11080 11050"/>
                <a:gd name="T21" fmla="*/ T20 w 30"/>
                <a:gd name="T22" fmla="+- 0 658 633"/>
                <a:gd name="T23" fmla="*/ 658 h 37"/>
                <a:gd name="T24" fmla="+- 0 11078 11050"/>
                <a:gd name="T25" fmla="*/ T24 w 30"/>
                <a:gd name="T26" fmla="+- 0 655 633"/>
                <a:gd name="T27" fmla="*/ 655 h 37"/>
                <a:gd name="T28" fmla="+- 0 11073 11050"/>
                <a:gd name="T29" fmla="*/ T28 w 30"/>
                <a:gd name="T30" fmla="+- 0 655 633"/>
                <a:gd name="T31" fmla="*/ 655 h 37"/>
                <a:gd name="T32" fmla="+- 0 11073 11050"/>
                <a:gd name="T33" fmla="*/ T32 w 30"/>
                <a:gd name="T34" fmla="+- 0 654 633"/>
                <a:gd name="T35" fmla="*/ 654 h 37"/>
                <a:gd name="T36" fmla="+- 0 11080 11050"/>
                <a:gd name="T37" fmla="*/ T36 w 30"/>
                <a:gd name="T38" fmla="+- 0 654 633"/>
                <a:gd name="T39" fmla="*/ 654 h 37"/>
                <a:gd name="T40" fmla="+- 0 11080 11050"/>
                <a:gd name="T41" fmla="*/ T40 w 30"/>
                <a:gd name="T42" fmla="+- 0 652 633"/>
                <a:gd name="T43" fmla="*/ 652 h 37"/>
                <a:gd name="T44" fmla="+- 0 11057 11050"/>
                <a:gd name="T45" fmla="*/ T44 w 30"/>
                <a:gd name="T46" fmla="+- 0 652 633"/>
                <a:gd name="T47" fmla="*/ 652 h 37"/>
                <a:gd name="T48" fmla="+- 0 11057 11050"/>
                <a:gd name="T49" fmla="*/ T48 w 30"/>
                <a:gd name="T50" fmla="+- 0 639 633"/>
                <a:gd name="T51" fmla="*/ 639 h 37"/>
                <a:gd name="T52" fmla="+- 0 11080 11050"/>
                <a:gd name="T53" fmla="*/ T52 w 30"/>
                <a:gd name="T54" fmla="+- 0 639 633"/>
                <a:gd name="T55" fmla="*/ 639 h 37"/>
                <a:gd name="T56" fmla="+- 0 11080 11050"/>
                <a:gd name="T57" fmla="*/ T56 w 30"/>
                <a:gd name="T58" fmla="+- 0 636 633"/>
                <a:gd name="T59" fmla="*/ 636 h 37"/>
                <a:gd name="T60" fmla="+- 0 11077 11050"/>
                <a:gd name="T61" fmla="*/ T60 w 30"/>
                <a:gd name="T62" fmla="+- 0 633 633"/>
                <a:gd name="T63" fmla="*/ 633 h 37"/>
                <a:gd name="T64" fmla="+- 0 11069 11050"/>
                <a:gd name="T65" fmla="*/ T64 w 30"/>
                <a:gd name="T66" fmla="+- 0 633 633"/>
                <a:gd name="T67" fmla="*/ 633 h 37"/>
                <a:gd name="T68" fmla="+- 0 11080 11050"/>
                <a:gd name="T69" fmla="*/ T68 w 30"/>
                <a:gd name="T70" fmla="+- 0 658 633"/>
                <a:gd name="T71" fmla="*/ 658 h 37"/>
                <a:gd name="T72" fmla="+- 0 11068 11050"/>
                <a:gd name="T73" fmla="*/ T72 w 30"/>
                <a:gd name="T74" fmla="+- 0 658 633"/>
                <a:gd name="T75" fmla="*/ 658 h 37"/>
                <a:gd name="T76" fmla="+- 0 11071 11050"/>
                <a:gd name="T77" fmla="*/ T76 w 30"/>
                <a:gd name="T78" fmla="+- 0 658 633"/>
                <a:gd name="T79" fmla="*/ 658 h 37"/>
                <a:gd name="T80" fmla="+- 0 11072 11050"/>
                <a:gd name="T81" fmla="*/ T80 w 30"/>
                <a:gd name="T82" fmla="+- 0 660 633"/>
                <a:gd name="T83" fmla="*/ 660 h 37"/>
                <a:gd name="T84" fmla="+- 0 11072 11050"/>
                <a:gd name="T85" fmla="*/ T84 w 30"/>
                <a:gd name="T86" fmla="+- 0 670 633"/>
                <a:gd name="T87" fmla="*/ 670 h 37"/>
                <a:gd name="T88" fmla="+- 0 11080 11050"/>
                <a:gd name="T89" fmla="*/ T88 w 30"/>
                <a:gd name="T90" fmla="+- 0 670 633"/>
                <a:gd name="T91" fmla="*/ 670 h 37"/>
                <a:gd name="T92" fmla="+- 0 11080 11050"/>
                <a:gd name="T93" fmla="*/ T92 w 30"/>
                <a:gd name="T94" fmla="+- 0 658 633"/>
                <a:gd name="T95" fmla="*/ 658 h 37"/>
                <a:gd name="T96" fmla="+- 0 11080 11050"/>
                <a:gd name="T97" fmla="*/ T96 w 30"/>
                <a:gd name="T98" fmla="+- 0 639 633"/>
                <a:gd name="T99" fmla="*/ 639 h 37"/>
                <a:gd name="T100" fmla="+- 0 11072 11050"/>
                <a:gd name="T101" fmla="*/ T100 w 30"/>
                <a:gd name="T102" fmla="+- 0 639 633"/>
                <a:gd name="T103" fmla="*/ 639 h 37"/>
                <a:gd name="T104" fmla="+- 0 11073 11050"/>
                <a:gd name="T105" fmla="*/ T104 w 30"/>
                <a:gd name="T106" fmla="+- 0 640 633"/>
                <a:gd name="T107" fmla="*/ 640 h 37"/>
                <a:gd name="T108" fmla="+- 0 11073 11050"/>
                <a:gd name="T109" fmla="*/ T108 w 30"/>
                <a:gd name="T110" fmla="+- 0 651 633"/>
                <a:gd name="T111" fmla="*/ 651 h 37"/>
                <a:gd name="T112" fmla="+- 0 11072 11050"/>
                <a:gd name="T113" fmla="*/ T112 w 30"/>
                <a:gd name="T114" fmla="+- 0 652 633"/>
                <a:gd name="T115" fmla="*/ 652 h 37"/>
                <a:gd name="T116" fmla="+- 0 11080 11050"/>
                <a:gd name="T117" fmla="*/ T116 w 30"/>
                <a:gd name="T118" fmla="+- 0 652 633"/>
                <a:gd name="T119" fmla="*/ 652 h 37"/>
                <a:gd name="T120" fmla="+- 0 11080 11050"/>
                <a:gd name="T121" fmla="*/ T120 w 30"/>
                <a:gd name="T122" fmla="+- 0 639 633"/>
                <a:gd name="T123" fmla="*/ 639 h 3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Lst>
              <a:rect l="0" t="0" r="r" b="b"/>
              <a:pathLst>
                <a:path w="30" h="37">
                  <a:moveTo>
                    <a:pt x="19" y="0"/>
                  </a:moveTo>
                  <a:lnTo>
                    <a:pt x="0" y="0"/>
                  </a:lnTo>
                  <a:lnTo>
                    <a:pt x="0" y="37"/>
                  </a:lnTo>
                  <a:lnTo>
                    <a:pt x="7" y="37"/>
                  </a:lnTo>
                  <a:lnTo>
                    <a:pt x="7" y="25"/>
                  </a:lnTo>
                  <a:lnTo>
                    <a:pt x="30" y="25"/>
                  </a:lnTo>
                  <a:lnTo>
                    <a:pt x="28" y="22"/>
                  </a:lnTo>
                  <a:lnTo>
                    <a:pt x="23" y="22"/>
                  </a:lnTo>
                  <a:lnTo>
                    <a:pt x="23" y="21"/>
                  </a:lnTo>
                  <a:lnTo>
                    <a:pt x="30" y="21"/>
                  </a:lnTo>
                  <a:lnTo>
                    <a:pt x="30" y="19"/>
                  </a:lnTo>
                  <a:lnTo>
                    <a:pt x="7" y="19"/>
                  </a:lnTo>
                  <a:lnTo>
                    <a:pt x="7" y="6"/>
                  </a:lnTo>
                  <a:lnTo>
                    <a:pt x="30" y="6"/>
                  </a:lnTo>
                  <a:lnTo>
                    <a:pt x="30" y="3"/>
                  </a:lnTo>
                  <a:lnTo>
                    <a:pt x="27" y="0"/>
                  </a:lnTo>
                  <a:lnTo>
                    <a:pt x="19" y="0"/>
                  </a:lnTo>
                  <a:close/>
                  <a:moveTo>
                    <a:pt x="30" y="25"/>
                  </a:moveTo>
                  <a:lnTo>
                    <a:pt x="18" y="25"/>
                  </a:lnTo>
                  <a:lnTo>
                    <a:pt x="21" y="25"/>
                  </a:lnTo>
                  <a:lnTo>
                    <a:pt x="22" y="27"/>
                  </a:lnTo>
                  <a:lnTo>
                    <a:pt x="22" y="37"/>
                  </a:lnTo>
                  <a:lnTo>
                    <a:pt x="30" y="37"/>
                  </a:lnTo>
                  <a:lnTo>
                    <a:pt x="30" y="25"/>
                  </a:lnTo>
                  <a:close/>
                  <a:moveTo>
                    <a:pt x="30" y="6"/>
                  </a:moveTo>
                  <a:lnTo>
                    <a:pt x="22" y="6"/>
                  </a:lnTo>
                  <a:lnTo>
                    <a:pt x="23" y="7"/>
                  </a:lnTo>
                  <a:lnTo>
                    <a:pt x="23" y="18"/>
                  </a:lnTo>
                  <a:lnTo>
                    <a:pt x="22" y="19"/>
                  </a:lnTo>
                  <a:lnTo>
                    <a:pt x="30" y="19"/>
                  </a:lnTo>
                  <a:lnTo>
                    <a:pt x="30" y="6"/>
                  </a:lnTo>
                  <a:close/>
                </a:path>
              </a:pathLst>
            </a:custGeom>
            <a:solidFill>
              <a:srgbClr val="FFDE0C"/>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41" name="docshape4488">
              <a:extLst>
                <a:ext uri="{FF2B5EF4-FFF2-40B4-BE49-F238E27FC236}">
                  <a16:creationId xmlns:a16="http://schemas.microsoft.com/office/drawing/2014/main" id="{4F4A747E-1BD3-4852-99F5-13267B1B5A41}"/>
                </a:ext>
              </a:extLst>
            </p:cNvPr>
            <p:cNvSpPr>
              <a:spLocks/>
            </p:cNvSpPr>
            <p:nvPr/>
          </p:nvSpPr>
          <p:spPr bwMode="auto">
            <a:xfrm>
              <a:off x="11049" y="633"/>
              <a:ext cx="30" cy="37"/>
            </a:xfrm>
            <a:custGeom>
              <a:avLst/>
              <a:gdLst>
                <a:gd name="T0" fmla="+- 0 11080 11050"/>
                <a:gd name="T1" fmla="*/ T0 w 30"/>
                <a:gd name="T2" fmla="+- 0 636 633"/>
                <a:gd name="T3" fmla="*/ 636 h 37"/>
                <a:gd name="T4" fmla="+- 0 11077 11050"/>
                <a:gd name="T5" fmla="*/ T4 w 30"/>
                <a:gd name="T6" fmla="+- 0 633 633"/>
                <a:gd name="T7" fmla="*/ 633 h 37"/>
                <a:gd name="T8" fmla="+- 0 11073 11050"/>
                <a:gd name="T9" fmla="*/ T8 w 30"/>
                <a:gd name="T10" fmla="+- 0 633 633"/>
                <a:gd name="T11" fmla="*/ 633 h 37"/>
                <a:gd name="T12" fmla="+- 0 11073 11050"/>
                <a:gd name="T13" fmla="*/ T12 w 30"/>
                <a:gd name="T14" fmla="+- 0 640 633"/>
                <a:gd name="T15" fmla="*/ 640 h 37"/>
                <a:gd name="T16" fmla="+- 0 11073 11050"/>
                <a:gd name="T17" fmla="*/ T16 w 30"/>
                <a:gd name="T18" fmla="+- 0 651 633"/>
                <a:gd name="T19" fmla="*/ 651 h 37"/>
                <a:gd name="T20" fmla="+- 0 11072 11050"/>
                <a:gd name="T21" fmla="*/ T20 w 30"/>
                <a:gd name="T22" fmla="+- 0 652 633"/>
                <a:gd name="T23" fmla="*/ 652 h 37"/>
                <a:gd name="T24" fmla="+- 0 11057 11050"/>
                <a:gd name="T25" fmla="*/ T24 w 30"/>
                <a:gd name="T26" fmla="+- 0 652 633"/>
                <a:gd name="T27" fmla="*/ 652 h 37"/>
                <a:gd name="T28" fmla="+- 0 11057 11050"/>
                <a:gd name="T29" fmla="*/ T28 w 30"/>
                <a:gd name="T30" fmla="+- 0 639 633"/>
                <a:gd name="T31" fmla="*/ 639 h 37"/>
                <a:gd name="T32" fmla="+- 0 11072 11050"/>
                <a:gd name="T33" fmla="*/ T32 w 30"/>
                <a:gd name="T34" fmla="+- 0 639 633"/>
                <a:gd name="T35" fmla="*/ 639 h 37"/>
                <a:gd name="T36" fmla="+- 0 11073 11050"/>
                <a:gd name="T37" fmla="*/ T36 w 30"/>
                <a:gd name="T38" fmla="+- 0 640 633"/>
                <a:gd name="T39" fmla="*/ 640 h 37"/>
                <a:gd name="T40" fmla="+- 0 11073 11050"/>
                <a:gd name="T41" fmla="*/ T40 w 30"/>
                <a:gd name="T42" fmla="+- 0 633 633"/>
                <a:gd name="T43" fmla="*/ 633 h 37"/>
                <a:gd name="T44" fmla="+- 0 11069 11050"/>
                <a:gd name="T45" fmla="*/ T44 w 30"/>
                <a:gd name="T46" fmla="+- 0 633 633"/>
                <a:gd name="T47" fmla="*/ 633 h 37"/>
                <a:gd name="T48" fmla="+- 0 11050 11050"/>
                <a:gd name="T49" fmla="*/ T48 w 30"/>
                <a:gd name="T50" fmla="+- 0 633 633"/>
                <a:gd name="T51" fmla="*/ 633 h 37"/>
                <a:gd name="T52" fmla="+- 0 11050 11050"/>
                <a:gd name="T53" fmla="*/ T52 w 30"/>
                <a:gd name="T54" fmla="+- 0 670 633"/>
                <a:gd name="T55" fmla="*/ 670 h 37"/>
                <a:gd name="T56" fmla="+- 0 11057 11050"/>
                <a:gd name="T57" fmla="*/ T56 w 30"/>
                <a:gd name="T58" fmla="+- 0 670 633"/>
                <a:gd name="T59" fmla="*/ 670 h 37"/>
                <a:gd name="T60" fmla="+- 0 11057 11050"/>
                <a:gd name="T61" fmla="*/ T60 w 30"/>
                <a:gd name="T62" fmla="+- 0 658 633"/>
                <a:gd name="T63" fmla="*/ 658 h 37"/>
                <a:gd name="T64" fmla="+- 0 11068 11050"/>
                <a:gd name="T65" fmla="*/ T64 w 30"/>
                <a:gd name="T66" fmla="+- 0 658 633"/>
                <a:gd name="T67" fmla="*/ 658 h 37"/>
                <a:gd name="T68" fmla="+- 0 11071 11050"/>
                <a:gd name="T69" fmla="*/ T68 w 30"/>
                <a:gd name="T70" fmla="+- 0 658 633"/>
                <a:gd name="T71" fmla="*/ 658 h 37"/>
                <a:gd name="T72" fmla="+- 0 11072 11050"/>
                <a:gd name="T73" fmla="*/ T72 w 30"/>
                <a:gd name="T74" fmla="+- 0 660 633"/>
                <a:gd name="T75" fmla="*/ 660 h 37"/>
                <a:gd name="T76" fmla="+- 0 11072 11050"/>
                <a:gd name="T77" fmla="*/ T76 w 30"/>
                <a:gd name="T78" fmla="+- 0 670 633"/>
                <a:gd name="T79" fmla="*/ 670 h 37"/>
                <a:gd name="T80" fmla="+- 0 11080 11050"/>
                <a:gd name="T81" fmla="*/ T80 w 30"/>
                <a:gd name="T82" fmla="+- 0 670 633"/>
                <a:gd name="T83" fmla="*/ 670 h 37"/>
                <a:gd name="T84" fmla="+- 0 11080 11050"/>
                <a:gd name="T85" fmla="*/ T84 w 30"/>
                <a:gd name="T86" fmla="+- 0 658 633"/>
                <a:gd name="T87" fmla="*/ 658 h 37"/>
                <a:gd name="T88" fmla="+- 0 11078 11050"/>
                <a:gd name="T89" fmla="*/ T88 w 30"/>
                <a:gd name="T90" fmla="+- 0 655 633"/>
                <a:gd name="T91" fmla="*/ 655 h 37"/>
                <a:gd name="T92" fmla="+- 0 11073 11050"/>
                <a:gd name="T93" fmla="*/ T92 w 30"/>
                <a:gd name="T94" fmla="+- 0 655 633"/>
                <a:gd name="T95" fmla="*/ 655 h 37"/>
                <a:gd name="T96" fmla="+- 0 11073 11050"/>
                <a:gd name="T97" fmla="*/ T96 w 30"/>
                <a:gd name="T98" fmla="+- 0 654 633"/>
                <a:gd name="T99" fmla="*/ 654 h 37"/>
                <a:gd name="T100" fmla="+- 0 11080 11050"/>
                <a:gd name="T101" fmla="*/ T100 w 30"/>
                <a:gd name="T102" fmla="+- 0 654 633"/>
                <a:gd name="T103" fmla="*/ 654 h 37"/>
                <a:gd name="T104" fmla="+- 0 11080 11050"/>
                <a:gd name="T105" fmla="*/ T104 w 30"/>
                <a:gd name="T106" fmla="+- 0 652 633"/>
                <a:gd name="T107" fmla="*/ 652 h 37"/>
                <a:gd name="T108" fmla="+- 0 11080 11050"/>
                <a:gd name="T109" fmla="*/ T108 w 30"/>
                <a:gd name="T110" fmla="+- 0 639 633"/>
                <a:gd name="T111" fmla="*/ 639 h 37"/>
                <a:gd name="T112" fmla="+- 0 11080 11050"/>
                <a:gd name="T113" fmla="*/ T112 w 30"/>
                <a:gd name="T114" fmla="+- 0 636 633"/>
                <a:gd name="T115" fmla="*/ 636 h 37"/>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Lst>
              <a:rect l="0" t="0" r="r" b="b"/>
              <a:pathLst>
                <a:path w="30" h="37">
                  <a:moveTo>
                    <a:pt x="30" y="3"/>
                  </a:moveTo>
                  <a:lnTo>
                    <a:pt x="27" y="0"/>
                  </a:lnTo>
                  <a:lnTo>
                    <a:pt x="23" y="0"/>
                  </a:lnTo>
                  <a:lnTo>
                    <a:pt x="23" y="7"/>
                  </a:lnTo>
                  <a:lnTo>
                    <a:pt x="23" y="18"/>
                  </a:lnTo>
                  <a:lnTo>
                    <a:pt x="22" y="19"/>
                  </a:lnTo>
                  <a:lnTo>
                    <a:pt x="7" y="19"/>
                  </a:lnTo>
                  <a:lnTo>
                    <a:pt x="7" y="6"/>
                  </a:lnTo>
                  <a:lnTo>
                    <a:pt x="22" y="6"/>
                  </a:lnTo>
                  <a:lnTo>
                    <a:pt x="23" y="7"/>
                  </a:lnTo>
                  <a:lnTo>
                    <a:pt x="23" y="0"/>
                  </a:lnTo>
                  <a:lnTo>
                    <a:pt x="19" y="0"/>
                  </a:lnTo>
                  <a:lnTo>
                    <a:pt x="0" y="0"/>
                  </a:lnTo>
                  <a:lnTo>
                    <a:pt x="0" y="37"/>
                  </a:lnTo>
                  <a:lnTo>
                    <a:pt x="7" y="37"/>
                  </a:lnTo>
                  <a:lnTo>
                    <a:pt x="7" y="25"/>
                  </a:lnTo>
                  <a:lnTo>
                    <a:pt x="18" y="25"/>
                  </a:lnTo>
                  <a:lnTo>
                    <a:pt x="21" y="25"/>
                  </a:lnTo>
                  <a:lnTo>
                    <a:pt x="22" y="27"/>
                  </a:lnTo>
                  <a:lnTo>
                    <a:pt x="22" y="37"/>
                  </a:lnTo>
                  <a:lnTo>
                    <a:pt x="30" y="37"/>
                  </a:lnTo>
                  <a:lnTo>
                    <a:pt x="30" y="25"/>
                  </a:lnTo>
                  <a:lnTo>
                    <a:pt x="28" y="22"/>
                  </a:lnTo>
                  <a:lnTo>
                    <a:pt x="23" y="22"/>
                  </a:lnTo>
                  <a:lnTo>
                    <a:pt x="23" y="21"/>
                  </a:lnTo>
                  <a:lnTo>
                    <a:pt x="30" y="21"/>
                  </a:lnTo>
                  <a:lnTo>
                    <a:pt x="30" y="19"/>
                  </a:lnTo>
                  <a:lnTo>
                    <a:pt x="30" y="6"/>
                  </a:lnTo>
                  <a:lnTo>
                    <a:pt x="3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pic>
          <p:nvPicPr>
            <p:cNvPr id="42" name="docshape4489">
              <a:extLst>
                <a:ext uri="{FF2B5EF4-FFF2-40B4-BE49-F238E27FC236}">
                  <a16:creationId xmlns:a16="http://schemas.microsoft.com/office/drawing/2014/main" id="{5BCED060-9542-4E01-85E3-EB9FDC3BB99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197" y="718"/>
              <a:ext cx="196"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3" name="image494.png">
            <a:extLst>
              <a:ext uri="{FF2B5EF4-FFF2-40B4-BE49-F238E27FC236}">
                <a16:creationId xmlns:a16="http://schemas.microsoft.com/office/drawing/2014/main" id="{0B6BF9BC-7B73-4241-B0D9-A43FCE93D64C}"/>
              </a:ext>
            </a:extLst>
          </p:cNvPr>
          <p:cNvPicPr/>
          <p:nvPr/>
        </p:nvPicPr>
        <p:blipFill>
          <a:blip r:embed="rId15" cstate="print"/>
          <a:stretch>
            <a:fillRect/>
          </a:stretch>
        </p:blipFill>
        <p:spPr>
          <a:xfrm>
            <a:off x="10328021" y="5007039"/>
            <a:ext cx="1400810" cy="442595"/>
          </a:xfrm>
          <a:prstGeom prst="rect">
            <a:avLst/>
          </a:prstGeom>
        </p:spPr>
      </p:pic>
      <p:pic>
        <p:nvPicPr>
          <p:cNvPr id="44" name="image478.png">
            <a:extLst>
              <a:ext uri="{FF2B5EF4-FFF2-40B4-BE49-F238E27FC236}">
                <a16:creationId xmlns:a16="http://schemas.microsoft.com/office/drawing/2014/main" id="{80E9AE86-738F-4A8B-9883-92E4EDFBFAC1}"/>
              </a:ext>
            </a:extLst>
          </p:cNvPr>
          <p:cNvPicPr/>
          <p:nvPr/>
        </p:nvPicPr>
        <p:blipFill>
          <a:blip r:embed="rId16" cstate="print"/>
          <a:stretch>
            <a:fillRect/>
          </a:stretch>
        </p:blipFill>
        <p:spPr>
          <a:xfrm>
            <a:off x="8823972" y="5704027"/>
            <a:ext cx="669759" cy="326937"/>
          </a:xfrm>
          <a:prstGeom prst="rect">
            <a:avLst/>
          </a:prstGeom>
        </p:spPr>
      </p:pic>
      <p:pic>
        <p:nvPicPr>
          <p:cNvPr id="45" name="Picture 12">
            <a:extLst>
              <a:ext uri="{FF2B5EF4-FFF2-40B4-BE49-F238E27FC236}">
                <a16:creationId xmlns:a16="http://schemas.microsoft.com/office/drawing/2014/main" id="{4D5A28C7-AAC7-4CA3-BBD3-3165BF9AABEA}"/>
              </a:ext>
            </a:extLst>
          </p:cNvPr>
          <p:cNvPicPr>
            <a:picLocks noChangeAspect="1"/>
          </p:cNvPicPr>
          <p:nvPr/>
        </p:nvPicPr>
        <p:blipFill>
          <a:blip r:embed="rId17">
            <a:clrChange>
              <a:clrFrom>
                <a:srgbClr val="000000"/>
              </a:clrFrom>
              <a:clrTo>
                <a:srgbClr val="000000">
                  <a:alpha val="0"/>
                </a:srgbClr>
              </a:clrTo>
            </a:clrChange>
          </a:blip>
          <a:stretch>
            <a:fillRect/>
          </a:stretch>
        </p:blipFill>
        <p:spPr>
          <a:xfrm>
            <a:off x="9898624" y="5653675"/>
            <a:ext cx="749108" cy="427641"/>
          </a:xfrm>
          <a:prstGeom prst="rect">
            <a:avLst/>
          </a:prstGeom>
        </p:spPr>
      </p:pic>
      <p:grpSp>
        <p:nvGrpSpPr>
          <p:cNvPr id="46" name="docshapegroup4453">
            <a:extLst>
              <a:ext uri="{FF2B5EF4-FFF2-40B4-BE49-F238E27FC236}">
                <a16:creationId xmlns:a16="http://schemas.microsoft.com/office/drawing/2014/main" id="{CB97E7E7-D143-44F4-ADF8-15B532D71919}"/>
              </a:ext>
            </a:extLst>
          </p:cNvPr>
          <p:cNvGrpSpPr>
            <a:grpSpLocks/>
          </p:cNvGrpSpPr>
          <p:nvPr/>
        </p:nvGrpSpPr>
        <p:grpSpPr bwMode="auto">
          <a:xfrm>
            <a:off x="9865445" y="6275283"/>
            <a:ext cx="815467" cy="203305"/>
            <a:chOff x="9418" y="1147"/>
            <a:chExt cx="1817" cy="453"/>
          </a:xfrm>
        </p:grpSpPr>
        <p:sp>
          <p:nvSpPr>
            <p:cNvPr id="47" name="docshape4454">
              <a:extLst>
                <a:ext uri="{FF2B5EF4-FFF2-40B4-BE49-F238E27FC236}">
                  <a16:creationId xmlns:a16="http://schemas.microsoft.com/office/drawing/2014/main" id="{A8DCDAD1-B1C0-4B92-8BC1-F0C8030CDB6B}"/>
                </a:ext>
              </a:extLst>
            </p:cNvPr>
            <p:cNvSpPr>
              <a:spLocks/>
            </p:cNvSpPr>
            <p:nvPr/>
          </p:nvSpPr>
          <p:spPr bwMode="auto">
            <a:xfrm>
              <a:off x="10681" y="1302"/>
              <a:ext cx="2" cy="4"/>
            </a:xfrm>
            <a:custGeom>
              <a:avLst/>
              <a:gdLst>
                <a:gd name="T0" fmla="+- 0 10681 10681"/>
                <a:gd name="T1" fmla="*/ T0 w 1"/>
                <a:gd name="T2" fmla="+- 0 1305 1302"/>
                <a:gd name="T3" fmla="*/ 1305 h 4"/>
                <a:gd name="T4" fmla="+- 0 10681 10681"/>
                <a:gd name="T5" fmla="*/ T4 w 1"/>
                <a:gd name="T6" fmla="+- 0 1306 1302"/>
                <a:gd name="T7" fmla="*/ 1306 h 4"/>
                <a:gd name="T8" fmla="+- 0 10681 10681"/>
                <a:gd name="T9" fmla="*/ T8 w 1"/>
                <a:gd name="T10" fmla="+- 0 1306 1302"/>
                <a:gd name="T11" fmla="*/ 1306 h 4"/>
                <a:gd name="T12" fmla="+- 0 10681 10681"/>
                <a:gd name="T13" fmla="*/ T12 w 1"/>
                <a:gd name="T14" fmla="+- 0 1305 1302"/>
                <a:gd name="T15" fmla="*/ 1305 h 4"/>
                <a:gd name="T16" fmla="+- 0 10681 10681"/>
                <a:gd name="T17" fmla="*/ T16 w 1"/>
                <a:gd name="T18" fmla="+- 0 1305 1302"/>
                <a:gd name="T19" fmla="*/ 1305 h 4"/>
                <a:gd name="T20" fmla="+- 0 10681 10681"/>
                <a:gd name="T21" fmla="*/ T20 w 1"/>
                <a:gd name="T22" fmla="+- 0 1305 1302"/>
                <a:gd name="T23" fmla="*/ 1305 h 4"/>
                <a:gd name="T24" fmla="+- 0 10681 10681"/>
                <a:gd name="T25" fmla="*/ T24 w 1"/>
                <a:gd name="T26" fmla="+- 0 1305 1302"/>
                <a:gd name="T27" fmla="*/ 1305 h 4"/>
                <a:gd name="T28" fmla="+- 0 10681 10681"/>
                <a:gd name="T29" fmla="*/ T28 w 1"/>
                <a:gd name="T30" fmla="+- 0 1305 1302"/>
                <a:gd name="T31" fmla="*/ 1305 h 4"/>
                <a:gd name="T32" fmla="+- 0 10681 10681"/>
                <a:gd name="T33" fmla="*/ T32 w 1"/>
                <a:gd name="T34" fmla="+- 0 1303 1302"/>
                <a:gd name="T35" fmla="*/ 1303 h 4"/>
                <a:gd name="T36" fmla="+- 0 10681 10681"/>
                <a:gd name="T37" fmla="*/ T36 w 1"/>
                <a:gd name="T38" fmla="+- 0 1303 1302"/>
                <a:gd name="T39" fmla="*/ 1303 h 4"/>
                <a:gd name="T40" fmla="+- 0 10681 10681"/>
                <a:gd name="T41" fmla="*/ T40 w 1"/>
                <a:gd name="T42" fmla="+- 0 1303 1302"/>
                <a:gd name="T43" fmla="*/ 1303 h 4"/>
                <a:gd name="T44" fmla="+- 0 10681 10681"/>
                <a:gd name="T45" fmla="*/ T44 w 1"/>
                <a:gd name="T46" fmla="+- 0 1303 1302"/>
                <a:gd name="T47" fmla="*/ 1303 h 4"/>
                <a:gd name="T48" fmla="+- 0 10681 10681"/>
                <a:gd name="T49" fmla="*/ T48 w 1"/>
                <a:gd name="T50" fmla="+- 0 1302 1302"/>
                <a:gd name="T51" fmla="*/ 1302 h 4"/>
                <a:gd name="T52" fmla="+- 0 10681 10681"/>
                <a:gd name="T53" fmla="*/ T52 w 1"/>
                <a:gd name="T54" fmla="+- 0 1303 1302"/>
                <a:gd name="T55" fmla="*/ 1303 h 4"/>
                <a:gd name="T56" fmla="+- 0 10681 10681"/>
                <a:gd name="T57" fmla="*/ T56 w 1"/>
                <a:gd name="T58" fmla="+- 0 1302 1302"/>
                <a:gd name="T59" fmla="*/ 1302 h 4"/>
                <a:gd name="T60" fmla="+- 0 10681 10681"/>
                <a:gd name="T61" fmla="*/ T60 w 1"/>
                <a:gd name="T62" fmla="+- 0 1302 1302"/>
                <a:gd name="T63" fmla="*/ 1302 h 4"/>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Lst>
              <a:rect l="0" t="0" r="r" b="b"/>
              <a:pathLst>
                <a:path w="1" h="4">
                  <a:moveTo>
                    <a:pt x="0" y="3"/>
                  </a:moveTo>
                  <a:lnTo>
                    <a:pt x="0" y="4"/>
                  </a:lnTo>
                  <a:lnTo>
                    <a:pt x="0" y="3"/>
                  </a:lnTo>
                  <a:close/>
                  <a:moveTo>
                    <a:pt x="0" y="3"/>
                  </a:moveTo>
                  <a:lnTo>
                    <a:pt x="0" y="3"/>
                  </a:lnTo>
                  <a:close/>
                  <a:moveTo>
                    <a:pt x="0" y="1"/>
                  </a:moveTo>
                  <a:lnTo>
                    <a:pt x="0" y="1"/>
                  </a:lnTo>
                  <a:close/>
                  <a:moveTo>
                    <a:pt x="0" y="0"/>
                  </a:moveTo>
                  <a:lnTo>
                    <a:pt x="0" y="1"/>
                  </a:lnTo>
                  <a:lnTo>
                    <a:pt x="0" y="0"/>
                  </a:lnTo>
                  <a:close/>
                </a:path>
              </a:pathLst>
            </a:custGeom>
            <a:solidFill>
              <a:srgbClr val="F1F3F4"/>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48" name="docshape4455">
              <a:extLst>
                <a:ext uri="{FF2B5EF4-FFF2-40B4-BE49-F238E27FC236}">
                  <a16:creationId xmlns:a16="http://schemas.microsoft.com/office/drawing/2014/main" id="{2D223342-1F8A-405C-9D42-8CCC4C806B07}"/>
                </a:ext>
              </a:extLst>
            </p:cNvPr>
            <p:cNvSpPr>
              <a:spLocks/>
            </p:cNvSpPr>
            <p:nvPr/>
          </p:nvSpPr>
          <p:spPr bwMode="auto">
            <a:xfrm>
              <a:off x="10648" y="1147"/>
              <a:ext cx="220" cy="279"/>
            </a:xfrm>
            <a:custGeom>
              <a:avLst/>
              <a:gdLst>
                <a:gd name="T0" fmla="+- 0 10781 10648"/>
                <a:gd name="T1" fmla="*/ T0 w 220"/>
                <a:gd name="T2" fmla="+- 0 1148 1148"/>
                <a:gd name="T3" fmla="*/ 1148 h 279"/>
                <a:gd name="T4" fmla="+- 0 10773 10648"/>
                <a:gd name="T5" fmla="*/ T4 w 220"/>
                <a:gd name="T6" fmla="+- 0 1148 1148"/>
                <a:gd name="T7" fmla="*/ 1148 h 279"/>
                <a:gd name="T8" fmla="+- 0 10766 10648"/>
                <a:gd name="T9" fmla="*/ T8 w 220"/>
                <a:gd name="T10" fmla="+- 0 1149 1148"/>
                <a:gd name="T11" fmla="*/ 1149 h 279"/>
                <a:gd name="T12" fmla="+- 0 10712 10648"/>
                <a:gd name="T13" fmla="*/ T12 w 220"/>
                <a:gd name="T14" fmla="+- 0 1176 1148"/>
                <a:gd name="T15" fmla="*/ 1176 h 279"/>
                <a:gd name="T16" fmla="+- 0 10690 10648"/>
                <a:gd name="T17" fmla="*/ T16 w 220"/>
                <a:gd name="T18" fmla="+- 0 1199 1148"/>
                <a:gd name="T19" fmla="*/ 1199 h 279"/>
                <a:gd name="T20" fmla="+- 0 10690 10648"/>
                <a:gd name="T21" fmla="*/ T20 w 220"/>
                <a:gd name="T22" fmla="+- 0 1155 1148"/>
                <a:gd name="T23" fmla="*/ 1155 h 279"/>
                <a:gd name="T24" fmla="+- 0 10648 10648"/>
                <a:gd name="T25" fmla="*/ T24 w 220"/>
                <a:gd name="T26" fmla="+- 0 1155 1148"/>
                <a:gd name="T27" fmla="*/ 1155 h 279"/>
                <a:gd name="T28" fmla="+- 0 10648 10648"/>
                <a:gd name="T29" fmla="*/ T28 w 220"/>
                <a:gd name="T30" fmla="+- 0 1427 1148"/>
                <a:gd name="T31" fmla="*/ 1427 h 279"/>
                <a:gd name="T32" fmla="+- 0 10688 10648"/>
                <a:gd name="T33" fmla="*/ T32 w 220"/>
                <a:gd name="T34" fmla="+- 0 1427 1148"/>
                <a:gd name="T35" fmla="*/ 1427 h 279"/>
                <a:gd name="T36" fmla="+- 0 10688 10648"/>
                <a:gd name="T37" fmla="*/ T36 w 220"/>
                <a:gd name="T38" fmla="+- 0 1221 1148"/>
                <a:gd name="T39" fmla="*/ 1221 h 279"/>
                <a:gd name="T40" fmla="+- 0 10701 10648"/>
                <a:gd name="T41" fmla="*/ T40 w 220"/>
                <a:gd name="T42" fmla="+- 0 1208 1148"/>
                <a:gd name="T43" fmla="*/ 1208 h 279"/>
                <a:gd name="T44" fmla="+- 0 10761 10648"/>
                <a:gd name="T45" fmla="*/ T44 w 220"/>
                <a:gd name="T46" fmla="+- 0 1180 1148"/>
                <a:gd name="T47" fmla="*/ 1180 h 279"/>
                <a:gd name="T48" fmla="+- 0 10769 10648"/>
                <a:gd name="T49" fmla="*/ T48 w 220"/>
                <a:gd name="T50" fmla="+- 0 1180 1148"/>
                <a:gd name="T51" fmla="*/ 1180 h 279"/>
                <a:gd name="T52" fmla="+- 0 10823 10648"/>
                <a:gd name="T53" fmla="*/ T52 w 220"/>
                <a:gd name="T54" fmla="+- 0 1225 1148"/>
                <a:gd name="T55" fmla="*/ 1225 h 279"/>
                <a:gd name="T56" fmla="+- 0 10827 10648"/>
                <a:gd name="T57" fmla="*/ T56 w 220"/>
                <a:gd name="T58" fmla="+- 0 1256 1148"/>
                <a:gd name="T59" fmla="*/ 1256 h 279"/>
                <a:gd name="T60" fmla="+- 0 10827 10648"/>
                <a:gd name="T61" fmla="*/ T60 w 220"/>
                <a:gd name="T62" fmla="+- 0 1427 1148"/>
                <a:gd name="T63" fmla="*/ 1427 h 279"/>
                <a:gd name="T64" fmla="+- 0 10867 10648"/>
                <a:gd name="T65" fmla="*/ T64 w 220"/>
                <a:gd name="T66" fmla="+- 0 1427 1148"/>
                <a:gd name="T67" fmla="*/ 1427 h 279"/>
                <a:gd name="T68" fmla="+- 0 10867 10648"/>
                <a:gd name="T69" fmla="*/ T68 w 220"/>
                <a:gd name="T70" fmla="+- 0 1251 1148"/>
                <a:gd name="T71" fmla="*/ 1251 h 279"/>
                <a:gd name="T72" fmla="+- 0 10866 10648"/>
                <a:gd name="T73" fmla="*/ T72 w 220"/>
                <a:gd name="T74" fmla="+- 0 1227 1148"/>
                <a:gd name="T75" fmla="*/ 1227 h 279"/>
                <a:gd name="T76" fmla="+- 0 10834 10648"/>
                <a:gd name="T77" fmla="*/ T76 w 220"/>
                <a:gd name="T78" fmla="+- 0 1162 1148"/>
                <a:gd name="T79" fmla="*/ 1162 h 279"/>
                <a:gd name="T80" fmla="+- 0 10802 10648"/>
                <a:gd name="T81" fmla="*/ T80 w 220"/>
                <a:gd name="T82" fmla="+- 0 1149 1148"/>
                <a:gd name="T83" fmla="*/ 1149 h 279"/>
                <a:gd name="T84" fmla="+- 0 10781 10648"/>
                <a:gd name="T85" fmla="*/ T84 w 220"/>
                <a:gd name="T86" fmla="+- 0 1148 1148"/>
                <a:gd name="T87" fmla="*/ 1148 h 27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Lst>
              <a:rect l="0" t="0" r="r" b="b"/>
              <a:pathLst>
                <a:path w="220" h="279">
                  <a:moveTo>
                    <a:pt x="133" y="0"/>
                  </a:moveTo>
                  <a:lnTo>
                    <a:pt x="125" y="0"/>
                  </a:lnTo>
                  <a:lnTo>
                    <a:pt x="118" y="1"/>
                  </a:lnTo>
                  <a:lnTo>
                    <a:pt x="64" y="28"/>
                  </a:lnTo>
                  <a:lnTo>
                    <a:pt x="42" y="51"/>
                  </a:lnTo>
                  <a:lnTo>
                    <a:pt x="42" y="7"/>
                  </a:lnTo>
                  <a:lnTo>
                    <a:pt x="0" y="7"/>
                  </a:lnTo>
                  <a:lnTo>
                    <a:pt x="0" y="279"/>
                  </a:lnTo>
                  <a:lnTo>
                    <a:pt x="40" y="279"/>
                  </a:lnTo>
                  <a:lnTo>
                    <a:pt x="40" y="73"/>
                  </a:lnTo>
                  <a:lnTo>
                    <a:pt x="53" y="60"/>
                  </a:lnTo>
                  <a:lnTo>
                    <a:pt x="113" y="32"/>
                  </a:lnTo>
                  <a:lnTo>
                    <a:pt x="121" y="32"/>
                  </a:lnTo>
                  <a:lnTo>
                    <a:pt x="175" y="77"/>
                  </a:lnTo>
                  <a:lnTo>
                    <a:pt x="179" y="108"/>
                  </a:lnTo>
                  <a:lnTo>
                    <a:pt x="179" y="279"/>
                  </a:lnTo>
                  <a:lnTo>
                    <a:pt x="219" y="279"/>
                  </a:lnTo>
                  <a:lnTo>
                    <a:pt x="219" y="103"/>
                  </a:lnTo>
                  <a:lnTo>
                    <a:pt x="218" y="79"/>
                  </a:lnTo>
                  <a:lnTo>
                    <a:pt x="186" y="14"/>
                  </a:lnTo>
                  <a:lnTo>
                    <a:pt x="154" y="1"/>
                  </a:lnTo>
                  <a:lnTo>
                    <a:pt x="13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pic>
          <p:nvPicPr>
            <p:cNvPr id="49" name="docshape4456">
              <a:extLst>
                <a:ext uri="{FF2B5EF4-FFF2-40B4-BE49-F238E27FC236}">
                  <a16:creationId xmlns:a16="http://schemas.microsoft.com/office/drawing/2014/main" id="{95AD0B0C-57E1-49B2-B9DD-F464BE3824B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904" y="1148"/>
              <a:ext cx="238"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docshape4457">
              <a:extLst>
                <a:ext uri="{FF2B5EF4-FFF2-40B4-BE49-F238E27FC236}">
                  <a16:creationId xmlns:a16="http://schemas.microsoft.com/office/drawing/2014/main" id="{09FC5B0F-9E40-4513-81A1-F4C9561F679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095" y="1149"/>
              <a:ext cx="219" cy="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docshape4458">
              <a:extLst>
                <a:ext uri="{FF2B5EF4-FFF2-40B4-BE49-F238E27FC236}">
                  <a16:creationId xmlns:a16="http://schemas.microsoft.com/office/drawing/2014/main" id="{3228F74B-222E-4E31-95F4-1BCC1088A6B7}"/>
                </a:ext>
              </a:extLst>
            </p:cNvPr>
            <p:cNvSpPr>
              <a:spLocks/>
            </p:cNvSpPr>
            <p:nvPr/>
          </p:nvSpPr>
          <p:spPr bwMode="auto">
            <a:xfrm>
              <a:off x="9960" y="1479"/>
              <a:ext cx="1168" cy="121"/>
            </a:xfrm>
            <a:custGeom>
              <a:avLst/>
              <a:gdLst>
                <a:gd name="T0" fmla="+- 0 10192 9960"/>
                <a:gd name="T1" fmla="*/ T0 w 1168"/>
                <a:gd name="T2" fmla="+- 0 1479 1479"/>
                <a:gd name="T3" fmla="*/ 1479 h 121"/>
                <a:gd name="T4" fmla="+- 0 9990 9960"/>
                <a:gd name="T5" fmla="*/ T4 w 1168"/>
                <a:gd name="T6" fmla="+- 0 1479 1479"/>
                <a:gd name="T7" fmla="*/ 1479 h 121"/>
                <a:gd name="T8" fmla="+- 0 9960 9960"/>
                <a:gd name="T9" fmla="*/ T8 w 1168"/>
                <a:gd name="T10" fmla="+- 0 1599 1479"/>
                <a:gd name="T11" fmla="*/ 1599 h 121"/>
                <a:gd name="T12" fmla="+- 0 10163 9960"/>
                <a:gd name="T13" fmla="*/ T12 w 1168"/>
                <a:gd name="T14" fmla="+- 0 1599 1479"/>
                <a:gd name="T15" fmla="*/ 1599 h 121"/>
                <a:gd name="T16" fmla="+- 0 10192 9960"/>
                <a:gd name="T17" fmla="*/ T16 w 1168"/>
                <a:gd name="T18" fmla="+- 0 1479 1479"/>
                <a:gd name="T19" fmla="*/ 1479 h 121"/>
                <a:gd name="T20" fmla="+- 0 10427 9960"/>
                <a:gd name="T21" fmla="*/ T20 w 1168"/>
                <a:gd name="T22" fmla="+- 0 1479 1479"/>
                <a:gd name="T23" fmla="*/ 1479 h 121"/>
                <a:gd name="T24" fmla="+- 0 10224 9960"/>
                <a:gd name="T25" fmla="*/ T24 w 1168"/>
                <a:gd name="T26" fmla="+- 0 1479 1479"/>
                <a:gd name="T27" fmla="*/ 1479 h 121"/>
                <a:gd name="T28" fmla="+- 0 10194 9960"/>
                <a:gd name="T29" fmla="*/ T28 w 1168"/>
                <a:gd name="T30" fmla="+- 0 1599 1479"/>
                <a:gd name="T31" fmla="*/ 1599 h 121"/>
                <a:gd name="T32" fmla="+- 0 10397 9960"/>
                <a:gd name="T33" fmla="*/ T32 w 1168"/>
                <a:gd name="T34" fmla="+- 0 1599 1479"/>
                <a:gd name="T35" fmla="*/ 1599 h 121"/>
                <a:gd name="T36" fmla="+- 0 10427 9960"/>
                <a:gd name="T37" fmla="*/ T36 w 1168"/>
                <a:gd name="T38" fmla="+- 0 1479 1479"/>
                <a:gd name="T39" fmla="*/ 1479 h 121"/>
                <a:gd name="T40" fmla="+- 0 10660 9960"/>
                <a:gd name="T41" fmla="*/ T40 w 1168"/>
                <a:gd name="T42" fmla="+- 0 1479 1479"/>
                <a:gd name="T43" fmla="*/ 1479 h 121"/>
                <a:gd name="T44" fmla="+- 0 10458 9960"/>
                <a:gd name="T45" fmla="*/ T44 w 1168"/>
                <a:gd name="T46" fmla="+- 0 1479 1479"/>
                <a:gd name="T47" fmla="*/ 1479 h 121"/>
                <a:gd name="T48" fmla="+- 0 10428 9960"/>
                <a:gd name="T49" fmla="*/ T48 w 1168"/>
                <a:gd name="T50" fmla="+- 0 1599 1479"/>
                <a:gd name="T51" fmla="*/ 1599 h 121"/>
                <a:gd name="T52" fmla="+- 0 10630 9960"/>
                <a:gd name="T53" fmla="*/ T52 w 1168"/>
                <a:gd name="T54" fmla="+- 0 1599 1479"/>
                <a:gd name="T55" fmla="*/ 1599 h 121"/>
                <a:gd name="T56" fmla="+- 0 10660 9960"/>
                <a:gd name="T57" fmla="*/ T56 w 1168"/>
                <a:gd name="T58" fmla="+- 0 1479 1479"/>
                <a:gd name="T59" fmla="*/ 1479 h 121"/>
                <a:gd name="T60" fmla="+- 0 10893 9960"/>
                <a:gd name="T61" fmla="*/ T60 w 1168"/>
                <a:gd name="T62" fmla="+- 0 1479 1479"/>
                <a:gd name="T63" fmla="*/ 1479 h 121"/>
                <a:gd name="T64" fmla="+- 0 10691 9960"/>
                <a:gd name="T65" fmla="*/ T64 w 1168"/>
                <a:gd name="T66" fmla="+- 0 1479 1479"/>
                <a:gd name="T67" fmla="*/ 1479 h 121"/>
                <a:gd name="T68" fmla="+- 0 10661 9960"/>
                <a:gd name="T69" fmla="*/ T68 w 1168"/>
                <a:gd name="T70" fmla="+- 0 1599 1479"/>
                <a:gd name="T71" fmla="*/ 1599 h 121"/>
                <a:gd name="T72" fmla="+- 0 10863 9960"/>
                <a:gd name="T73" fmla="*/ T72 w 1168"/>
                <a:gd name="T74" fmla="+- 0 1599 1479"/>
                <a:gd name="T75" fmla="*/ 1599 h 121"/>
                <a:gd name="T76" fmla="+- 0 10893 9960"/>
                <a:gd name="T77" fmla="*/ T76 w 1168"/>
                <a:gd name="T78" fmla="+- 0 1479 1479"/>
                <a:gd name="T79" fmla="*/ 1479 h 121"/>
                <a:gd name="T80" fmla="+- 0 11128 9960"/>
                <a:gd name="T81" fmla="*/ T80 w 1168"/>
                <a:gd name="T82" fmla="+- 0 1479 1479"/>
                <a:gd name="T83" fmla="*/ 1479 h 121"/>
                <a:gd name="T84" fmla="+- 0 10925 9960"/>
                <a:gd name="T85" fmla="*/ T84 w 1168"/>
                <a:gd name="T86" fmla="+- 0 1479 1479"/>
                <a:gd name="T87" fmla="*/ 1479 h 121"/>
                <a:gd name="T88" fmla="+- 0 10895 9960"/>
                <a:gd name="T89" fmla="*/ T88 w 1168"/>
                <a:gd name="T90" fmla="+- 0 1599 1479"/>
                <a:gd name="T91" fmla="*/ 1599 h 121"/>
                <a:gd name="T92" fmla="+- 0 11098 9960"/>
                <a:gd name="T93" fmla="*/ T92 w 1168"/>
                <a:gd name="T94" fmla="+- 0 1599 1479"/>
                <a:gd name="T95" fmla="*/ 1599 h 121"/>
                <a:gd name="T96" fmla="+- 0 11128 9960"/>
                <a:gd name="T97" fmla="*/ T96 w 1168"/>
                <a:gd name="T98" fmla="+- 0 1479 1479"/>
                <a:gd name="T99" fmla="*/ 1479 h 121"/>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Lst>
              <a:rect l="0" t="0" r="r" b="b"/>
              <a:pathLst>
                <a:path w="1168" h="121">
                  <a:moveTo>
                    <a:pt x="232" y="0"/>
                  </a:moveTo>
                  <a:lnTo>
                    <a:pt x="30" y="0"/>
                  </a:lnTo>
                  <a:lnTo>
                    <a:pt x="0" y="120"/>
                  </a:lnTo>
                  <a:lnTo>
                    <a:pt x="203" y="120"/>
                  </a:lnTo>
                  <a:lnTo>
                    <a:pt x="232" y="0"/>
                  </a:lnTo>
                  <a:close/>
                  <a:moveTo>
                    <a:pt x="467" y="0"/>
                  </a:moveTo>
                  <a:lnTo>
                    <a:pt x="264" y="0"/>
                  </a:lnTo>
                  <a:lnTo>
                    <a:pt x="234" y="120"/>
                  </a:lnTo>
                  <a:lnTo>
                    <a:pt x="437" y="120"/>
                  </a:lnTo>
                  <a:lnTo>
                    <a:pt x="467" y="0"/>
                  </a:lnTo>
                  <a:close/>
                  <a:moveTo>
                    <a:pt x="700" y="0"/>
                  </a:moveTo>
                  <a:lnTo>
                    <a:pt x="498" y="0"/>
                  </a:lnTo>
                  <a:lnTo>
                    <a:pt x="468" y="120"/>
                  </a:lnTo>
                  <a:lnTo>
                    <a:pt x="670" y="120"/>
                  </a:lnTo>
                  <a:lnTo>
                    <a:pt x="700" y="0"/>
                  </a:lnTo>
                  <a:close/>
                  <a:moveTo>
                    <a:pt x="933" y="0"/>
                  </a:moveTo>
                  <a:lnTo>
                    <a:pt x="731" y="0"/>
                  </a:lnTo>
                  <a:lnTo>
                    <a:pt x="701" y="120"/>
                  </a:lnTo>
                  <a:lnTo>
                    <a:pt x="903" y="120"/>
                  </a:lnTo>
                  <a:lnTo>
                    <a:pt x="933" y="0"/>
                  </a:lnTo>
                  <a:close/>
                  <a:moveTo>
                    <a:pt x="1168" y="0"/>
                  </a:moveTo>
                  <a:lnTo>
                    <a:pt x="965" y="0"/>
                  </a:lnTo>
                  <a:lnTo>
                    <a:pt x="935" y="120"/>
                  </a:lnTo>
                  <a:lnTo>
                    <a:pt x="1138" y="120"/>
                  </a:lnTo>
                  <a:lnTo>
                    <a:pt x="116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pic>
          <p:nvPicPr>
            <p:cNvPr id="52" name="docshape4459">
              <a:extLst>
                <a:ext uri="{FF2B5EF4-FFF2-40B4-BE49-F238E27FC236}">
                  <a16:creationId xmlns:a16="http://schemas.microsoft.com/office/drawing/2014/main" id="{6E42AB1F-F91F-435B-A20F-430BD865B9A5}"/>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18" y="1147"/>
              <a:ext cx="386"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docshape4460">
              <a:extLst>
                <a:ext uri="{FF2B5EF4-FFF2-40B4-BE49-F238E27FC236}">
                  <a16:creationId xmlns:a16="http://schemas.microsoft.com/office/drawing/2014/main" id="{E4D778F6-DC26-4E83-BDB9-BA09D63A7F5E}"/>
                </a:ext>
              </a:extLst>
            </p:cNvPr>
            <p:cNvSpPr>
              <a:spLocks/>
            </p:cNvSpPr>
            <p:nvPr/>
          </p:nvSpPr>
          <p:spPr bwMode="auto">
            <a:xfrm>
              <a:off x="9826" y="1149"/>
              <a:ext cx="247" cy="450"/>
            </a:xfrm>
            <a:custGeom>
              <a:avLst/>
              <a:gdLst>
                <a:gd name="T0" fmla="+- 0 10073 9826"/>
                <a:gd name="T1" fmla="*/ T0 w 247"/>
                <a:gd name="T2" fmla="+- 0 1150 1150"/>
                <a:gd name="T3" fmla="*/ 1150 h 450"/>
                <a:gd name="T4" fmla="+- 0 10031 9826"/>
                <a:gd name="T5" fmla="*/ T4 w 247"/>
                <a:gd name="T6" fmla="+- 0 1150 1150"/>
                <a:gd name="T7" fmla="*/ 1150 h 450"/>
                <a:gd name="T8" fmla="+- 0 9952 9826"/>
                <a:gd name="T9" fmla="*/ T8 w 247"/>
                <a:gd name="T10" fmla="+- 0 1379 1150"/>
                <a:gd name="T11" fmla="*/ 1379 h 450"/>
                <a:gd name="T12" fmla="+- 0 9931 9826"/>
                <a:gd name="T13" fmla="*/ T12 w 247"/>
                <a:gd name="T14" fmla="+- 0 1320 1150"/>
                <a:gd name="T15" fmla="*/ 1320 h 450"/>
                <a:gd name="T16" fmla="+- 0 9871 9826"/>
                <a:gd name="T17" fmla="*/ T16 w 247"/>
                <a:gd name="T18" fmla="+- 0 1150 1150"/>
                <a:gd name="T19" fmla="*/ 1150 h 450"/>
                <a:gd name="T20" fmla="+- 0 9826 9826"/>
                <a:gd name="T21" fmla="*/ T20 w 247"/>
                <a:gd name="T22" fmla="+- 0 1150 1150"/>
                <a:gd name="T23" fmla="*/ 1150 h 450"/>
                <a:gd name="T24" fmla="+- 0 9936 9826"/>
                <a:gd name="T25" fmla="*/ T24 w 247"/>
                <a:gd name="T26" fmla="+- 0 1428 1150"/>
                <a:gd name="T27" fmla="*/ 1428 h 450"/>
                <a:gd name="T28" fmla="+- 0 9910 9826"/>
                <a:gd name="T29" fmla="*/ T28 w 247"/>
                <a:gd name="T30" fmla="+- 0 1511 1150"/>
                <a:gd name="T31" fmla="*/ 1511 h 450"/>
                <a:gd name="T32" fmla="+- 0 9892 9826"/>
                <a:gd name="T33" fmla="*/ T32 w 247"/>
                <a:gd name="T34" fmla="+- 0 1575 1150"/>
                <a:gd name="T35" fmla="*/ 1575 h 450"/>
                <a:gd name="T36" fmla="+- 0 9886 9826"/>
                <a:gd name="T37" fmla="*/ T36 w 247"/>
                <a:gd name="T38" fmla="+- 0 1599 1150"/>
                <a:gd name="T39" fmla="*/ 1599 h 450"/>
                <a:gd name="T40" fmla="+- 0 9928 9826"/>
                <a:gd name="T41" fmla="*/ T40 w 247"/>
                <a:gd name="T42" fmla="+- 0 1599 1150"/>
                <a:gd name="T43" fmla="*/ 1599 h 450"/>
                <a:gd name="T44" fmla="+- 0 9960 9826"/>
                <a:gd name="T45" fmla="*/ T44 w 247"/>
                <a:gd name="T46" fmla="+- 0 1469 1150"/>
                <a:gd name="T47" fmla="*/ 1469 h 450"/>
                <a:gd name="T48" fmla="+- 0 9973 9826"/>
                <a:gd name="T49" fmla="*/ T48 w 247"/>
                <a:gd name="T50" fmla="+- 0 1421 1150"/>
                <a:gd name="T51" fmla="*/ 1421 h 450"/>
                <a:gd name="T52" fmla="+- 0 9979 9826"/>
                <a:gd name="T53" fmla="*/ T52 w 247"/>
                <a:gd name="T54" fmla="+- 0 1403 1150"/>
                <a:gd name="T55" fmla="*/ 1403 h 450"/>
                <a:gd name="T56" fmla="+- 0 10073 9826"/>
                <a:gd name="T57" fmla="*/ T56 w 247"/>
                <a:gd name="T58" fmla="+- 0 1150 1150"/>
                <a:gd name="T59" fmla="*/ 1150 h 450"/>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Lst>
              <a:rect l="0" t="0" r="r" b="b"/>
              <a:pathLst>
                <a:path w="247" h="450">
                  <a:moveTo>
                    <a:pt x="247" y="0"/>
                  </a:moveTo>
                  <a:lnTo>
                    <a:pt x="205" y="0"/>
                  </a:lnTo>
                  <a:lnTo>
                    <a:pt x="126" y="229"/>
                  </a:lnTo>
                  <a:lnTo>
                    <a:pt x="105" y="170"/>
                  </a:lnTo>
                  <a:lnTo>
                    <a:pt x="45" y="0"/>
                  </a:lnTo>
                  <a:lnTo>
                    <a:pt x="0" y="0"/>
                  </a:lnTo>
                  <a:lnTo>
                    <a:pt x="110" y="278"/>
                  </a:lnTo>
                  <a:lnTo>
                    <a:pt x="84" y="361"/>
                  </a:lnTo>
                  <a:lnTo>
                    <a:pt x="66" y="425"/>
                  </a:lnTo>
                  <a:lnTo>
                    <a:pt x="60" y="449"/>
                  </a:lnTo>
                  <a:lnTo>
                    <a:pt x="102" y="449"/>
                  </a:lnTo>
                  <a:lnTo>
                    <a:pt x="134" y="319"/>
                  </a:lnTo>
                  <a:lnTo>
                    <a:pt x="147" y="271"/>
                  </a:lnTo>
                  <a:lnTo>
                    <a:pt x="153" y="253"/>
                  </a:lnTo>
                  <a:lnTo>
                    <a:pt x="24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pic>
          <p:nvPicPr>
            <p:cNvPr id="54" name="docshape4461">
              <a:extLst>
                <a:ext uri="{FF2B5EF4-FFF2-40B4-BE49-F238E27FC236}">
                  <a16:creationId xmlns:a16="http://schemas.microsoft.com/office/drawing/2014/main" id="{77E53A3A-16FA-49AA-965D-92AD5A512C2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334" y="1147"/>
              <a:ext cx="273" cy="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docshape4462">
              <a:extLst>
                <a:ext uri="{FF2B5EF4-FFF2-40B4-BE49-F238E27FC236}">
                  <a16:creationId xmlns:a16="http://schemas.microsoft.com/office/drawing/2014/main" id="{FFB16790-BEEE-4701-801B-84DAB10843CD}"/>
                </a:ext>
              </a:extLst>
            </p:cNvPr>
            <p:cNvSpPr>
              <a:spLocks/>
            </p:cNvSpPr>
            <p:nvPr/>
          </p:nvSpPr>
          <p:spPr bwMode="auto">
            <a:xfrm>
              <a:off x="11154" y="1151"/>
              <a:ext cx="81" cy="81"/>
            </a:xfrm>
            <a:custGeom>
              <a:avLst/>
              <a:gdLst>
                <a:gd name="T0" fmla="+- 0 11210 11154"/>
                <a:gd name="T1" fmla="*/ T0 w 81"/>
                <a:gd name="T2" fmla="+- 0 1208 1152"/>
                <a:gd name="T3" fmla="*/ 1208 h 81"/>
                <a:gd name="T4" fmla="+- 0 11201 11154"/>
                <a:gd name="T5" fmla="*/ T4 w 81"/>
                <a:gd name="T6" fmla="+- 0 1195 1152"/>
                <a:gd name="T7" fmla="*/ 1195 h 81"/>
                <a:gd name="T8" fmla="+- 0 11205 11154"/>
                <a:gd name="T9" fmla="*/ T8 w 81"/>
                <a:gd name="T10" fmla="+- 0 1192 1152"/>
                <a:gd name="T11" fmla="*/ 1192 h 81"/>
                <a:gd name="T12" fmla="+- 0 11208 11154"/>
                <a:gd name="T13" fmla="*/ T12 w 81"/>
                <a:gd name="T14" fmla="+- 0 1189 1152"/>
                <a:gd name="T15" fmla="*/ 1189 h 81"/>
                <a:gd name="T16" fmla="+- 0 11208 11154"/>
                <a:gd name="T17" fmla="*/ T16 w 81"/>
                <a:gd name="T18" fmla="+- 0 1181 1152"/>
                <a:gd name="T19" fmla="*/ 1181 h 81"/>
                <a:gd name="T20" fmla="+- 0 11207 11154"/>
                <a:gd name="T21" fmla="*/ T20 w 81"/>
                <a:gd name="T22" fmla="+- 0 1178 1152"/>
                <a:gd name="T23" fmla="*/ 1178 h 81"/>
                <a:gd name="T24" fmla="+- 0 11200 11154"/>
                <a:gd name="T25" fmla="*/ T24 w 81"/>
                <a:gd name="T26" fmla="+- 0 1174 1152"/>
                <a:gd name="T27" fmla="*/ 1174 h 81"/>
                <a:gd name="T28" fmla="+- 0 11200 11154"/>
                <a:gd name="T29" fmla="*/ T28 w 81"/>
                <a:gd name="T30" fmla="+- 0 1187 1152"/>
                <a:gd name="T31" fmla="*/ 1187 h 81"/>
                <a:gd name="T32" fmla="+- 0 11197 11154"/>
                <a:gd name="T33" fmla="*/ T32 w 81"/>
                <a:gd name="T34" fmla="+- 0 1190 1152"/>
                <a:gd name="T35" fmla="*/ 1190 h 81"/>
                <a:gd name="T36" fmla="+- 0 11190 11154"/>
                <a:gd name="T37" fmla="*/ T36 w 81"/>
                <a:gd name="T38" fmla="+- 0 1190 1152"/>
                <a:gd name="T39" fmla="*/ 1190 h 81"/>
                <a:gd name="T40" fmla="+- 0 11195 11154"/>
                <a:gd name="T41" fmla="*/ T40 w 81"/>
                <a:gd name="T42" fmla="+- 0 1180 1152"/>
                <a:gd name="T43" fmla="*/ 1180 h 81"/>
                <a:gd name="T44" fmla="+- 0 11200 11154"/>
                <a:gd name="T45" fmla="*/ T44 w 81"/>
                <a:gd name="T46" fmla="+- 0 1182 1152"/>
                <a:gd name="T47" fmla="*/ 1182 h 81"/>
                <a:gd name="T48" fmla="+- 0 11200 11154"/>
                <a:gd name="T49" fmla="*/ T48 w 81"/>
                <a:gd name="T50" fmla="+- 0 1174 1152"/>
                <a:gd name="T51" fmla="*/ 1174 h 81"/>
                <a:gd name="T52" fmla="+- 0 11182 11154"/>
                <a:gd name="T53" fmla="*/ T52 w 81"/>
                <a:gd name="T54" fmla="+- 0 1174 1152"/>
                <a:gd name="T55" fmla="*/ 1174 h 81"/>
                <a:gd name="T56" fmla="+- 0 11190 11154"/>
                <a:gd name="T57" fmla="*/ T56 w 81"/>
                <a:gd name="T58" fmla="+- 0 1211 1152"/>
                <a:gd name="T59" fmla="*/ 1211 h 81"/>
                <a:gd name="T60" fmla="+- 0 11195 11154"/>
                <a:gd name="T61" fmla="*/ T60 w 81"/>
                <a:gd name="T62" fmla="+- 0 1197 1152"/>
                <a:gd name="T63" fmla="*/ 1197 h 81"/>
                <a:gd name="T64" fmla="+- 0 11212 11154"/>
                <a:gd name="T65" fmla="*/ T64 w 81"/>
                <a:gd name="T66" fmla="+- 0 1211 1152"/>
                <a:gd name="T67" fmla="*/ 1211 h 81"/>
                <a:gd name="T68" fmla="+- 0 11232 11154"/>
                <a:gd name="T69" fmla="*/ T68 w 81"/>
                <a:gd name="T70" fmla="+- 0 1177 1152"/>
                <a:gd name="T71" fmla="*/ 1177 h 81"/>
                <a:gd name="T72" fmla="+- 0 11225 11154"/>
                <a:gd name="T73" fmla="*/ T72 w 81"/>
                <a:gd name="T74" fmla="+- 0 1192 1152"/>
                <a:gd name="T75" fmla="*/ 1192 h 81"/>
                <a:gd name="T76" fmla="+- 0 11216 11154"/>
                <a:gd name="T77" fmla="*/ T76 w 81"/>
                <a:gd name="T78" fmla="+- 0 1214 1152"/>
                <a:gd name="T79" fmla="*/ 1214 h 81"/>
                <a:gd name="T80" fmla="+- 0 11195 11154"/>
                <a:gd name="T81" fmla="*/ T80 w 81"/>
                <a:gd name="T82" fmla="+- 0 1222 1152"/>
                <a:gd name="T83" fmla="*/ 1222 h 81"/>
                <a:gd name="T84" fmla="+- 0 11173 11154"/>
                <a:gd name="T85" fmla="*/ T84 w 81"/>
                <a:gd name="T86" fmla="+- 0 1214 1152"/>
                <a:gd name="T87" fmla="*/ 1214 h 81"/>
                <a:gd name="T88" fmla="+- 0 11165 11154"/>
                <a:gd name="T89" fmla="*/ T88 w 81"/>
                <a:gd name="T90" fmla="+- 0 1192 1152"/>
                <a:gd name="T91" fmla="*/ 1192 h 81"/>
                <a:gd name="T92" fmla="+- 0 11173 11154"/>
                <a:gd name="T93" fmla="*/ T92 w 81"/>
                <a:gd name="T94" fmla="+- 0 1171 1152"/>
                <a:gd name="T95" fmla="*/ 1171 h 81"/>
                <a:gd name="T96" fmla="+- 0 11195 11154"/>
                <a:gd name="T97" fmla="*/ T96 w 81"/>
                <a:gd name="T98" fmla="+- 0 1162 1152"/>
                <a:gd name="T99" fmla="*/ 1162 h 81"/>
                <a:gd name="T100" fmla="+- 0 11216 11154"/>
                <a:gd name="T101" fmla="*/ T100 w 81"/>
                <a:gd name="T102" fmla="+- 0 1171 1152"/>
                <a:gd name="T103" fmla="*/ 1171 h 81"/>
                <a:gd name="T104" fmla="+- 0 11225 11154"/>
                <a:gd name="T105" fmla="*/ T104 w 81"/>
                <a:gd name="T106" fmla="+- 0 1192 1152"/>
                <a:gd name="T107" fmla="*/ 1192 h 81"/>
                <a:gd name="T108" fmla="+- 0 11223 11154"/>
                <a:gd name="T109" fmla="*/ T108 w 81"/>
                <a:gd name="T110" fmla="+- 0 1164 1152"/>
                <a:gd name="T111" fmla="*/ 1164 h 81"/>
                <a:gd name="T112" fmla="+- 0 11210 11154"/>
                <a:gd name="T113" fmla="*/ T112 w 81"/>
                <a:gd name="T114" fmla="+- 0 1155 1152"/>
                <a:gd name="T115" fmla="*/ 1155 h 81"/>
                <a:gd name="T116" fmla="+- 0 11179 11154"/>
                <a:gd name="T117" fmla="*/ T116 w 81"/>
                <a:gd name="T118" fmla="+- 0 1155 1152"/>
                <a:gd name="T119" fmla="*/ 1155 h 81"/>
                <a:gd name="T120" fmla="+- 0 11158 11154"/>
                <a:gd name="T121" fmla="*/ T120 w 81"/>
                <a:gd name="T122" fmla="+- 0 1177 1152"/>
                <a:gd name="T123" fmla="*/ 1177 h 81"/>
                <a:gd name="T124" fmla="+- 0 11158 11154"/>
                <a:gd name="T125" fmla="*/ T124 w 81"/>
                <a:gd name="T126" fmla="+- 0 1208 1152"/>
                <a:gd name="T127" fmla="*/ 1208 h 81"/>
                <a:gd name="T128" fmla="+- 0 11179 11154"/>
                <a:gd name="T129" fmla="*/ T128 w 81"/>
                <a:gd name="T130" fmla="+- 0 1229 1152"/>
                <a:gd name="T131" fmla="*/ 1229 h 81"/>
                <a:gd name="T132" fmla="+- 0 11210 11154"/>
                <a:gd name="T133" fmla="*/ T132 w 81"/>
                <a:gd name="T134" fmla="+- 0 1229 1152"/>
                <a:gd name="T135" fmla="*/ 1229 h 81"/>
                <a:gd name="T136" fmla="+- 0 11223 11154"/>
                <a:gd name="T137" fmla="*/ T136 w 81"/>
                <a:gd name="T138" fmla="+- 0 1221 1152"/>
                <a:gd name="T139" fmla="*/ 1221 h 81"/>
                <a:gd name="T140" fmla="+- 0 11235 11154"/>
                <a:gd name="T141" fmla="*/ T140 w 81"/>
                <a:gd name="T142" fmla="+- 0 1192 1152"/>
                <a:gd name="T143" fmla="*/ 1192 h 81"/>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Lst>
              <a:rect l="0" t="0" r="r" b="b"/>
              <a:pathLst>
                <a:path w="81" h="81">
                  <a:moveTo>
                    <a:pt x="58" y="59"/>
                  </a:moveTo>
                  <a:lnTo>
                    <a:pt x="56" y="56"/>
                  </a:lnTo>
                  <a:lnTo>
                    <a:pt x="49" y="45"/>
                  </a:lnTo>
                  <a:lnTo>
                    <a:pt x="47" y="43"/>
                  </a:lnTo>
                  <a:lnTo>
                    <a:pt x="49" y="42"/>
                  </a:lnTo>
                  <a:lnTo>
                    <a:pt x="51" y="40"/>
                  </a:lnTo>
                  <a:lnTo>
                    <a:pt x="53" y="38"/>
                  </a:lnTo>
                  <a:lnTo>
                    <a:pt x="54" y="37"/>
                  </a:lnTo>
                  <a:lnTo>
                    <a:pt x="54" y="35"/>
                  </a:lnTo>
                  <a:lnTo>
                    <a:pt x="54" y="29"/>
                  </a:lnTo>
                  <a:lnTo>
                    <a:pt x="54" y="28"/>
                  </a:lnTo>
                  <a:lnTo>
                    <a:pt x="53" y="26"/>
                  </a:lnTo>
                  <a:lnTo>
                    <a:pt x="48" y="23"/>
                  </a:lnTo>
                  <a:lnTo>
                    <a:pt x="46" y="22"/>
                  </a:lnTo>
                  <a:lnTo>
                    <a:pt x="46" y="31"/>
                  </a:lnTo>
                  <a:lnTo>
                    <a:pt x="46" y="35"/>
                  </a:lnTo>
                  <a:lnTo>
                    <a:pt x="46" y="36"/>
                  </a:lnTo>
                  <a:lnTo>
                    <a:pt x="43" y="38"/>
                  </a:lnTo>
                  <a:lnTo>
                    <a:pt x="41" y="38"/>
                  </a:lnTo>
                  <a:lnTo>
                    <a:pt x="36" y="38"/>
                  </a:lnTo>
                  <a:lnTo>
                    <a:pt x="36" y="28"/>
                  </a:lnTo>
                  <a:lnTo>
                    <a:pt x="41" y="28"/>
                  </a:lnTo>
                  <a:lnTo>
                    <a:pt x="43" y="28"/>
                  </a:lnTo>
                  <a:lnTo>
                    <a:pt x="46" y="30"/>
                  </a:lnTo>
                  <a:lnTo>
                    <a:pt x="46" y="31"/>
                  </a:lnTo>
                  <a:lnTo>
                    <a:pt x="46" y="22"/>
                  </a:lnTo>
                  <a:lnTo>
                    <a:pt x="44" y="22"/>
                  </a:lnTo>
                  <a:lnTo>
                    <a:pt x="28" y="22"/>
                  </a:lnTo>
                  <a:lnTo>
                    <a:pt x="28" y="59"/>
                  </a:lnTo>
                  <a:lnTo>
                    <a:pt x="36" y="59"/>
                  </a:lnTo>
                  <a:lnTo>
                    <a:pt x="36" y="45"/>
                  </a:lnTo>
                  <a:lnTo>
                    <a:pt x="41" y="45"/>
                  </a:lnTo>
                  <a:lnTo>
                    <a:pt x="49" y="59"/>
                  </a:lnTo>
                  <a:lnTo>
                    <a:pt x="58" y="59"/>
                  </a:lnTo>
                  <a:close/>
                  <a:moveTo>
                    <a:pt x="81" y="40"/>
                  </a:moveTo>
                  <a:lnTo>
                    <a:pt x="78" y="25"/>
                  </a:lnTo>
                  <a:lnTo>
                    <a:pt x="71" y="14"/>
                  </a:lnTo>
                  <a:lnTo>
                    <a:pt x="71" y="40"/>
                  </a:lnTo>
                  <a:lnTo>
                    <a:pt x="68" y="52"/>
                  </a:lnTo>
                  <a:lnTo>
                    <a:pt x="62" y="62"/>
                  </a:lnTo>
                  <a:lnTo>
                    <a:pt x="52" y="68"/>
                  </a:lnTo>
                  <a:lnTo>
                    <a:pt x="41" y="70"/>
                  </a:lnTo>
                  <a:lnTo>
                    <a:pt x="29" y="68"/>
                  </a:lnTo>
                  <a:lnTo>
                    <a:pt x="19" y="62"/>
                  </a:lnTo>
                  <a:lnTo>
                    <a:pt x="13" y="52"/>
                  </a:lnTo>
                  <a:lnTo>
                    <a:pt x="11" y="40"/>
                  </a:lnTo>
                  <a:lnTo>
                    <a:pt x="13" y="29"/>
                  </a:lnTo>
                  <a:lnTo>
                    <a:pt x="19" y="19"/>
                  </a:lnTo>
                  <a:lnTo>
                    <a:pt x="29" y="13"/>
                  </a:lnTo>
                  <a:lnTo>
                    <a:pt x="41" y="10"/>
                  </a:lnTo>
                  <a:lnTo>
                    <a:pt x="52" y="13"/>
                  </a:lnTo>
                  <a:lnTo>
                    <a:pt x="62" y="19"/>
                  </a:lnTo>
                  <a:lnTo>
                    <a:pt x="68" y="29"/>
                  </a:lnTo>
                  <a:lnTo>
                    <a:pt x="71" y="40"/>
                  </a:lnTo>
                  <a:lnTo>
                    <a:pt x="71" y="14"/>
                  </a:lnTo>
                  <a:lnTo>
                    <a:pt x="69" y="12"/>
                  </a:lnTo>
                  <a:lnTo>
                    <a:pt x="67" y="10"/>
                  </a:lnTo>
                  <a:lnTo>
                    <a:pt x="56" y="3"/>
                  </a:lnTo>
                  <a:lnTo>
                    <a:pt x="41" y="0"/>
                  </a:lnTo>
                  <a:lnTo>
                    <a:pt x="25" y="3"/>
                  </a:lnTo>
                  <a:lnTo>
                    <a:pt x="12" y="12"/>
                  </a:lnTo>
                  <a:lnTo>
                    <a:pt x="4" y="25"/>
                  </a:lnTo>
                  <a:lnTo>
                    <a:pt x="0" y="40"/>
                  </a:lnTo>
                  <a:lnTo>
                    <a:pt x="4" y="56"/>
                  </a:lnTo>
                  <a:lnTo>
                    <a:pt x="12" y="69"/>
                  </a:lnTo>
                  <a:lnTo>
                    <a:pt x="25" y="77"/>
                  </a:lnTo>
                  <a:lnTo>
                    <a:pt x="41" y="81"/>
                  </a:lnTo>
                  <a:lnTo>
                    <a:pt x="56" y="77"/>
                  </a:lnTo>
                  <a:lnTo>
                    <a:pt x="67" y="70"/>
                  </a:lnTo>
                  <a:lnTo>
                    <a:pt x="69" y="69"/>
                  </a:lnTo>
                  <a:lnTo>
                    <a:pt x="78" y="56"/>
                  </a:lnTo>
                  <a:lnTo>
                    <a:pt x="81"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grpSp>
      <p:pic>
        <p:nvPicPr>
          <p:cNvPr id="56" name="image482.png">
            <a:extLst>
              <a:ext uri="{FF2B5EF4-FFF2-40B4-BE49-F238E27FC236}">
                <a16:creationId xmlns:a16="http://schemas.microsoft.com/office/drawing/2014/main" id="{4A00A200-3A06-4CD3-BC72-E3148489A81C}"/>
              </a:ext>
            </a:extLst>
          </p:cNvPr>
          <p:cNvPicPr/>
          <p:nvPr/>
        </p:nvPicPr>
        <p:blipFill>
          <a:blip r:embed="rId22" cstate="print"/>
          <a:stretch>
            <a:fillRect/>
          </a:stretch>
        </p:blipFill>
        <p:spPr>
          <a:xfrm>
            <a:off x="8652383" y="6304554"/>
            <a:ext cx="1012936" cy="135088"/>
          </a:xfrm>
          <a:prstGeom prst="rect">
            <a:avLst/>
          </a:prstGeom>
        </p:spPr>
      </p:pic>
      <p:grpSp>
        <p:nvGrpSpPr>
          <p:cNvPr id="57" name="docshapegroup4463">
            <a:extLst>
              <a:ext uri="{FF2B5EF4-FFF2-40B4-BE49-F238E27FC236}">
                <a16:creationId xmlns:a16="http://schemas.microsoft.com/office/drawing/2014/main" id="{2BE10D3E-E483-4966-929F-D3E46B247F2E}"/>
              </a:ext>
            </a:extLst>
          </p:cNvPr>
          <p:cNvGrpSpPr>
            <a:grpSpLocks/>
          </p:cNvGrpSpPr>
          <p:nvPr/>
        </p:nvGrpSpPr>
        <p:grpSpPr bwMode="auto">
          <a:xfrm>
            <a:off x="10866833" y="6301666"/>
            <a:ext cx="857204" cy="141820"/>
            <a:chOff x="9382" y="671"/>
            <a:chExt cx="1910" cy="316"/>
          </a:xfrm>
        </p:grpSpPr>
        <p:sp>
          <p:nvSpPr>
            <p:cNvPr id="58" name="docshape4464">
              <a:extLst>
                <a:ext uri="{FF2B5EF4-FFF2-40B4-BE49-F238E27FC236}">
                  <a16:creationId xmlns:a16="http://schemas.microsoft.com/office/drawing/2014/main" id="{D3B4DDE0-B023-41EB-8F34-9F1E0B1DD759}"/>
                </a:ext>
              </a:extLst>
            </p:cNvPr>
            <p:cNvSpPr>
              <a:spLocks/>
            </p:cNvSpPr>
            <p:nvPr/>
          </p:nvSpPr>
          <p:spPr bwMode="auto">
            <a:xfrm>
              <a:off x="10589" y="679"/>
              <a:ext cx="703" cy="299"/>
            </a:xfrm>
            <a:custGeom>
              <a:avLst/>
              <a:gdLst>
                <a:gd name="T0" fmla="+- 0 10761 10589"/>
                <a:gd name="T1" fmla="*/ T0 w 703"/>
                <a:gd name="T2" fmla="+- 0 684 679"/>
                <a:gd name="T3" fmla="*/ 684 h 299"/>
                <a:gd name="T4" fmla="+- 0 10663 10589"/>
                <a:gd name="T5" fmla="*/ T4 w 703"/>
                <a:gd name="T6" fmla="+- 0 679 679"/>
                <a:gd name="T7" fmla="*/ 679 h 299"/>
                <a:gd name="T8" fmla="+- 0 10656 10589"/>
                <a:gd name="T9" fmla="*/ T8 w 703"/>
                <a:gd name="T10" fmla="+- 0 685 679"/>
                <a:gd name="T11" fmla="*/ 685 h 299"/>
                <a:gd name="T12" fmla="+- 0 10768 10589"/>
                <a:gd name="T13" fmla="*/ T12 w 703"/>
                <a:gd name="T14" fmla="+- 0 764 679"/>
                <a:gd name="T15" fmla="*/ 764 h 299"/>
                <a:gd name="T16" fmla="+- 0 11200 10589"/>
                <a:gd name="T17" fmla="*/ T16 w 703"/>
                <a:gd name="T18" fmla="+- 0 746 679"/>
                <a:gd name="T19" fmla="*/ 746 h 299"/>
                <a:gd name="T20" fmla="+- 0 11147 10589"/>
                <a:gd name="T21" fmla="*/ T20 w 703"/>
                <a:gd name="T22" fmla="+- 0 688 679"/>
                <a:gd name="T23" fmla="*/ 688 h 299"/>
                <a:gd name="T24" fmla="+- 0 10921 10589"/>
                <a:gd name="T25" fmla="*/ T24 w 703"/>
                <a:gd name="T26" fmla="+- 0 679 679"/>
                <a:gd name="T27" fmla="*/ 679 h 299"/>
                <a:gd name="T28" fmla="+- 0 10887 10589"/>
                <a:gd name="T29" fmla="*/ T28 w 703"/>
                <a:gd name="T30" fmla="+- 0 764 679"/>
                <a:gd name="T31" fmla="*/ 764 h 299"/>
                <a:gd name="T32" fmla="+- 0 11110 10589"/>
                <a:gd name="T33" fmla="*/ T32 w 703"/>
                <a:gd name="T34" fmla="+- 0 774 679"/>
                <a:gd name="T35" fmla="*/ 774 h 299"/>
                <a:gd name="T36" fmla="+- 0 11097 10589"/>
                <a:gd name="T37" fmla="*/ T36 w 703"/>
                <a:gd name="T38" fmla="+- 0 807 679"/>
                <a:gd name="T39" fmla="*/ 807 h 299"/>
                <a:gd name="T40" fmla="+- 0 10898 10589"/>
                <a:gd name="T41" fmla="*/ T40 w 703"/>
                <a:gd name="T42" fmla="+- 0 810 679"/>
                <a:gd name="T43" fmla="*/ 810 h 299"/>
                <a:gd name="T44" fmla="+- 0 10866 10589"/>
                <a:gd name="T45" fmla="*/ T44 w 703"/>
                <a:gd name="T46" fmla="+- 0 833 679"/>
                <a:gd name="T47" fmla="*/ 833 h 299"/>
                <a:gd name="T48" fmla="+- 0 10818 10589"/>
                <a:gd name="T49" fmla="*/ T48 w 703"/>
                <a:gd name="T50" fmla="+- 0 964 679"/>
                <a:gd name="T51" fmla="*/ 964 h 299"/>
                <a:gd name="T52" fmla="+- 0 10930 10589"/>
                <a:gd name="T53" fmla="*/ T52 w 703"/>
                <a:gd name="T54" fmla="+- 0 978 679"/>
                <a:gd name="T55" fmla="*/ 978 h 299"/>
                <a:gd name="T56" fmla="+- 0 10962 10589"/>
                <a:gd name="T57" fmla="*/ T56 w 703"/>
                <a:gd name="T58" fmla="+- 0 899 679"/>
                <a:gd name="T59" fmla="*/ 899 h 299"/>
                <a:gd name="T60" fmla="+- 0 11016 10589"/>
                <a:gd name="T61" fmla="*/ T60 w 703"/>
                <a:gd name="T62" fmla="+- 0 892 679"/>
                <a:gd name="T63" fmla="*/ 892 h 299"/>
                <a:gd name="T64" fmla="+- 0 11045 10589"/>
                <a:gd name="T65" fmla="*/ T64 w 703"/>
                <a:gd name="T66" fmla="+- 0 978 679"/>
                <a:gd name="T67" fmla="*/ 978 h 299"/>
                <a:gd name="T68" fmla="+- 0 11140 10589"/>
                <a:gd name="T69" fmla="*/ T68 w 703"/>
                <a:gd name="T70" fmla="+- 0 881 679"/>
                <a:gd name="T71" fmla="*/ 881 h 299"/>
                <a:gd name="T72" fmla="+- 0 11184 10589"/>
                <a:gd name="T73" fmla="*/ T72 w 703"/>
                <a:gd name="T74" fmla="+- 0 844 679"/>
                <a:gd name="T75" fmla="*/ 844 h 299"/>
                <a:gd name="T76" fmla="+- 0 11205 10589"/>
                <a:gd name="T77" fmla="*/ T76 w 703"/>
                <a:gd name="T78" fmla="+- 0 789 679"/>
                <a:gd name="T79" fmla="*/ 789 h 299"/>
                <a:gd name="T80" fmla="+- 0 11274 10589"/>
                <a:gd name="T81" fmla="*/ T80 w 703"/>
                <a:gd name="T82" fmla="+- 0 939 679"/>
                <a:gd name="T83" fmla="*/ 939 h 299"/>
                <a:gd name="T84" fmla="+- 0 11274 10589"/>
                <a:gd name="T85" fmla="*/ T84 w 703"/>
                <a:gd name="T86" fmla="+- 0 922 679"/>
                <a:gd name="T87" fmla="*/ 922 h 299"/>
                <a:gd name="T88" fmla="+- 0 11269 10589"/>
                <a:gd name="T89" fmla="*/ T88 w 703"/>
                <a:gd name="T90" fmla="+- 0 925 679"/>
                <a:gd name="T91" fmla="*/ 925 h 299"/>
                <a:gd name="T92" fmla="+- 0 11264 10589"/>
                <a:gd name="T93" fmla="*/ T92 w 703"/>
                <a:gd name="T94" fmla="+- 0 939 679"/>
                <a:gd name="T95" fmla="*/ 939 h 299"/>
                <a:gd name="T96" fmla="+- 0 11247 10589"/>
                <a:gd name="T97" fmla="*/ T96 w 703"/>
                <a:gd name="T98" fmla="+- 0 924 679"/>
                <a:gd name="T99" fmla="*/ 924 h 299"/>
                <a:gd name="T100" fmla="+- 0 11269 10589"/>
                <a:gd name="T101" fmla="*/ T100 w 703"/>
                <a:gd name="T102" fmla="+- 0 925 679"/>
                <a:gd name="T103" fmla="*/ 925 h 299"/>
                <a:gd name="T104" fmla="+- 0 11267 10589"/>
                <a:gd name="T105" fmla="*/ T104 w 703"/>
                <a:gd name="T106" fmla="+- 0 921 679"/>
                <a:gd name="T107" fmla="*/ 921 h 299"/>
                <a:gd name="T108" fmla="+- 0 11242 10589"/>
                <a:gd name="T109" fmla="*/ T108 w 703"/>
                <a:gd name="T110" fmla="+- 0 961 679"/>
                <a:gd name="T111" fmla="*/ 961 h 299"/>
                <a:gd name="T112" fmla="+- 0 11247 10589"/>
                <a:gd name="T113" fmla="*/ T112 w 703"/>
                <a:gd name="T114" fmla="+- 0 943 679"/>
                <a:gd name="T115" fmla="*/ 943 h 299"/>
                <a:gd name="T116" fmla="+- 0 11268 10589"/>
                <a:gd name="T117" fmla="*/ T116 w 703"/>
                <a:gd name="T118" fmla="+- 0 961 679"/>
                <a:gd name="T119" fmla="*/ 961 h 299"/>
                <a:gd name="T120" fmla="+- 0 11261 10589"/>
                <a:gd name="T121" fmla="*/ T120 w 703"/>
                <a:gd name="T122" fmla="+- 0 943 679"/>
                <a:gd name="T123" fmla="*/ 943 h 299"/>
                <a:gd name="T124" fmla="+- 0 11269 10589"/>
                <a:gd name="T125" fmla="*/ T124 w 703"/>
                <a:gd name="T126" fmla="+- 0 942 679"/>
                <a:gd name="T127" fmla="*/ 942 h 299"/>
                <a:gd name="T128" fmla="+- 0 11292 10589"/>
                <a:gd name="T129" fmla="*/ T128 w 703"/>
                <a:gd name="T130" fmla="+- 0 941 679"/>
                <a:gd name="T131" fmla="*/ 941 h 299"/>
                <a:gd name="T132" fmla="+- 0 11286 10589"/>
                <a:gd name="T133" fmla="*/ T132 w 703"/>
                <a:gd name="T134" fmla="+- 0 923 679"/>
                <a:gd name="T135" fmla="*/ 923 h 299"/>
                <a:gd name="T136" fmla="+- 0 11284 10589"/>
                <a:gd name="T137" fmla="*/ T136 w 703"/>
                <a:gd name="T138" fmla="+- 0 953 679"/>
                <a:gd name="T139" fmla="*/ 953 h 299"/>
                <a:gd name="T140" fmla="+- 0 11268 10589"/>
                <a:gd name="T141" fmla="*/ T140 w 703"/>
                <a:gd name="T142" fmla="+- 0 970 679"/>
                <a:gd name="T143" fmla="*/ 970 h 299"/>
                <a:gd name="T144" fmla="+- 0 11243 10589"/>
                <a:gd name="T145" fmla="*/ T144 w 703"/>
                <a:gd name="T146" fmla="+- 0 970 679"/>
                <a:gd name="T147" fmla="*/ 970 h 299"/>
                <a:gd name="T148" fmla="+- 0 11227 10589"/>
                <a:gd name="T149" fmla="*/ T148 w 703"/>
                <a:gd name="T150" fmla="+- 0 953 679"/>
                <a:gd name="T151" fmla="*/ 953 h 299"/>
                <a:gd name="T152" fmla="+- 0 11227 10589"/>
                <a:gd name="T153" fmla="*/ T152 w 703"/>
                <a:gd name="T154" fmla="+- 0 929 679"/>
                <a:gd name="T155" fmla="*/ 929 h 299"/>
                <a:gd name="T156" fmla="+- 0 11243 10589"/>
                <a:gd name="T157" fmla="*/ T156 w 703"/>
                <a:gd name="T158" fmla="+- 0 912 679"/>
                <a:gd name="T159" fmla="*/ 912 h 299"/>
                <a:gd name="T160" fmla="+- 0 11268 10589"/>
                <a:gd name="T161" fmla="*/ T160 w 703"/>
                <a:gd name="T162" fmla="+- 0 912 679"/>
                <a:gd name="T163" fmla="*/ 912 h 299"/>
                <a:gd name="T164" fmla="+- 0 11284 10589"/>
                <a:gd name="T165" fmla="*/ T164 w 703"/>
                <a:gd name="T166" fmla="+- 0 929 679"/>
                <a:gd name="T167" fmla="*/ 929 h 299"/>
                <a:gd name="T168" fmla="+- 0 11286 10589"/>
                <a:gd name="T169" fmla="*/ T168 w 703"/>
                <a:gd name="T170" fmla="+- 0 923 679"/>
                <a:gd name="T171" fmla="*/ 923 h 299"/>
                <a:gd name="T172" fmla="+- 0 11273 10589"/>
                <a:gd name="T173" fmla="*/ T172 w 703"/>
                <a:gd name="T174" fmla="+- 0 910 679"/>
                <a:gd name="T175" fmla="*/ 910 h 299"/>
                <a:gd name="T176" fmla="+- 0 11256 10589"/>
                <a:gd name="T177" fmla="*/ T176 w 703"/>
                <a:gd name="T178" fmla="+- 0 905 679"/>
                <a:gd name="T179" fmla="*/ 905 h 299"/>
                <a:gd name="T180" fmla="+- 0 11230 10589"/>
                <a:gd name="T181" fmla="*/ T180 w 703"/>
                <a:gd name="T182" fmla="+- 0 915 679"/>
                <a:gd name="T183" fmla="*/ 915 h 299"/>
                <a:gd name="T184" fmla="+- 0 11219 10589"/>
                <a:gd name="T185" fmla="*/ T184 w 703"/>
                <a:gd name="T186" fmla="+- 0 941 679"/>
                <a:gd name="T187" fmla="*/ 941 h 299"/>
                <a:gd name="T188" fmla="+- 0 11230 10589"/>
                <a:gd name="T189" fmla="*/ T188 w 703"/>
                <a:gd name="T190" fmla="+- 0 967 679"/>
                <a:gd name="T191" fmla="*/ 967 h 299"/>
                <a:gd name="T192" fmla="+- 0 11256 10589"/>
                <a:gd name="T193" fmla="*/ T192 w 703"/>
                <a:gd name="T194" fmla="+- 0 978 679"/>
                <a:gd name="T195" fmla="*/ 978 h 299"/>
                <a:gd name="T196" fmla="+- 0 11273 10589"/>
                <a:gd name="T197" fmla="*/ T196 w 703"/>
                <a:gd name="T198" fmla="+- 0 973 679"/>
                <a:gd name="T199" fmla="*/ 973 h 299"/>
                <a:gd name="T200" fmla="+- 0 11289 10589"/>
                <a:gd name="T201" fmla="*/ T200 w 703"/>
                <a:gd name="T202" fmla="+- 0 955 679"/>
                <a:gd name="T203" fmla="*/ 955 h 29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 ang="0">
                  <a:pos x="T169" y="T171"/>
                </a:cxn>
                <a:cxn ang="0">
                  <a:pos x="T173" y="T175"/>
                </a:cxn>
                <a:cxn ang="0">
                  <a:pos x="T177" y="T179"/>
                </a:cxn>
                <a:cxn ang="0">
                  <a:pos x="T181" y="T183"/>
                </a:cxn>
                <a:cxn ang="0">
                  <a:pos x="T185" y="T187"/>
                </a:cxn>
                <a:cxn ang="0">
                  <a:pos x="T189" y="T191"/>
                </a:cxn>
                <a:cxn ang="0">
                  <a:pos x="T193" y="T195"/>
                </a:cxn>
                <a:cxn ang="0">
                  <a:pos x="T197" y="T199"/>
                </a:cxn>
                <a:cxn ang="0">
                  <a:pos x="T201" y="T203"/>
                </a:cxn>
              </a:cxnLst>
              <a:rect l="0" t="0" r="r" b="b"/>
              <a:pathLst>
                <a:path w="703" h="299">
                  <a:moveTo>
                    <a:pt x="179" y="85"/>
                  </a:moveTo>
                  <a:lnTo>
                    <a:pt x="172" y="5"/>
                  </a:lnTo>
                  <a:lnTo>
                    <a:pt x="166" y="0"/>
                  </a:lnTo>
                  <a:lnTo>
                    <a:pt x="74" y="0"/>
                  </a:lnTo>
                  <a:lnTo>
                    <a:pt x="70" y="2"/>
                  </a:lnTo>
                  <a:lnTo>
                    <a:pt x="67" y="6"/>
                  </a:lnTo>
                  <a:lnTo>
                    <a:pt x="0" y="85"/>
                  </a:lnTo>
                  <a:lnTo>
                    <a:pt x="179" y="85"/>
                  </a:lnTo>
                  <a:close/>
                  <a:moveTo>
                    <a:pt x="616" y="110"/>
                  </a:moveTo>
                  <a:lnTo>
                    <a:pt x="611" y="67"/>
                  </a:lnTo>
                  <a:lnTo>
                    <a:pt x="591" y="32"/>
                  </a:lnTo>
                  <a:lnTo>
                    <a:pt x="558" y="9"/>
                  </a:lnTo>
                  <a:lnTo>
                    <a:pt x="516" y="0"/>
                  </a:lnTo>
                  <a:lnTo>
                    <a:pt x="332" y="0"/>
                  </a:lnTo>
                  <a:lnTo>
                    <a:pt x="325" y="5"/>
                  </a:lnTo>
                  <a:lnTo>
                    <a:pt x="298" y="85"/>
                  </a:lnTo>
                  <a:lnTo>
                    <a:pt x="511" y="85"/>
                  </a:lnTo>
                  <a:lnTo>
                    <a:pt x="521" y="95"/>
                  </a:lnTo>
                  <a:lnTo>
                    <a:pt x="518" y="119"/>
                  </a:lnTo>
                  <a:lnTo>
                    <a:pt x="508" y="128"/>
                  </a:lnTo>
                  <a:lnTo>
                    <a:pt x="328" y="128"/>
                  </a:lnTo>
                  <a:lnTo>
                    <a:pt x="309" y="131"/>
                  </a:lnTo>
                  <a:lnTo>
                    <a:pt x="291" y="140"/>
                  </a:lnTo>
                  <a:lnTo>
                    <a:pt x="277" y="154"/>
                  </a:lnTo>
                  <a:lnTo>
                    <a:pt x="268" y="172"/>
                  </a:lnTo>
                  <a:lnTo>
                    <a:pt x="229" y="285"/>
                  </a:lnTo>
                  <a:lnTo>
                    <a:pt x="238" y="299"/>
                  </a:lnTo>
                  <a:lnTo>
                    <a:pt x="341" y="299"/>
                  </a:lnTo>
                  <a:lnTo>
                    <a:pt x="347" y="294"/>
                  </a:lnTo>
                  <a:lnTo>
                    <a:pt x="373" y="220"/>
                  </a:lnTo>
                  <a:lnTo>
                    <a:pt x="382" y="213"/>
                  </a:lnTo>
                  <a:lnTo>
                    <a:pt x="427" y="213"/>
                  </a:lnTo>
                  <a:lnTo>
                    <a:pt x="435" y="219"/>
                  </a:lnTo>
                  <a:lnTo>
                    <a:pt x="456" y="299"/>
                  </a:lnTo>
                  <a:lnTo>
                    <a:pt x="577" y="299"/>
                  </a:lnTo>
                  <a:lnTo>
                    <a:pt x="551" y="202"/>
                  </a:lnTo>
                  <a:lnTo>
                    <a:pt x="575" y="186"/>
                  </a:lnTo>
                  <a:lnTo>
                    <a:pt x="595" y="165"/>
                  </a:lnTo>
                  <a:lnTo>
                    <a:pt x="609" y="139"/>
                  </a:lnTo>
                  <a:lnTo>
                    <a:pt x="616" y="110"/>
                  </a:lnTo>
                  <a:close/>
                  <a:moveTo>
                    <a:pt x="686" y="261"/>
                  </a:moveTo>
                  <a:lnTo>
                    <a:pt x="685" y="260"/>
                  </a:lnTo>
                  <a:lnTo>
                    <a:pt x="685" y="245"/>
                  </a:lnTo>
                  <a:lnTo>
                    <a:pt x="685" y="243"/>
                  </a:lnTo>
                  <a:lnTo>
                    <a:pt x="680" y="242"/>
                  </a:lnTo>
                  <a:lnTo>
                    <a:pt x="680" y="246"/>
                  </a:lnTo>
                  <a:lnTo>
                    <a:pt x="680" y="259"/>
                  </a:lnTo>
                  <a:lnTo>
                    <a:pt x="675" y="260"/>
                  </a:lnTo>
                  <a:lnTo>
                    <a:pt x="658" y="260"/>
                  </a:lnTo>
                  <a:lnTo>
                    <a:pt x="658" y="245"/>
                  </a:lnTo>
                  <a:lnTo>
                    <a:pt x="675" y="245"/>
                  </a:lnTo>
                  <a:lnTo>
                    <a:pt x="680" y="246"/>
                  </a:lnTo>
                  <a:lnTo>
                    <a:pt x="680" y="242"/>
                  </a:lnTo>
                  <a:lnTo>
                    <a:pt x="678" y="242"/>
                  </a:lnTo>
                  <a:lnTo>
                    <a:pt x="653" y="242"/>
                  </a:lnTo>
                  <a:lnTo>
                    <a:pt x="653" y="282"/>
                  </a:lnTo>
                  <a:lnTo>
                    <a:pt x="658" y="282"/>
                  </a:lnTo>
                  <a:lnTo>
                    <a:pt x="658" y="264"/>
                  </a:lnTo>
                  <a:lnTo>
                    <a:pt x="667" y="264"/>
                  </a:lnTo>
                  <a:lnTo>
                    <a:pt x="679" y="282"/>
                  </a:lnTo>
                  <a:lnTo>
                    <a:pt x="685" y="282"/>
                  </a:lnTo>
                  <a:lnTo>
                    <a:pt x="672" y="264"/>
                  </a:lnTo>
                  <a:lnTo>
                    <a:pt x="680" y="263"/>
                  </a:lnTo>
                  <a:lnTo>
                    <a:pt x="686" y="261"/>
                  </a:lnTo>
                  <a:close/>
                  <a:moveTo>
                    <a:pt x="703" y="262"/>
                  </a:moveTo>
                  <a:lnTo>
                    <a:pt x="700" y="248"/>
                  </a:lnTo>
                  <a:lnTo>
                    <a:pt x="697" y="244"/>
                  </a:lnTo>
                  <a:lnTo>
                    <a:pt x="697" y="262"/>
                  </a:lnTo>
                  <a:lnTo>
                    <a:pt x="695" y="274"/>
                  </a:lnTo>
                  <a:lnTo>
                    <a:pt x="688" y="284"/>
                  </a:lnTo>
                  <a:lnTo>
                    <a:pt x="679" y="291"/>
                  </a:lnTo>
                  <a:lnTo>
                    <a:pt x="667" y="294"/>
                  </a:lnTo>
                  <a:lnTo>
                    <a:pt x="654" y="291"/>
                  </a:lnTo>
                  <a:lnTo>
                    <a:pt x="645" y="284"/>
                  </a:lnTo>
                  <a:lnTo>
                    <a:pt x="638" y="274"/>
                  </a:lnTo>
                  <a:lnTo>
                    <a:pt x="636" y="262"/>
                  </a:lnTo>
                  <a:lnTo>
                    <a:pt x="638" y="250"/>
                  </a:lnTo>
                  <a:lnTo>
                    <a:pt x="645" y="240"/>
                  </a:lnTo>
                  <a:lnTo>
                    <a:pt x="654" y="233"/>
                  </a:lnTo>
                  <a:lnTo>
                    <a:pt x="667" y="231"/>
                  </a:lnTo>
                  <a:lnTo>
                    <a:pt x="679" y="233"/>
                  </a:lnTo>
                  <a:lnTo>
                    <a:pt x="688" y="240"/>
                  </a:lnTo>
                  <a:lnTo>
                    <a:pt x="695" y="250"/>
                  </a:lnTo>
                  <a:lnTo>
                    <a:pt x="697" y="262"/>
                  </a:lnTo>
                  <a:lnTo>
                    <a:pt x="697" y="244"/>
                  </a:lnTo>
                  <a:lnTo>
                    <a:pt x="692" y="236"/>
                  </a:lnTo>
                  <a:lnTo>
                    <a:pt x="684" y="231"/>
                  </a:lnTo>
                  <a:lnTo>
                    <a:pt x="681" y="229"/>
                  </a:lnTo>
                  <a:lnTo>
                    <a:pt x="667" y="226"/>
                  </a:lnTo>
                  <a:lnTo>
                    <a:pt x="652" y="229"/>
                  </a:lnTo>
                  <a:lnTo>
                    <a:pt x="641" y="236"/>
                  </a:lnTo>
                  <a:lnTo>
                    <a:pt x="633" y="248"/>
                  </a:lnTo>
                  <a:lnTo>
                    <a:pt x="630" y="262"/>
                  </a:lnTo>
                  <a:lnTo>
                    <a:pt x="633" y="276"/>
                  </a:lnTo>
                  <a:lnTo>
                    <a:pt x="641" y="288"/>
                  </a:lnTo>
                  <a:lnTo>
                    <a:pt x="652" y="296"/>
                  </a:lnTo>
                  <a:lnTo>
                    <a:pt x="667" y="299"/>
                  </a:lnTo>
                  <a:lnTo>
                    <a:pt x="681" y="296"/>
                  </a:lnTo>
                  <a:lnTo>
                    <a:pt x="684" y="294"/>
                  </a:lnTo>
                  <a:lnTo>
                    <a:pt x="692" y="288"/>
                  </a:lnTo>
                  <a:lnTo>
                    <a:pt x="700" y="276"/>
                  </a:lnTo>
                  <a:lnTo>
                    <a:pt x="703" y="2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59" name="docshape4465">
              <a:extLst>
                <a:ext uri="{FF2B5EF4-FFF2-40B4-BE49-F238E27FC236}">
                  <a16:creationId xmlns:a16="http://schemas.microsoft.com/office/drawing/2014/main" id="{D0FB098A-E787-49BF-BD8C-9FBE875F1672}"/>
                </a:ext>
              </a:extLst>
            </p:cNvPr>
            <p:cNvSpPr>
              <a:spLocks/>
            </p:cNvSpPr>
            <p:nvPr/>
          </p:nvSpPr>
          <p:spPr bwMode="auto">
            <a:xfrm>
              <a:off x="9797" y="671"/>
              <a:ext cx="314" cy="316"/>
            </a:xfrm>
            <a:custGeom>
              <a:avLst/>
              <a:gdLst>
                <a:gd name="T0" fmla="+- 0 10101 9798"/>
                <a:gd name="T1" fmla="*/ T0 w 314"/>
                <a:gd name="T2" fmla="+- 0 764 672"/>
                <a:gd name="T3" fmla="*/ 764 h 316"/>
                <a:gd name="T4" fmla="+- 0 10078 9798"/>
                <a:gd name="T5" fmla="*/ T4 w 314"/>
                <a:gd name="T6" fmla="+- 0 725 672"/>
                <a:gd name="T7" fmla="*/ 725 h 316"/>
                <a:gd name="T8" fmla="+- 0 10045 9798"/>
                <a:gd name="T9" fmla="*/ T8 w 314"/>
                <a:gd name="T10" fmla="+- 0 695 672"/>
                <a:gd name="T11" fmla="*/ 695 h 316"/>
                <a:gd name="T12" fmla="+- 0 10004 9798"/>
                <a:gd name="T13" fmla="*/ T12 w 314"/>
                <a:gd name="T14" fmla="+- 0 677 672"/>
                <a:gd name="T15" fmla="*/ 677 h 316"/>
                <a:gd name="T16" fmla="+- 0 9959 9798"/>
                <a:gd name="T17" fmla="*/ T16 w 314"/>
                <a:gd name="T18" fmla="+- 0 672 672"/>
                <a:gd name="T19" fmla="*/ 672 h 316"/>
                <a:gd name="T20" fmla="+- 0 9914 9798"/>
                <a:gd name="T21" fmla="*/ T20 w 314"/>
                <a:gd name="T22" fmla="+- 0 679 672"/>
                <a:gd name="T23" fmla="*/ 679 h 316"/>
                <a:gd name="T24" fmla="+- 0 9873 9798"/>
                <a:gd name="T25" fmla="*/ T24 w 314"/>
                <a:gd name="T26" fmla="+- 0 698 672"/>
                <a:gd name="T27" fmla="*/ 698 h 316"/>
                <a:gd name="T28" fmla="+- 0 9839 9798"/>
                <a:gd name="T29" fmla="*/ T28 w 314"/>
                <a:gd name="T30" fmla="+- 0 727 672"/>
                <a:gd name="T31" fmla="*/ 727 h 316"/>
                <a:gd name="T32" fmla="+- 0 9813 9798"/>
                <a:gd name="T33" fmla="*/ T32 w 314"/>
                <a:gd name="T34" fmla="+- 0 764 672"/>
                <a:gd name="T35" fmla="*/ 764 h 316"/>
                <a:gd name="T36" fmla="+- 0 10101 9798"/>
                <a:gd name="T37" fmla="*/ T36 w 314"/>
                <a:gd name="T38" fmla="+- 0 764 672"/>
                <a:gd name="T39" fmla="*/ 764 h 316"/>
                <a:gd name="T40" fmla="+- 0 10111 9798"/>
                <a:gd name="T41" fmla="*/ T40 w 314"/>
                <a:gd name="T42" fmla="+- 0 807 672"/>
                <a:gd name="T43" fmla="*/ 807 h 316"/>
                <a:gd name="T44" fmla="+- 0 9798 9798"/>
                <a:gd name="T45" fmla="*/ T44 w 314"/>
                <a:gd name="T46" fmla="+- 0 807 672"/>
                <a:gd name="T47" fmla="*/ 807 h 316"/>
                <a:gd name="T48" fmla="+- 0 9799 9798"/>
                <a:gd name="T49" fmla="*/ T48 w 314"/>
                <a:gd name="T50" fmla="+- 0 876 672"/>
                <a:gd name="T51" fmla="*/ 876 h 316"/>
                <a:gd name="T52" fmla="+- 0 9829 9798"/>
                <a:gd name="T53" fmla="*/ T52 w 314"/>
                <a:gd name="T54" fmla="+- 0 934 672"/>
                <a:gd name="T55" fmla="*/ 934 h 316"/>
                <a:gd name="T56" fmla="+- 0 9880 9798"/>
                <a:gd name="T57" fmla="*/ T56 w 314"/>
                <a:gd name="T58" fmla="+- 0 973 672"/>
                <a:gd name="T59" fmla="*/ 973 h 316"/>
                <a:gd name="T60" fmla="+- 0 9948 9798"/>
                <a:gd name="T61" fmla="*/ T60 w 314"/>
                <a:gd name="T62" fmla="+- 0 987 672"/>
                <a:gd name="T63" fmla="*/ 987 h 316"/>
                <a:gd name="T64" fmla="+- 0 10014 9798"/>
                <a:gd name="T65" fmla="*/ T64 w 314"/>
                <a:gd name="T66" fmla="+- 0 971 672"/>
                <a:gd name="T67" fmla="*/ 971 h 316"/>
                <a:gd name="T68" fmla="+- 0 10067 9798"/>
                <a:gd name="T69" fmla="*/ T68 w 314"/>
                <a:gd name="T70" fmla="+- 0 931 672"/>
                <a:gd name="T71" fmla="*/ 931 h 316"/>
                <a:gd name="T72" fmla="+- 0 10102 9798"/>
                <a:gd name="T73" fmla="*/ T72 w 314"/>
                <a:gd name="T74" fmla="+- 0 874 672"/>
                <a:gd name="T75" fmla="*/ 874 h 316"/>
                <a:gd name="T76" fmla="+- 0 10111 9798"/>
                <a:gd name="T77" fmla="*/ T76 w 314"/>
                <a:gd name="T78" fmla="+- 0 807 672"/>
                <a:gd name="T79" fmla="*/ 807 h 316"/>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Lst>
              <a:rect l="0" t="0" r="r" b="b"/>
              <a:pathLst>
                <a:path w="314" h="316">
                  <a:moveTo>
                    <a:pt x="303" y="92"/>
                  </a:moveTo>
                  <a:lnTo>
                    <a:pt x="280" y="53"/>
                  </a:lnTo>
                  <a:lnTo>
                    <a:pt x="247" y="23"/>
                  </a:lnTo>
                  <a:lnTo>
                    <a:pt x="206" y="5"/>
                  </a:lnTo>
                  <a:lnTo>
                    <a:pt x="161" y="0"/>
                  </a:lnTo>
                  <a:lnTo>
                    <a:pt x="116" y="7"/>
                  </a:lnTo>
                  <a:lnTo>
                    <a:pt x="75" y="26"/>
                  </a:lnTo>
                  <a:lnTo>
                    <a:pt x="41" y="55"/>
                  </a:lnTo>
                  <a:lnTo>
                    <a:pt x="15" y="92"/>
                  </a:lnTo>
                  <a:lnTo>
                    <a:pt x="303" y="92"/>
                  </a:lnTo>
                  <a:close/>
                  <a:moveTo>
                    <a:pt x="313" y="135"/>
                  </a:moveTo>
                  <a:lnTo>
                    <a:pt x="0" y="135"/>
                  </a:lnTo>
                  <a:lnTo>
                    <a:pt x="1" y="204"/>
                  </a:lnTo>
                  <a:lnTo>
                    <a:pt x="31" y="262"/>
                  </a:lnTo>
                  <a:lnTo>
                    <a:pt x="82" y="301"/>
                  </a:lnTo>
                  <a:lnTo>
                    <a:pt x="150" y="315"/>
                  </a:lnTo>
                  <a:lnTo>
                    <a:pt x="216" y="299"/>
                  </a:lnTo>
                  <a:lnTo>
                    <a:pt x="269" y="259"/>
                  </a:lnTo>
                  <a:lnTo>
                    <a:pt x="304" y="202"/>
                  </a:lnTo>
                  <a:lnTo>
                    <a:pt x="313" y="135"/>
                  </a:lnTo>
                  <a:close/>
                </a:path>
              </a:pathLst>
            </a:custGeom>
            <a:solidFill>
              <a:srgbClr val="E61D34"/>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60" name="docshape4466">
              <a:extLst>
                <a:ext uri="{FF2B5EF4-FFF2-40B4-BE49-F238E27FC236}">
                  <a16:creationId xmlns:a16="http://schemas.microsoft.com/office/drawing/2014/main" id="{DA9471A1-A6B8-4A59-8FE0-C002AD6D2CDE}"/>
                </a:ext>
              </a:extLst>
            </p:cNvPr>
            <p:cNvSpPr>
              <a:spLocks/>
            </p:cNvSpPr>
            <p:nvPr/>
          </p:nvSpPr>
          <p:spPr bwMode="auto">
            <a:xfrm>
              <a:off x="9382" y="679"/>
              <a:ext cx="1405" cy="299"/>
            </a:xfrm>
            <a:custGeom>
              <a:avLst/>
              <a:gdLst>
                <a:gd name="T0" fmla="+- 0 9765 9383"/>
                <a:gd name="T1" fmla="*/ T0 w 1405"/>
                <a:gd name="T2" fmla="+- 0 746 679"/>
                <a:gd name="T3" fmla="*/ 746 h 299"/>
                <a:gd name="T4" fmla="+- 0 9711 9383"/>
                <a:gd name="T5" fmla="*/ T4 w 1405"/>
                <a:gd name="T6" fmla="+- 0 688 679"/>
                <a:gd name="T7" fmla="*/ 688 h 299"/>
                <a:gd name="T8" fmla="+- 0 9485 9383"/>
                <a:gd name="T9" fmla="*/ T8 w 1405"/>
                <a:gd name="T10" fmla="+- 0 679 679"/>
                <a:gd name="T11" fmla="*/ 679 h 299"/>
                <a:gd name="T12" fmla="+- 0 9451 9383"/>
                <a:gd name="T13" fmla="*/ T12 w 1405"/>
                <a:gd name="T14" fmla="+- 0 764 679"/>
                <a:gd name="T15" fmla="*/ 764 h 299"/>
                <a:gd name="T16" fmla="+- 0 9674 9383"/>
                <a:gd name="T17" fmla="*/ T16 w 1405"/>
                <a:gd name="T18" fmla="+- 0 774 679"/>
                <a:gd name="T19" fmla="*/ 774 h 299"/>
                <a:gd name="T20" fmla="+- 0 9662 9383"/>
                <a:gd name="T21" fmla="*/ T20 w 1405"/>
                <a:gd name="T22" fmla="+- 0 807 679"/>
                <a:gd name="T23" fmla="*/ 807 h 299"/>
                <a:gd name="T24" fmla="+- 0 9462 9383"/>
                <a:gd name="T25" fmla="*/ T24 w 1405"/>
                <a:gd name="T26" fmla="+- 0 810 679"/>
                <a:gd name="T27" fmla="*/ 810 h 299"/>
                <a:gd name="T28" fmla="+- 0 9431 9383"/>
                <a:gd name="T29" fmla="*/ T28 w 1405"/>
                <a:gd name="T30" fmla="+- 0 833 679"/>
                <a:gd name="T31" fmla="*/ 833 h 299"/>
                <a:gd name="T32" fmla="+- 0 9383 9383"/>
                <a:gd name="T33" fmla="*/ T32 w 1405"/>
                <a:gd name="T34" fmla="+- 0 964 679"/>
                <a:gd name="T35" fmla="*/ 964 h 299"/>
                <a:gd name="T36" fmla="+- 0 9495 9383"/>
                <a:gd name="T37" fmla="*/ T36 w 1405"/>
                <a:gd name="T38" fmla="+- 0 978 679"/>
                <a:gd name="T39" fmla="*/ 978 h 299"/>
                <a:gd name="T40" fmla="+- 0 9526 9383"/>
                <a:gd name="T41" fmla="*/ T40 w 1405"/>
                <a:gd name="T42" fmla="+- 0 899 679"/>
                <a:gd name="T43" fmla="*/ 899 h 299"/>
                <a:gd name="T44" fmla="+- 0 9656 9383"/>
                <a:gd name="T45" fmla="*/ T44 w 1405"/>
                <a:gd name="T46" fmla="+- 0 892 679"/>
                <a:gd name="T47" fmla="*/ 892 h 299"/>
                <a:gd name="T48" fmla="+- 0 9733 9383"/>
                <a:gd name="T49" fmla="*/ T48 w 1405"/>
                <a:gd name="T50" fmla="+- 0 862 679"/>
                <a:gd name="T51" fmla="*/ 862 h 299"/>
                <a:gd name="T52" fmla="+- 0 9770 9383"/>
                <a:gd name="T53" fmla="*/ T52 w 1405"/>
                <a:gd name="T54" fmla="+- 0 789 679"/>
                <a:gd name="T55" fmla="*/ 789 h 299"/>
                <a:gd name="T56" fmla="+- 0 10323 9383"/>
                <a:gd name="T57" fmla="*/ T56 w 1405"/>
                <a:gd name="T58" fmla="+- 0 679 679"/>
                <a:gd name="T59" fmla="*/ 679 h 299"/>
                <a:gd name="T60" fmla="+- 0 10211 9383"/>
                <a:gd name="T61" fmla="*/ T60 w 1405"/>
                <a:gd name="T62" fmla="+- 0 684 679"/>
                <a:gd name="T63" fmla="*/ 684 h 299"/>
                <a:gd name="T64" fmla="+- 0 10304 9383"/>
                <a:gd name="T65" fmla="*/ T64 w 1405"/>
                <a:gd name="T66" fmla="+- 0 764 679"/>
                <a:gd name="T67" fmla="*/ 764 h 299"/>
                <a:gd name="T68" fmla="+- 0 10417 9383"/>
                <a:gd name="T69" fmla="*/ T68 w 1405"/>
                <a:gd name="T70" fmla="+- 0 897 679"/>
                <a:gd name="T71" fmla="*/ 897 h 299"/>
                <a:gd name="T72" fmla="+- 0 10276 9383"/>
                <a:gd name="T73" fmla="*/ T72 w 1405"/>
                <a:gd name="T74" fmla="+- 0 884 679"/>
                <a:gd name="T75" fmla="*/ 884 h 299"/>
                <a:gd name="T76" fmla="+- 0 10289 9383"/>
                <a:gd name="T77" fmla="*/ T76 w 1405"/>
                <a:gd name="T78" fmla="+- 0 807 679"/>
                <a:gd name="T79" fmla="*/ 807 h 299"/>
                <a:gd name="T80" fmla="+- 0 10114 9383"/>
                <a:gd name="T81" fmla="*/ T80 w 1405"/>
                <a:gd name="T82" fmla="+- 0 964 679"/>
                <a:gd name="T83" fmla="*/ 964 h 299"/>
                <a:gd name="T84" fmla="+- 0 10378 9383"/>
                <a:gd name="T85" fmla="*/ T84 w 1405"/>
                <a:gd name="T86" fmla="+- 0 978 679"/>
                <a:gd name="T87" fmla="*/ 978 h 299"/>
                <a:gd name="T88" fmla="+- 0 10391 9383"/>
                <a:gd name="T89" fmla="*/ T88 w 1405"/>
                <a:gd name="T90" fmla="+- 0 973 679"/>
                <a:gd name="T91" fmla="*/ 973 h 299"/>
                <a:gd name="T92" fmla="+- 0 10787 9383"/>
                <a:gd name="T93" fmla="*/ T92 w 1405"/>
                <a:gd name="T94" fmla="+- 0 969 679"/>
                <a:gd name="T95" fmla="*/ 969 h 299"/>
                <a:gd name="T96" fmla="+- 0 10554 9383"/>
                <a:gd name="T97" fmla="*/ T96 w 1405"/>
                <a:gd name="T98" fmla="+- 0 807 679"/>
                <a:gd name="T99" fmla="*/ 807 h 299"/>
                <a:gd name="T100" fmla="+- 0 10435 9383"/>
                <a:gd name="T101" fmla="*/ T100 w 1405"/>
                <a:gd name="T102" fmla="+- 0 954 679"/>
                <a:gd name="T103" fmla="*/ 954 h 299"/>
                <a:gd name="T104" fmla="+- 0 10444 9383"/>
                <a:gd name="T105" fmla="*/ T104 w 1405"/>
                <a:gd name="T106" fmla="+- 0 974 679"/>
                <a:gd name="T107" fmla="*/ 974 h 299"/>
                <a:gd name="T108" fmla="+- 0 10532 9383"/>
                <a:gd name="T109" fmla="*/ T108 w 1405"/>
                <a:gd name="T110" fmla="+- 0 978 679"/>
                <a:gd name="T111" fmla="*/ 978 h 299"/>
                <a:gd name="T112" fmla="+- 0 10603 9383"/>
                <a:gd name="T113" fmla="*/ T112 w 1405"/>
                <a:gd name="T114" fmla="+- 0 895 679"/>
                <a:gd name="T115" fmla="*/ 895 h 299"/>
                <a:gd name="T116" fmla="+- 0 10651 9383"/>
                <a:gd name="T117" fmla="*/ T116 w 1405"/>
                <a:gd name="T118" fmla="+- 0 892 679"/>
                <a:gd name="T119" fmla="*/ 892 h 299"/>
                <a:gd name="T120" fmla="+- 0 10667 9383"/>
                <a:gd name="T121" fmla="*/ T120 w 1405"/>
                <a:gd name="T122" fmla="+- 0 972 679"/>
                <a:gd name="T123" fmla="*/ 972 h 299"/>
                <a:gd name="T124" fmla="+- 0 10680 9383"/>
                <a:gd name="T125" fmla="*/ T124 w 1405"/>
                <a:gd name="T126" fmla="+- 0 978 679"/>
                <a:gd name="T127" fmla="*/ 978 h 299"/>
                <a:gd name="T128" fmla="+- 0 10787 9383"/>
                <a:gd name="T129" fmla="*/ T128 w 1405"/>
                <a:gd name="T130" fmla="+- 0 969 679"/>
                <a:gd name="T131" fmla="*/ 969 h 299"/>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Lst>
              <a:rect l="0" t="0" r="r" b="b"/>
              <a:pathLst>
                <a:path w="1405" h="299">
                  <a:moveTo>
                    <a:pt x="387" y="110"/>
                  </a:moveTo>
                  <a:lnTo>
                    <a:pt x="382" y="67"/>
                  </a:lnTo>
                  <a:lnTo>
                    <a:pt x="361" y="32"/>
                  </a:lnTo>
                  <a:lnTo>
                    <a:pt x="328" y="9"/>
                  </a:lnTo>
                  <a:lnTo>
                    <a:pt x="286" y="0"/>
                  </a:lnTo>
                  <a:lnTo>
                    <a:pt x="102" y="0"/>
                  </a:lnTo>
                  <a:lnTo>
                    <a:pt x="96" y="5"/>
                  </a:lnTo>
                  <a:lnTo>
                    <a:pt x="68" y="85"/>
                  </a:lnTo>
                  <a:lnTo>
                    <a:pt x="282" y="85"/>
                  </a:lnTo>
                  <a:lnTo>
                    <a:pt x="291" y="95"/>
                  </a:lnTo>
                  <a:lnTo>
                    <a:pt x="289" y="119"/>
                  </a:lnTo>
                  <a:lnTo>
                    <a:pt x="279" y="128"/>
                  </a:lnTo>
                  <a:lnTo>
                    <a:pt x="99" y="128"/>
                  </a:lnTo>
                  <a:lnTo>
                    <a:pt x="79" y="131"/>
                  </a:lnTo>
                  <a:lnTo>
                    <a:pt x="62" y="140"/>
                  </a:lnTo>
                  <a:lnTo>
                    <a:pt x="48" y="154"/>
                  </a:lnTo>
                  <a:lnTo>
                    <a:pt x="39" y="172"/>
                  </a:lnTo>
                  <a:lnTo>
                    <a:pt x="0" y="285"/>
                  </a:lnTo>
                  <a:lnTo>
                    <a:pt x="9" y="299"/>
                  </a:lnTo>
                  <a:lnTo>
                    <a:pt x="112" y="299"/>
                  </a:lnTo>
                  <a:lnTo>
                    <a:pt x="118" y="294"/>
                  </a:lnTo>
                  <a:lnTo>
                    <a:pt x="143" y="220"/>
                  </a:lnTo>
                  <a:lnTo>
                    <a:pt x="152" y="213"/>
                  </a:lnTo>
                  <a:lnTo>
                    <a:pt x="273" y="213"/>
                  </a:lnTo>
                  <a:lnTo>
                    <a:pt x="315" y="205"/>
                  </a:lnTo>
                  <a:lnTo>
                    <a:pt x="350" y="183"/>
                  </a:lnTo>
                  <a:lnTo>
                    <a:pt x="375" y="150"/>
                  </a:lnTo>
                  <a:lnTo>
                    <a:pt x="387" y="110"/>
                  </a:lnTo>
                  <a:close/>
                  <a:moveTo>
                    <a:pt x="947" y="10"/>
                  </a:moveTo>
                  <a:lnTo>
                    <a:pt x="940" y="0"/>
                  </a:lnTo>
                  <a:lnTo>
                    <a:pt x="834" y="0"/>
                  </a:lnTo>
                  <a:lnTo>
                    <a:pt x="828" y="5"/>
                  </a:lnTo>
                  <a:lnTo>
                    <a:pt x="800" y="85"/>
                  </a:lnTo>
                  <a:lnTo>
                    <a:pt x="921" y="85"/>
                  </a:lnTo>
                  <a:lnTo>
                    <a:pt x="947" y="10"/>
                  </a:lnTo>
                  <a:close/>
                  <a:moveTo>
                    <a:pt x="1034" y="218"/>
                  </a:moveTo>
                  <a:lnTo>
                    <a:pt x="1025" y="205"/>
                  </a:lnTo>
                  <a:lnTo>
                    <a:pt x="893" y="205"/>
                  </a:lnTo>
                  <a:lnTo>
                    <a:pt x="884" y="191"/>
                  </a:lnTo>
                  <a:lnTo>
                    <a:pt x="906" y="128"/>
                  </a:lnTo>
                  <a:lnTo>
                    <a:pt x="785" y="128"/>
                  </a:lnTo>
                  <a:lnTo>
                    <a:pt x="731" y="285"/>
                  </a:lnTo>
                  <a:lnTo>
                    <a:pt x="740" y="299"/>
                  </a:lnTo>
                  <a:lnTo>
                    <a:pt x="995" y="299"/>
                  </a:lnTo>
                  <a:lnTo>
                    <a:pt x="1002" y="299"/>
                  </a:lnTo>
                  <a:lnTo>
                    <a:pt x="1008" y="294"/>
                  </a:lnTo>
                  <a:lnTo>
                    <a:pt x="1034" y="218"/>
                  </a:lnTo>
                  <a:close/>
                  <a:moveTo>
                    <a:pt x="1404" y="290"/>
                  </a:moveTo>
                  <a:lnTo>
                    <a:pt x="1389" y="128"/>
                  </a:lnTo>
                  <a:lnTo>
                    <a:pt x="1171" y="128"/>
                  </a:lnTo>
                  <a:lnTo>
                    <a:pt x="1057" y="264"/>
                  </a:lnTo>
                  <a:lnTo>
                    <a:pt x="1052" y="275"/>
                  </a:lnTo>
                  <a:lnTo>
                    <a:pt x="1054" y="286"/>
                  </a:lnTo>
                  <a:lnTo>
                    <a:pt x="1061" y="295"/>
                  </a:lnTo>
                  <a:lnTo>
                    <a:pt x="1072" y="299"/>
                  </a:lnTo>
                  <a:lnTo>
                    <a:pt x="1149" y="299"/>
                  </a:lnTo>
                  <a:lnTo>
                    <a:pt x="1153" y="296"/>
                  </a:lnTo>
                  <a:lnTo>
                    <a:pt x="1220" y="216"/>
                  </a:lnTo>
                  <a:lnTo>
                    <a:pt x="1227" y="213"/>
                  </a:lnTo>
                  <a:lnTo>
                    <a:pt x="1268" y="213"/>
                  </a:lnTo>
                  <a:lnTo>
                    <a:pt x="1277" y="221"/>
                  </a:lnTo>
                  <a:lnTo>
                    <a:pt x="1284" y="293"/>
                  </a:lnTo>
                  <a:lnTo>
                    <a:pt x="1290" y="299"/>
                  </a:lnTo>
                  <a:lnTo>
                    <a:pt x="1297" y="299"/>
                  </a:lnTo>
                  <a:lnTo>
                    <a:pt x="1396" y="299"/>
                  </a:lnTo>
                  <a:lnTo>
                    <a:pt x="1404" y="2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grpSp>
      <p:grpSp>
        <p:nvGrpSpPr>
          <p:cNvPr id="61" name="docshapegroup4444">
            <a:extLst>
              <a:ext uri="{FF2B5EF4-FFF2-40B4-BE49-F238E27FC236}">
                <a16:creationId xmlns:a16="http://schemas.microsoft.com/office/drawing/2014/main" id="{22E8AA4D-583A-4D66-B3AD-EC99AFE25C6B}"/>
              </a:ext>
            </a:extLst>
          </p:cNvPr>
          <p:cNvGrpSpPr>
            <a:grpSpLocks/>
          </p:cNvGrpSpPr>
          <p:nvPr/>
        </p:nvGrpSpPr>
        <p:grpSpPr bwMode="auto">
          <a:xfrm>
            <a:off x="10918023" y="5808165"/>
            <a:ext cx="754824" cy="210100"/>
            <a:chOff x="9762" y="-513"/>
            <a:chExt cx="1473" cy="410"/>
          </a:xfrm>
        </p:grpSpPr>
        <p:sp>
          <p:nvSpPr>
            <p:cNvPr id="62" name="docshape4445">
              <a:extLst>
                <a:ext uri="{FF2B5EF4-FFF2-40B4-BE49-F238E27FC236}">
                  <a16:creationId xmlns:a16="http://schemas.microsoft.com/office/drawing/2014/main" id="{5FDCD2BD-32B0-426F-8A17-FB1DBFEE8E36}"/>
                </a:ext>
              </a:extLst>
            </p:cNvPr>
            <p:cNvSpPr>
              <a:spLocks/>
            </p:cNvSpPr>
            <p:nvPr/>
          </p:nvSpPr>
          <p:spPr bwMode="auto">
            <a:xfrm>
              <a:off x="10422" y="-513"/>
              <a:ext cx="813" cy="410"/>
            </a:xfrm>
            <a:custGeom>
              <a:avLst/>
              <a:gdLst>
                <a:gd name="T0" fmla="+- 0 10700 10423"/>
                <a:gd name="T1" fmla="*/ T0 w 813"/>
                <a:gd name="T2" fmla="+- 0 -459 -512"/>
                <a:gd name="T3" fmla="*/ -459 h 410"/>
                <a:gd name="T4" fmla="+- 0 10651 10423"/>
                <a:gd name="T5" fmla="*/ T4 w 813"/>
                <a:gd name="T6" fmla="+- 0 -506 -512"/>
                <a:gd name="T7" fmla="*/ -506 h 410"/>
                <a:gd name="T8" fmla="+- 0 10540 10423"/>
                <a:gd name="T9" fmla="*/ T8 w 813"/>
                <a:gd name="T10" fmla="+- 0 -512 -512"/>
                <a:gd name="T11" fmla="*/ -512 h 410"/>
                <a:gd name="T12" fmla="+- 0 10598 10423"/>
                <a:gd name="T13" fmla="*/ T12 w 813"/>
                <a:gd name="T14" fmla="+- 0 -464 -512"/>
                <a:gd name="T15" fmla="*/ -464 h 410"/>
                <a:gd name="T16" fmla="+- 0 10630 10423"/>
                <a:gd name="T17" fmla="*/ T16 w 813"/>
                <a:gd name="T18" fmla="+- 0 -453 -512"/>
                <a:gd name="T19" fmla="*/ -453 h 410"/>
                <a:gd name="T20" fmla="+- 0 10641 10423"/>
                <a:gd name="T21" fmla="*/ T20 w 813"/>
                <a:gd name="T22" fmla="+- 0 -422 -512"/>
                <a:gd name="T23" fmla="*/ -422 h 410"/>
                <a:gd name="T24" fmla="+- 0 10491 10423"/>
                <a:gd name="T25" fmla="*/ T24 w 813"/>
                <a:gd name="T26" fmla="+- 0 -394 -512"/>
                <a:gd name="T27" fmla="*/ -394 h 410"/>
                <a:gd name="T28" fmla="+- 0 10423 10423"/>
                <a:gd name="T29" fmla="*/ T28 w 813"/>
                <a:gd name="T30" fmla="+- 0 -396 -512"/>
                <a:gd name="T31" fmla="*/ -396 h 410"/>
                <a:gd name="T32" fmla="+- 0 10430 10423"/>
                <a:gd name="T33" fmla="*/ T32 w 813"/>
                <a:gd name="T34" fmla="+- 0 -270 -512"/>
                <a:gd name="T35" fmla="*/ -270 h 410"/>
                <a:gd name="T36" fmla="+- 0 10483 10423"/>
                <a:gd name="T37" fmla="*/ T36 w 813"/>
                <a:gd name="T38" fmla="+- 0 -220 -512"/>
                <a:gd name="T39" fmla="*/ -220 h 410"/>
                <a:gd name="T40" fmla="+- 0 10648 10423"/>
                <a:gd name="T41" fmla="*/ T40 w 813"/>
                <a:gd name="T42" fmla="+- 0 -212 -512"/>
                <a:gd name="T43" fmla="*/ -212 h 410"/>
                <a:gd name="T44" fmla="+- 0 10708 10423"/>
                <a:gd name="T45" fmla="*/ T44 w 813"/>
                <a:gd name="T46" fmla="+- 0 -300 -512"/>
                <a:gd name="T47" fmla="*/ -300 h 410"/>
                <a:gd name="T48" fmla="+- 0 10641 10423"/>
                <a:gd name="T49" fmla="*/ T48 w 813"/>
                <a:gd name="T50" fmla="+- 0 -296 -512"/>
                <a:gd name="T51" fmla="*/ -296 h 410"/>
                <a:gd name="T52" fmla="+- 0 10630 10423"/>
                <a:gd name="T53" fmla="*/ T52 w 813"/>
                <a:gd name="T54" fmla="+- 0 -270 -512"/>
                <a:gd name="T55" fmla="*/ -270 h 410"/>
                <a:gd name="T56" fmla="+- 0 10601 10423"/>
                <a:gd name="T57" fmla="*/ T56 w 813"/>
                <a:gd name="T58" fmla="+- 0 -260 -512"/>
                <a:gd name="T59" fmla="*/ -260 h 410"/>
                <a:gd name="T60" fmla="+- 0 10518 10423"/>
                <a:gd name="T61" fmla="*/ T60 w 813"/>
                <a:gd name="T62" fmla="+- 0 -263 -512"/>
                <a:gd name="T63" fmla="*/ -263 h 410"/>
                <a:gd name="T64" fmla="+- 0 10494 10423"/>
                <a:gd name="T65" fmla="*/ T64 w 813"/>
                <a:gd name="T66" fmla="+- 0 -286 -512"/>
                <a:gd name="T67" fmla="*/ -286 h 410"/>
                <a:gd name="T68" fmla="+- 0 10491 10423"/>
                <a:gd name="T69" fmla="*/ T68 w 813"/>
                <a:gd name="T70" fmla="+- 0 -349 -512"/>
                <a:gd name="T71" fmla="*/ -349 h 410"/>
                <a:gd name="T72" fmla="+- 0 10708 10423"/>
                <a:gd name="T73" fmla="*/ T72 w 813"/>
                <a:gd name="T74" fmla="+- 0 -423 -512"/>
                <a:gd name="T75" fmla="*/ -423 h 410"/>
                <a:gd name="T76" fmla="+- 0 11229 10423"/>
                <a:gd name="T77" fmla="*/ T76 w 813"/>
                <a:gd name="T78" fmla="+- 0 -461 -512"/>
                <a:gd name="T79" fmla="*/ -461 h 410"/>
                <a:gd name="T80" fmla="+- 0 11181 10423"/>
                <a:gd name="T81" fmla="*/ T80 w 813"/>
                <a:gd name="T82" fmla="+- 0 -506 -512"/>
                <a:gd name="T83" fmla="*/ -506 h 410"/>
                <a:gd name="T84" fmla="+- 0 11062 10423"/>
                <a:gd name="T85" fmla="*/ T84 w 813"/>
                <a:gd name="T86" fmla="+- 0 -512 -512"/>
                <a:gd name="T87" fmla="*/ -512 h 410"/>
                <a:gd name="T88" fmla="+- 0 11121 10423"/>
                <a:gd name="T89" fmla="*/ T88 w 813"/>
                <a:gd name="T90" fmla="+- 0 -463 -512"/>
                <a:gd name="T91" fmla="*/ -463 h 410"/>
                <a:gd name="T92" fmla="+- 0 11154 10423"/>
                <a:gd name="T93" fmla="*/ T92 w 813"/>
                <a:gd name="T94" fmla="+- 0 -450 -512"/>
                <a:gd name="T95" fmla="*/ -450 h 410"/>
                <a:gd name="T96" fmla="+- 0 11167 10423"/>
                <a:gd name="T97" fmla="*/ T96 w 813"/>
                <a:gd name="T98" fmla="+- 0 -417 -512"/>
                <a:gd name="T99" fmla="*/ -417 h 410"/>
                <a:gd name="T100" fmla="+- 0 11163 10423"/>
                <a:gd name="T101" fmla="*/ T100 w 813"/>
                <a:gd name="T102" fmla="+- 0 -289 -512"/>
                <a:gd name="T103" fmla="*/ -289 h 410"/>
                <a:gd name="T104" fmla="+- 0 11140 10423"/>
                <a:gd name="T105" fmla="*/ T104 w 813"/>
                <a:gd name="T106" fmla="+- 0 -265 -512"/>
                <a:gd name="T107" fmla="*/ -265 h 410"/>
                <a:gd name="T108" fmla="+- 0 11058 10423"/>
                <a:gd name="T109" fmla="*/ T108 w 813"/>
                <a:gd name="T110" fmla="+- 0 -262 -512"/>
                <a:gd name="T111" fmla="*/ -262 h 410"/>
                <a:gd name="T112" fmla="+- 0 11026 10423"/>
                <a:gd name="T113" fmla="*/ T112 w 813"/>
                <a:gd name="T114" fmla="+- 0 -275 -512"/>
                <a:gd name="T115" fmla="*/ -275 h 410"/>
                <a:gd name="T116" fmla="+- 0 11012 10423"/>
                <a:gd name="T117" fmla="*/ T116 w 813"/>
                <a:gd name="T118" fmla="+- 0 -310 -512"/>
                <a:gd name="T119" fmla="*/ -310 h 410"/>
                <a:gd name="T120" fmla="+- 0 10945 10423"/>
                <a:gd name="T121" fmla="*/ T120 w 813"/>
                <a:gd name="T122" fmla="+- 0 -396 -512"/>
                <a:gd name="T123" fmla="*/ -396 h 410"/>
                <a:gd name="T124" fmla="+- 0 11013 10423"/>
                <a:gd name="T125" fmla="*/ T124 w 813"/>
                <a:gd name="T126" fmla="+- 0 -103 -512"/>
                <a:gd name="T127" fmla="*/ -103 h 410"/>
                <a:gd name="T128" fmla="+- 0 11024 10423"/>
                <a:gd name="T129" fmla="*/ T128 w 813"/>
                <a:gd name="T130" fmla="+- 0 -226 -512"/>
                <a:gd name="T131" fmla="*/ -226 h 410"/>
                <a:gd name="T132" fmla="+- 0 11054 10423"/>
                <a:gd name="T133" fmla="*/ T132 w 813"/>
                <a:gd name="T134" fmla="+- 0 -214 -512"/>
                <a:gd name="T135" fmla="*/ -214 h 410"/>
                <a:gd name="T136" fmla="+- 0 11143 10423"/>
                <a:gd name="T137" fmla="*/ T136 w 813"/>
                <a:gd name="T138" fmla="+- 0 -212 -512"/>
                <a:gd name="T139" fmla="*/ -212 h 410"/>
                <a:gd name="T140" fmla="+- 0 11209 10423"/>
                <a:gd name="T141" fmla="*/ T140 w 813"/>
                <a:gd name="T142" fmla="+- 0 -239 -512"/>
                <a:gd name="T143" fmla="*/ -239 h 410"/>
                <a:gd name="T144" fmla="+- 0 11235 10423"/>
                <a:gd name="T145" fmla="*/ T144 w 813"/>
                <a:gd name="T146" fmla="+- 0 -302 -512"/>
                <a:gd name="T147" fmla="*/ -302 h 410"/>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Lst>
              <a:rect l="0" t="0" r="r" b="b"/>
              <a:pathLst>
                <a:path w="813" h="410">
                  <a:moveTo>
                    <a:pt x="285" y="89"/>
                  </a:moveTo>
                  <a:lnTo>
                    <a:pt x="277" y="53"/>
                  </a:lnTo>
                  <a:lnTo>
                    <a:pt x="257" y="25"/>
                  </a:lnTo>
                  <a:lnTo>
                    <a:pt x="228" y="6"/>
                  </a:lnTo>
                  <a:lnTo>
                    <a:pt x="191" y="0"/>
                  </a:lnTo>
                  <a:lnTo>
                    <a:pt x="117" y="0"/>
                  </a:lnTo>
                  <a:lnTo>
                    <a:pt x="69" y="48"/>
                  </a:lnTo>
                  <a:lnTo>
                    <a:pt x="175" y="48"/>
                  </a:lnTo>
                  <a:lnTo>
                    <a:pt x="194" y="51"/>
                  </a:lnTo>
                  <a:lnTo>
                    <a:pt x="207" y="59"/>
                  </a:lnTo>
                  <a:lnTo>
                    <a:pt x="216" y="72"/>
                  </a:lnTo>
                  <a:lnTo>
                    <a:pt x="218" y="90"/>
                  </a:lnTo>
                  <a:lnTo>
                    <a:pt x="218" y="118"/>
                  </a:lnTo>
                  <a:lnTo>
                    <a:pt x="68" y="118"/>
                  </a:lnTo>
                  <a:lnTo>
                    <a:pt x="68" y="48"/>
                  </a:lnTo>
                  <a:lnTo>
                    <a:pt x="0" y="116"/>
                  </a:lnTo>
                  <a:lnTo>
                    <a:pt x="0" y="204"/>
                  </a:lnTo>
                  <a:lnTo>
                    <a:pt x="7" y="242"/>
                  </a:lnTo>
                  <a:lnTo>
                    <a:pt x="28" y="272"/>
                  </a:lnTo>
                  <a:lnTo>
                    <a:pt x="60" y="292"/>
                  </a:lnTo>
                  <a:lnTo>
                    <a:pt x="103" y="300"/>
                  </a:lnTo>
                  <a:lnTo>
                    <a:pt x="225" y="300"/>
                  </a:lnTo>
                  <a:lnTo>
                    <a:pt x="285" y="241"/>
                  </a:lnTo>
                  <a:lnTo>
                    <a:pt x="285" y="212"/>
                  </a:lnTo>
                  <a:lnTo>
                    <a:pt x="218" y="212"/>
                  </a:lnTo>
                  <a:lnTo>
                    <a:pt x="218" y="216"/>
                  </a:lnTo>
                  <a:lnTo>
                    <a:pt x="215" y="231"/>
                  </a:lnTo>
                  <a:lnTo>
                    <a:pt x="207" y="242"/>
                  </a:lnTo>
                  <a:lnTo>
                    <a:pt x="194" y="249"/>
                  </a:lnTo>
                  <a:lnTo>
                    <a:pt x="178" y="252"/>
                  </a:lnTo>
                  <a:lnTo>
                    <a:pt x="115" y="252"/>
                  </a:lnTo>
                  <a:lnTo>
                    <a:pt x="95" y="249"/>
                  </a:lnTo>
                  <a:lnTo>
                    <a:pt x="80" y="240"/>
                  </a:lnTo>
                  <a:lnTo>
                    <a:pt x="71" y="226"/>
                  </a:lnTo>
                  <a:lnTo>
                    <a:pt x="68" y="207"/>
                  </a:lnTo>
                  <a:lnTo>
                    <a:pt x="68" y="163"/>
                  </a:lnTo>
                  <a:lnTo>
                    <a:pt x="285" y="163"/>
                  </a:lnTo>
                  <a:lnTo>
                    <a:pt x="285" y="89"/>
                  </a:lnTo>
                  <a:close/>
                  <a:moveTo>
                    <a:pt x="812" y="87"/>
                  </a:moveTo>
                  <a:lnTo>
                    <a:pt x="806" y="51"/>
                  </a:lnTo>
                  <a:lnTo>
                    <a:pt x="787" y="24"/>
                  </a:lnTo>
                  <a:lnTo>
                    <a:pt x="758" y="6"/>
                  </a:lnTo>
                  <a:lnTo>
                    <a:pt x="721" y="0"/>
                  </a:lnTo>
                  <a:lnTo>
                    <a:pt x="639" y="0"/>
                  </a:lnTo>
                  <a:lnTo>
                    <a:pt x="589" y="49"/>
                  </a:lnTo>
                  <a:lnTo>
                    <a:pt x="698" y="49"/>
                  </a:lnTo>
                  <a:lnTo>
                    <a:pt x="716" y="53"/>
                  </a:lnTo>
                  <a:lnTo>
                    <a:pt x="731" y="62"/>
                  </a:lnTo>
                  <a:lnTo>
                    <a:pt x="740" y="77"/>
                  </a:lnTo>
                  <a:lnTo>
                    <a:pt x="744" y="95"/>
                  </a:lnTo>
                  <a:lnTo>
                    <a:pt x="744" y="203"/>
                  </a:lnTo>
                  <a:lnTo>
                    <a:pt x="740" y="223"/>
                  </a:lnTo>
                  <a:lnTo>
                    <a:pt x="731" y="238"/>
                  </a:lnTo>
                  <a:lnTo>
                    <a:pt x="717" y="247"/>
                  </a:lnTo>
                  <a:lnTo>
                    <a:pt x="698" y="250"/>
                  </a:lnTo>
                  <a:lnTo>
                    <a:pt x="635" y="250"/>
                  </a:lnTo>
                  <a:lnTo>
                    <a:pt x="618" y="247"/>
                  </a:lnTo>
                  <a:lnTo>
                    <a:pt x="603" y="237"/>
                  </a:lnTo>
                  <a:lnTo>
                    <a:pt x="593" y="222"/>
                  </a:lnTo>
                  <a:lnTo>
                    <a:pt x="589" y="202"/>
                  </a:lnTo>
                  <a:lnTo>
                    <a:pt x="589" y="50"/>
                  </a:lnTo>
                  <a:lnTo>
                    <a:pt x="522" y="116"/>
                  </a:lnTo>
                  <a:lnTo>
                    <a:pt x="522" y="409"/>
                  </a:lnTo>
                  <a:lnTo>
                    <a:pt x="590" y="409"/>
                  </a:lnTo>
                  <a:lnTo>
                    <a:pt x="590" y="275"/>
                  </a:lnTo>
                  <a:lnTo>
                    <a:pt x="601" y="286"/>
                  </a:lnTo>
                  <a:lnTo>
                    <a:pt x="615" y="294"/>
                  </a:lnTo>
                  <a:lnTo>
                    <a:pt x="631" y="298"/>
                  </a:lnTo>
                  <a:lnTo>
                    <a:pt x="649" y="300"/>
                  </a:lnTo>
                  <a:lnTo>
                    <a:pt x="720" y="300"/>
                  </a:lnTo>
                  <a:lnTo>
                    <a:pt x="757" y="293"/>
                  </a:lnTo>
                  <a:lnTo>
                    <a:pt x="786" y="273"/>
                  </a:lnTo>
                  <a:lnTo>
                    <a:pt x="805" y="245"/>
                  </a:lnTo>
                  <a:lnTo>
                    <a:pt x="812" y="210"/>
                  </a:lnTo>
                  <a:lnTo>
                    <a:pt x="812" y="87"/>
                  </a:lnTo>
                  <a:close/>
                </a:path>
              </a:pathLst>
            </a:custGeom>
            <a:solidFill>
              <a:srgbClr val="9FA6BE"/>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pic>
          <p:nvPicPr>
            <p:cNvPr id="63" name="docshape4446">
              <a:extLst>
                <a:ext uri="{FF2B5EF4-FFF2-40B4-BE49-F238E27FC236}">
                  <a16:creationId xmlns:a16="http://schemas.microsoft.com/office/drawing/2014/main" id="{F12395E0-627B-4D8E-A3E6-8BF01BF66855}"/>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0760" y="-513"/>
              <a:ext cx="226" cy="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docshape4447">
              <a:extLst>
                <a:ext uri="{FF2B5EF4-FFF2-40B4-BE49-F238E27FC236}">
                  <a16:creationId xmlns:a16="http://schemas.microsoft.com/office/drawing/2014/main" id="{9668CDAD-AC81-4AD4-A6A6-841E21BC57FF}"/>
                </a:ext>
              </a:extLst>
            </p:cNvPr>
            <p:cNvSpPr>
              <a:spLocks/>
            </p:cNvSpPr>
            <p:nvPr/>
          </p:nvSpPr>
          <p:spPr bwMode="auto">
            <a:xfrm>
              <a:off x="9762" y="-513"/>
              <a:ext cx="671" cy="300"/>
            </a:xfrm>
            <a:custGeom>
              <a:avLst/>
              <a:gdLst>
                <a:gd name="T0" fmla="+- 0 10048 9763"/>
                <a:gd name="T1" fmla="*/ T0 w 671"/>
                <a:gd name="T2" fmla="+- 0 -423 -512"/>
                <a:gd name="T3" fmla="*/ -423 h 300"/>
                <a:gd name="T4" fmla="+- 0 10040 9763"/>
                <a:gd name="T5" fmla="*/ T4 w 671"/>
                <a:gd name="T6" fmla="+- 0 -459 -512"/>
                <a:gd name="T7" fmla="*/ -459 h 300"/>
                <a:gd name="T8" fmla="+- 0 10020 9763"/>
                <a:gd name="T9" fmla="*/ T8 w 671"/>
                <a:gd name="T10" fmla="+- 0 -487 -512"/>
                <a:gd name="T11" fmla="*/ -487 h 300"/>
                <a:gd name="T12" fmla="+- 0 9991 9763"/>
                <a:gd name="T13" fmla="*/ T12 w 671"/>
                <a:gd name="T14" fmla="+- 0 -506 -512"/>
                <a:gd name="T15" fmla="*/ -506 h 300"/>
                <a:gd name="T16" fmla="+- 0 9954 9763"/>
                <a:gd name="T17" fmla="*/ T16 w 671"/>
                <a:gd name="T18" fmla="+- 0 -512 -512"/>
                <a:gd name="T19" fmla="*/ -512 h 300"/>
                <a:gd name="T20" fmla="+- 0 9880 9763"/>
                <a:gd name="T21" fmla="*/ T20 w 671"/>
                <a:gd name="T22" fmla="+- 0 -512 -512"/>
                <a:gd name="T23" fmla="*/ -512 h 300"/>
                <a:gd name="T24" fmla="+- 0 9832 9763"/>
                <a:gd name="T25" fmla="*/ T24 w 671"/>
                <a:gd name="T26" fmla="+- 0 -464 -512"/>
                <a:gd name="T27" fmla="*/ -464 h 300"/>
                <a:gd name="T28" fmla="+- 0 9938 9763"/>
                <a:gd name="T29" fmla="*/ T28 w 671"/>
                <a:gd name="T30" fmla="+- 0 -464 -512"/>
                <a:gd name="T31" fmla="*/ -464 h 300"/>
                <a:gd name="T32" fmla="+- 0 9957 9763"/>
                <a:gd name="T33" fmla="*/ T32 w 671"/>
                <a:gd name="T34" fmla="+- 0 -461 -512"/>
                <a:gd name="T35" fmla="*/ -461 h 300"/>
                <a:gd name="T36" fmla="+- 0 9970 9763"/>
                <a:gd name="T37" fmla="*/ T36 w 671"/>
                <a:gd name="T38" fmla="+- 0 -453 -512"/>
                <a:gd name="T39" fmla="*/ -453 h 300"/>
                <a:gd name="T40" fmla="+- 0 9979 9763"/>
                <a:gd name="T41" fmla="*/ T40 w 671"/>
                <a:gd name="T42" fmla="+- 0 -440 -512"/>
                <a:gd name="T43" fmla="*/ -440 h 300"/>
                <a:gd name="T44" fmla="+- 0 9981 9763"/>
                <a:gd name="T45" fmla="*/ T44 w 671"/>
                <a:gd name="T46" fmla="+- 0 -422 -512"/>
                <a:gd name="T47" fmla="*/ -422 h 300"/>
                <a:gd name="T48" fmla="+- 0 9981 9763"/>
                <a:gd name="T49" fmla="*/ T48 w 671"/>
                <a:gd name="T50" fmla="+- 0 -394 -512"/>
                <a:gd name="T51" fmla="*/ -394 h 300"/>
                <a:gd name="T52" fmla="+- 0 9831 9763"/>
                <a:gd name="T53" fmla="*/ T52 w 671"/>
                <a:gd name="T54" fmla="+- 0 -394 -512"/>
                <a:gd name="T55" fmla="*/ -394 h 300"/>
                <a:gd name="T56" fmla="+- 0 9831 9763"/>
                <a:gd name="T57" fmla="*/ T56 w 671"/>
                <a:gd name="T58" fmla="+- 0 -464 -512"/>
                <a:gd name="T59" fmla="*/ -464 h 300"/>
                <a:gd name="T60" fmla="+- 0 9763 9763"/>
                <a:gd name="T61" fmla="*/ T60 w 671"/>
                <a:gd name="T62" fmla="+- 0 -396 -512"/>
                <a:gd name="T63" fmla="*/ -396 h 300"/>
                <a:gd name="T64" fmla="+- 0 9763 9763"/>
                <a:gd name="T65" fmla="*/ T64 w 671"/>
                <a:gd name="T66" fmla="+- 0 -308 -512"/>
                <a:gd name="T67" fmla="*/ -308 h 300"/>
                <a:gd name="T68" fmla="+- 0 9770 9763"/>
                <a:gd name="T69" fmla="*/ T68 w 671"/>
                <a:gd name="T70" fmla="+- 0 -270 -512"/>
                <a:gd name="T71" fmla="*/ -270 h 300"/>
                <a:gd name="T72" fmla="+- 0 9791 9763"/>
                <a:gd name="T73" fmla="*/ T72 w 671"/>
                <a:gd name="T74" fmla="+- 0 -240 -512"/>
                <a:gd name="T75" fmla="*/ -240 h 300"/>
                <a:gd name="T76" fmla="+- 0 9823 9763"/>
                <a:gd name="T77" fmla="*/ T76 w 671"/>
                <a:gd name="T78" fmla="+- 0 -220 -512"/>
                <a:gd name="T79" fmla="*/ -220 h 300"/>
                <a:gd name="T80" fmla="+- 0 9866 9763"/>
                <a:gd name="T81" fmla="*/ T80 w 671"/>
                <a:gd name="T82" fmla="+- 0 -212 -512"/>
                <a:gd name="T83" fmla="*/ -212 h 300"/>
                <a:gd name="T84" fmla="+- 0 9988 9763"/>
                <a:gd name="T85" fmla="*/ T84 w 671"/>
                <a:gd name="T86" fmla="+- 0 -212 -512"/>
                <a:gd name="T87" fmla="*/ -212 h 300"/>
                <a:gd name="T88" fmla="+- 0 10048 9763"/>
                <a:gd name="T89" fmla="*/ T88 w 671"/>
                <a:gd name="T90" fmla="+- 0 -271 -512"/>
                <a:gd name="T91" fmla="*/ -271 h 300"/>
                <a:gd name="T92" fmla="+- 0 10048 9763"/>
                <a:gd name="T93" fmla="*/ T92 w 671"/>
                <a:gd name="T94" fmla="+- 0 -300 -512"/>
                <a:gd name="T95" fmla="*/ -300 h 300"/>
                <a:gd name="T96" fmla="+- 0 9981 9763"/>
                <a:gd name="T97" fmla="*/ T96 w 671"/>
                <a:gd name="T98" fmla="+- 0 -300 -512"/>
                <a:gd name="T99" fmla="*/ -300 h 300"/>
                <a:gd name="T100" fmla="+- 0 9981 9763"/>
                <a:gd name="T101" fmla="*/ T100 w 671"/>
                <a:gd name="T102" fmla="+- 0 -296 -512"/>
                <a:gd name="T103" fmla="*/ -296 h 300"/>
                <a:gd name="T104" fmla="+- 0 9978 9763"/>
                <a:gd name="T105" fmla="*/ T104 w 671"/>
                <a:gd name="T106" fmla="+- 0 -282 -512"/>
                <a:gd name="T107" fmla="*/ -282 h 300"/>
                <a:gd name="T108" fmla="+- 0 9970 9763"/>
                <a:gd name="T109" fmla="*/ T108 w 671"/>
                <a:gd name="T110" fmla="+- 0 -270 -512"/>
                <a:gd name="T111" fmla="*/ -270 h 300"/>
                <a:gd name="T112" fmla="+- 0 9957 9763"/>
                <a:gd name="T113" fmla="*/ T112 w 671"/>
                <a:gd name="T114" fmla="+- 0 -263 -512"/>
                <a:gd name="T115" fmla="*/ -263 h 300"/>
                <a:gd name="T116" fmla="+- 0 9941 9763"/>
                <a:gd name="T117" fmla="*/ T116 w 671"/>
                <a:gd name="T118" fmla="+- 0 -260 -512"/>
                <a:gd name="T119" fmla="*/ -260 h 300"/>
                <a:gd name="T120" fmla="+- 0 9878 9763"/>
                <a:gd name="T121" fmla="*/ T120 w 671"/>
                <a:gd name="T122" fmla="+- 0 -260 -512"/>
                <a:gd name="T123" fmla="*/ -260 h 300"/>
                <a:gd name="T124" fmla="+- 0 9858 9763"/>
                <a:gd name="T125" fmla="*/ T124 w 671"/>
                <a:gd name="T126" fmla="+- 0 -263 -512"/>
                <a:gd name="T127" fmla="*/ -263 h 300"/>
                <a:gd name="T128" fmla="+- 0 9843 9763"/>
                <a:gd name="T129" fmla="*/ T128 w 671"/>
                <a:gd name="T130" fmla="+- 0 -272 -512"/>
                <a:gd name="T131" fmla="*/ -272 h 300"/>
                <a:gd name="T132" fmla="+- 0 9834 9763"/>
                <a:gd name="T133" fmla="*/ T132 w 671"/>
                <a:gd name="T134" fmla="+- 0 -286 -512"/>
                <a:gd name="T135" fmla="*/ -286 h 300"/>
                <a:gd name="T136" fmla="+- 0 9831 9763"/>
                <a:gd name="T137" fmla="*/ T136 w 671"/>
                <a:gd name="T138" fmla="+- 0 -305 -512"/>
                <a:gd name="T139" fmla="*/ -305 h 300"/>
                <a:gd name="T140" fmla="+- 0 9831 9763"/>
                <a:gd name="T141" fmla="*/ T140 w 671"/>
                <a:gd name="T142" fmla="+- 0 -349 -512"/>
                <a:gd name="T143" fmla="*/ -349 h 300"/>
                <a:gd name="T144" fmla="+- 0 10048 9763"/>
                <a:gd name="T145" fmla="*/ T144 w 671"/>
                <a:gd name="T146" fmla="+- 0 -349 -512"/>
                <a:gd name="T147" fmla="*/ -349 h 300"/>
                <a:gd name="T148" fmla="+- 0 10048 9763"/>
                <a:gd name="T149" fmla="*/ T148 w 671"/>
                <a:gd name="T150" fmla="+- 0 -423 -512"/>
                <a:gd name="T151" fmla="*/ -423 h 300"/>
                <a:gd name="T152" fmla="+- 0 10433 9763"/>
                <a:gd name="T153" fmla="*/ T152 w 671"/>
                <a:gd name="T154" fmla="+- 0 -512 -512"/>
                <a:gd name="T155" fmla="*/ -512 h 300"/>
                <a:gd name="T156" fmla="+- 0 10353 9763"/>
                <a:gd name="T157" fmla="*/ T156 w 671"/>
                <a:gd name="T158" fmla="+- 0 -512 -512"/>
                <a:gd name="T159" fmla="*/ -512 h 300"/>
                <a:gd name="T160" fmla="+- 0 10050 9763"/>
                <a:gd name="T161" fmla="*/ T160 w 671"/>
                <a:gd name="T162" fmla="+- 0 -212 -512"/>
                <a:gd name="T163" fmla="*/ -212 h 300"/>
                <a:gd name="T164" fmla="+- 0 10130 9763"/>
                <a:gd name="T165" fmla="*/ T164 w 671"/>
                <a:gd name="T166" fmla="+- 0 -212 -512"/>
                <a:gd name="T167" fmla="*/ -212 h 300"/>
                <a:gd name="T168" fmla="+- 0 10240 9763"/>
                <a:gd name="T169" fmla="*/ T168 w 671"/>
                <a:gd name="T170" fmla="+- 0 -322 -512"/>
                <a:gd name="T171" fmla="*/ -322 h 300"/>
                <a:gd name="T172" fmla="+- 0 10302 9763"/>
                <a:gd name="T173" fmla="*/ T172 w 671"/>
                <a:gd name="T174" fmla="+- 0 -256 -512"/>
                <a:gd name="T175" fmla="*/ -256 h 300"/>
                <a:gd name="T176" fmla="+- 0 10309 9763"/>
                <a:gd name="T177" fmla="*/ T176 w 671"/>
                <a:gd name="T178" fmla="+- 0 -247 -512"/>
                <a:gd name="T179" fmla="*/ -247 h 300"/>
                <a:gd name="T180" fmla="+- 0 10316 9763"/>
                <a:gd name="T181" fmla="*/ T180 w 671"/>
                <a:gd name="T182" fmla="+- 0 -240 -512"/>
                <a:gd name="T183" fmla="*/ -240 h 300"/>
                <a:gd name="T184" fmla="+- 0 10316 9763"/>
                <a:gd name="T185" fmla="*/ T184 w 671"/>
                <a:gd name="T186" fmla="+- 0 -212 -512"/>
                <a:gd name="T187" fmla="*/ -212 h 300"/>
                <a:gd name="T188" fmla="+- 0 10393 9763"/>
                <a:gd name="T189" fmla="*/ T188 w 671"/>
                <a:gd name="T190" fmla="+- 0 -212 -512"/>
                <a:gd name="T191" fmla="*/ -212 h 300"/>
                <a:gd name="T192" fmla="+- 0 10393 9763"/>
                <a:gd name="T193" fmla="*/ T192 w 671"/>
                <a:gd name="T194" fmla="+- 0 -247 -512"/>
                <a:gd name="T195" fmla="*/ -247 h 300"/>
                <a:gd name="T196" fmla="+- 0 10283 9763"/>
                <a:gd name="T197" fmla="*/ T196 w 671"/>
                <a:gd name="T198" fmla="+- 0 -364 -512"/>
                <a:gd name="T199" fmla="*/ -364 h 300"/>
                <a:gd name="T200" fmla="+- 0 10433 9763"/>
                <a:gd name="T201" fmla="*/ T200 w 671"/>
                <a:gd name="T202" fmla="+- 0 -512 -512"/>
                <a:gd name="T203" fmla="*/ -512 h 300"/>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 ang="0">
                  <a:pos x="T169" y="T171"/>
                </a:cxn>
                <a:cxn ang="0">
                  <a:pos x="T173" y="T175"/>
                </a:cxn>
                <a:cxn ang="0">
                  <a:pos x="T177" y="T179"/>
                </a:cxn>
                <a:cxn ang="0">
                  <a:pos x="T181" y="T183"/>
                </a:cxn>
                <a:cxn ang="0">
                  <a:pos x="T185" y="T187"/>
                </a:cxn>
                <a:cxn ang="0">
                  <a:pos x="T189" y="T191"/>
                </a:cxn>
                <a:cxn ang="0">
                  <a:pos x="T193" y="T195"/>
                </a:cxn>
                <a:cxn ang="0">
                  <a:pos x="T197" y="T199"/>
                </a:cxn>
                <a:cxn ang="0">
                  <a:pos x="T201" y="T203"/>
                </a:cxn>
              </a:cxnLst>
              <a:rect l="0" t="0" r="r" b="b"/>
              <a:pathLst>
                <a:path w="671" h="300">
                  <a:moveTo>
                    <a:pt x="285" y="89"/>
                  </a:moveTo>
                  <a:lnTo>
                    <a:pt x="277" y="53"/>
                  </a:lnTo>
                  <a:lnTo>
                    <a:pt x="257" y="25"/>
                  </a:lnTo>
                  <a:lnTo>
                    <a:pt x="228" y="6"/>
                  </a:lnTo>
                  <a:lnTo>
                    <a:pt x="191" y="0"/>
                  </a:lnTo>
                  <a:lnTo>
                    <a:pt x="117" y="0"/>
                  </a:lnTo>
                  <a:lnTo>
                    <a:pt x="69" y="48"/>
                  </a:lnTo>
                  <a:lnTo>
                    <a:pt x="175" y="48"/>
                  </a:lnTo>
                  <a:lnTo>
                    <a:pt x="194" y="51"/>
                  </a:lnTo>
                  <a:lnTo>
                    <a:pt x="207" y="59"/>
                  </a:lnTo>
                  <a:lnTo>
                    <a:pt x="216" y="72"/>
                  </a:lnTo>
                  <a:lnTo>
                    <a:pt x="218" y="90"/>
                  </a:lnTo>
                  <a:lnTo>
                    <a:pt x="218" y="118"/>
                  </a:lnTo>
                  <a:lnTo>
                    <a:pt x="68" y="118"/>
                  </a:lnTo>
                  <a:lnTo>
                    <a:pt x="68" y="48"/>
                  </a:lnTo>
                  <a:lnTo>
                    <a:pt x="0" y="116"/>
                  </a:lnTo>
                  <a:lnTo>
                    <a:pt x="0" y="204"/>
                  </a:lnTo>
                  <a:lnTo>
                    <a:pt x="7" y="242"/>
                  </a:lnTo>
                  <a:lnTo>
                    <a:pt x="28" y="272"/>
                  </a:lnTo>
                  <a:lnTo>
                    <a:pt x="60" y="292"/>
                  </a:lnTo>
                  <a:lnTo>
                    <a:pt x="103" y="300"/>
                  </a:lnTo>
                  <a:lnTo>
                    <a:pt x="225" y="300"/>
                  </a:lnTo>
                  <a:lnTo>
                    <a:pt x="285" y="241"/>
                  </a:lnTo>
                  <a:lnTo>
                    <a:pt x="285" y="212"/>
                  </a:lnTo>
                  <a:lnTo>
                    <a:pt x="218" y="212"/>
                  </a:lnTo>
                  <a:lnTo>
                    <a:pt x="218" y="216"/>
                  </a:lnTo>
                  <a:lnTo>
                    <a:pt x="215" y="230"/>
                  </a:lnTo>
                  <a:lnTo>
                    <a:pt x="207" y="242"/>
                  </a:lnTo>
                  <a:lnTo>
                    <a:pt x="194" y="249"/>
                  </a:lnTo>
                  <a:lnTo>
                    <a:pt x="178" y="252"/>
                  </a:lnTo>
                  <a:lnTo>
                    <a:pt x="115" y="252"/>
                  </a:lnTo>
                  <a:lnTo>
                    <a:pt x="95" y="249"/>
                  </a:lnTo>
                  <a:lnTo>
                    <a:pt x="80" y="240"/>
                  </a:lnTo>
                  <a:lnTo>
                    <a:pt x="71" y="226"/>
                  </a:lnTo>
                  <a:lnTo>
                    <a:pt x="68" y="207"/>
                  </a:lnTo>
                  <a:lnTo>
                    <a:pt x="68" y="163"/>
                  </a:lnTo>
                  <a:lnTo>
                    <a:pt x="285" y="163"/>
                  </a:lnTo>
                  <a:lnTo>
                    <a:pt x="285" y="89"/>
                  </a:lnTo>
                  <a:close/>
                  <a:moveTo>
                    <a:pt x="670" y="0"/>
                  </a:moveTo>
                  <a:lnTo>
                    <a:pt x="590" y="0"/>
                  </a:lnTo>
                  <a:lnTo>
                    <a:pt x="287" y="300"/>
                  </a:lnTo>
                  <a:lnTo>
                    <a:pt x="367" y="300"/>
                  </a:lnTo>
                  <a:lnTo>
                    <a:pt x="477" y="190"/>
                  </a:lnTo>
                  <a:lnTo>
                    <a:pt x="539" y="256"/>
                  </a:lnTo>
                  <a:lnTo>
                    <a:pt x="546" y="265"/>
                  </a:lnTo>
                  <a:lnTo>
                    <a:pt x="553" y="272"/>
                  </a:lnTo>
                  <a:lnTo>
                    <a:pt x="553" y="300"/>
                  </a:lnTo>
                  <a:lnTo>
                    <a:pt x="630" y="300"/>
                  </a:lnTo>
                  <a:lnTo>
                    <a:pt x="630" y="265"/>
                  </a:lnTo>
                  <a:lnTo>
                    <a:pt x="520" y="148"/>
                  </a:lnTo>
                  <a:lnTo>
                    <a:pt x="670" y="0"/>
                  </a:lnTo>
                  <a:close/>
                </a:path>
              </a:pathLst>
            </a:custGeom>
            <a:solidFill>
              <a:srgbClr val="9FA6BE"/>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65" name="docshape4448">
              <a:extLst>
                <a:ext uri="{FF2B5EF4-FFF2-40B4-BE49-F238E27FC236}">
                  <a16:creationId xmlns:a16="http://schemas.microsoft.com/office/drawing/2014/main" id="{EE1D34E6-FC70-4C9A-A083-67B47C29A093}"/>
                </a:ext>
              </a:extLst>
            </p:cNvPr>
            <p:cNvSpPr>
              <a:spLocks/>
            </p:cNvSpPr>
            <p:nvPr/>
          </p:nvSpPr>
          <p:spPr bwMode="auto">
            <a:xfrm>
              <a:off x="10092" y="-513"/>
              <a:ext cx="142" cy="144"/>
            </a:xfrm>
            <a:custGeom>
              <a:avLst/>
              <a:gdLst>
                <a:gd name="T0" fmla="+- 0 10165 10092"/>
                <a:gd name="T1" fmla="*/ T0 w 142"/>
                <a:gd name="T2" fmla="+- 0 -512 -512"/>
                <a:gd name="T3" fmla="*/ -512 h 144"/>
                <a:gd name="T4" fmla="+- 0 10092 10092"/>
                <a:gd name="T5" fmla="*/ T4 w 142"/>
                <a:gd name="T6" fmla="+- 0 -512 -512"/>
                <a:gd name="T7" fmla="*/ -512 h 144"/>
                <a:gd name="T8" fmla="+- 0 10092 10092"/>
                <a:gd name="T9" fmla="*/ T8 w 142"/>
                <a:gd name="T10" fmla="+- 0 -478 -512"/>
                <a:gd name="T11" fmla="*/ -478 h 144"/>
                <a:gd name="T12" fmla="+- 0 10192 10092"/>
                <a:gd name="T13" fmla="*/ T12 w 142"/>
                <a:gd name="T14" fmla="+- 0 -369 -512"/>
                <a:gd name="T15" fmla="*/ -369 h 144"/>
                <a:gd name="T16" fmla="+- 0 10234 10092"/>
                <a:gd name="T17" fmla="*/ T16 w 142"/>
                <a:gd name="T18" fmla="+- 0 -411 -512"/>
                <a:gd name="T19" fmla="*/ -411 h 144"/>
                <a:gd name="T20" fmla="+- 0 10179 10092"/>
                <a:gd name="T21" fmla="*/ T20 w 142"/>
                <a:gd name="T22" fmla="+- 0 -470 -512"/>
                <a:gd name="T23" fmla="*/ -470 h 144"/>
                <a:gd name="T24" fmla="+- 0 10172 10092"/>
                <a:gd name="T25" fmla="*/ T24 w 142"/>
                <a:gd name="T26" fmla="+- 0 -478 -512"/>
                <a:gd name="T27" fmla="*/ -478 h 144"/>
                <a:gd name="T28" fmla="+- 0 10165 10092"/>
                <a:gd name="T29" fmla="*/ T28 w 142"/>
                <a:gd name="T30" fmla="+- 0 -485 -512"/>
                <a:gd name="T31" fmla="*/ -485 h 144"/>
                <a:gd name="T32" fmla="+- 0 10165 10092"/>
                <a:gd name="T33" fmla="*/ T32 w 142"/>
                <a:gd name="T34" fmla="+- 0 -512 -512"/>
                <a:gd name="T35" fmla="*/ -512 h 144"/>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Lst>
              <a:rect l="0" t="0" r="r" b="b"/>
              <a:pathLst>
                <a:path w="142" h="144">
                  <a:moveTo>
                    <a:pt x="73" y="0"/>
                  </a:moveTo>
                  <a:lnTo>
                    <a:pt x="0" y="0"/>
                  </a:lnTo>
                  <a:lnTo>
                    <a:pt x="0" y="34"/>
                  </a:lnTo>
                  <a:lnTo>
                    <a:pt x="100" y="143"/>
                  </a:lnTo>
                  <a:lnTo>
                    <a:pt x="142" y="101"/>
                  </a:lnTo>
                  <a:lnTo>
                    <a:pt x="87" y="42"/>
                  </a:lnTo>
                  <a:lnTo>
                    <a:pt x="80" y="34"/>
                  </a:lnTo>
                  <a:lnTo>
                    <a:pt x="73" y="27"/>
                  </a:lnTo>
                  <a:lnTo>
                    <a:pt x="73" y="0"/>
                  </a:lnTo>
                  <a:close/>
                </a:path>
              </a:pathLst>
            </a:custGeom>
            <a:solidFill>
              <a:srgbClr val="FAA73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grpSp>
    </p:spTree>
    <p:extLst>
      <p:ext uri="{BB962C8B-B14F-4D97-AF65-F5344CB8AC3E}">
        <p14:creationId xmlns:p14="http://schemas.microsoft.com/office/powerpoint/2010/main" val="251848978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CFBF2-10CC-49FE-8EAA-DD1E9E4CA8C3}"/>
              </a:ext>
            </a:extLst>
          </p:cNvPr>
          <p:cNvSpPr>
            <a:spLocks noGrp="1"/>
          </p:cNvSpPr>
          <p:nvPr>
            <p:ph type="title"/>
          </p:nvPr>
        </p:nvSpPr>
        <p:spPr>
          <a:xfrm>
            <a:off x="469900" y="141327"/>
            <a:ext cx="10964705" cy="6039036"/>
          </a:xfrm>
        </p:spPr>
        <p:txBody>
          <a:bodyPr/>
          <a:lstStyle/>
          <a:p>
            <a:br>
              <a:rPr lang="nl-NL" sz="3200" b="1" dirty="0">
                <a:solidFill>
                  <a:srgbClr val="FF0000"/>
                </a:solidFill>
              </a:rPr>
            </a:br>
            <a:r>
              <a:rPr lang="nl-NL" sz="3200" b="1" dirty="0" err="1">
                <a:solidFill>
                  <a:srgbClr val="FF0000"/>
                </a:solidFill>
              </a:rPr>
              <a:t>R</a:t>
            </a:r>
            <a:r>
              <a:rPr lang="nl-NL" sz="4000" b="1" dirty="0" err="1">
                <a:solidFill>
                  <a:srgbClr val="FF0000"/>
                </a:solidFill>
                <a:latin typeface="Calibri" panose="020F0502020204030204" pitchFamily="34" charset="0"/>
                <a:cs typeface="Calibri" panose="020F0502020204030204" pitchFamily="34" charset="0"/>
              </a:rPr>
              <a:t>é</a:t>
            </a:r>
            <a:r>
              <a:rPr lang="nl-NL" sz="3200" b="1" dirty="0" err="1">
                <a:solidFill>
                  <a:srgbClr val="FF0000"/>
                </a:solidFill>
              </a:rPr>
              <a:t>sultats</a:t>
            </a:r>
            <a:r>
              <a:rPr lang="nl-NL" sz="3200" b="1" dirty="0">
                <a:solidFill>
                  <a:srgbClr val="FF0000"/>
                </a:solidFill>
              </a:rPr>
              <a:t> 6 </a:t>
            </a:r>
            <a:r>
              <a:rPr lang="nl-NL" sz="3200" b="1" dirty="0" err="1">
                <a:solidFill>
                  <a:srgbClr val="FF0000"/>
                </a:solidFill>
              </a:rPr>
              <a:t>mois</a:t>
            </a:r>
            <a:r>
              <a:rPr lang="nl-NL" sz="3200" b="1" dirty="0">
                <a:solidFill>
                  <a:srgbClr val="FF0000"/>
                </a:solidFill>
              </a:rPr>
              <a:t> 2022;</a:t>
            </a:r>
            <a:br>
              <a:rPr lang="nl-NL" sz="3200" b="1" dirty="0">
                <a:solidFill>
                  <a:srgbClr val="FF0000"/>
                </a:solidFill>
              </a:rPr>
            </a:br>
            <a:br>
              <a:rPr lang="nl-NL" sz="3200" b="1" dirty="0">
                <a:solidFill>
                  <a:srgbClr val="FF0000"/>
                </a:solidFill>
              </a:rPr>
            </a:br>
            <a:br>
              <a:rPr lang="nl-NL" sz="2400" dirty="0"/>
            </a:br>
            <a:r>
              <a:rPr lang="nl-NL" sz="2400" dirty="0"/>
              <a:t>                     </a:t>
            </a:r>
            <a:r>
              <a:rPr lang="nl-NL" dirty="0"/>
              <a:t>1H 2022 </a:t>
            </a:r>
            <a:r>
              <a:rPr lang="nl-NL" dirty="0" err="1"/>
              <a:t>vs</a:t>
            </a:r>
            <a:r>
              <a:rPr lang="nl-NL" dirty="0"/>
              <a:t> ‘21; </a:t>
            </a:r>
            <a:r>
              <a:rPr lang="nl-NL" dirty="0" err="1"/>
              <a:t>Membres</a:t>
            </a:r>
            <a:r>
              <a:rPr lang="nl-NL" sz="1800" dirty="0"/>
              <a:t> +46 % &gt; 2,9 </a:t>
            </a:r>
            <a:r>
              <a:rPr lang="nl-NL" sz="1800" dirty="0" err="1"/>
              <a:t>Mio</a:t>
            </a:r>
            <a:r>
              <a:rPr lang="nl-NL" sz="1800" dirty="0"/>
              <a:t>., 107 ouvertures, </a:t>
            </a:r>
            <a:br>
              <a:rPr lang="nl-NL" sz="1800" dirty="0"/>
            </a:br>
            <a:r>
              <a:rPr lang="nl-NL" sz="1800" dirty="0"/>
              <a:t>                                                       CA € 355 </a:t>
            </a:r>
            <a:r>
              <a:rPr lang="nl-NL" sz="1800" dirty="0" err="1"/>
              <a:t>Mio</a:t>
            </a:r>
            <a:r>
              <a:rPr lang="nl-NL" sz="1800" dirty="0"/>
              <a:t>. ( ’21 ; 53 </a:t>
            </a:r>
            <a:r>
              <a:rPr lang="nl-NL" sz="1800" dirty="0" err="1"/>
              <a:t>Mio</a:t>
            </a:r>
            <a:r>
              <a:rPr lang="nl-NL" sz="1800" dirty="0"/>
              <a:t>. )</a:t>
            </a:r>
            <a:br>
              <a:rPr lang="nl-NL" sz="1800" dirty="0"/>
            </a:br>
            <a:br>
              <a:rPr lang="nl-NL" dirty="0"/>
            </a:br>
            <a:br>
              <a:rPr lang="nl-NL" dirty="0"/>
            </a:br>
            <a:r>
              <a:rPr lang="nl-NL" dirty="0"/>
              <a:t> </a:t>
            </a:r>
            <a:br>
              <a:rPr lang="nl-NL" sz="1800" dirty="0"/>
            </a:br>
            <a:r>
              <a:rPr lang="nl-NL" dirty="0"/>
              <a:t> </a:t>
            </a:r>
            <a:r>
              <a:rPr lang="nl-NL" sz="2400" i="1" dirty="0">
                <a:latin typeface="Calibri" panose="020F0502020204030204" pitchFamily="34" charset="0"/>
                <a:cs typeface="Calibri" panose="020F0502020204030204" pitchFamily="34" charset="0"/>
              </a:rPr>
              <a:t>CA Q2 119 </a:t>
            </a:r>
            <a:r>
              <a:rPr lang="nl-NL" sz="2400" i="1" dirty="0" err="1">
                <a:latin typeface="Calibri" panose="020F0502020204030204" pitchFamily="34" charset="0"/>
                <a:cs typeface="Calibri" panose="020F0502020204030204" pitchFamily="34" charset="0"/>
              </a:rPr>
              <a:t>Mio</a:t>
            </a:r>
            <a:r>
              <a:rPr lang="nl-NL" sz="2400" i="1" dirty="0">
                <a:latin typeface="Calibri" panose="020F0502020204030204" pitchFamily="34" charset="0"/>
                <a:cs typeface="Calibri" panose="020F0502020204030204" pitchFamily="34" charset="0"/>
              </a:rPr>
              <a:t>. £  + 8 % </a:t>
            </a:r>
            <a:r>
              <a:rPr lang="nl-NL" sz="2400" i="1" dirty="0" err="1">
                <a:latin typeface="Calibri" panose="020F0502020204030204" pitchFamily="34" charset="0"/>
                <a:cs typeface="Calibri" panose="020F0502020204030204" pitchFamily="34" charset="0"/>
              </a:rPr>
              <a:t>vs</a:t>
            </a:r>
            <a:r>
              <a:rPr lang="nl-NL" sz="2400" i="1" dirty="0">
                <a:latin typeface="Calibri" panose="020F0502020204030204" pitchFamily="34" charset="0"/>
                <a:cs typeface="Calibri" panose="020F0502020204030204" pitchFamily="34" charset="0"/>
              </a:rPr>
              <a:t>  ’21                                  525 clubs  </a:t>
            </a:r>
            <a:r>
              <a:rPr lang="nl-NL" sz="2400" i="1" dirty="0" err="1">
                <a:latin typeface="Calibri" panose="020F0502020204030204" pitchFamily="34" charset="0"/>
                <a:cs typeface="Calibri" panose="020F0502020204030204" pitchFamily="34" charset="0"/>
              </a:rPr>
              <a:t>vs</a:t>
            </a:r>
            <a:r>
              <a:rPr lang="nl-NL" sz="2400" i="1" dirty="0">
                <a:latin typeface="Calibri" panose="020F0502020204030204" pitchFamily="34" charset="0"/>
                <a:cs typeface="Calibri" panose="020F0502020204030204" pitchFamily="34" charset="0"/>
              </a:rPr>
              <a:t> 454 en 2019</a:t>
            </a:r>
            <a:br>
              <a:rPr lang="nl-NL" sz="2400" i="1" dirty="0">
                <a:latin typeface="Calibri" panose="020F0502020204030204" pitchFamily="34" charset="0"/>
                <a:cs typeface="Calibri" panose="020F0502020204030204" pitchFamily="34" charset="0"/>
              </a:rPr>
            </a:br>
            <a:r>
              <a:rPr lang="nl-NL" sz="2400" i="1" dirty="0">
                <a:latin typeface="Calibri" panose="020F0502020204030204" pitchFamily="34" charset="0"/>
                <a:cs typeface="Calibri" panose="020F0502020204030204" pitchFamily="34" charset="0"/>
              </a:rPr>
              <a:t> 1,7 </a:t>
            </a:r>
            <a:r>
              <a:rPr lang="nl-NL" sz="2400" i="1" dirty="0" err="1">
                <a:latin typeface="Calibri" panose="020F0502020204030204" pitchFamily="34" charset="0"/>
                <a:cs typeface="Calibri" panose="020F0502020204030204" pitchFamily="34" charset="0"/>
              </a:rPr>
              <a:t>Million</a:t>
            </a:r>
            <a:r>
              <a:rPr lang="nl-NL" sz="2400" i="1" dirty="0">
                <a:latin typeface="Calibri" panose="020F0502020204030204" pitchFamily="34" charset="0"/>
                <a:cs typeface="Calibri" panose="020F0502020204030204" pitchFamily="34" charset="0"/>
              </a:rPr>
              <a:t> </a:t>
            </a:r>
            <a:r>
              <a:rPr lang="nl-NL" sz="2400" i="1" dirty="0" err="1">
                <a:latin typeface="Calibri" panose="020F0502020204030204" pitchFamily="34" charset="0"/>
                <a:cs typeface="Calibri" panose="020F0502020204030204" pitchFamily="34" charset="0"/>
              </a:rPr>
              <a:t>membres</a:t>
            </a:r>
            <a:r>
              <a:rPr lang="nl-NL" sz="2400" i="1" dirty="0">
                <a:latin typeface="Calibri" panose="020F0502020204030204" pitchFamily="34" charset="0"/>
                <a:cs typeface="Calibri" panose="020F0502020204030204" pitchFamily="34" charset="0"/>
              </a:rPr>
              <a:t>, comme pre-Corona  </a:t>
            </a:r>
            <a:br>
              <a:rPr lang="nl-NL" sz="2400" i="1" dirty="0">
                <a:latin typeface="Calibri" panose="020F0502020204030204" pitchFamily="34" charset="0"/>
                <a:cs typeface="Calibri" panose="020F0502020204030204" pitchFamily="34" charset="0"/>
              </a:rPr>
            </a:br>
            <a:br>
              <a:rPr lang="nl-NL" sz="2400" i="1" dirty="0">
                <a:latin typeface="Calibri" panose="020F0502020204030204" pitchFamily="34" charset="0"/>
                <a:cs typeface="Calibri" panose="020F0502020204030204" pitchFamily="34" charset="0"/>
              </a:rPr>
            </a:br>
            <a:br>
              <a:rPr lang="nl-NL" sz="2400" i="1" dirty="0">
                <a:latin typeface="Calibri" panose="020F0502020204030204" pitchFamily="34" charset="0"/>
                <a:cs typeface="Calibri" panose="020F0502020204030204" pitchFamily="34" charset="0"/>
              </a:rPr>
            </a:br>
            <a:br>
              <a:rPr lang="nl-NL" sz="2400" i="1" dirty="0">
                <a:latin typeface="Calibri" panose="020F0502020204030204" pitchFamily="34" charset="0"/>
                <a:cs typeface="Calibri" panose="020F0502020204030204" pitchFamily="34" charset="0"/>
              </a:rPr>
            </a:br>
            <a:r>
              <a:rPr lang="nl-NL" sz="2400" i="1" dirty="0">
                <a:latin typeface="Calibri" panose="020F0502020204030204" pitchFamily="34" charset="0"/>
                <a:cs typeface="Calibri" panose="020F0502020204030204" pitchFamily="34" charset="0"/>
              </a:rPr>
              <a:t>                             Q2 </a:t>
            </a:r>
            <a:r>
              <a:rPr lang="nl-NL" sz="2400" i="1" dirty="0" err="1">
                <a:latin typeface="Calibri" panose="020F0502020204030204" pitchFamily="34" charset="0"/>
                <a:cs typeface="Calibri" panose="020F0502020204030204" pitchFamily="34" charset="0"/>
              </a:rPr>
              <a:t>Mbrs</a:t>
            </a:r>
            <a:r>
              <a:rPr lang="nl-NL" sz="2400" i="1" dirty="0">
                <a:latin typeface="Calibri" panose="020F0502020204030204" pitchFamily="34" charset="0"/>
                <a:cs typeface="Calibri" panose="020F0502020204030204" pitchFamily="34" charset="0"/>
              </a:rPr>
              <a:t>. 671.000, + 10 %;   CA + 53 %;  clubs 267 ( + 13)</a:t>
            </a:r>
            <a:endParaRPr lang="nl-NL" i="1" dirty="0"/>
          </a:p>
        </p:txBody>
      </p:sp>
      <p:pic>
        <p:nvPicPr>
          <p:cNvPr id="3" name="Picture 10">
            <a:extLst>
              <a:ext uri="{FF2B5EF4-FFF2-40B4-BE49-F238E27FC236}">
                <a16:creationId xmlns:a16="http://schemas.microsoft.com/office/drawing/2014/main" id="{16FBF645-5D35-1D64-2F7A-5FB2E9DC1C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688" y="1841287"/>
            <a:ext cx="2124424" cy="610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4" descr="De bronafbeelding bekijken">
            <a:extLst>
              <a:ext uri="{FF2B5EF4-FFF2-40B4-BE49-F238E27FC236}">
                <a16:creationId xmlns:a16="http://schemas.microsoft.com/office/drawing/2014/main" id="{4843E58A-B626-0E81-E0ED-C557712344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1270" y="3019652"/>
            <a:ext cx="1979609" cy="94229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De bronafbeelding bekijken">
            <a:extLst>
              <a:ext uri="{FF2B5EF4-FFF2-40B4-BE49-F238E27FC236}">
                <a16:creationId xmlns:a16="http://schemas.microsoft.com/office/drawing/2014/main" id="{4C1CD194-ADE0-5A87-0707-3BC9FE2590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9900" y="5016713"/>
            <a:ext cx="1866946" cy="968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03689"/>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CFBF2-10CC-49FE-8EAA-DD1E9E4CA8C3}"/>
              </a:ext>
            </a:extLst>
          </p:cNvPr>
          <p:cNvSpPr>
            <a:spLocks noGrp="1"/>
          </p:cNvSpPr>
          <p:nvPr>
            <p:ph type="title"/>
          </p:nvPr>
        </p:nvSpPr>
        <p:spPr>
          <a:xfrm>
            <a:off x="469899" y="423457"/>
            <a:ext cx="11734421" cy="5756906"/>
          </a:xfrm>
        </p:spPr>
        <p:txBody>
          <a:bodyPr/>
          <a:lstStyle/>
          <a:p>
            <a:r>
              <a:rPr lang="nl-NL" sz="3200" b="1" dirty="0" err="1">
                <a:solidFill>
                  <a:srgbClr val="FF0000"/>
                </a:solidFill>
              </a:rPr>
              <a:t>R</a:t>
            </a:r>
            <a:r>
              <a:rPr lang="nl-NL" sz="4000" b="1" dirty="0" err="1">
                <a:solidFill>
                  <a:srgbClr val="FF0000"/>
                </a:solidFill>
                <a:latin typeface="Calibri" panose="020F0502020204030204" pitchFamily="34" charset="0"/>
                <a:cs typeface="Calibri" panose="020F0502020204030204" pitchFamily="34" charset="0"/>
              </a:rPr>
              <a:t>é</a:t>
            </a:r>
            <a:r>
              <a:rPr lang="nl-NL" sz="3200" b="1" dirty="0" err="1">
                <a:solidFill>
                  <a:srgbClr val="FF0000"/>
                </a:solidFill>
              </a:rPr>
              <a:t>sultats</a:t>
            </a:r>
            <a:r>
              <a:rPr lang="nl-NL" sz="3200" b="1" dirty="0">
                <a:solidFill>
                  <a:srgbClr val="FF0000"/>
                </a:solidFill>
              </a:rPr>
              <a:t> 6 </a:t>
            </a:r>
            <a:r>
              <a:rPr lang="nl-NL" sz="3200" b="1" dirty="0" err="1">
                <a:solidFill>
                  <a:srgbClr val="FF0000"/>
                </a:solidFill>
              </a:rPr>
              <a:t>mois</a:t>
            </a:r>
            <a:r>
              <a:rPr lang="nl-NL" sz="3200" b="1" dirty="0">
                <a:solidFill>
                  <a:srgbClr val="FF0000"/>
                </a:solidFill>
              </a:rPr>
              <a:t> 2022;</a:t>
            </a:r>
            <a:br>
              <a:rPr lang="nl-NL" sz="3200" b="1" dirty="0">
                <a:solidFill>
                  <a:srgbClr val="FF0000"/>
                </a:solidFill>
              </a:rPr>
            </a:br>
            <a:br>
              <a:rPr lang="nl-NL" sz="3200" b="1" dirty="0">
                <a:solidFill>
                  <a:srgbClr val="FF0000"/>
                </a:solidFill>
              </a:rPr>
            </a:br>
            <a:br>
              <a:rPr lang="nl-NL" sz="2400" dirty="0"/>
            </a:br>
            <a:r>
              <a:rPr lang="nl-NL" sz="2400" dirty="0"/>
              <a:t>                    1H 2022 </a:t>
            </a:r>
            <a:r>
              <a:rPr lang="nl-NL" sz="2400" dirty="0" err="1"/>
              <a:t>vs</a:t>
            </a:r>
            <a:r>
              <a:rPr lang="nl-NL" sz="2400" dirty="0"/>
              <a:t> ‘21;    </a:t>
            </a:r>
            <a:r>
              <a:rPr lang="nl-NL" dirty="0" err="1"/>
              <a:t>Membres</a:t>
            </a:r>
            <a:r>
              <a:rPr lang="nl-NL" dirty="0"/>
              <a:t> +10 % ;  790.000  </a:t>
            </a:r>
            <a:br>
              <a:rPr lang="nl-NL" dirty="0"/>
            </a:br>
            <a:r>
              <a:rPr lang="nl-NL" dirty="0"/>
              <a:t>                                                         90 % </a:t>
            </a:r>
            <a:r>
              <a:rPr lang="nl-NL" dirty="0" err="1"/>
              <a:t>vs</a:t>
            </a:r>
            <a:r>
              <a:rPr lang="nl-NL" dirty="0"/>
              <a:t> 2019</a:t>
            </a:r>
            <a:br>
              <a:rPr lang="nl-NL" dirty="0"/>
            </a:br>
            <a:r>
              <a:rPr lang="nl-NL" dirty="0"/>
              <a:t>                                                         CA 84,2 </a:t>
            </a:r>
            <a:r>
              <a:rPr lang="nl-NL" dirty="0" err="1"/>
              <a:t>millions</a:t>
            </a:r>
            <a:r>
              <a:rPr lang="nl-NL" dirty="0"/>
              <a:t> </a:t>
            </a:r>
            <a:r>
              <a:rPr lang="nl-NL" dirty="0" err="1"/>
              <a:t>livres</a:t>
            </a:r>
            <a:r>
              <a:rPr lang="nl-NL" dirty="0"/>
              <a:t> sterling ( + 187 %)</a:t>
            </a:r>
            <a:br>
              <a:rPr lang="nl-NL" dirty="0"/>
            </a:br>
            <a:r>
              <a:rPr lang="nl-NL" dirty="0"/>
              <a:t>                                                         CA </a:t>
            </a:r>
            <a:r>
              <a:rPr lang="nl-NL" dirty="0" err="1"/>
              <a:t>comparable</a:t>
            </a:r>
            <a:r>
              <a:rPr lang="nl-NL" dirty="0"/>
              <a:t> 2019 fin 2022</a:t>
            </a:r>
            <a:br>
              <a:rPr lang="nl-NL" dirty="0"/>
            </a:br>
            <a:r>
              <a:rPr lang="nl-NL" dirty="0"/>
              <a:t>                                                          </a:t>
            </a:r>
            <a:br>
              <a:rPr lang="nl-NL" dirty="0"/>
            </a:br>
            <a:r>
              <a:rPr lang="nl-NL" dirty="0"/>
              <a:t>                                                         </a:t>
            </a:r>
            <a:br>
              <a:rPr lang="nl-NL" dirty="0"/>
            </a:br>
            <a:br>
              <a:rPr lang="nl-NL" dirty="0"/>
            </a:br>
            <a:r>
              <a:rPr lang="nl-NL" dirty="0"/>
              <a:t>                        </a:t>
            </a:r>
            <a:r>
              <a:rPr lang="nl-NL" i="1" dirty="0"/>
              <a:t>Fin Juin 2022; CA + 13,6 </a:t>
            </a:r>
            <a:r>
              <a:rPr lang="nl-NL" i="1" dirty="0" err="1"/>
              <a:t>vs</a:t>
            </a:r>
            <a:r>
              <a:rPr lang="nl-NL" i="1" dirty="0"/>
              <a:t> 2021 ; </a:t>
            </a:r>
            <a:r>
              <a:rPr lang="nl-NL" i="1" dirty="0" err="1"/>
              <a:t>Membres</a:t>
            </a:r>
            <a:r>
              <a:rPr lang="nl-NL" i="1" dirty="0"/>
              <a:t> 16,1 </a:t>
            </a:r>
            <a:r>
              <a:rPr lang="nl-NL" i="1" dirty="0" err="1"/>
              <a:t>Millions</a:t>
            </a:r>
            <a:r>
              <a:rPr lang="nl-NL" i="1" dirty="0"/>
              <a:t>, comme pre Corona</a:t>
            </a:r>
            <a:br>
              <a:rPr lang="nl-NL" dirty="0"/>
            </a:br>
            <a:r>
              <a:rPr lang="nl-NL" dirty="0"/>
              <a:t>                         </a:t>
            </a:r>
            <a:br>
              <a:rPr lang="nl-NL" sz="1800" dirty="0"/>
            </a:br>
            <a:r>
              <a:rPr lang="nl-NL" dirty="0"/>
              <a:t>      </a:t>
            </a:r>
            <a:br>
              <a:rPr lang="nl-NL" sz="1400" i="1" dirty="0"/>
            </a:br>
            <a:r>
              <a:rPr lang="nl-NL" sz="1400" i="1" dirty="0"/>
              <a:t>                                   </a:t>
            </a:r>
            <a:br>
              <a:rPr lang="nl-NL" sz="2800" i="1" dirty="0">
                <a:latin typeface="Calibri" panose="020F0502020204030204" pitchFamily="34" charset="0"/>
                <a:cs typeface="Calibri" panose="020F0502020204030204" pitchFamily="34" charset="0"/>
              </a:rPr>
            </a:br>
            <a:r>
              <a:rPr lang="nl-NL" sz="2800" i="1" dirty="0">
                <a:latin typeface="Calibri" panose="020F0502020204030204" pitchFamily="34" charset="0"/>
                <a:cs typeface="Calibri" panose="020F0502020204030204" pitchFamily="34" charset="0"/>
              </a:rPr>
              <a:t>                          CA 98 %  pre-Corona, </a:t>
            </a:r>
            <a:r>
              <a:rPr lang="nl-NL" sz="2800" i="1" dirty="0" err="1">
                <a:latin typeface="Calibri" panose="020F0502020204030204" pitchFamily="34" charset="0"/>
                <a:cs typeface="Calibri" panose="020F0502020204030204" pitchFamily="34" charset="0"/>
              </a:rPr>
              <a:t>membres</a:t>
            </a:r>
            <a:r>
              <a:rPr lang="nl-NL" sz="2800" i="1" dirty="0">
                <a:latin typeface="Calibri" panose="020F0502020204030204" pitchFamily="34" charset="0"/>
                <a:cs typeface="Calibri" panose="020F0502020204030204" pitchFamily="34" charset="0"/>
              </a:rPr>
              <a:t> 86 % pre Corona ;  3,1 </a:t>
            </a:r>
            <a:r>
              <a:rPr lang="nl-NL" sz="2800" i="1" dirty="0" err="1">
                <a:latin typeface="Calibri" panose="020F0502020204030204" pitchFamily="34" charset="0"/>
                <a:cs typeface="Calibri" panose="020F0502020204030204" pitchFamily="34" charset="0"/>
              </a:rPr>
              <a:t>Mio</a:t>
            </a:r>
            <a:r>
              <a:rPr lang="nl-NL" sz="2800" i="1" dirty="0">
                <a:latin typeface="Calibri" panose="020F0502020204030204" pitchFamily="34" charset="0"/>
                <a:cs typeface="Calibri" panose="020F0502020204030204" pitchFamily="34" charset="0"/>
              </a:rPr>
              <a:t>.</a:t>
            </a:r>
            <a:br>
              <a:rPr lang="nl-NL" sz="3600" i="1" dirty="0">
                <a:latin typeface="Calibri" panose="020F0502020204030204" pitchFamily="34" charset="0"/>
                <a:cs typeface="Calibri" panose="020F0502020204030204" pitchFamily="34" charset="0"/>
              </a:rPr>
            </a:br>
            <a:br>
              <a:rPr lang="nl-NL" sz="2800" i="1" dirty="0">
                <a:latin typeface="Calibri" panose="020F0502020204030204" pitchFamily="34" charset="0"/>
                <a:cs typeface="Calibri" panose="020F0502020204030204" pitchFamily="34" charset="0"/>
              </a:rPr>
            </a:br>
            <a:r>
              <a:rPr lang="nl-NL" sz="2800" i="1" dirty="0">
                <a:latin typeface="Calibri" panose="020F0502020204030204" pitchFamily="34" charset="0"/>
                <a:cs typeface="Calibri" panose="020F0502020204030204" pitchFamily="34" charset="0"/>
              </a:rPr>
              <a:t>                           </a:t>
            </a:r>
            <a:br>
              <a:rPr lang="nl-NL" sz="2400" i="1" dirty="0">
                <a:latin typeface="Calibri" panose="020F0502020204030204" pitchFamily="34" charset="0"/>
                <a:cs typeface="Calibri" panose="020F0502020204030204" pitchFamily="34" charset="0"/>
              </a:rPr>
            </a:br>
            <a:r>
              <a:rPr lang="nl-NL" sz="2400" i="1" dirty="0">
                <a:latin typeface="Calibri" panose="020F0502020204030204" pitchFamily="34" charset="0"/>
                <a:cs typeface="Calibri" panose="020F0502020204030204" pitchFamily="34" charset="0"/>
              </a:rPr>
              <a:t>                              </a:t>
            </a:r>
            <a:endParaRPr lang="nl-NL" i="1" dirty="0"/>
          </a:p>
        </p:txBody>
      </p:sp>
      <p:sp>
        <p:nvSpPr>
          <p:cNvPr id="9" name="Titel 1">
            <a:extLst>
              <a:ext uri="{FF2B5EF4-FFF2-40B4-BE49-F238E27FC236}">
                <a16:creationId xmlns:a16="http://schemas.microsoft.com/office/drawing/2014/main" id="{09CEF91A-8F09-F347-F429-B2559E75F03E}"/>
              </a:ext>
            </a:extLst>
          </p:cNvPr>
          <p:cNvSpPr txBox="1">
            <a:spLocks/>
          </p:cNvSpPr>
          <p:nvPr/>
        </p:nvSpPr>
        <p:spPr bwMode="gray">
          <a:xfrm>
            <a:off x="-1807936" y="1233466"/>
            <a:ext cx="399463" cy="1379104"/>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bg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br>
              <a:rPr kumimoji="0" lang="nl-NL" sz="3200" b="1" i="0" u="none" strike="noStrike" kern="1200" cap="none" spc="0" normalizeH="0" baseline="0" noProof="0" dirty="0">
                <a:ln>
                  <a:noFill/>
                </a:ln>
                <a:solidFill>
                  <a:srgbClr val="FF0000"/>
                </a:solidFill>
                <a:effectLst/>
                <a:uLnTx/>
                <a:uFillTx/>
                <a:latin typeface="Verdana"/>
                <a:ea typeface="+mj-ea"/>
                <a:cs typeface="+mj-cs"/>
              </a:rPr>
            </a:br>
            <a:br>
              <a:rPr kumimoji="0" lang="nl-NL" sz="3200" b="1" i="0" u="none" strike="noStrike" kern="1200" cap="none" spc="0" normalizeH="0" baseline="0" noProof="0" dirty="0">
                <a:ln>
                  <a:noFill/>
                </a:ln>
                <a:solidFill>
                  <a:srgbClr val="FF0000"/>
                </a:solidFill>
                <a:effectLst/>
                <a:uLnTx/>
                <a:uFillTx/>
                <a:latin typeface="Verdana"/>
                <a:ea typeface="+mj-ea"/>
                <a:cs typeface="+mj-cs"/>
              </a:rPr>
            </a:br>
            <a:br>
              <a:rPr kumimoji="0" lang="nl-NL" sz="2400" b="0" i="0" u="none" strike="noStrike" kern="1200" cap="none" spc="0" normalizeH="0" baseline="0" noProof="0" dirty="0">
                <a:ln>
                  <a:noFill/>
                </a:ln>
                <a:solidFill>
                  <a:prstClr val="white"/>
                </a:solidFill>
                <a:effectLst/>
                <a:uLnTx/>
                <a:uFillTx/>
                <a:latin typeface="Verdana"/>
                <a:ea typeface="+mj-ea"/>
                <a:cs typeface="+mj-cs"/>
              </a:rPr>
            </a:br>
            <a:r>
              <a:rPr kumimoji="0" lang="nl-NL" sz="2400" b="0" i="0" u="none" strike="noStrike" kern="1200" cap="none" spc="0" normalizeH="0" baseline="0" noProof="0" dirty="0">
                <a:ln>
                  <a:noFill/>
                </a:ln>
                <a:solidFill>
                  <a:prstClr val="white"/>
                </a:solidFill>
                <a:effectLst/>
                <a:uLnTx/>
                <a:uFillTx/>
                <a:latin typeface="Verdana"/>
                <a:ea typeface="+mj-ea"/>
                <a:cs typeface="+mj-cs"/>
              </a:rPr>
              <a:t>                 </a:t>
            </a:r>
            <a:r>
              <a:rPr kumimoji="0" lang="nl-NL" sz="2000" b="0" i="0" u="none" strike="noStrike" kern="1200" cap="none" spc="0" normalizeH="0" baseline="0" noProof="0" dirty="0">
                <a:ln>
                  <a:noFill/>
                </a:ln>
                <a:solidFill>
                  <a:prstClr val="white"/>
                </a:solidFill>
                <a:effectLst/>
                <a:uLnTx/>
                <a:uFillTx/>
                <a:latin typeface="Verdana"/>
                <a:ea typeface="+mj-ea"/>
                <a:cs typeface="+mj-cs"/>
              </a:rPr>
              <a:t> </a:t>
            </a:r>
            <a:br>
              <a:rPr kumimoji="0" lang="nl-NL" sz="2000" b="0" i="0" u="none" strike="noStrike" kern="1200" cap="none" spc="0" normalizeH="0" baseline="0" noProof="0" dirty="0">
                <a:ln>
                  <a:noFill/>
                </a:ln>
                <a:solidFill>
                  <a:prstClr val="white"/>
                </a:solidFill>
                <a:effectLst/>
                <a:uLnTx/>
                <a:uFillTx/>
                <a:latin typeface="Verdana"/>
                <a:ea typeface="+mj-ea"/>
                <a:cs typeface="+mj-cs"/>
              </a:rPr>
            </a:br>
            <a:r>
              <a:rPr kumimoji="0" lang="nl-NL" sz="2000" b="0" i="0" u="none" strike="noStrike" kern="1200" cap="none" spc="0" normalizeH="0" baseline="0" noProof="0" dirty="0">
                <a:ln>
                  <a:noFill/>
                </a:ln>
                <a:solidFill>
                  <a:prstClr val="white"/>
                </a:solidFill>
                <a:effectLst/>
                <a:uLnTx/>
                <a:uFillTx/>
                <a:latin typeface="Verdana"/>
                <a:ea typeface="+mj-ea"/>
                <a:cs typeface="+mj-cs"/>
              </a:rPr>
              <a:t>                                                       </a:t>
            </a:r>
            <a:br>
              <a:rPr kumimoji="0" lang="nl-NL" sz="2000" b="0" i="0" u="none" strike="noStrike" kern="1200" cap="none" spc="0" normalizeH="0" baseline="0" noProof="0" dirty="0">
                <a:ln>
                  <a:noFill/>
                </a:ln>
                <a:solidFill>
                  <a:prstClr val="white"/>
                </a:solidFill>
                <a:effectLst/>
                <a:uLnTx/>
                <a:uFillTx/>
                <a:latin typeface="Verdana"/>
                <a:ea typeface="+mj-ea"/>
                <a:cs typeface="+mj-cs"/>
              </a:rPr>
            </a:br>
            <a:br>
              <a:rPr kumimoji="0" lang="nl-NL" sz="2000" b="0" i="0" u="none" strike="noStrike" kern="1200" cap="none" spc="0" normalizeH="0" baseline="0" noProof="0" dirty="0">
                <a:ln>
                  <a:noFill/>
                </a:ln>
                <a:solidFill>
                  <a:prstClr val="white"/>
                </a:solidFill>
                <a:effectLst/>
                <a:uLnTx/>
                <a:uFillTx/>
                <a:latin typeface="Verdana"/>
                <a:ea typeface="+mj-ea"/>
                <a:cs typeface="+mj-cs"/>
              </a:rPr>
            </a:br>
            <a:br>
              <a:rPr kumimoji="0" lang="nl-NL" sz="2000" b="0" i="0" u="none" strike="noStrike" kern="1200" cap="none" spc="0" normalizeH="0" baseline="0" noProof="0" dirty="0">
                <a:ln>
                  <a:noFill/>
                </a:ln>
                <a:solidFill>
                  <a:prstClr val="white"/>
                </a:solidFill>
                <a:effectLst/>
                <a:uLnTx/>
                <a:uFillTx/>
                <a:latin typeface="Verdana"/>
                <a:ea typeface="+mj-ea"/>
                <a:cs typeface="+mj-cs"/>
              </a:rPr>
            </a:br>
            <a:r>
              <a:rPr kumimoji="0" lang="nl-NL" sz="2000" b="0" i="0" u="none" strike="noStrike" kern="1200" cap="none" spc="0" normalizeH="0" baseline="0" noProof="0" dirty="0">
                <a:ln>
                  <a:noFill/>
                </a:ln>
                <a:solidFill>
                  <a:prstClr val="white"/>
                </a:solidFill>
                <a:effectLst/>
                <a:uLnTx/>
                <a:uFillTx/>
                <a:latin typeface="Verdana"/>
                <a:ea typeface="+mj-ea"/>
                <a:cs typeface="+mj-cs"/>
              </a:rPr>
              <a:t> </a:t>
            </a:r>
            <a:br>
              <a:rPr kumimoji="0" lang="nl-NL" sz="1800" b="0" i="0" u="none" strike="noStrike" kern="1200" cap="none" spc="0" normalizeH="0" baseline="0" noProof="0" dirty="0">
                <a:ln>
                  <a:noFill/>
                </a:ln>
                <a:solidFill>
                  <a:prstClr val="white"/>
                </a:solidFill>
                <a:effectLst/>
                <a:uLnTx/>
                <a:uFillTx/>
                <a:latin typeface="Verdana"/>
                <a:ea typeface="+mj-ea"/>
                <a:cs typeface="+mj-cs"/>
              </a:rPr>
            </a:br>
            <a:r>
              <a:rPr kumimoji="0" lang="nl-NL" sz="2000" b="0" i="0" u="none" strike="noStrike" kern="1200" cap="none" spc="0" normalizeH="0" baseline="0" noProof="0" dirty="0">
                <a:ln>
                  <a:noFill/>
                </a:ln>
                <a:solidFill>
                  <a:prstClr val="white"/>
                </a:solidFill>
                <a:effectLst/>
                <a:uLnTx/>
                <a:uFillTx/>
                <a:latin typeface="Verdana"/>
                <a:ea typeface="+mj-ea"/>
                <a:cs typeface="+mj-cs"/>
              </a:rPr>
              <a:t>      </a:t>
            </a:r>
            <a:br>
              <a:rPr kumimoji="0" lang="nl-NL" sz="1050" b="0" i="1" u="none" strike="noStrike" kern="1200" cap="none" spc="0" normalizeH="0" baseline="0" noProof="0" dirty="0">
                <a:ln>
                  <a:noFill/>
                </a:ln>
                <a:solidFill>
                  <a:prstClr val="white"/>
                </a:solidFill>
                <a:effectLst/>
                <a:uLnTx/>
                <a:uFillTx/>
                <a:latin typeface="Verdana"/>
                <a:ea typeface="+mj-ea"/>
                <a:cs typeface="+mj-cs"/>
              </a:rPr>
            </a:br>
            <a:br>
              <a:rPr kumimoji="0" lang="nl-NL" sz="2400" b="0" i="1"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br>
            <a:br>
              <a:rPr kumimoji="0" lang="nl-NL" sz="2400" b="0" i="1"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br>
            <a:br>
              <a:rPr kumimoji="0" lang="nl-NL" sz="2400" b="0" i="1"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br>
            <a:r>
              <a:rPr kumimoji="0" lang="nl-NL" sz="2400" b="0" i="1"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                          </a:t>
            </a:r>
            <a:endParaRPr kumimoji="0" lang="nl-NL" sz="2000" b="0" i="1" u="none" strike="noStrike" kern="1200" cap="none" spc="0" normalizeH="0" baseline="0" noProof="0" dirty="0">
              <a:ln>
                <a:noFill/>
              </a:ln>
              <a:solidFill>
                <a:prstClr val="white"/>
              </a:solidFill>
              <a:effectLst/>
              <a:uLnTx/>
              <a:uFillTx/>
              <a:latin typeface="Verdana"/>
              <a:ea typeface="+mj-ea"/>
              <a:cs typeface="+mj-cs"/>
            </a:endParaRPr>
          </a:p>
        </p:txBody>
      </p:sp>
      <p:pic>
        <p:nvPicPr>
          <p:cNvPr id="11" name="Picture 2" descr="De bronafbeelding bekijken">
            <a:extLst>
              <a:ext uri="{FF2B5EF4-FFF2-40B4-BE49-F238E27FC236}">
                <a16:creationId xmlns:a16="http://schemas.microsoft.com/office/drawing/2014/main" id="{AF48DFB3-D56F-06CD-CCBB-4161F31ADF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3490" y="1600200"/>
            <a:ext cx="1320824" cy="1280432"/>
          </a:xfrm>
          <a:prstGeom prst="rect">
            <a:avLst/>
          </a:prstGeom>
          <a:noFill/>
          <a:extLst>
            <a:ext uri="{909E8E84-426E-40DD-AFC4-6F175D3DCCD1}">
              <a14:hiddenFill xmlns:a14="http://schemas.microsoft.com/office/drawing/2010/main">
                <a:solidFill>
                  <a:srgbClr val="FFFFFF"/>
                </a:solidFill>
              </a14:hiddenFill>
            </a:ext>
          </a:extLst>
        </p:spPr>
      </p:pic>
      <p:sp>
        <p:nvSpPr>
          <p:cNvPr id="13" name="Titel 1">
            <a:extLst>
              <a:ext uri="{FF2B5EF4-FFF2-40B4-BE49-F238E27FC236}">
                <a16:creationId xmlns:a16="http://schemas.microsoft.com/office/drawing/2014/main" id="{975A9C05-15AF-97A0-EF6D-0CE531637280}"/>
              </a:ext>
            </a:extLst>
          </p:cNvPr>
          <p:cNvSpPr txBox="1">
            <a:spLocks/>
          </p:cNvSpPr>
          <p:nvPr/>
        </p:nvSpPr>
        <p:spPr bwMode="gray">
          <a:xfrm>
            <a:off x="469899" y="5282293"/>
            <a:ext cx="1187451" cy="89806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bg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br>
              <a:rPr kumimoji="0" lang="nl-NL" sz="3200" b="1" i="0" u="none" strike="noStrike" kern="1200" cap="none" spc="0" normalizeH="0" baseline="0" noProof="0" dirty="0">
                <a:ln>
                  <a:noFill/>
                </a:ln>
                <a:solidFill>
                  <a:srgbClr val="FF0000"/>
                </a:solidFill>
                <a:effectLst/>
                <a:uLnTx/>
                <a:uFillTx/>
                <a:latin typeface="Verdana"/>
                <a:ea typeface="+mj-ea"/>
                <a:cs typeface="+mj-cs"/>
              </a:rPr>
            </a:br>
            <a:br>
              <a:rPr kumimoji="0" lang="nl-NL" sz="3200" b="1" i="0" u="none" strike="noStrike" kern="1200" cap="none" spc="0" normalizeH="0" baseline="0" noProof="0" dirty="0">
                <a:ln>
                  <a:noFill/>
                </a:ln>
                <a:solidFill>
                  <a:srgbClr val="FF0000"/>
                </a:solidFill>
                <a:effectLst/>
                <a:uLnTx/>
                <a:uFillTx/>
                <a:latin typeface="Verdana"/>
                <a:ea typeface="+mj-ea"/>
                <a:cs typeface="+mj-cs"/>
              </a:rPr>
            </a:br>
            <a:br>
              <a:rPr kumimoji="0" lang="nl-NL" sz="2400" b="0" i="0" u="none" strike="noStrike" kern="1200" cap="none" spc="0" normalizeH="0" baseline="0" noProof="0" dirty="0">
                <a:ln>
                  <a:noFill/>
                </a:ln>
                <a:solidFill>
                  <a:prstClr val="white"/>
                </a:solidFill>
                <a:effectLst/>
                <a:uLnTx/>
                <a:uFillTx/>
                <a:latin typeface="Verdana"/>
                <a:ea typeface="+mj-ea"/>
                <a:cs typeface="+mj-cs"/>
              </a:rPr>
            </a:br>
            <a:r>
              <a:rPr kumimoji="0" lang="nl-NL" sz="2400" b="0" i="0" u="none" strike="noStrike" kern="1200" cap="none" spc="0" normalizeH="0" baseline="0" noProof="0" dirty="0">
                <a:ln>
                  <a:noFill/>
                </a:ln>
                <a:solidFill>
                  <a:prstClr val="white"/>
                </a:solidFill>
                <a:effectLst/>
                <a:uLnTx/>
                <a:uFillTx/>
                <a:latin typeface="Verdana"/>
                <a:ea typeface="+mj-ea"/>
                <a:cs typeface="+mj-cs"/>
              </a:rPr>
              <a:t>       </a:t>
            </a:r>
            <a:br>
              <a:rPr kumimoji="0" lang="nl-NL" sz="2000" b="0" i="0" u="none" strike="noStrike" kern="1200" cap="none" spc="0" normalizeH="0" baseline="0" noProof="0" dirty="0">
                <a:ln>
                  <a:noFill/>
                </a:ln>
                <a:solidFill>
                  <a:prstClr val="white"/>
                </a:solidFill>
                <a:effectLst/>
                <a:uLnTx/>
                <a:uFillTx/>
                <a:latin typeface="Verdana"/>
                <a:ea typeface="+mj-ea"/>
                <a:cs typeface="+mj-cs"/>
              </a:rPr>
            </a:br>
            <a:r>
              <a:rPr kumimoji="0" lang="nl-NL" sz="2000" b="0" i="0" u="none" strike="noStrike" kern="1200" cap="none" spc="0" normalizeH="0" baseline="0" noProof="0" dirty="0">
                <a:ln>
                  <a:noFill/>
                </a:ln>
                <a:solidFill>
                  <a:prstClr val="white"/>
                </a:solidFill>
                <a:effectLst/>
                <a:uLnTx/>
                <a:uFillTx/>
                <a:latin typeface="Verdana"/>
                <a:ea typeface="+mj-ea"/>
                <a:cs typeface="+mj-cs"/>
              </a:rPr>
              <a:t>                                                         </a:t>
            </a:r>
            <a:br>
              <a:rPr kumimoji="0" lang="nl-NL" sz="2000" b="0" i="0" u="none" strike="noStrike" kern="1200" cap="none" spc="0" normalizeH="0" baseline="0" noProof="0" dirty="0">
                <a:ln>
                  <a:noFill/>
                </a:ln>
                <a:solidFill>
                  <a:prstClr val="white"/>
                </a:solidFill>
                <a:effectLst/>
                <a:uLnTx/>
                <a:uFillTx/>
                <a:latin typeface="Verdana"/>
                <a:ea typeface="+mj-ea"/>
                <a:cs typeface="+mj-cs"/>
              </a:rPr>
            </a:br>
            <a:br>
              <a:rPr kumimoji="0" lang="nl-NL" sz="2000" b="0" i="0" u="none" strike="noStrike" kern="1200" cap="none" spc="0" normalizeH="0" baseline="0" noProof="0" dirty="0">
                <a:ln>
                  <a:noFill/>
                </a:ln>
                <a:solidFill>
                  <a:prstClr val="white"/>
                </a:solidFill>
                <a:effectLst/>
                <a:uLnTx/>
                <a:uFillTx/>
                <a:latin typeface="Verdana"/>
                <a:ea typeface="+mj-ea"/>
                <a:cs typeface="+mj-cs"/>
              </a:rPr>
            </a:br>
            <a:br>
              <a:rPr kumimoji="0" lang="nl-NL" sz="2000" b="0" i="0" u="none" strike="noStrike" kern="1200" cap="none" spc="0" normalizeH="0" baseline="0" noProof="0" dirty="0">
                <a:ln>
                  <a:noFill/>
                </a:ln>
                <a:solidFill>
                  <a:prstClr val="white"/>
                </a:solidFill>
                <a:effectLst/>
                <a:uLnTx/>
                <a:uFillTx/>
                <a:latin typeface="Verdana"/>
                <a:ea typeface="+mj-ea"/>
                <a:cs typeface="+mj-cs"/>
              </a:rPr>
            </a:br>
            <a:r>
              <a:rPr kumimoji="0" lang="nl-NL" sz="2000" b="0" i="0" u="none" strike="noStrike" kern="1200" cap="none" spc="0" normalizeH="0" baseline="0" noProof="0" dirty="0">
                <a:ln>
                  <a:noFill/>
                </a:ln>
                <a:solidFill>
                  <a:prstClr val="white"/>
                </a:solidFill>
                <a:effectLst/>
                <a:uLnTx/>
                <a:uFillTx/>
                <a:latin typeface="Verdana"/>
                <a:ea typeface="+mj-ea"/>
                <a:cs typeface="+mj-cs"/>
              </a:rPr>
              <a:t> </a:t>
            </a:r>
            <a:br>
              <a:rPr kumimoji="0" lang="nl-NL" sz="1800" b="0" i="0" u="none" strike="noStrike" kern="1200" cap="none" spc="0" normalizeH="0" baseline="0" noProof="0" dirty="0">
                <a:ln>
                  <a:noFill/>
                </a:ln>
                <a:solidFill>
                  <a:prstClr val="white"/>
                </a:solidFill>
                <a:effectLst/>
                <a:uLnTx/>
                <a:uFillTx/>
                <a:latin typeface="Verdana"/>
                <a:ea typeface="+mj-ea"/>
                <a:cs typeface="+mj-cs"/>
              </a:rPr>
            </a:br>
            <a:r>
              <a:rPr kumimoji="0" lang="nl-NL" sz="2000" b="0" i="0" u="none" strike="noStrike" kern="1200" cap="none" spc="0" normalizeH="0" baseline="0" noProof="0" dirty="0">
                <a:ln>
                  <a:noFill/>
                </a:ln>
                <a:solidFill>
                  <a:prstClr val="white"/>
                </a:solidFill>
                <a:effectLst/>
                <a:uLnTx/>
                <a:uFillTx/>
                <a:latin typeface="Verdana"/>
                <a:ea typeface="+mj-ea"/>
                <a:cs typeface="+mj-cs"/>
              </a:rPr>
              <a:t>      </a:t>
            </a:r>
            <a:br>
              <a:rPr kumimoji="0" lang="nl-NL" sz="1050" b="0" i="1" u="none" strike="noStrike" kern="1200" cap="none" spc="0" normalizeH="0" baseline="0" noProof="0" dirty="0">
                <a:ln>
                  <a:noFill/>
                </a:ln>
                <a:solidFill>
                  <a:prstClr val="white"/>
                </a:solidFill>
                <a:effectLst/>
                <a:uLnTx/>
                <a:uFillTx/>
                <a:latin typeface="Verdana"/>
                <a:ea typeface="+mj-ea"/>
                <a:cs typeface="+mj-cs"/>
              </a:rPr>
            </a:br>
            <a:br>
              <a:rPr kumimoji="0" lang="nl-NL" sz="2400" b="0" i="1"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br>
            <a:br>
              <a:rPr kumimoji="0" lang="nl-NL" sz="2400" b="0" i="1"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br>
            <a:br>
              <a:rPr kumimoji="0" lang="nl-NL" sz="2400" b="0" i="1"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br>
            <a:r>
              <a:rPr kumimoji="0" lang="nl-NL" sz="2400" b="0" i="1" u="none" strike="noStrike" kern="1200" cap="none" spc="0" normalizeH="0" baseline="0" noProof="0" dirty="0">
                <a:ln>
                  <a:noFill/>
                </a:ln>
                <a:solidFill>
                  <a:prstClr val="white"/>
                </a:solidFill>
                <a:effectLst/>
                <a:uLnTx/>
                <a:uFillTx/>
                <a:latin typeface="Calibri" panose="020F0502020204030204" pitchFamily="34" charset="0"/>
                <a:ea typeface="+mj-ea"/>
                <a:cs typeface="Calibri" panose="020F0502020204030204" pitchFamily="34" charset="0"/>
              </a:rPr>
              <a:t>                          </a:t>
            </a:r>
            <a:endParaRPr kumimoji="0" lang="nl-NL" sz="2000" b="0" i="1" u="none" strike="noStrike" kern="1200" cap="none" spc="0" normalizeH="0" baseline="0" noProof="0" dirty="0">
              <a:ln>
                <a:noFill/>
              </a:ln>
              <a:solidFill>
                <a:prstClr val="white"/>
              </a:solidFill>
              <a:effectLst/>
              <a:uLnTx/>
              <a:uFillTx/>
              <a:latin typeface="Verdana"/>
              <a:ea typeface="+mj-ea"/>
              <a:cs typeface="+mj-cs"/>
            </a:endParaRPr>
          </a:p>
        </p:txBody>
      </p:sp>
      <p:pic>
        <p:nvPicPr>
          <p:cNvPr id="15" name="Picture 4" descr="De bronafbeelding bekijken">
            <a:extLst>
              <a:ext uri="{FF2B5EF4-FFF2-40B4-BE49-F238E27FC236}">
                <a16:creationId xmlns:a16="http://schemas.microsoft.com/office/drawing/2014/main" id="{869E8782-B6CC-92E3-BDF1-02E6710CD4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3490" y="3079299"/>
            <a:ext cx="1343896" cy="160190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De bronafbeelding bekijken">
            <a:extLst>
              <a:ext uri="{FF2B5EF4-FFF2-40B4-BE49-F238E27FC236}">
                <a16:creationId xmlns:a16="http://schemas.microsoft.com/office/drawing/2014/main" id="{2D160780-90B0-BC8C-CF0F-A5F4BB9B78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777" y="4681200"/>
            <a:ext cx="1927787" cy="1927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9550554"/>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A4C00E-E11E-8A14-265E-7668971F867E}"/>
              </a:ext>
            </a:extLst>
          </p:cNvPr>
          <p:cNvSpPr>
            <a:spLocks noGrp="1"/>
          </p:cNvSpPr>
          <p:nvPr>
            <p:ph type="title"/>
          </p:nvPr>
        </p:nvSpPr>
        <p:spPr/>
        <p:txBody>
          <a:bodyPr/>
          <a:lstStyle/>
          <a:p>
            <a:endParaRPr lang="nl-NL"/>
          </a:p>
        </p:txBody>
      </p:sp>
      <p:sp>
        <p:nvSpPr>
          <p:cNvPr id="3" name="Titel 1">
            <a:extLst>
              <a:ext uri="{FF2B5EF4-FFF2-40B4-BE49-F238E27FC236}">
                <a16:creationId xmlns:a16="http://schemas.microsoft.com/office/drawing/2014/main" id="{9582616B-C31A-F378-AC7A-A47B8BDFD18C}"/>
              </a:ext>
            </a:extLst>
          </p:cNvPr>
          <p:cNvSpPr txBox="1">
            <a:spLocks/>
          </p:cNvSpPr>
          <p:nvPr/>
        </p:nvSpPr>
        <p:spPr bwMode="gray">
          <a:xfrm>
            <a:off x="469899" y="402586"/>
            <a:ext cx="11141635" cy="3940813"/>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bg1"/>
                </a:solidFill>
                <a:latin typeface="+mj-lt"/>
                <a:ea typeface="+mj-ea"/>
                <a:cs typeface="+mj-cs"/>
              </a:defRPr>
            </a:lvl1pPr>
          </a:lstStyle>
          <a:p>
            <a:br>
              <a:rPr lang="nl-NL" dirty="0">
                <a:solidFill>
                  <a:srgbClr val="FFC000"/>
                </a:solidFill>
                <a:latin typeface="Verdana"/>
              </a:rPr>
            </a:br>
            <a:r>
              <a:rPr lang="nl-NL" sz="2400" b="1" dirty="0" err="1">
                <a:solidFill>
                  <a:srgbClr val="FF0000"/>
                </a:solidFill>
                <a:latin typeface="Verdana"/>
              </a:rPr>
              <a:t>Équipementiers</a:t>
            </a:r>
            <a:r>
              <a:rPr lang="nl-NL" sz="2400" b="1" dirty="0">
                <a:solidFill>
                  <a:srgbClr val="FF0000"/>
                </a:solidFill>
                <a:latin typeface="Verdana"/>
              </a:rPr>
              <a:t> 6 Mois 2022;</a:t>
            </a:r>
            <a:br>
              <a:rPr lang="nl-NL" dirty="0">
                <a:solidFill>
                  <a:srgbClr val="FFC000"/>
                </a:solidFill>
                <a:latin typeface="Verdana"/>
              </a:rPr>
            </a:br>
            <a:br>
              <a:rPr lang="nl-NL" dirty="0">
                <a:solidFill>
                  <a:srgbClr val="FFC000"/>
                </a:solidFill>
                <a:latin typeface="Verdana"/>
              </a:rPr>
            </a:br>
            <a:br>
              <a:rPr lang="nl-NL" dirty="0">
                <a:solidFill>
                  <a:srgbClr val="FFC000"/>
                </a:solidFill>
                <a:latin typeface="Verdana"/>
              </a:rPr>
            </a:br>
            <a:r>
              <a:rPr lang="nl-NL" dirty="0">
                <a:solidFill>
                  <a:prstClr val="white"/>
                </a:solidFill>
                <a:latin typeface="Verdana"/>
              </a:rPr>
              <a:t>                   CA € 325,2 </a:t>
            </a:r>
            <a:r>
              <a:rPr lang="nl-NL" dirty="0" err="1">
                <a:solidFill>
                  <a:prstClr val="white"/>
                </a:solidFill>
                <a:latin typeface="Verdana"/>
              </a:rPr>
              <a:t>Millions</a:t>
            </a:r>
            <a:r>
              <a:rPr lang="nl-NL" dirty="0">
                <a:solidFill>
                  <a:prstClr val="white"/>
                </a:solidFill>
                <a:latin typeface="Verdana"/>
              </a:rPr>
              <a:t> (+ 17,7 %)</a:t>
            </a:r>
          </a:p>
          <a:p>
            <a:endParaRPr lang="nl-NL" dirty="0">
              <a:solidFill>
                <a:prstClr val="white"/>
              </a:solidFill>
              <a:latin typeface="Verdana"/>
            </a:endParaRPr>
          </a:p>
          <a:p>
            <a:endParaRPr lang="nl-NL" dirty="0">
              <a:solidFill>
                <a:prstClr val="white"/>
              </a:solidFill>
              <a:latin typeface="Verdana"/>
            </a:endParaRPr>
          </a:p>
          <a:p>
            <a:br>
              <a:rPr lang="nl-NL" dirty="0">
                <a:solidFill>
                  <a:prstClr val="white"/>
                </a:solidFill>
                <a:latin typeface="Verdana"/>
              </a:rPr>
            </a:br>
            <a:br>
              <a:rPr lang="nl-NL" dirty="0">
                <a:solidFill>
                  <a:prstClr val="white"/>
                </a:solidFill>
                <a:latin typeface="Verdana"/>
              </a:rPr>
            </a:br>
            <a:r>
              <a:rPr lang="nl-NL" dirty="0">
                <a:solidFill>
                  <a:srgbClr val="FFC000"/>
                </a:solidFill>
                <a:latin typeface="Verdana"/>
              </a:rPr>
              <a:t>JHT                        </a:t>
            </a:r>
            <a:r>
              <a:rPr lang="nl-NL" dirty="0">
                <a:solidFill>
                  <a:prstClr val="white"/>
                </a:solidFill>
                <a:latin typeface="Verdana"/>
              </a:rPr>
              <a:t>CA $ 463,7 </a:t>
            </a:r>
            <a:r>
              <a:rPr lang="nl-NL" dirty="0" err="1">
                <a:solidFill>
                  <a:prstClr val="white"/>
                </a:solidFill>
                <a:latin typeface="Verdana"/>
              </a:rPr>
              <a:t>Millions</a:t>
            </a:r>
            <a:r>
              <a:rPr lang="nl-NL" dirty="0">
                <a:solidFill>
                  <a:prstClr val="white"/>
                </a:solidFill>
                <a:latin typeface="Verdana"/>
              </a:rPr>
              <a:t> ( +2 %)</a:t>
            </a:r>
            <a:endParaRPr lang="nl-NL" dirty="0"/>
          </a:p>
        </p:txBody>
      </p:sp>
      <p:pic>
        <p:nvPicPr>
          <p:cNvPr id="4" name="Picture 2" descr="De bronafbeelding bekijken">
            <a:extLst>
              <a:ext uri="{FF2B5EF4-FFF2-40B4-BE49-F238E27FC236}">
                <a16:creationId xmlns:a16="http://schemas.microsoft.com/office/drawing/2014/main" id="{0F98FE0C-563C-A920-91B7-853F5926AE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9333" y="1216733"/>
            <a:ext cx="1505510" cy="150551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De bronafbeelding bekijken">
            <a:extLst>
              <a:ext uri="{FF2B5EF4-FFF2-40B4-BE49-F238E27FC236}">
                <a16:creationId xmlns:a16="http://schemas.microsoft.com/office/drawing/2014/main" id="{A45483B5-0281-61A6-ADD2-DA6243610D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898" y="3234111"/>
            <a:ext cx="2435717" cy="3897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4006571"/>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CFBF2-10CC-49FE-8EAA-DD1E9E4CA8C3}"/>
              </a:ext>
            </a:extLst>
          </p:cNvPr>
          <p:cNvSpPr>
            <a:spLocks noGrp="1"/>
          </p:cNvSpPr>
          <p:nvPr>
            <p:ph type="title"/>
          </p:nvPr>
        </p:nvSpPr>
        <p:spPr>
          <a:xfrm>
            <a:off x="469900" y="402585"/>
            <a:ext cx="11538324" cy="6045280"/>
          </a:xfrm>
        </p:spPr>
        <p:txBody>
          <a:bodyPr/>
          <a:lstStyle/>
          <a:p>
            <a:r>
              <a:rPr lang="nl-NL" sz="3200" b="1" dirty="0">
                <a:solidFill>
                  <a:srgbClr val="FF0000"/>
                </a:solidFill>
              </a:rPr>
              <a:t>Résumé des </a:t>
            </a:r>
            <a:r>
              <a:rPr lang="nl-NL" sz="3200" b="1" dirty="0" err="1">
                <a:solidFill>
                  <a:srgbClr val="FF0000"/>
                </a:solidFill>
              </a:rPr>
              <a:t>développements</a:t>
            </a:r>
            <a:r>
              <a:rPr lang="nl-NL" sz="3200" b="1" dirty="0">
                <a:solidFill>
                  <a:srgbClr val="FF0000"/>
                </a:solidFill>
              </a:rPr>
              <a:t> 2022;</a:t>
            </a:r>
            <a:br>
              <a:rPr lang="nl-NL" sz="2400" dirty="0"/>
            </a:br>
            <a:br>
              <a:rPr lang="nl-NL" dirty="0"/>
            </a:br>
            <a:r>
              <a:rPr lang="nl-NL" dirty="0"/>
              <a:t>Consolidation / Refinancement / </a:t>
            </a:r>
            <a:r>
              <a:rPr lang="nl-NL" dirty="0" err="1"/>
              <a:t>Restructuration</a:t>
            </a:r>
            <a:r>
              <a:rPr lang="nl-NL" dirty="0"/>
              <a:t> </a:t>
            </a:r>
            <a:r>
              <a:rPr lang="nl-NL" sz="1400" i="1" dirty="0">
                <a:solidFill>
                  <a:srgbClr val="FFC000"/>
                </a:solidFill>
              </a:rPr>
              <a:t>Migros quitte l’Allemagne; </a:t>
            </a:r>
            <a:br>
              <a:rPr lang="nl-NL" sz="1400" i="1" dirty="0">
                <a:solidFill>
                  <a:srgbClr val="FFC000"/>
                </a:solidFill>
              </a:rPr>
            </a:br>
            <a:r>
              <a:rPr lang="nl-NL" sz="1400" i="1" dirty="0">
                <a:solidFill>
                  <a:srgbClr val="FFC000"/>
                </a:solidFill>
              </a:rPr>
              <a:t>                                                                                                     </a:t>
            </a:r>
            <a:r>
              <a:rPr lang="nl-NL" sz="1400" i="1" dirty="0" err="1">
                <a:solidFill>
                  <a:srgbClr val="FFC000"/>
                </a:solidFill>
              </a:rPr>
              <a:t>McFit</a:t>
            </a:r>
            <a:r>
              <a:rPr lang="nl-NL" sz="1400" i="1" dirty="0">
                <a:solidFill>
                  <a:srgbClr val="FFC000"/>
                </a:solidFill>
              </a:rPr>
              <a:t> and Pure quittent la Pologne: </a:t>
            </a:r>
            <a:br>
              <a:rPr lang="nl-NL" sz="1400" i="1" dirty="0">
                <a:solidFill>
                  <a:srgbClr val="FFC000"/>
                </a:solidFill>
              </a:rPr>
            </a:br>
            <a:r>
              <a:rPr lang="nl-NL" sz="1400" i="1" dirty="0">
                <a:solidFill>
                  <a:srgbClr val="FFC000"/>
                </a:solidFill>
              </a:rPr>
              <a:t>                                                                                                     Holmes place clubs Spain </a:t>
            </a:r>
            <a:r>
              <a:rPr lang="nl-NL" sz="1400" i="1" dirty="0" err="1">
                <a:solidFill>
                  <a:srgbClr val="FFC000"/>
                </a:solidFill>
              </a:rPr>
              <a:t>acquis</a:t>
            </a:r>
            <a:r>
              <a:rPr lang="nl-NL" sz="1400" i="1" dirty="0">
                <a:solidFill>
                  <a:srgbClr val="FFC000"/>
                </a:solidFill>
              </a:rPr>
              <a:t> par RSG</a:t>
            </a:r>
            <a:br>
              <a:rPr lang="nl-NL" sz="1400" i="1" dirty="0">
                <a:solidFill>
                  <a:srgbClr val="FFC000"/>
                </a:solidFill>
              </a:rPr>
            </a:br>
            <a:r>
              <a:rPr lang="nl-NL" sz="1400" i="1" dirty="0">
                <a:solidFill>
                  <a:srgbClr val="FFC000"/>
                </a:solidFill>
              </a:rPr>
              <a:t>                                                                                                     </a:t>
            </a:r>
            <a:r>
              <a:rPr lang="nl-NL" sz="1400" i="1" dirty="0" err="1">
                <a:solidFill>
                  <a:srgbClr val="FFC000"/>
                </a:solidFill>
              </a:rPr>
              <a:t>Neoness</a:t>
            </a:r>
            <a:r>
              <a:rPr lang="nl-NL" sz="1400" i="1" dirty="0">
                <a:solidFill>
                  <a:srgbClr val="FFC000"/>
                </a:solidFill>
              </a:rPr>
              <a:t> &gt; Keep Cool</a:t>
            </a:r>
            <a:br>
              <a:rPr lang="nl-NL" sz="1400" i="1" dirty="0">
                <a:solidFill>
                  <a:srgbClr val="FFC000"/>
                </a:solidFill>
              </a:rPr>
            </a:br>
            <a:r>
              <a:rPr lang="nl-NL" sz="1400" i="1" dirty="0">
                <a:solidFill>
                  <a:srgbClr val="FFC000"/>
                </a:solidFill>
              </a:rPr>
              <a:t>                                                                                                     Reebok Club &gt; David Lloyd Clubs</a:t>
            </a:r>
            <a:br>
              <a:rPr lang="nl-NL" sz="1400" i="1" dirty="0">
                <a:solidFill>
                  <a:srgbClr val="FFC000"/>
                </a:solidFill>
              </a:rPr>
            </a:br>
            <a:br>
              <a:rPr lang="nl-NL" sz="1400" i="1" dirty="0"/>
            </a:br>
            <a:r>
              <a:rPr lang="nl-NL" dirty="0"/>
              <a:t>Intégration verticale/Diversification;  </a:t>
            </a:r>
            <a:r>
              <a:rPr lang="nl-NL" sz="1400" i="1" dirty="0">
                <a:solidFill>
                  <a:srgbClr val="FFC000"/>
                </a:solidFill>
              </a:rPr>
              <a:t>RSG / </a:t>
            </a:r>
            <a:r>
              <a:rPr lang="nl-NL" sz="1400" i="1" dirty="0" err="1">
                <a:solidFill>
                  <a:srgbClr val="FFC000"/>
                </a:solidFill>
              </a:rPr>
              <a:t>McFit</a:t>
            </a:r>
            <a:r>
              <a:rPr lang="nl-NL" sz="1400" i="1" dirty="0">
                <a:solidFill>
                  <a:srgbClr val="FFC000"/>
                </a:solidFill>
              </a:rPr>
              <a:t> </a:t>
            </a:r>
            <a:r>
              <a:rPr lang="nl-NL" sz="1400" i="1" dirty="0" err="1">
                <a:solidFill>
                  <a:srgbClr val="FFC000"/>
                </a:solidFill>
              </a:rPr>
              <a:t>participation</a:t>
            </a:r>
            <a:r>
              <a:rPr lang="nl-NL" sz="1400" i="1" dirty="0">
                <a:solidFill>
                  <a:srgbClr val="FFC000"/>
                </a:solidFill>
              </a:rPr>
              <a:t> 35 % dans Gym80</a:t>
            </a:r>
            <a:br>
              <a:rPr lang="nl-NL" sz="1400" i="1" dirty="0">
                <a:solidFill>
                  <a:srgbClr val="FFC000"/>
                </a:solidFill>
              </a:rPr>
            </a:br>
            <a:r>
              <a:rPr lang="nl-NL" sz="1400" i="1" dirty="0">
                <a:solidFill>
                  <a:srgbClr val="FFC000"/>
                </a:solidFill>
              </a:rPr>
              <a:t>                                                                              Peloton </a:t>
            </a:r>
            <a:r>
              <a:rPr lang="nl-NL" sz="1400" i="1" dirty="0" err="1">
                <a:solidFill>
                  <a:srgbClr val="FFC000"/>
                </a:solidFill>
              </a:rPr>
              <a:t>acquiert</a:t>
            </a:r>
            <a:r>
              <a:rPr lang="nl-NL" sz="1400" i="1" dirty="0">
                <a:solidFill>
                  <a:srgbClr val="FFC000"/>
                </a:solidFill>
              </a:rPr>
              <a:t> Precor</a:t>
            </a:r>
            <a:br>
              <a:rPr lang="nl-NL" sz="1400" i="1" dirty="0">
                <a:solidFill>
                  <a:srgbClr val="FFC000"/>
                </a:solidFill>
              </a:rPr>
            </a:br>
            <a:r>
              <a:rPr lang="nl-NL" sz="1400" i="1" dirty="0">
                <a:solidFill>
                  <a:srgbClr val="FFC000"/>
                </a:solidFill>
              </a:rPr>
              <a:t>                                                                              </a:t>
            </a:r>
            <a:r>
              <a:rPr lang="nl-NL" sz="1400" i="1" dirty="0" err="1">
                <a:solidFill>
                  <a:srgbClr val="FFC000"/>
                </a:solidFill>
              </a:rPr>
              <a:t>Core</a:t>
            </a:r>
            <a:r>
              <a:rPr lang="nl-NL" sz="1400" i="1" dirty="0">
                <a:solidFill>
                  <a:srgbClr val="FFC000"/>
                </a:solidFill>
              </a:rPr>
              <a:t> </a:t>
            </a:r>
            <a:r>
              <a:rPr lang="nl-NL" sz="1400" i="1" dirty="0" err="1">
                <a:solidFill>
                  <a:srgbClr val="FFC000"/>
                </a:solidFill>
              </a:rPr>
              <a:t>acquiert</a:t>
            </a:r>
            <a:r>
              <a:rPr lang="nl-NL" sz="1400" i="1" dirty="0">
                <a:solidFill>
                  <a:srgbClr val="FFC000"/>
                </a:solidFill>
              </a:rPr>
              <a:t> Wexer</a:t>
            </a:r>
            <a:br>
              <a:rPr lang="nl-NL" sz="1400" i="1" dirty="0">
                <a:solidFill>
                  <a:srgbClr val="FFC000"/>
                </a:solidFill>
              </a:rPr>
            </a:br>
            <a:r>
              <a:rPr lang="nl-NL" sz="1400" i="1" dirty="0">
                <a:solidFill>
                  <a:srgbClr val="FFC000"/>
                </a:solidFill>
              </a:rPr>
              <a:t>                                                                              </a:t>
            </a:r>
            <a:r>
              <a:rPr lang="nl-NL" sz="1400" i="1" dirty="0" err="1">
                <a:solidFill>
                  <a:srgbClr val="FFC000"/>
                </a:solidFill>
              </a:rPr>
              <a:t>Egym</a:t>
            </a:r>
            <a:r>
              <a:rPr lang="nl-NL" sz="1400" i="1" dirty="0">
                <a:solidFill>
                  <a:srgbClr val="FFC000"/>
                </a:solidFill>
              </a:rPr>
              <a:t> </a:t>
            </a:r>
            <a:r>
              <a:rPr lang="nl-NL" sz="1400" i="1" dirty="0" err="1">
                <a:solidFill>
                  <a:srgbClr val="FFC000"/>
                </a:solidFill>
              </a:rPr>
              <a:t>acquiert</a:t>
            </a:r>
            <a:r>
              <a:rPr lang="nl-NL" sz="1400" i="1" dirty="0">
                <a:solidFill>
                  <a:srgbClr val="FFC000"/>
                </a:solidFill>
              </a:rPr>
              <a:t> Gymlib</a:t>
            </a:r>
            <a:br>
              <a:rPr lang="nl-NL" sz="1400" i="1" dirty="0">
                <a:solidFill>
                  <a:srgbClr val="FFC000"/>
                </a:solidFill>
              </a:rPr>
            </a:br>
            <a:r>
              <a:rPr lang="nl-NL" sz="1400" i="1" dirty="0">
                <a:solidFill>
                  <a:srgbClr val="FFC000"/>
                </a:solidFill>
              </a:rPr>
              <a:t>                                                                              </a:t>
            </a:r>
            <a:r>
              <a:rPr lang="nl-NL" sz="1400" i="1" dirty="0" err="1">
                <a:solidFill>
                  <a:srgbClr val="FFC000"/>
                </a:solidFill>
              </a:rPr>
              <a:t>Mindbody</a:t>
            </a:r>
            <a:r>
              <a:rPr lang="nl-NL" sz="1400" i="1" dirty="0">
                <a:solidFill>
                  <a:srgbClr val="FFC000"/>
                </a:solidFill>
              </a:rPr>
              <a:t> </a:t>
            </a:r>
            <a:r>
              <a:rPr lang="nl-NL" sz="1400" i="1" dirty="0" err="1">
                <a:solidFill>
                  <a:srgbClr val="FFC000"/>
                </a:solidFill>
              </a:rPr>
              <a:t>acquiert</a:t>
            </a:r>
            <a:r>
              <a:rPr lang="nl-NL" sz="1400" i="1" dirty="0">
                <a:solidFill>
                  <a:srgbClr val="FFC000"/>
                </a:solidFill>
              </a:rPr>
              <a:t> Classpass</a:t>
            </a:r>
            <a:br>
              <a:rPr lang="nl-NL" sz="1400" i="1" dirty="0">
                <a:solidFill>
                  <a:srgbClr val="FFC000"/>
                </a:solidFill>
              </a:rPr>
            </a:br>
            <a:br>
              <a:rPr lang="nl-NL" dirty="0"/>
            </a:br>
            <a:r>
              <a:rPr lang="nl-NL" dirty="0"/>
              <a:t>Après hausse spectaculaire, les difficultés du fitness </a:t>
            </a:r>
            <a:r>
              <a:rPr lang="nl-NL" dirty="0" err="1"/>
              <a:t>connecté</a:t>
            </a:r>
            <a:r>
              <a:rPr lang="nl-NL" dirty="0"/>
              <a:t> </a:t>
            </a:r>
            <a:r>
              <a:rPr lang="nl-NL" sz="1400" i="1" dirty="0">
                <a:solidFill>
                  <a:srgbClr val="FFC000"/>
                </a:solidFill>
              </a:rPr>
              <a:t> Peloton, Mirror, Tonal, Nautilus, etc.</a:t>
            </a:r>
            <a:br>
              <a:rPr lang="nl-NL" dirty="0"/>
            </a:br>
            <a:br>
              <a:rPr lang="nl-NL" dirty="0"/>
            </a:br>
            <a:r>
              <a:rPr lang="nl-NL" dirty="0"/>
              <a:t>Des entreprises de vente aux consommateurs commencent à vendre aux clubs / vertical</a:t>
            </a:r>
            <a:br>
              <a:rPr lang="nl-NL" dirty="0"/>
            </a:br>
            <a:r>
              <a:rPr lang="nl-NL" dirty="0"/>
              <a:t>                                                                          </a:t>
            </a:r>
            <a:r>
              <a:rPr lang="nl-NL" sz="1400" i="1" dirty="0">
                <a:solidFill>
                  <a:srgbClr val="FFC000"/>
                </a:solidFill>
              </a:rPr>
              <a:t>( Peloton Commercial &gt; Amazon, Hydro, Echelon) </a:t>
            </a:r>
            <a:br>
              <a:rPr lang="nl-NL" sz="1400" i="1" dirty="0">
                <a:solidFill>
                  <a:srgbClr val="FFC000"/>
                </a:solidFill>
              </a:rPr>
            </a:br>
            <a:r>
              <a:rPr lang="nl-NL" sz="1400" i="1" dirty="0">
                <a:solidFill>
                  <a:srgbClr val="FFC000"/>
                </a:solidFill>
              </a:rPr>
              <a:t>                                                                                                                                             </a:t>
            </a:r>
            <a:br>
              <a:rPr lang="nl-NL" i="1" dirty="0"/>
            </a:br>
            <a:r>
              <a:rPr lang="nl-NL" dirty="0"/>
              <a:t>Hausse de l’utilisation des accessoires; une approche plus holistique du fitness </a:t>
            </a:r>
            <a:r>
              <a:rPr lang="nl-NL" sz="1400" i="1" dirty="0">
                <a:solidFill>
                  <a:srgbClr val="FFC000"/>
                </a:solidFill>
              </a:rPr>
              <a:t>(</a:t>
            </a:r>
            <a:r>
              <a:rPr lang="nl-NL" sz="1400" i="1" dirty="0" err="1">
                <a:solidFill>
                  <a:srgbClr val="FFC000"/>
                </a:solidFill>
              </a:rPr>
              <a:t>Activité</a:t>
            </a:r>
            <a:r>
              <a:rPr lang="nl-NL" sz="1400" i="1" dirty="0">
                <a:solidFill>
                  <a:srgbClr val="FFC000"/>
                </a:solidFill>
              </a:rPr>
              <a:t>, </a:t>
            </a:r>
            <a:br>
              <a:rPr lang="nl-NL" sz="1400" i="1" dirty="0">
                <a:solidFill>
                  <a:srgbClr val="FFC000"/>
                </a:solidFill>
              </a:rPr>
            </a:br>
            <a:r>
              <a:rPr lang="nl-NL" sz="1400" i="1" dirty="0">
                <a:solidFill>
                  <a:srgbClr val="FFC000"/>
                </a:solidFill>
              </a:rPr>
              <a:t>                                                                                                                                          </a:t>
            </a:r>
            <a:r>
              <a:rPr lang="nl-NL" sz="1400" i="1" dirty="0" err="1">
                <a:solidFill>
                  <a:srgbClr val="FFC000"/>
                </a:solidFill>
              </a:rPr>
              <a:t>sommeil</a:t>
            </a:r>
            <a:r>
              <a:rPr lang="nl-NL" sz="1400" i="1" dirty="0">
                <a:solidFill>
                  <a:srgbClr val="FFC000"/>
                </a:solidFill>
              </a:rPr>
              <a:t>, Mental, </a:t>
            </a:r>
            <a:r>
              <a:rPr lang="nl-NL" sz="1400" i="1" dirty="0" err="1">
                <a:solidFill>
                  <a:srgbClr val="FFC000"/>
                </a:solidFill>
              </a:rPr>
              <a:t>nutrition</a:t>
            </a:r>
            <a:r>
              <a:rPr lang="nl-NL" sz="1400" i="1" dirty="0">
                <a:solidFill>
                  <a:srgbClr val="FFC000"/>
                </a:solidFill>
              </a:rPr>
              <a:t>)</a:t>
            </a:r>
            <a:br>
              <a:rPr lang="nl-NL" sz="1400" i="1" dirty="0">
                <a:solidFill>
                  <a:srgbClr val="FFC000"/>
                </a:solidFill>
              </a:rPr>
            </a:br>
            <a:br>
              <a:rPr lang="nl-NL" sz="1400" i="1" dirty="0">
                <a:solidFill>
                  <a:srgbClr val="FFC000"/>
                </a:solidFill>
              </a:rPr>
            </a:br>
            <a:r>
              <a:rPr lang="nl-NL" dirty="0" err="1"/>
              <a:t>Changements</a:t>
            </a:r>
            <a:r>
              <a:rPr lang="nl-NL" dirty="0"/>
              <a:t> des prix….</a:t>
            </a:r>
            <a:br>
              <a:rPr lang="nl-NL" sz="1050" i="1" dirty="0"/>
            </a:br>
            <a:endParaRPr lang="nl-NL" i="1" dirty="0"/>
          </a:p>
        </p:txBody>
      </p:sp>
    </p:spTree>
    <p:extLst>
      <p:ext uri="{BB962C8B-B14F-4D97-AF65-F5344CB8AC3E}">
        <p14:creationId xmlns:p14="http://schemas.microsoft.com/office/powerpoint/2010/main" val="34307741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3810" name="Picture 2" descr="P:\01_McFit_Europe\01_McFit_Deutschland_und_Österreich\03_Bilder_und_Logos\09_McFIT_HOF_Michalskybilder\Catwalk11586 (Kopie).jpg">
            <a:extLst>
              <a:ext uri="{FF2B5EF4-FFF2-40B4-BE49-F238E27FC236}">
                <a16:creationId xmlns:a16="http://schemas.microsoft.com/office/drawing/2014/main" id="{5FC9C407-8339-478B-9549-C0AC9487D1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19640"/>
            <a:ext cx="12192000" cy="7200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a:extLst>
              <a:ext uri="{FF2B5EF4-FFF2-40B4-BE49-F238E27FC236}">
                <a16:creationId xmlns:a16="http://schemas.microsoft.com/office/drawing/2014/main" id="{18724763-794D-4AC8-A858-C644ED20D744}"/>
              </a:ext>
            </a:extLst>
          </p:cNvPr>
          <p:cNvSpPr>
            <a:spLocks noGrp="1"/>
          </p:cNvSpPr>
          <p:nvPr>
            <p:ph type="title"/>
          </p:nvPr>
        </p:nvSpPr>
        <p:spPr>
          <a:xfrm>
            <a:off x="1524000" y="4840941"/>
            <a:ext cx="9144000" cy="1714500"/>
          </a:xfrm>
        </p:spPr>
        <p:txBody>
          <a:bodyPr/>
          <a:lstStyle/>
          <a:p>
            <a:pPr algn="ctr"/>
            <a:r>
              <a:rPr lang="nl-NL" sz="4400" b="1" dirty="0">
                <a:solidFill>
                  <a:schemeClr val="bg1"/>
                </a:solidFill>
                <a:effectLst>
                  <a:outerShdw blurRad="38100" dist="38100" dir="2700000" algn="tl">
                    <a:srgbClr val="000000">
                      <a:alpha val="43137"/>
                    </a:srgbClr>
                  </a:outerShdw>
                </a:effectLst>
                <a:latin typeface="+mn-lt"/>
              </a:rPr>
              <a:t>2018; </a:t>
            </a:r>
            <a:r>
              <a:rPr lang="nl-NL" sz="4400" b="1" dirty="0" err="1">
                <a:solidFill>
                  <a:schemeClr val="bg1"/>
                </a:solidFill>
                <a:effectLst>
                  <a:outerShdw blurRad="38100" dist="38100" dir="2700000" algn="tl">
                    <a:srgbClr val="000000">
                      <a:alpha val="43137"/>
                    </a:srgbClr>
                  </a:outerShdw>
                </a:effectLst>
                <a:latin typeface="+mn-lt"/>
              </a:rPr>
              <a:t>McFit</a:t>
            </a:r>
            <a:r>
              <a:rPr lang="nl-NL" sz="4400" b="1" dirty="0">
                <a:solidFill>
                  <a:schemeClr val="bg1"/>
                </a:solidFill>
                <a:effectLst>
                  <a:outerShdw blurRad="38100" dist="38100" dir="2700000" algn="tl">
                    <a:srgbClr val="000000">
                      <a:alpha val="43137"/>
                    </a:srgbClr>
                  </a:outerShdw>
                </a:effectLst>
                <a:latin typeface="+mn-lt"/>
              </a:rPr>
              <a:t>  € 15,99 &gt; 19,99</a:t>
            </a:r>
          </a:p>
        </p:txBody>
      </p:sp>
    </p:spTree>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9C3F77B3-4CCB-E22C-CF06-29C083E4786F}"/>
              </a:ext>
            </a:extLst>
          </p:cNvPr>
          <p:cNvSpPr>
            <a:spLocks noGrp="1"/>
          </p:cNvSpPr>
          <p:nvPr>
            <p:ph type="body" sz="quarter" idx="10"/>
          </p:nvPr>
        </p:nvSpPr>
        <p:spPr/>
        <p:txBody>
          <a:bodyPr/>
          <a:lstStyle/>
          <a:p>
            <a:r>
              <a:rPr lang="nl-NL" dirty="0"/>
              <a:t>            </a:t>
            </a:r>
          </a:p>
        </p:txBody>
      </p:sp>
      <p:sp>
        <p:nvSpPr>
          <p:cNvPr id="2" name="Titel 1">
            <a:extLst>
              <a:ext uri="{FF2B5EF4-FFF2-40B4-BE49-F238E27FC236}">
                <a16:creationId xmlns:a16="http://schemas.microsoft.com/office/drawing/2014/main" id="{D9D0E3A5-1F77-A88D-CC92-40A3806D8DF5}"/>
              </a:ext>
            </a:extLst>
          </p:cNvPr>
          <p:cNvSpPr>
            <a:spLocks noGrp="1"/>
          </p:cNvSpPr>
          <p:nvPr>
            <p:ph type="title" idx="4294967295"/>
          </p:nvPr>
        </p:nvSpPr>
        <p:spPr>
          <a:xfrm>
            <a:off x="0" y="523875"/>
            <a:ext cx="10418763" cy="658813"/>
          </a:xfrm>
        </p:spPr>
        <p:txBody>
          <a:bodyPr/>
          <a:lstStyle/>
          <a:p>
            <a:r>
              <a:rPr lang="nl-NL" dirty="0">
                <a:solidFill>
                  <a:srgbClr val="FFFF00"/>
                </a:solidFill>
              </a:rPr>
              <a:t>                                     </a:t>
            </a:r>
            <a:r>
              <a:rPr lang="nl-NL" sz="2800" b="1" dirty="0">
                <a:solidFill>
                  <a:srgbClr val="FFFF00"/>
                </a:solidFill>
              </a:rPr>
              <a:t>Strat</a:t>
            </a:r>
            <a:r>
              <a:rPr lang="nl-NL" sz="3600" b="1" dirty="0">
                <a:solidFill>
                  <a:srgbClr val="FFFF00"/>
                </a:solidFill>
                <a:latin typeface="Calibri" panose="020F0502020204030204" pitchFamily="34" charset="0"/>
                <a:cs typeface="Calibri" panose="020F0502020204030204" pitchFamily="34" charset="0"/>
              </a:rPr>
              <a:t>é</a:t>
            </a:r>
            <a:r>
              <a:rPr lang="nl-NL" sz="2800" b="1" dirty="0">
                <a:solidFill>
                  <a:srgbClr val="FFFF00"/>
                </a:solidFill>
              </a:rPr>
              <a:t>gie des Prix 2022</a:t>
            </a:r>
            <a:endParaRPr lang="nl-NL" b="1" dirty="0">
              <a:solidFill>
                <a:srgbClr val="FFFF00"/>
              </a:solidFill>
            </a:endParaRPr>
          </a:p>
        </p:txBody>
      </p:sp>
      <p:pic>
        <p:nvPicPr>
          <p:cNvPr id="1028" name="Picture 4" descr="De bronafbeelding bekijken">
            <a:extLst>
              <a:ext uri="{FF2B5EF4-FFF2-40B4-BE49-F238E27FC236}">
                <a16:creationId xmlns:a16="http://schemas.microsoft.com/office/drawing/2014/main" id="{F0999E8B-6222-E66C-353E-7DC0E61B4F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6006" y="1655897"/>
            <a:ext cx="1323414" cy="132341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De bronafbeelding bekijken">
            <a:extLst>
              <a:ext uri="{FF2B5EF4-FFF2-40B4-BE49-F238E27FC236}">
                <a16:creationId xmlns:a16="http://schemas.microsoft.com/office/drawing/2014/main" id="{1652DD7F-3E87-B0FB-4269-53042AC9EC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1353" y="1764312"/>
            <a:ext cx="2745591" cy="1441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De bronafbeelding bekijken">
            <a:extLst>
              <a:ext uri="{FF2B5EF4-FFF2-40B4-BE49-F238E27FC236}">
                <a16:creationId xmlns:a16="http://schemas.microsoft.com/office/drawing/2014/main" id="{187464F0-DCDC-4966-B366-59EB5930CB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6006" y="3487756"/>
            <a:ext cx="1323414" cy="132341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De bronafbeelding bekijken">
            <a:extLst>
              <a:ext uri="{FF2B5EF4-FFF2-40B4-BE49-F238E27FC236}">
                <a16:creationId xmlns:a16="http://schemas.microsoft.com/office/drawing/2014/main" id="{42F34099-5E76-FA17-BD84-29351D13A5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32659" y="3570892"/>
            <a:ext cx="2314283" cy="115714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De bronafbeelding bekijken">
            <a:extLst>
              <a:ext uri="{FF2B5EF4-FFF2-40B4-BE49-F238E27FC236}">
                <a16:creationId xmlns:a16="http://schemas.microsoft.com/office/drawing/2014/main" id="{30900628-244A-8FF6-8AD2-29B6E5C8F97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36171" y="1829777"/>
            <a:ext cx="1620523" cy="114953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De bronafbeelding bekijken">
            <a:extLst>
              <a:ext uri="{FF2B5EF4-FFF2-40B4-BE49-F238E27FC236}">
                <a16:creationId xmlns:a16="http://schemas.microsoft.com/office/drawing/2014/main" id="{C9FE3EF7-787C-E4CC-D849-473F4BEAA16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74653" y="3618792"/>
            <a:ext cx="2216723" cy="114953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0">
            <a:extLst>
              <a:ext uri="{FF2B5EF4-FFF2-40B4-BE49-F238E27FC236}">
                <a16:creationId xmlns:a16="http://schemas.microsoft.com/office/drawing/2014/main" id="{B1C697E6-98CB-33E5-CFF5-B1DFB6E12F5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32659" y="5319615"/>
            <a:ext cx="2450939" cy="704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38539995"/>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p:cNvGrpSpPr/>
          <p:nvPr/>
        </p:nvGrpSpPr>
        <p:grpSpPr>
          <a:xfrm flipH="1">
            <a:off x="10319649" y="4844723"/>
            <a:ext cx="1872351" cy="233523"/>
            <a:chOff x="0" y="1112402"/>
            <a:chExt cx="1872351" cy="233523"/>
          </a:xfrm>
        </p:grpSpPr>
        <p:sp>
          <p:nvSpPr>
            <p:cNvPr id="43" name="Freeform 42"/>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cxnSp>
          <p:nvCxnSpPr>
            <p:cNvPr id="44" name="Straight Connector 43"/>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pic>
        <p:nvPicPr>
          <p:cNvPr id="37132" name="Picture 268" descr="https://www.europeactive.eu/sites/default/files/KCbanner1980_6.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flipH="1">
            <a:off x="0" y="1450340"/>
            <a:ext cx="12192000" cy="326604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bwMode="gray">
          <a:xfrm>
            <a:off x="0" y="4700804"/>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5" name="Rectangle 14"/>
          <p:cNvSpPr/>
          <p:nvPr/>
        </p:nvSpPr>
        <p:spPr bwMode="gray">
          <a:xfrm>
            <a:off x="0" y="1450340"/>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6" name="Rectangle 15"/>
          <p:cNvSpPr/>
          <p:nvPr/>
        </p:nvSpPr>
        <p:spPr bwMode="gray">
          <a:xfrm>
            <a:off x="0" y="3126236"/>
            <a:ext cx="12192000" cy="1600970"/>
          </a:xfrm>
          <a:prstGeom prst="rect">
            <a:avLst/>
          </a:prstGeom>
          <a:solidFill>
            <a:schemeClr val="accent5">
              <a:lumMod val="50000"/>
              <a:alpha val="7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7" name="Rectangle 16"/>
          <p:cNvSpPr/>
          <p:nvPr/>
        </p:nvSpPr>
        <p:spPr bwMode="gray">
          <a:xfrm>
            <a:off x="8240120" y="1592430"/>
            <a:ext cx="3168000" cy="3992880"/>
          </a:xfrm>
          <a:prstGeom prst="rect">
            <a:avLst/>
          </a:prstGeom>
          <a:solidFill>
            <a:schemeClr val="tx1"/>
          </a:solidFill>
          <a:ln>
            <a:noFill/>
          </a:ln>
          <a:effectLst>
            <a:softEdge rad="152400"/>
          </a:effectLst>
        </p:spPr>
        <p:txBody>
          <a:bodyPr vert="horz" wrap="square" lIns="91440" tIns="45720" rIns="91440" bIns="45720" numCol="1" anchor="t" anchorCtr="0" compatLnSpc="1">
            <a:prstTxWarp prst="textNoShape">
              <a:avLst/>
            </a:prstTxWarp>
          </a:bodyPr>
          <a:lstStyle/>
          <a:p>
            <a:endParaRPr lang="en-GB" dirty="0"/>
          </a:p>
        </p:txBody>
      </p:sp>
      <p:sp>
        <p:nvSpPr>
          <p:cNvPr id="18" name="Rectangle 17"/>
          <p:cNvSpPr/>
          <p:nvPr/>
        </p:nvSpPr>
        <p:spPr bwMode="gray">
          <a:xfrm>
            <a:off x="4567646" y="1598568"/>
            <a:ext cx="3204000" cy="3992880"/>
          </a:xfrm>
          <a:prstGeom prst="rect">
            <a:avLst/>
          </a:prstGeom>
          <a:solidFill>
            <a:schemeClr val="tx1"/>
          </a:solidFill>
          <a:ln>
            <a:noFill/>
          </a:ln>
          <a:effectLst>
            <a:softEdge rad="152400"/>
          </a:effectLst>
        </p:spPr>
        <p:txBody>
          <a:bodyPr vert="horz" wrap="square" lIns="91440" tIns="45720" rIns="91440" bIns="45720" numCol="1" anchor="t" anchorCtr="0" compatLnSpc="1">
            <a:prstTxWarp prst="textNoShape">
              <a:avLst/>
            </a:prstTxWarp>
          </a:bodyPr>
          <a:lstStyle/>
          <a:p>
            <a:endParaRPr lang="en-GB" dirty="0"/>
          </a:p>
        </p:txBody>
      </p:sp>
      <p:sp>
        <p:nvSpPr>
          <p:cNvPr id="19" name="TextBox 18"/>
          <p:cNvSpPr txBox="1"/>
          <p:nvPr/>
        </p:nvSpPr>
        <p:spPr>
          <a:xfrm>
            <a:off x="4842849" y="5574907"/>
            <a:ext cx="2604811" cy="215444"/>
          </a:xfrm>
          <a:prstGeom prst="rect">
            <a:avLst/>
          </a:prstGeom>
          <a:noFill/>
        </p:spPr>
        <p:txBody>
          <a:bodyPr wrap="square" lIns="0" tIns="0" rIns="0" bIns="0" rtlCol="0">
            <a:spAutoFit/>
          </a:bodyPr>
          <a:lstStyle/>
          <a:p>
            <a:pPr algn="ctr">
              <a:spcBef>
                <a:spcPts val="600"/>
              </a:spcBef>
              <a:buSzPct val="100000"/>
            </a:pPr>
            <a:r>
              <a:rPr lang="en-GB" sz="1400" dirty="0">
                <a:solidFill>
                  <a:schemeClr val="accent1">
                    <a:lumMod val="60000"/>
                    <a:lumOff val="40000"/>
                  </a:schemeClr>
                </a:solidFill>
              </a:rPr>
              <a:t>19 FUSIONS ACQUISITIONS</a:t>
            </a:r>
          </a:p>
        </p:txBody>
      </p:sp>
      <p:sp>
        <p:nvSpPr>
          <p:cNvPr id="20" name="TextBox 19"/>
          <p:cNvSpPr txBox="1"/>
          <p:nvPr/>
        </p:nvSpPr>
        <p:spPr>
          <a:xfrm>
            <a:off x="8770071" y="5574906"/>
            <a:ext cx="2144856" cy="861774"/>
          </a:xfrm>
          <a:prstGeom prst="rect">
            <a:avLst/>
          </a:prstGeom>
          <a:noFill/>
        </p:spPr>
        <p:txBody>
          <a:bodyPr wrap="square" lIns="0" tIns="0" rIns="0" bIns="0" rtlCol="0">
            <a:spAutoFit/>
          </a:bodyPr>
          <a:lstStyle/>
          <a:p>
            <a:pPr algn="ctr">
              <a:spcBef>
                <a:spcPts val="600"/>
              </a:spcBef>
              <a:buSzPct val="100000"/>
            </a:pPr>
            <a:r>
              <a:rPr lang="en-GB" sz="1400" dirty="0">
                <a:solidFill>
                  <a:schemeClr val="accent1">
                    <a:lumMod val="60000"/>
                    <a:lumOff val="40000"/>
                  </a:schemeClr>
                </a:solidFill>
              </a:rPr>
              <a:t>DÉVELOPPEMENT BOURSIER DE CERTAINES ENTREPRISES</a:t>
            </a:r>
          </a:p>
        </p:txBody>
      </p:sp>
      <p:grpSp>
        <p:nvGrpSpPr>
          <p:cNvPr id="38" name="Group 37"/>
          <p:cNvGrpSpPr/>
          <p:nvPr/>
        </p:nvGrpSpPr>
        <p:grpSpPr>
          <a:xfrm>
            <a:off x="0" y="1112402"/>
            <a:ext cx="1872351" cy="233523"/>
            <a:chOff x="0" y="1112402"/>
            <a:chExt cx="1872351" cy="233523"/>
          </a:xfrm>
        </p:grpSpPr>
        <p:sp>
          <p:nvSpPr>
            <p:cNvPr id="39" name="Freeform 38"/>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cxnSp>
          <p:nvCxnSpPr>
            <p:cNvPr id="40" name="Straight Connector 39"/>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923988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93" imgH="493" progId="TCLayout.ActiveDocument.1">
                  <p:embed/>
                </p:oleObj>
              </mc:Choice>
              <mc:Fallback>
                <p:oleObj name="think-cell Folie" r:id="rId5" imgW="493" imgH="493"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7" name="Group 6"/>
          <p:cNvGrpSpPr/>
          <p:nvPr/>
        </p:nvGrpSpPr>
        <p:grpSpPr>
          <a:xfrm>
            <a:off x="487788" y="2692400"/>
            <a:ext cx="1926810" cy="3520922"/>
            <a:chOff x="5132596" y="2697590"/>
            <a:chExt cx="1926810" cy="3520922"/>
          </a:xfrm>
        </p:grpSpPr>
        <p:grpSp>
          <p:nvGrpSpPr>
            <p:cNvPr id="46" name="Group 45"/>
            <p:cNvGrpSpPr/>
            <p:nvPr/>
          </p:nvGrpSpPr>
          <p:grpSpPr>
            <a:xfrm>
              <a:off x="5140108" y="2697590"/>
              <a:ext cx="1850140" cy="2808149"/>
              <a:chOff x="5140108" y="2701400"/>
              <a:chExt cx="1850140" cy="2808149"/>
            </a:xfrm>
          </p:grpSpPr>
          <p:grpSp>
            <p:nvGrpSpPr>
              <p:cNvPr id="47" name="Group 46"/>
              <p:cNvGrpSpPr/>
              <p:nvPr/>
            </p:nvGrpSpPr>
            <p:grpSpPr>
              <a:xfrm>
                <a:off x="5149114" y="2701400"/>
                <a:ext cx="1828338" cy="2590143"/>
                <a:chOff x="565396" y="1866355"/>
                <a:chExt cx="1750030" cy="2479207"/>
              </a:xfrm>
              <a:solidFill>
                <a:schemeClr val="tx1">
                  <a:alpha val="35000"/>
                </a:schemeClr>
              </a:solidFill>
            </p:grpSpPr>
            <p:sp>
              <p:nvSpPr>
                <p:cNvPr id="54" name="Freeform 245"/>
                <p:cNvSpPr>
                  <a:spLocks noEditPoints="1"/>
                </p:cNvSpPr>
                <p:nvPr/>
              </p:nvSpPr>
              <p:spPr bwMode="auto">
                <a:xfrm>
                  <a:off x="565396" y="1866355"/>
                  <a:ext cx="1624610" cy="2371289"/>
                </a:xfrm>
                <a:custGeom>
                  <a:avLst/>
                  <a:gdLst>
                    <a:gd name="T0" fmla="*/ 1337 w 1607"/>
                    <a:gd name="T1" fmla="*/ 964 h 2344"/>
                    <a:gd name="T2" fmla="*/ 866 w 1607"/>
                    <a:gd name="T3" fmla="*/ 825 h 2344"/>
                    <a:gd name="T4" fmla="*/ 394 w 1607"/>
                    <a:gd name="T5" fmla="*/ 964 h 2344"/>
                    <a:gd name="T6" fmla="*/ 309 w 1607"/>
                    <a:gd name="T7" fmla="*/ 742 h 2344"/>
                    <a:gd name="T8" fmla="*/ 866 w 1607"/>
                    <a:gd name="T9" fmla="*/ 323 h 2344"/>
                    <a:gd name="T10" fmla="*/ 1422 w 1607"/>
                    <a:gd name="T11" fmla="*/ 742 h 2344"/>
                    <a:gd name="T12" fmla="*/ 1337 w 1607"/>
                    <a:gd name="T13" fmla="*/ 964 h 2344"/>
                    <a:gd name="T14" fmla="*/ 1509 w 1607"/>
                    <a:gd name="T15" fmla="*/ 1111 h 2344"/>
                    <a:gd name="T16" fmla="*/ 1607 w 1607"/>
                    <a:gd name="T17" fmla="*/ 742 h 2344"/>
                    <a:gd name="T18" fmla="*/ 866 w 1607"/>
                    <a:gd name="T19" fmla="*/ 0 h 2344"/>
                    <a:gd name="T20" fmla="*/ 124 w 1607"/>
                    <a:gd name="T21" fmla="*/ 742 h 2344"/>
                    <a:gd name="T22" fmla="*/ 222 w 1607"/>
                    <a:gd name="T23" fmla="*/ 1111 h 2344"/>
                    <a:gd name="T24" fmla="*/ 0 w 1607"/>
                    <a:gd name="T25" fmla="*/ 1690 h 2344"/>
                    <a:gd name="T26" fmla="*/ 281 w 1607"/>
                    <a:gd name="T27" fmla="*/ 2328 h 2344"/>
                    <a:gd name="T28" fmla="*/ 296 w 1607"/>
                    <a:gd name="T29" fmla="*/ 2344 h 2344"/>
                    <a:gd name="T30" fmla="*/ 1518 w 1607"/>
                    <a:gd name="T31" fmla="*/ 1122 h 2344"/>
                    <a:gd name="T32" fmla="*/ 1509 w 1607"/>
                    <a:gd name="T33" fmla="*/ 1111 h 2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7" h="2344">
                      <a:moveTo>
                        <a:pt x="1337" y="964"/>
                      </a:moveTo>
                      <a:cubicBezTo>
                        <a:pt x="1202" y="876"/>
                        <a:pt x="1039" y="825"/>
                        <a:pt x="866" y="825"/>
                      </a:cubicBezTo>
                      <a:cubicBezTo>
                        <a:pt x="692" y="825"/>
                        <a:pt x="530" y="876"/>
                        <a:pt x="394" y="964"/>
                      </a:cubicBezTo>
                      <a:cubicBezTo>
                        <a:pt x="340" y="900"/>
                        <a:pt x="309" y="824"/>
                        <a:pt x="309" y="742"/>
                      </a:cubicBezTo>
                      <a:cubicBezTo>
                        <a:pt x="309" y="511"/>
                        <a:pt x="558" y="323"/>
                        <a:pt x="866" y="323"/>
                      </a:cubicBezTo>
                      <a:cubicBezTo>
                        <a:pt x="1173" y="323"/>
                        <a:pt x="1422" y="511"/>
                        <a:pt x="1422" y="742"/>
                      </a:cubicBezTo>
                      <a:cubicBezTo>
                        <a:pt x="1422" y="824"/>
                        <a:pt x="1391" y="900"/>
                        <a:pt x="1337" y="964"/>
                      </a:cubicBezTo>
                      <a:moveTo>
                        <a:pt x="1509" y="1111"/>
                      </a:moveTo>
                      <a:cubicBezTo>
                        <a:pt x="1571" y="1002"/>
                        <a:pt x="1607" y="876"/>
                        <a:pt x="1607" y="742"/>
                      </a:cubicBezTo>
                      <a:cubicBezTo>
                        <a:pt x="1607" y="332"/>
                        <a:pt x="1275" y="0"/>
                        <a:pt x="866" y="0"/>
                      </a:cubicBezTo>
                      <a:cubicBezTo>
                        <a:pt x="456" y="0"/>
                        <a:pt x="124" y="332"/>
                        <a:pt x="124" y="742"/>
                      </a:cubicBezTo>
                      <a:cubicBezTo>
                        <a:pt x="124" y="876"/>
                        <a:pt x="159" y="1002"/>
                        <a:pt x="222" y="1111"/>
                      </a:cubicBezTo>
                      <a:cubicBezTo>
                        <a:pt x="84" y="1265"/>
                        <a:pt x="0" y="1467"/>
                        <a:pt x="0" y="1690"/>
                      </a:cubicBezTo>
                      <a:cubicBezTo>
                        <a:pt x="0" y="1943"/>
                        <a:pt x="108" y="2170"/>
                        <a:pt x="281" y="2328"/>
                      </a:cubicBezTo>
                      <a:cubicBezTo>
                        <a:pt x="286" y="2334"/>
                        <a:pt x="291" y="2339"/>
                        <a:pt x="296" y="2344"/>
                      </a:cubicBezTo>
                      <a:lnTo>
                        <a:pt x="1518" y="1122"/>
                      </a:lnTo>
                      <a:cubicBezTo>
                        <a:pt x="1515" y="1118"/>
                        <a:pt x="1512" y="1115"/>
                        <a:pt x="1509" y="1111"/>
                      </a:cubicBezTo>
                    </a:path>
                  </a:pathLst>
                </a:custGeom>
                <a:grpFill/>
                <a:ln>
                  <a:noFill/>
                </a:ln>
                <a:effectLst>
                  <a:softEdge rad="63500"/>
                </a:effectLst>
              </p:spPr>
              <p:txBody>
                <a:bodyPr vert="horz" wrap="square" lIns="91440" tIns="45720" rIns="91440" bIns="45720" numCol="1" anchor="t" anchorCtr="0" compatLnSpc="1">
                  <a:prstTxWarp prst="textNoShape">
                    <a:avLst/>
                  </a:prstTxWarp>
                </a:bodyPr>
                <a:lstStyle/>
                <a:p>
                  <a:endParaRPr lang="en-GB" dirty="0"/>
                </a:p>
              </p:txBody>
            </p:sp>
            <p:sp>
              <p:nvSpPr>
                <p:cNvPr id="55" name="Freeform 246"/>
                <p:cNvSpPr>
                  <a:spLocks/>
                </p:cNvSpPr>
                <p:nvPr/>
              </p:nvSpPr>
              <p:spPr bwMode="auto">
                <a:xfrm>
                  <a:off x="864360" y="3000957"/>
                  <a:ext cx="1451066" cy="1344605"/>
                </a:xfrm>
                <a:custGeom>
                  <a:avLst/>
                  <a:gdLst>
                    <a:gd name="T0" fmla="*/ 1222 w 1435"/>
                    <a:gd name="T1" fmla="*/ 0 h 1328"/>
                    <a:gd name="T2" fmla="*/ 0 w 1435"/>
                    <a:gd name="T3" fmla="*/ 1222 h 1328"/>
                    <a:gd name="T4" fmla="*/ 81 w 1435"/>
                    <a:gd name="T5" fmla="*/ 1282 h 1328"/>
                    <a:gd name="T6" fmla="*/ 257 w 1435"/>
                    <a:gd name="T7" fmla="*/ 1328 h 1328"/>
                    <a:gd name="T8" fmla="*/ 511 w 1435"/>
                    <a:gd name="T9" fmla="*/ 1328 h 1328"/>
                    <a:gd name="T10" fmla="*/ 628 w 1435"/>
                    <a:gd name="T11" fmla="*/ 1328 h 1328"/>
                    <a:gd name="T12" fmla="*/ 882 w 1435"/>
                    <a:gd name="T13" fmla="*/ 1328 h 1328"/>
                    <a:gd name="T14" fmla="*/ 1057 w 1435"/>
                    <a:gd name="T15" fmla="*/ 1283 h 1328"/>
                    <a:gd name="T16" fmla="*/ 1155 w 1435"/>
                    <a:gd name="T17" fmla="*/ 1205 h 1328"/>
                    <a:gd name="T18" fmla="*/ 1435 w 1435"/>
                    <a:gd name="T19" fmla="*/ 568 h 1328"/>
                    <a:gd name="T20" fmla="*/ 1222 w 1435"/>
                    <a:gd name="T21" fmla="*/ 0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5" h="1328">
                      <a:moveTo>
                        <a:pt x="1222" y="0"/>
                      </a:moveTo>
                      <a:lnTo>
                        <a:pt x="0" y="1222"/>
                      </a:lnTo>
                      <a:cubicBezTo>
                        <a:pt x="24" y="1246"/>
                        <a:pt x="51" y="1266"/>
                        <a:pt x="81" y="1282"/>
                      </a:cubicBezTo>
                      <a:cubicBezTo>
                        <a:pt x="133" y="1311"/>
                        <a:pt x="193" y="1328"/>
                        <a:pt x="257" y="1328"/>
                      </a:cubicBezTo>
                      <a:lnTo>
                        <a:pt x="511" y="1328"/>
                      </a:lnTo>
                      <a:lnTo>
                        <a:pt x="628" y="1328"/>
                      </a:lnTo>
                      <a:lnTo>
                        <a:pt x="882" y="1328"/>
                      </a:lnTo>
                      <a:cubicBezTo>
                        <a:pt x="945" y="1328"/>
                        <a:pt x="1005" y="1312"/>
                        <a:pt x="1057" y="1283"/>
                      </a:cubicBezTo>
                      <a:cubicBezTo>
                        <a:pt x="1094" y="1263"/>
                        <a:pt x="1127" y="1237"/>
                        <a:pt x="1155" y="1205"/>
                      </a:cubicBezTo>
                      <a:cubicBezTo>
                        <a:pt x="1327" y="1047"/>
                        <a:pt x="1435" y="820"/>
                        <a:pt x="1435" y="568"/>
                      </a:cubicBezTo>
                      <a:cubicBezTo>
                        <a:pt x="1435" y="351"/>
                        <a:pt x="1355" y="152"/>
                        <a:pt x="1222" y="0"/>
                      </a:cubicBezTo>
                      <a:close/>
                    </a:path>
                  </a:pathLst>
                </a:custGeom>
                <a:grpFill/>
                <a:ln>
                  <a:noFill/>
                </a:ln>
                <a:effectLst>
                  <a:softEdge rad="63500"/>
                </a:effectLst>
              </p:spPr>
              <p:txBody>
                <a:bodyPr vert="horz" wrap="square" lIns="91440" tIns="45720" rIns="91440" bIns="45720" numCol="1" anchor="t" anchorCtr="0" compatLnSpc="1">
                  <a:prstTxWarp prst="textNoShape">
                    <a:avLst/>
                  </a:prstTxWarp>
                </a:bodyPr>
                <a:lstStyle/>
                <a:p>
                  <a:endParaRPr lang="en-GB" dirty="0"/>
                </a:p>
              </p:txBody>
            </p:sp>
          </p:grpSp>
          <p:grpSp>
            <p:nvGrpSpPr>
              <p:cNvPr id="48" name="Group 47"/>
              <p:cNvGrpSpPr/>
              <p:nvPr/>
            </p:nvGrpSpPr>
            <p:grpSpPr>
              <a:xfrm>
                <a:off x="5140108" y="2926272"/>
                <a:ext cx="1850140" cy="2583277"/>
                <a:chOff x="5140108" y="2926272"/>
                <a:chExt cx="1850140" cy="2583277"/>
              </a:xfrm>
            </p:grpSpPr>
            <p:sp>
              <p:nvSpPr>
                <p:cNvPr id="49" name="Oval 244"/>
                <p:cNvSpPr>
                  <a:spLocks noChangeArrowheads="1"/>
                </p:cNvSpPr>
                <p:nvPr/>
              </p:nvSpPr>
              <p:spPr bwMode="auto">
                <a:xfrm>
                  <a:off x="5140108" y="5129605"/>
                  <a:ext cx="1850140" cy="379944"/>
                </a:xfrm>
                <a:prstGeom prst="ellipse">
                  <a:avLst/>
                </a:prstGeom>
                <a:gradFill flip="none" rotWithShape="1">
                  <a:gsLst>
                    <a:gs pos="100000">
                      <a:schemeClr val="tx1">
                        <a:alpha val="0"/>
                      </a:schemeClr>
                    </a:gs>
                    <a:gs pos="0">
                      <a:schemeClr val="tx1">
                        <a:lumMod val="75000"/>
                        <a:lumOff val="25000"/>
                      </a:schemeClr>
                    </a:gs>
                  </a:gsLst>
                  <a:path path="shap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GB" dirty="0"/>
                </a:p>
              </p:txBody>
            </p:sp>
            <p:sp>
              <p:nvSpPr>
                <p:cNvPr id="50" name="Freeform 245"/>
                <p:cNvSpPr>
                  <a:spLocks noEditPoints="1"/>
                </p:cNvSpPr>
                <p:nvPr/>
              </p:nvSpPr>
              <p:spPr bwMode="auto">
                <a:xfrm>
                  <a:off x="5242479" y="2926272"/>
                  <a:ext cx="1560508" cy="2277724"/>
                </a:xfrm>
                <a:custGeom>
                  <a:avLst/>
                  <a:gdLst>
                    <a:gd name="T0" fmla="*/ 1337 w 1607"/>
                    <a:gd name="T1" fmla="*/ 964 h 2344"/>
                    <a:gd name="T2" fmla="*/ 866 w 1607"/>
                    <a:gd name="T3" fmla="*/ 825 h 2344"/>
                    <a:gd name="T4" fmla="*/ 394 w 1607"/>
                    <a:gd name="T5" fmla="*/ 964 h 2344"/>
                    <a:gd name="T6" fmla="*/ 309 w 1607"/>
                    <a:gd name="T7" fmla="*/ 742 h 2344"/>
                    <a:gd name="T8" fmla="*/ 866 w 1607"/>
                    <a:gd name="T9" fmla="*/ 323 h 2344"/>
                    <a:gd name="T10" fmla="*/ 1422 w 1607"/>
                    <a:gd name="T11" fmla="*/ 742 h 2344"/>
                    <a:gd name="T12" fmla="*/ 1337 w 1607"/>
                    <a:gd name="T13" fmla="*/ 964 h 2344"/>
                    <a:gd name="T14" fmla="*/ 1509 w 1607"/>
                    <a:gd name="T15" fmla="*/ 1111 h 2344"/>
                    <a:gd name="T16" fmla="*/ 1607 w 1607"/>
                    <a:gd name="T17" fmla="*/ 742 h 2344"/>
                    <a:gd name="T18" fmla="*/ 866 w 1607"/>
                    <a:gd name="T19" fmla="*/ 0 h 2344"/>
                    <a:gd name="T20" fmla="*/ 124 w 1607"/>
                    <a:gd name="T21" fmla="*/ 742 h 2344"/>
                    <a:gd name="T22" fmla="*/ 222 w 1607"/>
                    <a:gd name="T23" fmla="*/ 1111 h 2344"/>
                    <a:gd name="T24" fmla="*/ 0 w 1607"/>
                    <a:gd name="T25" fmla="*/ 1690 h 2344"/>
                    <a:gd name="T26" fmla="*/ 281 w 1607"/>
                    <a:gd name="T27" fmla="*/ 2328 h 2344"/>
                    <a:gd name="T28" fmla="*/ 296 w 1607"/>
                    <a:gd name="T29" fmla="*/ 2344 h 2344"/>
                    <a:gd name="T30" fmla="*/ 1518 w 1607"/>
                    <a:gd name="T31" fmla="*/ 1122 h 2344"/>
                    <a:gd name="T32" fmla="*/ 1509 w 1607"/>
                    <a:gd name="T33" fmla="*/ 1111 h 2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7" h="2344">
                      <a:moveTo>
                        <a:pt x="1337" y="964"/>
                      </a:moveTo>
                      <a:cubicBezTo>
                        <a:pt x="1202" y="876"/>
                        <a:pt x="1039" y="825"/>
                        <a:pt x="866" y="825"/>
                      </a:cubicBezTo>
                      <a:cubicBezTo>
                        <a:pt x="692" y="825"/>
                        <a:pt x="530" y="876"/>
                        <a:pt x="394" y="964"/>
                      </a:cubicBezTo>
                      <a:cubicBezTo>
                        <a:pt x="340" y="900"/>
                        <a:pt x="309" y="824"/>
                        <a:pt x="309" y="742"/>
                      </a:cubicBezTo>
                      <a:cubicBezTo>
                        <a:pt x="309" y="511"/>
                        <a:pt x="558" y="323"/>
                        <a:pt x="866" y="323"/>
                      </a:cubicBezTo>
                      <a:cubicBezTo>
                        <a:pt x="1173" y="323"/>
                        <a:pt x="1422" y="511"/>
                        <a:pt x="1422" y="742"/>
                      </a:cubicBezTo>
                      <a:cubicBezTo>
                        <a:pt x="1422" y="824"/>
                        <a:pt x="1391" y="900"/>
                        <a:pt x="1337" y="964"/>
                      </a:cubicBezTo>
                      <a:moveTo>
                        <a:pt x="1509" y="1111"/>
                      </a:moveTo>
                      <a:cubicBezTo>
                        <a:pt x="1571" y="1002"/>
                        <a:pt x="1607" y="876"/>
                        <a:pt x="1607" y="742"/>
                      </a:cubicBezTo>
                      <a:cubicBezTo>
                        <a:pt x="1607" y="332"/>
                        <a:pt x="1275" y="0"/>
                        <a:pt x="866" y="0"/>
                      </a:cubicBezTo>
                      <a:cubicBezTo>
                        <a:pt x="456" y="0"/>
                        <a:pt x="124" y="332"/>
                        <a:pt x="124" y="742"/>
                      </a:cubicBezTo>
                      <a:cubicBezTo>
                        <a:pt x="124" y="876"/>
                        <a:pt x="159" y="1002"/>
                        <a:pt x="222" y="1111"/>
                      </a:cubicBezTo>
                      <a:cubicBezTo>
                        <a:pt x="84" y="1265"/>
                        <a:pt x="0" y="1467"/>
                        <a:pt x="0" y="1690"/>
                      </a:cubicBezTo>
                      <a:cubicBezTo>
                        <a:pt x="0" y="1943"/>
                        <a:pt x="108" y="2170"/>
                        <a:pt x="281" y="2328"/>
                      </a:cubicBezTo>
                      <a:cubicBezTo>
                        <a:pt x="286" y="2334"/>
                        <a:pt x="291" y="2339"/>
                        <a:pt x="296" y="2344"/>
                      </a:cubicBezTo>
                      <a:lnTo>
                        <a:pt x="1518" y="1122"/>
                      </a:lnTo>
                      <a:cubicBezTo>
                        <a:pt x="1515" y="1118"/>
                        <a:pt x="1512" y="1115"/>
                        <a:pt x="1509" y="1111"/>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1" name="Freeform 246"/>
                <p:cNvSpPr>
                  <a:spLocks/>
                </p:cNvSpPr>
                <p:nvPr/>
              </p:nvSpPr>
              <p:spPr bwMode="auto">
                <a:xfrm>
                  <a:off x="5529647" y="4016105"/>
                  <a:ext cx="1393811" cy="1291551"/>
                </a:xfrm>
                <a:custGeom>
                  <a:avLst/>
                  <a:gdLst>
                    <a:gd name="T0" fmla="*/ 1222 w 1435"/>
                    <a:gd name="T1" fmla="*/ 0 h 1328"/>
                    <a:gd name="T2" fmla="*/ 0 w 1435"/>
                    <a:gd name="T3" fmla="*/ 1222 h 1328"/>
                    <a:gd name="T4" fmla="*/ 81 w 1435"/>
                    <a:gd name="T5" fmla="*/ 1282 h 1328"/>
                    <a:gd name="T6" fmla="*/ 257 w 1435"/>
                    <a:gd name="T7" fmla="*/ 1328 h 1328"/>
                    <a:gd name="T8" fmla="*/ 511 w 1435"/>
                    <a:gd name="T9" fmla="*/ 1328 h 1328"/>
                    <a:gd name="T10" fmla="*/ 628 w 1435"/>
                    <a:gd name="T11" fmla="*/ 1328 h 1328"/>
                    <a:gd name="T12" fmla="*/ 882 w 1435"/>
                    <a:gd name="T13" fmla="*/ 1328 h 1328"/>
                    <a:gd name="T14" fmla="*/ 1057 w 1435"/>
                    <a:gd name="T15" fmla="*/ 1283 h 1328"/>
                    <a:gd name="T16" fmla="*/ 1155 w 1435"/>
                    <a:gd name="T17" fmla="*/ 1205 h 1328"/>
                    <a:gd name="T18" fmla="*/ 1435 w 1435"/>
                    <a:gd name="T19" fmla="*/ 568 h 1328"/>
                    <a:gd name="T20" fmla="*/ 1222 w 1435"/>
                    <a:gd name="T21" fmla="*/ 0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5" h="1328">
                      <a:moveTo>
                        <a:pt x="1222" y="0"/>
                      </a:moveTo>
                      <a:lnTo>
                        <a:pt x="0" y="1222"/>
                      </a:lnTo>
                      <a:cubicBezTo>
                        <a:pt x="24" y="1246"/>
                        <a:pt x="51" y="1266"/>
                        <a:pt x="81" y="1282"/>
                      </a:cubicBezTo>
                      <a:cubicBezTo>
                        <a:pt x="133" y="1311"/>
                        <a:pt x="193" y="1328"/>
                        <a:pt x="257" y="1328"/>
                      </a:cubicBezTo>
                      <a:lnTo>
                        <a:pt x="511" y="1328"/>
                      </a:lnTo>
                      <a:lnTo>
                        <a:pt x="628" y="1328"/>
                      </a:lnTo>
                      <a:lnTo>
                        <a:pt x="882" y="1328"/>
                      </a:lnTo>
                      <a:cubicBezTo>
                        <a:pt x="945" y="1328"/>
                        <a:pt x="1005" y="1312"/>
                        <a:pt x="1057" y="1283"/>
                      </a:cubicBezTo>
                      <a:cubicBezTo>
                        <a:pt x="1094" y="1263"/>
                        <a:pt x="1127" y="1237"/>
                        <a:pt x="1155" y="1205"/>
                      </a:cubicBezTo>
                      <a:cubicBezTo>
                        <a:pt x="1327" y="1047"/>
                        <a:pt x="1435" y="820"/>
                        <a:pt x="1435" y="568"/>
                      </a:cubicBezTo>
                      <a:cubicBezTo>
                        <a:pt x="1435" y="351"/>
                        <a:pt x="1355" y="152"/>
                        <a:pt x="1222" y="0"/>
                      </a:cubicBez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2" name="Freeform 247"/>
                <p:cNvSpPr>
                  <a:spLocks/>
                </p:cNvSpPr>
                <p:nvPr/>
              </p:nvSpPr>
              <p:spPr bwMode="auto">
                <a:xfrm>
                  <a:off x="5346084" y="4093151"/>
                  <a:ext cx="270357" cy="463670"/>
                </a:xfrm>
                <a:custGeom>
                  <a:avLst/>
                  <a:gdLst>
                    <a:gd name="T0" fmla="*/ 161 w 278"/>
                    <a:gd name="T1" fmla="*/ 45 h 477"/>
                    <a:gd name="T2" fmla="*/ 11 w 278"/>
                    <a:gd name="T3" fmla="*/ 413 h 477"/>
                    <a:gd name="T4" fmla="*/ 111 w 278"/>
                    <a:gd name="T5" fmla="*/ 413 h 477"/>
                    <a:gd name="T6" fmla="*/ 232 w 278"/>
                    <a:gd name="T7" fmla="*/ 116 h 477"/>
                    <a:gd name="T8" fmla="*/ 161 w 278"/>
                    <a:gd name="T9" fmla="*/ 45 h 477"/>
                  </a:gdLst>
                  <a:ahLst/>
                  <a:cxnLst>
                    <a:cxn ang="0">
                      <a:pos x="T0" y="T1"/>
                    </a:cxn>
                    <a:cxn ang="0">
                      <a:pos x="T2" y="T3"/>
                    </a:cxn>
                    <a:cxn ang="0">
                      <a:pos x="T4" y="T5"/>
                    </a:cxn>
                    <a:cxn ang="0">
                      <a:pos x="T6" y="T7"/>
                    </a:cxn>
                    <a:cxn ang="0">
                      <a:pos x="T8" y="T9"/>
                    </a:cxn>
                  </a:cxnLst>
                  <a:rect l="0" t="0" r="r" b="b"/>
                  <a:pathLst>
                    <a:path w="278" h="477">
                      <a:moveTo>
                        <a:pt x="161" y="45"/>
                      </a:moveTo>
                      <a:cubicBezTo>
                        <a:pt x="64" y="138"/>
                        <a:pt x="0" y="277"/>
                        <a:pt x="11" y="413"/>
                      </a:cubicBezTo>
                      <a:cubicBezTo>
                        <a:pt x="16" y="477"/>
                        <a:pt x="116" y="477"/>
                        <a:pt x="111" y="413"/>
                      </a:cubicBezTo>
                      <a:cubicBezTo>
                        <a:pt x="102" y="302"/>
                        <a:pt x="152" y="192"/>
                        <a:pt x="232" y="116"/>
                      </a:cubicBezTo>
                      <a:cubicBezTo>
                        <a:pt x="278" y="71"/>
                        <a:pt x="207" y="0"/>
                        <a:pt x="161" y="45"/>
                      </a:cubicBezTo>
                      <a:close/>
                    </a:path>
                  </a:pathLst>
                </a:custGeom>
                <a:solidFill>
                  <a:srgbClr val="FFFFFF">
                    <a:alpha val="36000"/>
                  </a:srgb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3" name="Oval 52"/>
                <p:cNvSpPr/>
                <p:nvPr/>
              </p:nvSpPr>
              <p:spPr bwMode="gray">
                <a:xfrm>
                  <a:off x="5541582" y="4093151"/>
                  <a:ext cx="1043551" cy="1043551"/>
                </a:xfrm>
                <a:prstGeom prst="ellipse">
                  <a:avLst/>
                </a:prstGeom>
                <a:solidFill>
                  <a:schemeClr val="bg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56" name="TextBox 55"/>
            <p:cNvSpPr txBox="1"/>
            <p:nvPr/>
          </p:nvSpPr>
          <p:spPr>
            <a:xfrm>
              <a:off x="5132596" y="5587570"/>
              <a:ext cx="1926810" cy="630942"/>
            </a:xfrm>
            <a:prstGeom prst="rect">
              <a:avLst/>
            </a:prstGeom>
            <a:noFill/>
          </p:spPr>
          <p:txBody>
            <a:bodyPr wrap="none" lIns="0" tIns="0" rIns="0" bIns="0" rtlCol="0">
              <a:spAutoFit/>
            </a:bodyPr>
            <a:lstStyle/>
            <a:p>
              <a:pPr algn="ctr">
                <a:spcBef>
                  <a:spcPts val="600"/>
                </a:spcBef>
                <a:buSzPct val="100000"/>
              </a:pPr>
              <a:r>
                <a:rPr lang="en-GB" sz="1800" spc="100" dirty="0">
                  <a:solidFill>
                    <a:schemeClr val="bg1"/>
                  </a:solidFill>
                </a:rPr>
                <a:t>FUSIONS</a:t>
              </a:r>
            </a:p>
            <a:p>
              <a:pPr algn="ctr">
                <a:spcBef>
                  <a:spcPts val="600"/>
                </a:spcBef>
                <a:buSzPct val="100000"/>
              </a:pPr>
              <a:r>
                <a:rPr lang="en-GB" sz="1800" spc="100" dirty="0">
                  <a:solidFill>
                    <a:schemeClr val="bg1"/>
                  </a:solidFill>
                </a:rPr>
                <a:t>ACQUISITIONS</a:t>
              </a:r>
            </a:p>
          </p:txBody>
        </p:sp>
      </p:grpSp>
      <p:grpSp>
        <p:nvGrpSpPr>
          <p:cNvPr id="57" name="Group 56"/>
          <p:cNvGrpSpPr/>
          <p:nvPr/>
        </p:nvGrpSpPr>
        <p:grpSpPr>
          <a:xfrm>
            <a:off x="1028258" y="4442787"/>
            <a:ext cx="784224" cy="423210"/>
            <a:chOff x="5592762" y="4421188"/>
            <a:chExt cx="920751" cy="496888"/>
          </a:xfrm>
          <a:solidFill>
            <a:schemeClr val="bg1"/>
          </a:solidFill>
        </p:grpSpPr>
        <p:sp>
          <p:nvSpPr>
            <p:cNvPr id="58" name="Freeform 255"/>
            <p:cNvSpPr>
              <a:spLocks/>
            </p:cNvSpPr>
            <p:nvPr/>
          </p:nvSpPr>
          <p:spPr bwMode="auto">
            <a:xfrm>
              <a:off x="6249988" y="4483100"/>
              <a:ext cx="166688" cy="269875"/>
            </a:xfrm>
            <a:custGeom>
              <a:avLst/>
              <a:gdLst>
                <a:gd name="T0" fmla="*/ 134 w 253"/>
                <a:gd name="T1" fmla="*/ 409 h 409"/>
                <a:gd name="T2" fmla="*/ 126 w 253"/>
                <a:gd name="T3" fmla="*/ 407 h 409"/>
                <a:gd name="T4" fmla="*/ 114 w 253"/>
                <a:gd name="T5" fmla="*/ 394 h 409"/>
                <a:gd name="T6" fmla="*/ 4 w 253"/>
                <a:gd name="T7" fmla="*/ 84 h 409"/>
                <a:gd name="T8" fmla="*/ 13 w 253"/>
                <a:gd name="T9" fmla="*/ 58 h 409"/>
                <a:gd name="T10" fmla="*/ 106 w 253"/>
                <a:gd name="T11" fmla="*/ 6 h 409"/>
                <a:gd name="T12" fmla="*/ 135 w 253"/>
                <a:gd name="T13" fmla="*/ 14 h 409"/>
                <a:gd name="T14" fmla="*/ 127 w 253"/>
                <a:gd name="T15" fmla="*/ 44 h 409"/>
                <a:gd name="T16" fmla="*/ 50 w 253"/>
                <a:gd name="T17" fmla="*/ 87 h 409"/>
                <a:gd name="T18" fmla="*/ 146 w 253"/>
                <a:gd name="T19" fmla="*/ 357 h 409"/>
                <a:gd name="T20" fmla="*/ 219 w 253"/>
                <a:gd name="T21" fmla="*/ 320 h 409"/>
                <a:gd name="T22" fmla="*/ 248 w 253"/>
                <a:gd name="T23" fmla="*/ 330 h 409"/>
                <a:gd name="T24" fmla="*/ 238 w 253"/>
                <a:gd name="T25" fmla="*/ 359 h 409"/>
                <a:gd name="T26" fmla="*/ 144 w 253"/>
                <a:gd name="T27" fmla="*/ 406 h 409"/>
                <a:gd name="T28" fmla="*/ 134 w 253"/>
                <a:gd name="T29" fmla="*/ 409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3" h="409">
                  <a:moveTo>
                    <a:pt x="134" y="409"/>
                  </a:moveTo>
                  <a:cubicBezTo>
                    <a:pt x="132" y="409"/>
                    <a:pt x="129" y="408"/>
                    <a:pt x="126" y="407"/>
                  </a:cubicBezTo>
                  <a:cubicBezTo>
                    <a:pt x="121" y="405"/>
                    <a:pt x="116" y="400"/>
                    <a:pt x="114" y="394"/>
                  </a:cubicBezTo>
                  <a:lnTo>
                    <a:pt x="4" y="84"/>
                  </a:lnTo>
                  <a:cubicBezTo>
                    <a:pt x="0" y="74"/>
                    <a:pt x="4" y="63"/>
                    <a:pt x="13" y="58"/>
                  </a:cubicBezTo>
                  <a:lnTo>
                    <a:pt x="106" y="6"/>
                  </a:lnTo>
                  <a:cubicBezTo>
                    <a:pt x="116" y="0"/>
                    <a:pt x="129" y="4"/>
                    <a:pt x="135" y="14"/>
                  </a:cubicBezTo>
                  <a:cubicBezTo>
                    <a:pt x="141" y="25"/>
                    <a:pt x="137" y="38"/>
                    <a:pt x="127" y="44"/>
                  </a:cubicBezTo>
                  <a:lnTo>
                    <a:pt x="50" y="87"/>
                  </a:lnTo>
                  <a:lnTo>
                    <a:pt x="146" y="357"/>
                  </a:lnTo>
                  <a:lnTo>
                    <a:pt x="219" y="320"/>
                  </a:lnTo>
                  <a:cubicBezTo>
                    <a:pt x="229" y="315"/>
                    <a:pt x="242" y="319"/>
                    <a:pt x="248" y="330"/>
                  </a:cubicBezTo>
                  <a:cubicBezTo>
                    <a:pt x="253" y="341"/>
                    <a:pt x="249" y="353"/>
                    <a:pt x="238" y="359"/>
                  </a:cubicBezTo>
                  <a:lnTo>
                    <a:pt x="144" y="406"/>
                  </a:lnTo>
                  <a:cubicBezTo>
                    <a:pt x="141" y="408"/>
                    <a:pt x="138" y="409"/>
                    <a:pt x="134" y="40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9" name="Freeform 256"/>
            <p:cNvSpPr>
              <a:spLocks/>
            </p:cNvSpPr>
            <p:nvPr/>
          </p:nvSpPr>
          <p:spPr bwMode="auto">
            <a:xfrm>
              <a:off x="6310313" y="4421188"/>
              <a:ext cx="203200" cy="330200"/>
            </a:xfrm>
            <a:custGeom>
              <a:avLst/>
              <a:gdLst>
                <a:gd name="T0" fmla="*/ 152 w 308"/>
                <a:gd name="T1" fmla="*/ 501 h 501"/>
                <a:gd name="T2" fmla="*/ 143 w 308"/>
                <a:gd name="T3" fmla="*/ 499 h 501"/>
                <a:gd name="T4" fmla="*/ 132 w 308"/>
                <a:gd name="T5" fmla="*/ 486 h 501"/>
                <a:gd name="T6" fmla="*/ 4 w 308"/>
                <a:gd name="T7" fmla="*/ 127 h 501"/>
                <a:gd name="T8" fmla="*/ 15 w 308"/>
                <a:gd name="T9" fmla="*/ 101 h 501"/>
                <a:gd name="T10" fmla="*/ 218 w 308"/>
                <a:gd name="T11" fmla="*/ 5 h 501"/>
                <a:gd name="T12" fmla="*/ 247 w 308"/>
                <a:gd name="T13" fmla="*/ 15 h 501"/>
                <a:gd name="T14" fmla="*/ 237 w 308"/>
                <a:gd name="T15" fmla="*/ 44 h 501"/>
                <a:gd name="T16" fmla="*/ 51 w 308"/>
                <a:gd name="T17" fmla="*/ 131 h 501"/>
                <a:gd name="T18" fmla="*/ 165 w 308"/>
                <a:gd name="T19" fmla="*/ 451 h 501"/>
                <a:gd name="T20" fmla="*/ 276 w 308"/>
                <a:gd name="T21" fmla="*/ 408 h 501"/>
                <a:gd name="T22" fmla="*/ 303 w 308"/>
                <a:gd name="T23" fmla="*/ 420 h 501"/>
                <a:gd name="T24" fmla="*/ 291 w 308"/>
                <a:gd name="T25" fmla="*/ 448 h 501"/>
                <a:gd name="T26" fmla="*/ 160 w 308"/>
                <a:gd name="T27" fmla="*/ 499 h 501"/>
                <a:gd name="T28" fmla="*/ 152 w 308"/>
                <a:gd name="T29" fmla="*/ 501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501">
                  <a:moveTo>
                    <a:pt x="152" y="501"/>
                  </a:moveTo>
                  <a:cubicBezTo>
                    <a:pt x="149" y="501"/>
                    <a:pt x="146" y="500"/>
                    <a:pt x="143" y="499"/>
                  </a:cubicBezTo>
                  <a:cubicBezTo>
                    <a:pt x="138" y="496"/>
                    <a:pt x="134" y="492"/>
                    <a:pt x="132" y="486"/>
                  </a:cubicBezTo>
                  <a:lnTo>
                    <a:pt x="4" y="127"/>
                  </a:lnTo>
                  <a:cubicBezTo>
                    <a:pt x="0" y="117"/>
                    <a:pt x="5" y="105"/>
                    <a:pt x="15" y="101"/>
                  </a:cubicBezTo>
                  <a:lnTo>
                    <a:pt x="218" y="5"/>
                  </a:lnTo>
                  <a:cubicBezTo>
                    <a:pt x="229" y="0"/>
                    <a:pt x="242" y="5"/>
                    <a:pt x="247" y="15"/>
                  </a:cubicBezTo>
                  <a:cubicBezTo>
                    <a:pt x="252" y="26"/>
                    <a:pt x="247" y="39"/>
                    <a:pt x="237" y="44"/>
                  </a:cubicBezTo>
                  <a:lnTo>
                    <a:pt x="51" y="131"/>
                  </a:lnTo>
                  <a:lnTo>
                    <a:pt x="165" y="451"/>
                  </a:lnTo>
                  <a:lnTo>
                    <a:pt x="276" y="408"/>
                  </a:lnTo>
                  <a:cubicBezTo>
                    <a:pt x="287" y="403"/>
                    <a:pt x="299" y="409"/>
                    <a:pt x="303" y="420"/>
                  </a:cubicBezTo>
                  <a:cubicBezTo>
                    <a:pt x="308" y="431"/>
                    <a:pt x="302" y="443"/>
                    <a:pt x="291" y="448"/>
                  </a:cubicBezTo>
                  <a:lnTo>
                    <a:pt x="160" y="499"/>
                  </a:lnTo>
                  <a:cubicBezTo>
                    <a:pt x="158" y="500"/>
                    <a:pt x="155" y="501"/>
                    <a:pt x="152" y="50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0" name="Freeform 257"/>
            <p:cNvSpPr>
              <a:spLocks noEditPoints="1"/>
            </p:cNvSpPr>
            <p:nvPr/>
          </p:nvSpPr>
          <p:spPr bwMode="auto">
            <a:xfrm>
              <a:off x="6413500" y="4606925"/>
              <a:ext cx="73025" cy="71438"/>
            </a:xfrm>
            <a:custGeom>
              <a:avLst/>
              <a:gdLst>
                <a:gd name="T0" fmla="*/ 54 w 111"/>
                <a:gd name="T1" fmla="*/ 107 h 107"/>
                <a:gd name="T2" fmla="*/ 24 w 111"/>
                <a:gd name="T3" fmla="*/ 97 h 107"/>
                <a:gd name="T4" fmla="*/ 3 w 111"/>
                <a:gd name="T5" fmla="*/ 63 h 107"/>
                <a:gd name="T6" fmla="*/ 11 w 111"/>
                <a:gd name="T7" fmla="*/ 24 h 107"/>
                <a:gd name="T8" fmla="*/ 45 w 111"/>
                <a:gd name="T9" fmla="*/ 3 h 107"/>
                <a:gd name="T10" fmla="*/ 84 w 111"/>
                <a:gd name="T11" fmla="*/ 12 h 107"/>
                <a:gd name="T12" fmla="*/ 106 w 111"/>
                <a:gd name="T13" fmla="*/ 45 h 107"/>
                <a:gd name="T14" fmla="*/ 63 w 111"/>
                <a:gd name="T15" fmla="*/ 106 h 107"/>
                <a:gd name="T16" fmla="*/ 54 w 111"/>
                <a:gd name="T17" fmla="*/ 107 h 107"/>
                <a:gd name="T18" fmla="*/ 54 w 111"/>
                <a:gd name="T19" fmla="*/ 45 h 107"/>
                <a:gd name="T20" fmla="*/ 52 w 111"/>
                <a:gd name="T21" fmla="*/ 45 h 107"/>
                <a:gd name="T22" fmla="*/ 47 w 111"/>
                <a:gd name="T23" fmla="*/ 49 h 107"/>
                <a:gd name="T24" fmla="*/ 45 w 111"/>
                <a:gd name="T25" fmla="*/ 56 h 107"/>
                <a:gd name="T26" fmla="*/ 49 w 111"/>
                <a:gd name="T27" fmla="*/ 62 h 107"/>
                <a:gd name="T28" fmla="*/ 56 w 111"/>
                <a:gd name="T29" fmla="*/ 63 h 107"/>
                <a:gd name="T30" fmla="*/ 63 w 111"/>
                <a:gd name="T31" fmla="*/ 53 h 107"/>
                <a:gd name="T32" fmla="*/ 59 w 111"/>
                <a:gd name="T33" fmla="*/ 47 h 107"/>
                <a:gd name="T34" fmla="*/ 54 w 111"/>
                <a:gd name="T35"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07">
                  <a:moveTo>
                    <a:pt x="54" y="107"/>
                  </a:moveTo>
                  <a:cubicBezTo>
                    <a:pt x="43" y="107"/>
                    <a:pt x="33" y="103"/>
                    <a:pt x="24" y="97"/>
                  </a:cubicBezTo>
                  <a:cubicBezTo>
                    <a:pt x="13" y="89"/>
                    <a:pt x="5" y="77"/>
                    <a:pt x="3" y="63"/>
                  </a:cubicBezTo>
                  <a:cubicBezTo>
                    <a:pt x="0" y="50"/>
                    <a:pt x="3" y="36"/>
                    <a:pt x="11" y="24"/>
                  </a:cubicBezTo>
                  <a:cubicBezTo>
                    <a:pt x="19" y="13"/>
                    <a:pt x="31" y="5"/>
                    <a:pt x="45" y="3"/>
                  </a:cubicBezTo>
                  <a:cubicBezTo>
                    <a:pt x="59" y="0"/>
                    <a:pt x="73" y="4"/>
                    <a:pt x="84" y="12"/>
                  </a:cubicBezTo>
                  <a:cubicBezTo>
                    <a:pt x="95" y="20"/>
                    <a:pt x="103" y="32"/>
                    <a:pt x="106" y="45"/>
                  </a:cubicBezTo>
                  <a:cubicBezTo>
                    <a:pt x="111" y="74"/>
                    <a:pt x="92" y="101"/>
                    <a:pt x="63" y="106"/>
                  </a:cubicBezTo>
                  <a:cubicBezTo>
                    <a:pt x="60" y="106"/>
                    <a:pt x="57" y="107"/>
                    <a:pt x="54" y="107"/>
                  </a:cubicBezTo>
                  <a:close/>
                  <a:moveTo>
                    <a:pt x="54" y="45"/>
                  </a:moveTo>
                  <a:cubicBezTo>
                    <a:pt x="54" y="45"/>
                    <a:pt x="53" y="45"/>
                    <a:pt x="52" y="45"/>
                  </a:cubicBezTo>
                  <a:cubicBezTo>
                    <a:pt x="49" y="46"/>
                    <a:pt x="47" y="48"/>
                    <a:pt x="47" y="49"/>
                  </a:cubicBezTo>
                  <a:cubicBezTo>
                    <a:pt x="46" y="50"/>
                    <a:pt x="44" y="53"/>
                    <a:pt x="45" y="56"/>
                  </a:cubicBezTo>
                  <a:cubicBezTo>
                    <a:pt x="46" y="59"/>
                    <a:pt x="48" y="61"/>
                    <a:pt x="49" y="62"/>
                  </a:cubicBezTo>
                  <a:cubicBezTo>
                    <a:pt x="50" y="63"/>
                    <a:pt x="52" y="64"/>
                    <a:pt x="56" y="63"/>
                  </a:cubicBezTo>
                  <a:cubicBezTo>
                    <a:pt x="61" y="62"/>
                    <a:pt x="64" y="58"/>
                    <a:pt x="63" y="53"/>
                  </a:cubicBezTo>
                  <a:cubicBezTo>
                    <a:pt x="63" y="49"/>
                    <a:pt x="60" y="48"/>
                    <a:pt x="59" y="47"/>
                  </a:cubicBezTo>
                  <a:cubicBezTo>
                    <a:pt x="58" y="46"/>
                    <a:pt x="57" y="45"/>
                    <a:pt x="54" y="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1" name="Freeform 258"/>
            <p:cNvSpPr>
              <a:spLocks/>
            </p:cNvSpPr>
            <p:nvPr/>
          </p:nvSpPr>
          <p:spPr bwMode="auto">
            <a:xfrm>
              <a:off x="5680075" y="4481513"/>
              <a:ext cx="166688" cy="269875"/>
            </a:xfrm>
            <a:custGeom>
              <a:avLst/>
              <a:gdLst>
                <a:gd name="T0" fmla="*/ 119 w 253"/>
                <a:gd name="T1" fmla="*/ 408 h 408"/>
                <a:gd name="T2" fmla="*/ 109 w 253"/>
                <a:gd name="T3" fmla="*/ 406 h 408"/>
                <a:gd name="T4" fmla="*/ 15 w 253"/>
                <a:gd name="T5" fmla="*/ 359 h 408"/>
                <a:gd name="T6" fmla="*/ 6 w 253"/>
                <a:gd name="T7" fmla="*/ 330 h 408"/>
                <a:gd name="T8" fmla="*/ 35 w 253"/>
                <a:gd name="T9" fmla="*/ 320 h 408"/>
                <a:gd name="T10" fmla="*/ 107 w 253"/>
                <a:gd name="T11" fmla="*/ 357 h 408"/>
                <a:gd name="T12" fmla="*/ 203 w 253"/>
                <a:gd name="T13" fmla="*/ 86 h 408"/>
                <a:gd name="T14" fmla="*/ 126 w 253"/>
                <a:gd name="T15" fmla="*/ 43 h 408"/>
                <a:gd name="T16" fmla="*/ 118 w 253"/>
                <a:gd name="T17" fmla="*/ 14 h 408"/>
                <a:gd name="T18" fmla="*/ 148 w 253"/>
                <a:gd name="T19" fmla="*/ 6 h 408"/>
                <a:gd name="T20" fmla="*/ 240 w 253"/>
                <a:gd name="T21" fmla="*/ 58 h 408"/>
                <a:gd name="T22" fmla="*/ 250 w 253"/>
                <a:gd name="T23" fmla="*/ 84 h 408"/>
                <a:gd name="T24" fmla="*/ 139 w 253"/>
                <a:gd name="T25" fmla="*/ 394 h 408"/>
                <a:gd name="T26" fmla="*/ 127 w 253"/>
                <a:gd name="T27" fmla="*/ 407 h 408"/>
                <a:gd name="T28" fmla="*/ 119 w 253"/>
                <a:gd name="T29"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3" h="408">
                  <a:moveTo>
                    <a:pt x="119" y="408"/>
                  </a:moveTo>
                  <a:cubicBezTo>
                    <a:pt x="116" y="408"/>
                    <a:pt x="112" y="408"/>
                    <a:pt x="109" y="406"/>
                  </a:cubicBezTo>
                  <a:lnTo>
                    <a:pt x="15" y="359"/>
                  </a:lnTo>
                  <a:cubicBezTo>
                    <a:pt x="5" y="353"/>
                    <a:pt x="0" y="340"/>
                    <a:pt x="6" y="330"/>
                  </a:cubicBezTo>
                  <a:cubicBezTo>
                    <a:pt x="11" y="319"/>
                    <a:pt x="24" y="315"/>
                    <a:pt x="35" y="320"/>
                  </a:cubicBezTo>
                  <a:lnTo>
                    <a:pt x="107" y="357"/>
                  </a:lnTo>
                  <a:lnTo>
                    <a:pt x="203" y="86"/>
                  </a:lnTo>
                  <a:lnTo>
                    <a:pt x="126" y="43"/>
                  </a:lnTo>
                  <a:cubicBezTo>
                    <a:pt x="116" y="38"/>
                    <a:pt x="112" y="25"/>
                    <a:pt x="118" y="14"/>
                  </a:cubicBezTo>
                  <a:cubicBezTo>
                    <a:pt x="124" y="4"/>
                    <a:pt x="137" y="0"/>
                    <a:pt x="148" y="6"/>
                  </a:cubicBezTo>
                  <a:lnTo>
                    <a:pt x="240" y="58"/>
                  </a:lnTo>
                  <a:cubicBezTo>
                    <a:pt x="249" y="63"/>
                    <a:pt x="253" y="74"/>
                    <a:pt x="250" y="84"/>
                  </a:cubicBezTo>
                  <a:lnTo>
                    <a:pt x="139" y="394"/>
                  </a:lnTo>
                  <a:cubicBezTo>
                    <a:pt x="137" y="400"/>
                    <a:pt x="133" y="405"/>
                    <a:pt x="127" y="407"/>
                  </a:cubicBezTo>
                  <a:cubicBezTo>
                    <a:pt x="124" y="408"/>
                    <a:pt x="122" y="408"/>
                    <a:pt x="119" y="4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2" name="Freeform 259"/>
            <p:cNvSpPr>
              <a:spLocks/>
            </p:cNvSpPr>
            <p:nvPr/>
          </p:nvSpPr>
          <p:spPr bwMode="auto">
            <a:xfrm>
              <a:off x="5592762" y="4430713"/>
              <a:ext cx="193675" cy="319088"/>
            </a:xfrm>
            <a:custGeom>
              <a:avLst/>
              <a:gdLst>
                <a:gd name="T0" fmla="*/ 141 w 293"/>
                <a:gd name="T1" fmla="*/ 484 h 484"/>
                <a:gd name="T2" fmla="*/ 133 w 293"/>
                <a:gd name="T3" fmla="*/ 483 h 484"/>
                <a:gd name="T4" fmla="*/ 16 w 293"/>
                <a:gd name="T5" fmla="*/ 433 h 484"/>
                <a:gd name="T6" fmla="*/ 5 w 293"/>
                <a:gd name="T7" fmla="*/ 405 h 484"/>
                <a:gd name="T8" fmla="*/ 33 w 293"/>
                <a:gd name="T9" fmla="*/ 394 h 484"/>
                <a:gd name="T10" fmla="*/ 128 w 293"/>
                <a:gd name="T11" fmla="*/ 434 h 484"/>
                <a:gd name="T12" fmla="*/ 242 w 293"/>
                <a:gd name="T13" fmla="*/ 115 h 484"/>
                <a:gd name="T14" fmla="*/ 95 w 293"/>
                <a:gd name="T15" fmla="*/ 44 h 484"/>
                <a:gd name="T16" fmla="*/ 85 w 293"/>
                <a:gd name="T17" fmla="*/ 16 h 484"/>
                <a:gd name="T18" fmla="*/ 113 w 293"/>
                <a:gd name="T19" fmla="*/ 5 h 484"/>
                <a:gd name="T20" fmla="*/ 278 w 293"/>
                <a:gd name="T21" fmla="*/ 84 h 484"/>
                <a:gd name="T22" fmla="*/ 289 w 293"/>
                <a:gd name="T23" fmla="*/ 111 h 484"/>
                <a:gd name="T24" fmla="*/ 161 w 293"/>
                <a:gd name="T25" fmla="*/ 470 h 484"/>
                <a:gd name="T26" fmla="*/ 150 w 293"/>
                <a:gd name="T27" fmla="*/ 483 h 484"/>
                <a:gd name="T28" fmla="*/ 141 w 293"/>
                <a:gd name="T29" fmla="*/ 48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3" h="484">
                  <a:moveTo>
                    <a:pt x="141" y="484"/>
                  </a:moveTo>
                  <a:cubicBezTo>
                    <a:pt x="138" y="484"/>
                    <a:pt x="135" y="484"/>
                    <a:pt x="133" y="483"/>
                  </a:cubicBezTo>
                  <a:lnTo>
                    <a:pt x="16" y="433"/>
                  </a:lnTo>
                  <a:cubicBezTo>
                    <a:pt x="5" y="429"/>
                    <a:pt x="0" y="416"/>
                    <a:pt x="5" y="405"/>
                  </a:cubicBezTo>
                  <a:cubicBezTo>
                    <a:pt x="9" y="394"/>
                    <a:pt x="22" y="389"/>
                    <a:pt x="33" y="394"/>
                  </a:cubicBezTo>
                  <a:lnTo>
                    <a:pt x="128" y="434"/>
                  </a:lnTo>
                  <a:lnTo>
                    <a:pt x="242" y="115"/>
                  </a:lnTo>
                  <a:lnTo>
                    <a:pt x="95" y="44"/>
                  </a:lnTo>
                  <a:cubicBezTo>
                    <a:pt x="84" y="39"/>
                    <a:pt x="80" y="26"/>
                    <a:pt x="85" y="16"/>
                  </a:cubicBezTo>
                  <a:cubicBezTo>
                    <a:pt x="90" y="5"/>
                    <a:pt x="103" y="0"/>
                    <a:pt x="113" y="5"/>
                  </a:cubicBezTo>
                  <a:lnTo>
                    <a:pt x="278" y="84"/>
                  </a:lnTo>
                  <a:cubicBezTo>
                    <a:pt x="288" y="89"/>
                    <a:pt x="293" y="101"/>
                    <a:pt x="289" y="111"/>
                  </a:cubicBezTo>
                  <a:lnTo>
                    <a:pt x="161" y="470"/>
                  </a:lnTo>
                  <a:cubicBezTo>
                    <a:pt x="159" y="476"/>
                    <a:pt x="155" y="480"/>
                    <a:pt x="150" y="483"/>
                  </a:cubicBezTo>
                  <a:cubicBezTo>
                    <a:pt x="147" y="484"/>
                    <a:pt x="144" y="484"/>
                    <a:pt x="141" y="48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3" name="Freeform 260"/>
            <p:cNvSpPr>
              <a:spLocks/>
            </p:cNvSpPr>
            <p:nvPr/>
          </p:nvSpPr>
          <p:spPr bwMode="auto">
            <a:xfrm>
              <a:off x="6284913" y="4684713"/>
              <a:ext cx="52388" cy="39688"/>
            </a:xfrm>
            <a:custGeom>
              <a:avLst/>
              <a:gdLst>
                <a:gd name="T0" fmla="*/ 35 w 81"/>
                <a:gd name="T1" fmla="*/ 61 h 61"/>
                <a:gd name="T2" fmla="*/ 36 w 81"/>
                <a:gd name="T3" fmla="*/ 60 h 61"/>
                <a:gd name="T4" fmla="*/ 0 w 81"/>
                <a:gd name="T5" fmla="*/ 36 h 61"/>
                <a:gd name="T6" fmla="*/ 49 w 81"/>
                <a:gd name="T7" fmla="*/ 4 h 61"/>
                <a:gd name="T8" fmla="*/ 77 w 81"/>
                <a:gd name="T9" fmla="*/ 16 h 61"/>
                <a:gd name="T10" fmla="*/ 64 w 81"/>
                <a:gd name="T11" fmla="*/ 44 h 61"/>
                <a:gd name="T12" fmla="*/ 35 w 81"/>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81" h="61">
                  <a:moveTo>
                    <a:pt x="35" y="61"/>
                  </a:moveTo>
                  <a:cubicBezTo>
                    <a:pt x="36" y="60"/>
                    <a:pt x="36" y="60"/>
                    <a:pt x="36" y="60"/>
                  </a:cubicBezTo>
                  <a:lnTo>
                    <a:pt x="0" y="36"/>
                  </a:lnTo>
                  <a:cubicBezTo>
                    <a:pt x="3" y="32"/>
                    <a:pt x="14" y="17"/>
                    <a:pt x="49" y="4"/>
                  </a:cubicBezTo>
                  <a:cubicBezTo>
                    <a:pt x="60" y="0"/>
                    <a:pt x="72" y="5"/>
                    <a:pt x="77" y="16"/>
                  </a:cubicBezTo>
                  <a:cubicBezTo>
                    <a:pt x="81" y="27"/>
                    <a:pt x="75" y="40"/>
                    <a:pt x="64" y="44"/>
                  </a:cubicBezTo>
                  <a:cubicBezTo>
                    <a:pt x="42" y="52"/>
                    <a:pt x="35" y="61"/>
                    <a:pt x="35" y="6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4" name="Freeform 261"/>
            <p:cNvSpPr>
              <a:spLocks noEditPoints="1"/>
            </p:cNvSpPr>
            <p:nvPr/>
          </p:nvSpPr>
          <p:spPr bwMode="auto">
            <a:xfrm>
              <a:off x="5911850" y="4476750"/>
              <a:ext cx="369888" cy="233363"/>
            </a:xfrm>
            <a:custGeom>
              <a:avLst/>
              <a:gdLst>
                <a:gd name="T0" fmla="*/ 75 w 561"/>
                <a:gd name="T1" fmla="*/ 353 h 353"/>
                <a:gd name="T2" fmla="*/ 7 w 561"/>
                <a:gd name="T3" fmla="*/ 319 h 353"/>
                <a:gd name="T4" fmla="*/ 7 w 561"/>
                <a:gd name="T5" fmla="*/ 291 h 353"/>
                <a:gd name="T6" fmla="*/ 40 w 561"/>
                <a:gd name="T7" fmla="*/ 189 h 353"/>
                <a:gd name="T8" fmla="*/ 52 w 561"/>
                <a:gd name="T9" fmla="*/ 141 h 353"/>
                <a:gd name="T10" fmla="*/ 100 w 561"/>
                <a:gd name="T11" fmla="*/ 105 h 353"/>
                <a:gd name="T12" fmla="*/ 142 w 561"/>
                <a:gd name="T13" fmla="*/ 78 h 353"/>
                <a:gd name="T14" fmla="*/ 178 w 561"/>
                <a:gd name="T15" fmla="*/ 49 h 353"/>
                <a:gd name="T16" fmla="*/ 238 w 561"/>
                <a:gd name="T17" fmla="*/ 11 h 353"/>
                <a:gd name="T18" fmla="*/ 544 w 561"/>
                <a:gd name="T19" fmla="*/ 66 h 353"/>
                <a:gd name="T20" fmla="*/ 557 w 561"/>
                <a:gd name="T21" fmla="*/ 93 h 353"/>
                <a:gd name="T22" fmla="*/ 529 w 561"/>
                <a:gd name="T23" fmla="*/ 106 h 353"/>
                <a:gd name="T24" fmla="*/ 246 w 561"/>
                <a:gd name="T25" fmla="*/ 53 h 353"/>
                <a:gd name="T26" fmla="*/ 206 w 561"/>
                <a:gd name="T27" fmla="*/ 81 h 353"/>
                <a:gd name="T28" fmla="*/ 167 w 561"/>
                <a:gd name="T29" fmla="*/ 113 h 353"/>
                <a:gd name="T30" fmla="*/ 122 w 561"/>
                <a:gd name="T31" fmla="*/ 142 h 353"/>
                <a:gd name="T32" fmla="*/ 86 w 561"/>
                <a:gd name="T33" fmla="*/ 168 h 353"/>
                <a:gd name="T34" fmla="*/ 83 w 561"/>
                <a:gd name="T35" fmla="*/ 192 h 353"/>
                <a:gd name="T36" fmla="*/ 52 w 561"/>
                <a:gd name="T37" fmla="*/ 303 h 353"/>
                <a:gd name="T38" fmla="*/ 79 w 561"/>
                <a:gd name="T39" fmla="*/ 310 h 353"/>
                <a:gd name="T40" fmla="*/ 152 w 561"/>
                <a:gd name="T41" fmla="*/ 233 h 353"/>
                <a:gd name="T42" fmla="*/ 177 w 561"/>
                <a:gd name="T43" fmla="*/ 214 h 353"/>
                <a:gd name="T44" fmla="*/ 205 w 561"/>
                <a:gd name="T45" fmla="*/ 202 h 353"/>
                <a:gd name="T46" fmla="*/ 246 w 561"/>
                <a:gd name="T47" fmla="*/ 185 h 353"/>
                <a:gd name="T48" fmla="*/ 274 w 561"/>
                <a:gd name="T49" fmla="*/ 196 h 353"/>
                <a:gd name="T50" fmla="*/ 262 w 561"/>
                <a:gd name="T51" fmla="*/ 225 h 353"/>
                <a:gd name="T52" fmla="*/ 189 w 561"/>
                <a:gd name="T53" fmla="*/ 255 h 353"/>
                <a:gd name="T54" fmla="*/ 84 w 561"/>
                <a:gd name="T55" fmla="*/ 352 h 353"/>
                <a:gd name="T56" fmla="*/ 75 w 561"/>
                <a:gd name="T57" fmla="*/ 353 h 353"/>
                <a:gd name="T58" fmla="*/ 86 w 561"/>
                <a:gd name="T59" fmla="*/ 168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1" h="353">
                  <a:moveTo>
                    <a:pt x="75" y="353"/>
                  </a:moveTo>
                  <a:cubicBezTo>
                    <a:pt x="49" y="353"/>
                    <a:pt x="25" y="341"/>
                    <a:pt x="7" y="319"/>
                  </a:cubicBezTo>
                  <a:cubicBezTo>
                    <a:pt x="0" y="311"/>
                    <a:pt x="0" y="299"/>
                    <a:pt x="7" y="291"/>
                  </a:cubicBezTo>
                  <a:cubicBezTo>
                    <a:pt x="36" y="259"/>
                    <a:pt x="38" y="219"/>
                    <a:pt x="40" y="189"/>
                  </a:cubicBezTo>
                  <a:cubicBezTo>
                    <a:pt x="42" y="169"/>
                    <a:pt x="43" y="152"/>
                    <a:pt x="52" y="141"/>
                  </a:cubicBezTo>
                  <a:cubicBezTo>
                    <a:pt x="64" y="127"/>
                    <a:pt x="81" y="117"/>
                    <a:pt x="100" y="105"/>
                  </a:cubicBezTo>
                  <a:cubicBezTo>
                    <a:pt x="112" y="98"/>
                    <a:pt x="127" y="89"/>
                    <a:pt x="142" y="78"/>
                  </a:cubicBezTo>
                  <a:cubicBezTo>
                    <a:pt x="156" y="68"/>
                    <a:pt x="167" y="58"/>
                    <a:pt x="178" y="49"/>
                  </a:cubicBezTo>
                  <a:cubicBezTo>
                    <a:pt x="198" y="31"/>
                    <a:pt x="216" y="15"/>
                    <a:pt x="238" y="11"/>
                  </a:cubicBezTo>
                  <a:cubicBezTo>
                    <a:pt x="295" y="0"/>
                    <a:pt x="432" y="25"/>
                    <a:pt x="544" y="66"/>
                  </a:cubicBezTo>
                  <a:cubicBezTo>
                    <a:pt x="555" y="70"/>
                    <a:pt x="561" y="82"/>
                    <a:pt x="557" y="93"/>
                  </a:cubicBezTo>
                  <a:cubicBezTo>
                    <a:pt x="553" y="104"/>
                    <a:pt x="541" y="110"/>
                    <a:pt x="529" y="106"/>
                  </a:cubicBezTo>
                  <a:cubicBezTo>
                    <a:pt x="416" y="65"/>
                    <a:pt x="289" y="45"/>
                    <a:pt x="246" y="53"/>
                  </a:cubicBezTo>
                  <a:cubicBezTo>
                    <a:pt x="235" y="55"/>
                    <a:pt x="222" y="67"/>
                    <a:pt x="206" y="81"/>
                  </a:cubicBezTo>
                  <a:cubicBezTo>
                    <a:pt x="195" y="91"/>
                    <a:pt x="183" y="102"/>
                    <a:pt x="167" y="113"/>
                  </a:cubicBezTo>
                  <a:cubicBezTo>
                    <a:pt x="150" y="125"/>
                    <a:pt x="136" y="134"/>
                    <a:pt x="122" y="142"/>
                  </a:cubicBezTo>
                  <a:cubicBezTo>
                    <a:pt x="106" y="152"/>
                    <a:pt x="94" y="160"/>
                    <a:pt x="86" y="168"/>
                  </a:cubicBezTo>
                  <a:cubicBezTo>
                    <a:pt x="85" y="172"/>
                    <a:pt x="84" y="184"/>
                    <a:pt x="83" y="192"/>
                  </a:cubicBezTo>
                  <a:cubicBezTo>
                    <a:pt x="81" y="222"/>
                    <a:pt x="78" y="264"/>
                    <a:pt x="52" y="303"/>
                  </a:cubicBezTo>
                  <a:cubicBezTo>
                    <a:pt x="59" y="308"/>
                    <a:pt x="68" y="311"/>
                    <a:pt x="79" y="310"/>
                  </a:cubicBezTo>
                  <a:cubicBezTo>
                    <a:pt x="104" y="307"/>
                    <a:pt x="130" y="280"/>
                    <a:pt x="152" y="233"/>
                  </a:cubicBezTo>
                  <a:cubicBezTo>
                    <a:pt x="155" y="223"/>
                    <a:pt x="165" y="219"/>
                    <a:pt x="177" y="214"/>
                  </a:cubicBezTo>
                  <a:cubicBezTo>
                    <a:pt x="184" y="211"/>
                    <a:pt x="193" y="207"/>
                    <a:pt x="205" y="202"/>
                  </a:cubicBezTo>
                  <a:cubicBezTo>
                    <a:pt x="226" y="193"/>
                    <a:pt x="246" y="185"/>
                    <a:pt x="246" y="185"/>
                  </a:cubicBezTo>
                  <a:cubicBezTo>
                    <a:pt x="257" y="180"/>
                    <a:pt x="269" y="185"/>
                    <a:pt x="274" y="196"/>
                  </a:cubicBezTo>
                  <a:cubicBezTo>
                    <a:pt x="279" y="207"/>
                    <a:pt x="273" y="220"/>
                    <a:pt x="262" y="225"/>
                  </a:cubicBezTo>
                  <a:cubicBezTo>
                    <a:pt x="234" y="236"/>
                    <a:pt x="202" y="250"/>
                    <a:pt x="189" y="255"/>
                  </a:cubicBezTo>
                  <a:cubicBezTo>
                    <a:pt x="168" y="298"/>
                    <a:pt x="133" y="346"/>
                    <a:pt x="84" y="352"/>
                  </a:cubicBezTo>
                  <a:cubicBezTo>
                    <a:pt x="81" y="353"/>
                    <a:pt x="78" y="353"/>
                    <a:pt x="75" y="353"/>
                  </a:cubicBezTo>
                  <a:close/>
                  <a:moveTo>
                    <a:pt x="86" y="168"/>
                  </a:move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5" name="Freeform 262"/>
            <p:cNvSpPr>
              <a:spLocks/>
            </p:cNvSpPr>
            <p:nvPr/>
          </p:nvSpPr>
          <p:spPr bwMode="auto">
            <a:xfrm>
              <a:off x="6064250" y="4597400"/>
              <a:ext cx="246063" cy="195263"/>
            </a:xfrm>
            <a:custGeom>
              <a:avLst/>
              <a:gdLst>
                <a:gd name="T0" fmla="*/ 267 w 375"/>
                <a:gd name="T1" fmla="*/ 296 h 296"/>
                <a:gd name="T2" fmla="*/ 205 w 375"/>
                <a:gd name="T3" fmla="*/ 287 h 296"/>
                <a:gd name="T4" fmla="*/ 98 w 375"/>
                <a:gd name="T5" fmla="*/ 239 h 296"/>
                <a:gd name="T6" fmla="*/ 92 w 375"/>
                <a:gd name="T7" fmla="*/ 209 h 296"/>
                <a:gd name="T8" fmla="*/ 122 w 375"/>
                <a:gd name="T9" fmla="*/ 204 h 296"/>
                <a:gd name="T10" fmla="*/ 122 w 375"/>
                <a:gd name="T11" fmla="*/ 204 h 296"/>
                <a:gd name="T12" fmla="*/ 217 w 375"/>
                <a:gd name="T13" fmla="*/ 245 h 296"/>
                <a:gd name="T14" fmla="*/ 323 w 375"/>
                <a:gd name="T15" fmla="*/ 228 h 296"/>
                <a:gd name="T16" fmla="*/ 321 w 375"/>
                <a:gd name="T17" fmla="*/ 210 h 296"/>
                <a:gd name="T18" fmla="*/ 109 w 375"/>
                <a:gd name="T19" fmla="*/ 103 h 296"/>
                <a:gd name="T20" fmla="*/ 19 w 375"/>
                <a:gd name="T21" fmla="*/ 45 h 296"/>
                <a:gd name="T22" fmla="*/ 2 w 375"/>
                <a:gd name="T23" fmla="*/ 20 h 296"/>
                <a:gd name="T24" fmla="*/ 27 w 375"/>
                <a:gd name="T25" fmla="*/ 2 h 296"/>
                <a:gd name="T26" fmla="*/ 141 w 375"/>
                <a:gd name="T27" fmla="*/ 75 h 296"/>
                <a:gd name="T28" fmla="*/ 332 w 375"/>
                <a:gd name="T29" fmla="*/ 168 h 296"/>
                <a:gd name="T30" fmla="*/ 341 w 375"/>
                <a:gd name="T31" fmla="*/ 171 h 296"/>
                <a:gd name="T32" fmla="*/ 362 w 375"/>
                <a:gd name="T33" fmla="*/ 246 h 296"/>
                <a:gd name="T34" fmla="*/ 267 w 375"/>
                <a:gd name="T35" fmla="*/ 29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5" h="296">
                  <a:moveTo>
                    <a:pt x="267" y="296"/>
                  </a:moveTo>
                  <a:cubicBezTo>
                    <a:pt x="249" y="296"/>
                    <a:pt x="228" y="293"/>
                    <a:pt x="205" y="287"/>
                  </a:cubicBezTo>
                  <a:cubicBezTo>
                    <a:pt x="141" y="268"/>
                    <a:pt x="100" y="240"/>
                    <a:pt x="98" y="239"/>
                  </a:cubicBezTo>
                  <a:cubicBezTo>
                    <a:pt x="88" y="232"/>
                    <a:pt x="86" y="219"/>
                    <a:pt x="92" y="209"/>
                  </a:cubicBezTo>
                  <a:cubicBezTo>
                    <a:pt x="99" y="199"/>
                    <a:pt x="112" y="197"/>
                    <a:pt x="122" y="204"/>
                  </a:cubicBezTo>
                  <a:lnTo>
                    <a:pt x="122" y="204"/>
                  </a:lnTo>
                  <a:cubicBezTo>
                    <a:pt x="123" y="204"/>
                    <a:pt x="160" y="229"/>
                    <a:pt x="217" y="245"/>
                  </a:cubicBezTo>
                  <a:cubicBezTo>
                    <a:pt x="277" y="263"/>
                    <a:pt x="314" y="249"/>
                    <a:pt x="323" y="228"/>
                  </a:cubicBezTo>
                  <a:cubicBezTo>
                    <a:pt x="324" y="226"/>
                    <a:pt x="328" y="217"/>
                    <a:pt x="321" y="210"/>
                  </a:cubicBezTo>
                  <a:cubicBezTo>
                    <a:pt x="188" y="192"/>
                    <a:pt x="144" y="143"/>
                    <a:pt x="109" y="103"/>
                  </a:cubicBezTo>
                  <a:cubicBezTo>
                    <a:pt x="85" y="76"/>
                    <a:pt x="66" y="54"/>
                    <a:pt x="19" y="45"/>
                  </a:cubicBezTo>
                  <a:cubicBezTo>
                    <a:pt x="7" y="43"/>
                    <a:pt x="0" y="31"/>
                    <a:pt x="2" y="20"/>
                  </a:cubicBezTo>
                  <a:cubicBezTo>
                    <a:pt x="4" y="8"/>
                    <a:pt x="15" y="0"/>
                    <a:pt x="27" y="2"/>
                  </a:cubicBezTo>
                  <a:cubicBezTo>
                    <a:pt x="88" y="14"/>
                    <a:pt x="115" y="45"/>
                    <a:pt x="141" y="75"/>
                  </a:cubicBezTo>
                  <a:cubicBezTo>
                    <a:pt x="175" y="113"/>
                    <a:pt x="211" y="153"/>
                    <a:pt x="332" y="168"/>
                  </a:cubicBezTo>
                  <a:cubicBezTo>
                    <a:pt x="335" y="169"/>
                    <a:pt x="338" y="170"/>
                    <a:pt x="341" y="171"/>
                  </a:cubicBezTo>
                  <a:cubicBezTo>
                    <a:pt x="366" y="187"/>
                    <a:pt x="375" y="218"/>
                    <a:pt x="362" y="246"/>
                  </a:cubicBezTo>
                  <a:cubicBezTo>
                    <a:pt x="351" y="272"/>
                    <a:pt x="320" y="296"/>
                    <a:pt x="267" y="2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6" name="Freeform 263"/>
            <p:cNvSpPr>
              <a:spLocks/>
            </p:cNvSpPr>
            <p:nvPr/>
          </p:nvSpPr>
          <p:spPr bwMode="auto">
            <a:xfrm>
              <a:off x="6088063" y="4765675"/>
              <a:ext cx="179388" cy="84138"/>
            </a:xfrm>
            <a:custGeom>
              <a:avLst/>
              <a:gdLst>
                <a:gd name="T0" fmla="*/ 178 w 273"/>
                <a:gd name="T1" fmla="*/ 129 h 129"/>
                <a:gd name="T2" fmla="*/ 143 w 273"/>
                <a:gd name="T3" fmla="*/ 125 h 129"/>
                <a:gd name="T4" fmla="*/ 11 w 273"/>
                <a:gd name="T5" fmla="*/ 63 h 129"/>
                <a:gd name="T6" fmla="*/ 7 w 273"/>
                <a:gd name="T7" fmla="*/ 33 h 129"/>
                <a:gd name="T8" fmla="*/ 37 w 273"/>
                <a:gd name="T9" fmla="*/ 29 h 129"/>
                <a:gd name="T10" fmla="*/ 37 w 273"/>
                <a:gd name="T11" fmla="*/ 29 h 129"/>
                <a:gd name="T12" fmla="*/ 154 w 273"/>
                <a:gd name="T13" fmla="*/ 83 h 129"/>
                <a:gd name="T14" fmla="*/ 221 w 273"/>
                <a:gd name="T15" fmla="*/ 66 h 129"/>
                <a:gd name="T16" fmla="*/ 221 w 273"/>
                <a:gd name="T17" fmla="*/ 37 h 129"/>
                <a:gd name="T18" fmla="*/ 224 w 273"/>
                <a:gd name="T19" fmla="*/ 7 h 129"/>
                <a:gd name="T20" fmla="*/ 254 w 273"/>
                <a:gd name="T21" fmla="*/ 11 h 129"/>
                <a:gd name="T22" fmla="*/ 257 w 273"/>
                <a:gd name="T23" fmla="*/ 90 h 129"/>
                <a:gd name="T24" fmla="*/ 178 w 273"/>
                <a:gd name="T2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129">
                  <a:moveTo>
                    <a:pt x="178" y="129"/>
                  </a:moveTo>
                  <a:cubicBezTo>
                    <a:pt x="167" y="129"/>
                    <a:pt x="156" y="128"/>
                    <a:pt x="143" y="125"/>
                  </a:cubicBezTo>
                  <a:cubicBezTo>
                    <a:pt x="70" y="106"/>
                    <a:pt x="14" y="65"/>
                    <a:pt x="11" y="63"/>
                  </a:cubicBezTo>
                  <a:cubicBezTo>
                    <a:pt x="2" y="56"/>
                    <a:pt x="0" y="43"/>
                    <a:pt x="7" y="33"/>
                  </a:cubicBezTo>
                  <a:cubicBezTo>
                    <a:pt x="14" y="24"/>
                    <a:pt x="27" y="22"/>
                    <a:pt x="37" y="29"/>
                  </a:cubicBezTo>
                  <a:lnTo>
                    <a:pt x="37" y="29"/>
                  </a:lnTo>
                  <a:cubicBezTo>
                    <a:pt x="37" y="29"/>
                    <a:pt x="89" y="67"/>
                    <a:pt x="154" y="83"/>
                  </a:cubicBezTo>
                  <a:cubicBezTo>
                    <a:pt x="189" y="92"/>
                    <a:pt x="212" y="80"/>
                    <a:pt x="221" y="66"/>
                  </a:cubicBezTo>
                  <a:cubicBezTo>
                    <a:pt x="227" y="57"/>
                    <a:pt x="227" y="46"/>
                    <a:pt x="221" y="37"/>
                  </a:cubicBezTo>
                  <a:cubicBezTo>
                    <a:pt x="213" y="28"/>
                    <a:pt x="215" y="15"/>
                    <a:pt x="224" y="7"/>
                  </a:cubicBezTo>
                  <a:cubicBezTo>
                    <a:pt x="234" y="0"/>
                    <a:pt x="247" y="1"/>
                    <a:pt x="254" y="11"/>
                  </a:cubicBezTo>
                  <a:cubicBezTo>
                    <a:pt x="272" y="34"/>
                    <a:pt x="273" y="65"/>
                    <a:pt x="257" y="90"/>
                  </a:cubicBezTo>
                  <a:cubicBezTo>
                    <a:pt x="243" y="111"/>
                    <a:pt x="217" y="129"/>
                    <a:pt x="178" y="12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7" name="Freeform 264"/>
            <p:cNvSpPr>
              <a:spLocks/>
            </p:cNvSpPr>
            <p:nvPr/>
          </p:nvSpPr>
          <p:spPr bwMode="auto">
            <a:xfrm>
              <a:off x="6064250" y="4821238"/>
              <a:ext cx="150813" cy="73025"/>
            </a:xfrm>
            <a:custGeom>
              <a:avLst/>
              <a:gdLst>
                <a:gd name="T0" fmla="*/ 135 w 228"/>
                <a:gd name="T1" fmla="*/ 111 h 111"/>
                <a:gd name="T2" fmla="*/ 114 w 228"/>
                <a:gd name="T3" fmla="*/ 109 h 111"/>
                <a:gd name="T4" fmla="*/ 14 w 228"/>
                <a:gd name="T5" fmla="*/ 69 h 111"/>
                <a:gd name="T6" fmla="*/ 6 w 228"/>
                <a:gd name="T7" fmla="*/ 40 h 111"/>
                <a:gd name="T8" fmla="*/ 35 w 228"/>
                <a:gd name="T9" fmla="*/ 31 h 111"/>
                <a:gd name="T10" fmla="*/ 123 w 228"/>
                <a:gd name="T11" fmla="*/ 67 h 111"/>
                <a:gd name="T12" fmla="*/ 171 w 228"/>
                <a:gd name="T13" fmla="*/ 53 h 111"/>
                <a:gd name="T14" fmla="*/ 180 w 228"/>
                <a:gd name="T15" fmla="*/ 29 h 111"/>
                <a:gd name="T16" fmla="*/ 196 w 228"/>
                <a:gd name="T17" fmla="*/ 3 h 111"/>
                <a:gd name="T18" fmla="*/ 222 w 228"/>
                <a:gd name="T19" fmla="*/ 18 h 111"/>
                <a:gd name="T20" fmla="*/ 202 w 228"/>
                <a:gd name="T21" fmla="*/ 83 h 111"/>
                <a:gd name="T22" fmla="*/ 135 w 228"/>
                <a:gd name="T23"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 h="111">
                  <a:moveTo>
                    <a:pt x="135" y="111"/>
                  </a:moveTo>
                  <a:cubicBezTo>
                    <a:pt x="128" y="111"/>
                    <a:pt x="121" y="110"/>
                    <a:pt x="114" y="109"/>
                  </a:cubicBezTo>
                  <a:cubicBezTo>
                    <a:pt x="70" y="100"/>
                    <a:pt x="17" y="70"/>
                    <a:pt x="14" y="69"/>
                  </a:cubicBezTo>
                  <a:cubicBezTo>
                    <a:pt x="4" y="63"/>
                    <a:pt x="0" y="50"/>
                    <a:pt x="6" y="40"/>
                  </a:cubicBezTo>
                  <a:cubicBezTo>
                    <a:pt x="12" y="29"/>
                    <a:pt x="25" y="25"/>
                    <a:pt x="35" y="31"/>
                  </a:cubicBezTo>
                  <a:cubicBezTo>
                    <a:pt x="36" y="32"/>
                    <a:pt x="85" y="59"/>
                    <a:pt x="123" y="67"/>
                  </a:cubicBezTo>
                  <a:cubicBezTo>
                    <a:pt x="141" y="70"/>
                    <a:pt x="159" y="65"/>
                    <a:pt x="171" y="53"/>
                  </a:cubicBezTo>
                  <a:cubicBezTo>
                    <a:pt x="179" y="45"/>
                    <a:pt x="182" y="36"/>
                    <a:pt x="180" y="29"/>
                  </a:cubicBezTo>
                  <a:cubicBezTo>
                    <a:pt x="178" y="17"/>
                    <a:pt x="185" y="6"/>
                    <a:pt x="196" y="3"/>
                  </a:cubicBezTo>
                  <a:cubicBezTo>
                    <a:pt x="208" y="0"/>
                    <a:pt x="219" y="7"/>
                    <a:pt x="222" y="18"/>
                  </a:cubicBezTo>
                  <a:cubicBezTo>
                    <a:pt x="228" y="40"/>
                    <a:pt x="220" y="64"/>
                    <a:pt x="202" y="83"/>
                  </a:cubicBezTo>
                  <a:cubicBezTo>
                    <a:pt x="185" y="101"/>
                    <a:pt x="160" y="111"/>
                    <a:pt x="135" y="1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8" name="Freeform 265"/>
            <p:cNvSpPr>
              <a:spLocks/>
            </p:cNvSpPr>
            <p:nvPr/>
          </p:nvSpPr>
          <p:spPr bwMode="auto">
            <a:xfrm>
              <a:off x="6011863" y="4859338"/>
              <a:ext cx="133350" cy="58738"/>
            </a:xfrm>
            <a:custGeom>
              <a:avLst/>
              <a:gdLst>
                <a:gd name="T0" fmla="*/ 118 w 202"/>
                <a:gd name="T1" fmla="*/ 88 h 88"/>
                <a:gd name="T2" fmla="*/ 13 w 202"/>
                <a:gd name="T3" fmla="*/ 54 h 88"/>
                <a:gd name="T4" fmla="*/ 7 w 202"/>
                <a:gd name="T5" fmla="*/ 24 h 88"/>
                <a:gd name="T6" fmla="*/ 36 w 202"/>
                <a:gd name="T7" fmla="*/ 18 h 88"/>
                <a:gd name="T8" fmla="*/ 143 w 202"/>
                <a:gd name="T9" fmla="*/ 40 h 88"/>
                <a:gd name="T10" fmla="*/ 158 w 202"/>
                <a:gd name="T11" fmla="*/ 21 h 88"/>
                <a:gd name="T12" fmla="*/ 182 w 202"/>
                <a:gd name="T13" fmla="*/ 2 h 88"/>
                <a:gd name="T14" fmla="*/ 201 w 202"/>
                <a:gd name="T15" fmla="*/ 26 h 88"/>
                <a:gd name="T16" fmla="*/ 161 w 202"/>
                <a:gd name="T17" fmla="*/ 79 h 88"/>
                <a:gd name="T18" fmla="*/ 118 w 202"/>
                <a:gd name="T1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88">
                  <a:moveTo>
                    <a:pt x="118" y="88"/>
                  </a:moveTo>
                  <a:cubicBezTo>
                    <a:pt x="85" y="88"/>
                    <a:pt x="46" y="76"/>
                    <a:pt x="13" y="54"/>
                  </a:cubicBezTo>
                  <a:cubicBezTo>
                    <a:pt x="3" y="47"/>
                    <a:pt x="0" y="34"/>
                    <a:pt x="7" y="24"/>
                  </a:cubicBezTo>
                  <a:cubicBezTo>
                    <a:pt x="13" y="14"/>
                    <a:pt x="27" y="11"/>
                    <a:pt x="36" y="18"/>
                  </a:cubicBezTo>
                  <a:cubicBezTo>
                    <a:pt x="72" y="42"/>
                    <a:pt x="119" y="51"/>
                    <a:pt x="143" y="40"/>
                  </a:cubicBezTo>
                  <a:cubicBezTo>
                    <a:pt x="152" y="36"/>
                    <a:pt x="157" y="30"/>
                    <a:pt x="158" y="21"/>
                  </a:cubicBezTo>
                  <a:cubicBezTo>
                    <a:pt x="160" y="9"/>
                    <a:pt x="170" y="0"/>
                    <a:pt x="182" y="2"/>
                  </a:cubicBezTo>
                  <a:cubicBezTo>
                    <a:pt x="194" y="4"/>
                    <a:pt x="202" y="14"/>
                    <a:pt x="201" y="26"/>
                  </a:cubicBezTo>
                  <a:cubicBezTo>
                    <a:pt x="197" y="50"/>
                    <a:pt x="183" y="69"/>
                    <a:pt x="161" y="79"/>
                  </a:cubicBezTo>
                  <a:cubicBezTo>
                    <a:pt x="149" y="85"/>
                    <a:pt x="134" y="88"/>
                    <a:pt x="118" y="8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9" name="Freeform 266"/>
            <p:cNvSpPr>
              <a:spLocks/>
            </p:cNvSpPr>
            <p:nvPr/>
          </p:nvSpPr>
          <p:spPr bwMode="auto">
            <a:xfrm>
              <a:off x="5753100" y="4695825"/>
              <a:ext cx="76200" cy="50800"/>
            </a:xfrm>
            <a:custGeom>
              <a:avLst/>
              <a:gdLst>
                <a:gd name="T0" fmla="*/ 91 w 115"/>
                <a:gd name="T1" fmla="*/ 77 h 77"/>
                <a:gd name="T2" fmla="*/ 76 w 115"/>
                <a:gd name="T3" fmla="*/ 70 h 77"/>
                <a:gd name="T4" fmla="*/ 21 w 115"/>
                <a:gd name="T5" fmla="*/ 44 h 77"/>
                <a:gd name="T6" fmla="*/ 0 w 115"/>
                <a:gd name="T7" fmla="*/ 21 h 77"/>
                <a:gd name="T8" fmla="*/ 23 w 115"/>
                <a:gd name="T9" fmla="*/ 1 h 77"/>
                <a:gd name="T10" fmla="*/ 107 w 115"/>
                <a:gd name="T11" fmla="*/ 41 h 77"/>
                <a:gd name="T12" fmla="*/ 106 w 115"/>
                <a:gd name="T13" fmla="*/ 71 h 77"/>
                <a:gd name="T14" fmla="*/ 91 w 115"/>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77">
                  <a:moveTo>
                    <a:pt x="91" y="77"/>
                  </a:moveTo>
                  <a:cubicBezTo>
                    <a:pt x="85" y="77"/>
                    <a:pt x="80" y="75"/>
                    <a:pt x="76" y="70"/>
                  </a:cubicBezTo>
                  <a:cubicBezTo>
                    <a:pt x="52" y="45"/>
                    <a:pt x="22" y="44"/>
                    <a:pt x="21" y="44"/>
                  </a:cubicBezTo>
                  <a:cubicBezTo>
                    <a:pt x="9" y="43"/>
                    <a:pt x="0" y="33"/>
                    <a:pt x="0" y="21"/>
                  </a:cubicBezTo>
                  <a:cubicBezTo>
                    <a:pt x="1" y="10"/>
                    <a:pt x="11" y="0"/>
                    <a:pt x="23" y="1"/>
                  </a:cubicBezTo>
                  <a:cubicBezTo>
                    <a:pt x="24" y="1"/>
                    <a:pt x="71" y="2"/>
                    <a:pt x="107" y="41"/>
                  </a:cubicBezTo>
                  <a:cubicBezTo>
                    <a:pt x="115" y="49"/>
                    <a:pt x="115" y="63"/>
                    <a:pt x="106" y="71"/>
                  </a:cubicBezTo>
                  <a:cubicBezTo>
                    <a:pt x="102" y="75"/>
                    <a:pt x="96" y="77"/>
                    <a:pt x="91"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0" name="Freeform 267"/>
            <p:cNvSpPr>
              <a:spLocks/>
            </p:cNvSpPr>
            <p:nvPr/>
          </p:nvSpPr>
          <p:spPr bwMode="auto">
            <a:xfrm>
              <a:off x="5815013" y="4492625"/>
              <a:ext cx="242888" cy="66675"/>
            </a:xfrm>
            <a:custGeom>
              <a:avLst/>
              <a:gdLst>
                <a:gd name="T0" fmla="*/ 83 w 369"/>
                <a:gd name="T1" fmla="*/ 99 h 99"/>
                <a:gd name="T2" fmla="*/ 14 w 369"/>
                <a:gd name="T3" fmla="*/ 78 h 99"/>
                <a:gd name="T4" fmla="*/ 6 w 369"/>
                <a:gd name="T5" fmla="*/ 49 h 99"/>
                <a:gd name="T6" fmla="*/ 36 w 369"/>
                <a:gd name="T7" fmla="*/ 41 h 99"/>
                <a:gd name="T8" fmla="*/ 134 w 369"/>
                <a:gd name="T9" fmla="*/ 42 h 99"/>
                <a:gd name="T10" fmla="*/ 150 w 369"/>
                <a:gd name="T11" fmla="*/ 36 h 99"/>
                <a:gd name="T12" fmla="*/ 353 w 369"/>
                <a:gd name="T13" fmla="*/ 16 h 99"/>
                <a:gd name="T14" fmla="*/ 364 w 369"/>
                <a:gd name="T15" fmla="*/ 44 h 99"/>
                <a:gd name="T16" fmla="*/ 335 w 369"/>
                <a:gd name="T17" fmla="*/ 55 h 99"/>
                <a:gd name="T18" fmla="*/ 164 w 369"/>
                <a:gd name="T19" fmla="*/ 76 h 99"/>
                <a:gd name="T20" fmla="*/ 150 w 369"/>
                <a:gd name="T21" fmla="*/ 82 h 99"/>
                <a:gd name="T22" fmla="*/ 83 w 369"/>
                <a:gd name="T2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9" h="99">
                  <a:moveTo>
                    <a:pt x="83" y="99"/>
                  </a:moveTo>
                  <a:cubicBezTo>
                    <a:pt x="62" y="99"/>
                    <a:pt x="39" y="93"/>
                    <a:pt x="14" y="78"/>
                  </a:cubicBezTo>
                  <a:cubicBezTo>
                    <a:pt x="3" y="72"/>
                    <a:pt x="0" y="59"/>
                    <a:pt x="6" y="49"/>
                  </a:cubicBezTo>
                  <a:cubicBezTo>
                    <a:pt x="12" y="38"/>
                    <a:pt x="25" y="35"/>
                    <a:pt x="36" y="41"/>
                  </a:cubicBezTo>
                  <a:cubicBezTo>
                    <a:pt x="77" y="65"/>
                    <a:pt x="103" y="54"/>
                    <a:pt x="134" y="42"/>
                  </a:cubicBezTo>
                  <a:cubicBezTo>
                    <a:pt x="139" y="40"/>
                    <a:pt x="144" y="38"/>
                    <a:pt x="150" y="36"/>
                  </a:cubicBezTo>
                  <a:cubicBezTo>
                    <a:pt x="219" y="10"/>
                    <a:pt x="317" y="0"/>
                    <a:pt x="353" y="16"/>
                  </a:cubicBezTo>
                  <a:cubicBezTo>
                    <a:pt x="364" y="20"/>
                    <a:pt x="369" y="33"/>
                    <a:pt x="364" y="44"/>
                  </a:cubicBezTo>
                  <a:cubicBezTo>
                    <a:pt x="359" y="55"/>
                    <a:pt x="346" y="60"/>
                    <a:pt x="335" y="55"/>
                  </a:cubicBezTo>
                  <a:cubicBezTo>
                    <a:pt x="317" y="47"/>
                    <a:pt x="234" y="50"/>
                    <a:pt x="164" y="76"/>
                  </a:cubicBezTo>
                  <a:cubicBezTo>
                    <a:pt x="160" y="78"/>
                    <a:pt x="155" y="80"/>
                    <a:pt x="150" y="82"/>
                  </a:cubicBezTo>
                  <a:cubicBezTo>
                    <a:pt x="132" y="89"/>
                    <a:pt x="109" y="99"/>
                    <a:pt x="83"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1" name="Freeform 268"/>
            <p:cNvSpPr>
              <a:spLocks/>
            </p:cNvSpPr>
            <p:nvPr/>
          </p:nvSpPr>
          <p:spPr bwMode="auto">
            <a:xfrm>
              <a:off x="5954713" y="4811713"/>
              <a:ext cx="98425" cy="96838"/>
            </a:xfrm>
            <a:custGeom>
              <a:avLst/>
              <a:gdLst>
                <a:gd name="T0" fmla="*/ 72 w 149"/>
                <a:gd name="T1" fmla="*/ 146 h 146"/>
                <a:gd name="T2" fmla="*/ 65 w 149"/>
                <a:gd name="T3" fmla="*/ 145 h 146"/>
                <a:gd name="T4" fmla="*/ 2 w 149"/>
                <a:gd name="T5" fmla="*/ 93 h 146"/>
                <a:gd name="T6" fmla="*/ 21 w 149"/>
                <a:gd name="T7" fmla="*/ 69 h 146"/>
                <a:gd name="T8" fmla="*/ 45 w 149"/>
                <a:gd name="T9" fmla="*/ 88 h 146"/>
                <a:gd name="T10" fmla="*/ 69 w 149"/>
                <a:gd name="T11" fmla="*/ 103 h 146"/>
                <a:gd name="T12" fmla="*/ 98 w 149"/>
                <a:gd name="T13" fmla="*/ 85 h 146"/>
                <a:gd name="T14" fmla="*/ 93 w 149"/>
                <a:gd name="T15" fmla="*/ 51 h 146"/>
                <a:gd name="T16" fmla="*/ 63 w 149"/>
                <a:gd name="T17" fmla="*/ 53 h 146"/>
                <a:gd name="T18" fmla="*/ 34 w 149"/>
                <a:gd name="T19" fmla="*/ 45 h 146"/>
                <a:gd name="T20" fmla="*/ 42 w 149"/>
                <a:gd name="T21" fmla="*/ 15 h 146"/>
                <a:gd name="T22" fmla="*/ 120 w 149"/>
                <a:gd name="T23" fmla="*/ 17 h 146"/>
                <a:gd name="T24" fmla="*/ 139 w 149"/>
                <a:gd name="T25" fmla="*/ 98 h 146"/>
                <a:gd name="T26" fmla="*/ 72 w 149"/>
                <a:gd name="T2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146">
                  <a:moveTo>
                    <a:pt x="72" y="146"/>
                  </a:moveTo>
                  <a:cubicBezTo>
                    <a:pt x="70" y="146"/>
                    <a:pt x="67" y="146"/>
                    <a:pt x="65" y="145"/>
                  </a:cubicBezTo>
                  <a:cubicBezTo>
                    <a:pt x="31" y="142"/>
                    <a:pt x="5" y="121"/>
                    <a:pt x="2" y="93"/>
                  </a:cubicBezTo>
                  <a:cubicBezTo>
                    <a:pt x="0" y="81"/>
                    <a:pt x="9" y="70"/>
                    <a:pt x="21" y="69"/>
                  </a:cubicBezTo>
                  <a:cubicBezTo>
                    <a:pt x="32" y="67"/>
                    <a:pt x="43" y="76"/>
                    <a:pt x="45" y="88"/>
                  </a:cubicBezTo>
                  <a:cubicBezTo>
                    <a:pt x="45" y="95"/>
                    <a:pt x="56" y="101"/>
                    <a:pt x="69" y="103"/>
                  </a:cubicBezTo>
                  <a:cubicBezTo>
                    <a:pt x="75" y="103"/>
                    <a:pt x="92" y="103"/>
                    <a:pt x="98" y="85"/>
                  </a:cubicBezTo>
                  <a:cubicBezTo>
                    <a:pt x="102" y="70"/>
                    <a:pt x="100" y="57"/>
                    <a:pt x="93" y="51"/>
                  </a:cubicBezTo>
                  <a:cubicBezTo>
                    <a:pt x="86" y="45"/>
                    <a:pt x="76" y="46"/>
                    <a:pt x="63" y="53"/>
                  </a:cubicBezTo>
                  <a:cubicBezTo>
                    <a:pt x="53" y="59"/>
                    <a:pt x="40" y="55"/>
                    <a:pt x="34" y="45"/>
                  </a:cubicBezTo>
                  <a:cubicBezTo>
                    <a:pt x="28" y="34"/>
                    <a:pt x="32" y="21"/>
                    <a:pt x="42" y="15"/>
                  </a:cubicBezTo>
                  <a:cubicBezTo>
                    <a:pt x="70" y="0"/>
                    <a:pt x="99" y="1"/>
                    <a:pt x="120" y="17"/>
                  </a:cubicBezTo>
                  <a:cubicBezTo>
                    <a:pt x="141" y="35"/>
                    <a:pt x="149" y="66"/>
                    <a:pt x="139" y="98"/>
                  </a:cubicBezTo>
                  <a:cubicBezTo>
                    <a:pt x="130" y="128"/>
                    <a:pt x="104" y="146"/>
                    <a:pt x="72" y="1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2" name="Freeform 269"/>
            <p:cNvSpPr>
              <a:spLocks noEditPoints="1"/>
            </p:cNvSpPr>
            <p:nvPr/>
          </p:nvSpPr>
          <p:spPr bwMode="auto">
            <a:xfrm>
              <a:off x="5784850" y="4700588"/>
              <a:ext cx="114300" cy="101600"/>
            </a:xfrm>
            <a:custGeom>
              <a:avLst/>
              <a:gdLst>
                <a:gd name="T0" fmla="*/ 70 w 173"/>
                <a:gd name="T1" fmla="*/ 156 h 156"/>
                <a:gd name="T2" fmla="*/ 12 w 173"/>
                <a:gd name="T3" fmla="*/ 120 h 156"/>
                <a:gd name="T4" fmla="*/ 12 w 173"/>
                <a:gd name="T5" fmla="*/ 55 h 156"/>
                <a:gd name="T6" fmla="*/ 81 w 173"/>
                <a:gd name="T7" fmla="*/ 6 h 156"/>
                <a:gd name="T8" fmla="*/ 155 w 173"/>
                <a:gd name="T9" fmla="*/ 32 h 156"/>
                <a:gd name="T10" fmla="*/ 163 w 173"/>
                <a:gd name="T11" fmla="*/ 96 h 156"/>
                <a:gd name="T12" fmla="*/ 143 w 173"/>
                <a:gd name="T13" fmla="*/ 87 h 156"/>
                <a:gd name="T14" fmla="*/ 163 w 173"/>
                <a:gd name="T15" fmla="*/ 96 h 156"/>
                <a:gd name="T16" fmla="*/ 71 w 173"/>
                <a:gd name="T17" fmla="*/ 156 h 156"/>
                <a:gd name="T18" fmla="*/ 70 w 173"/>
                <a:gd name="T19" fmla="*/ 156 h 156"/>
                <a:gd name="T20" fmla="*/ 96 w 173"/>
                <a:gd name="T21" fmla="*/ 47 h 156"/>
                <a:gd name="T22" fmla="*/ 89 w 173"/>
                <a:gd name="T23" fmla="*/ 48 h 156"/>
                <a:gd name="T24" fmla="*/ 49 w 173"/>
                <a:gd name="T25" fmla="*/ 77 h 156"/>
                <a:gd name="T26" fmla="*/ 50 w 173"/>
                <a:gd name="T27" fmla="*/ 99 h 156"/>
                <a:gd name="T28" fmla="*/ 70 w 173"/>
                <a:gd name="T29" fmla="*/ 113 h 156"/>
                <a:gd name="T30" fmla="*/ 70 w 173"/>
                <a:gd name="T31" fmla="*/ 113 h 156"/>
                <a:gd name="T32" fmla="*/ 124 w 173"/>
                <a:gd name="T33" fmla="*/ 78 h 156"/>
                <a:gd name="T34" fmla="*/ 121 w 173"/>
                <a:gd name="T35" fmla="*/ 59 h 156"/>
                <a:gd name="T36" fmla="*/ 96 w 173"/>
                <a:gd name="T37" fmla="*/ 4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3" h="156">
                  <a:moveTo>
                    <a:pt x="70" y="156"/>
                  </a:moveTo>
                  <a:cubicBezTo>
                    <a:pt x="47" y="156"/>
                    <a:pt x="25" y="142"/>
                    <a:pt x="12" y="120"/>
                  </a:cubicBezTo>
                  <a:cubicBezTo>
                    <a:pt x="0" y="99"/>
                    <a:pt x="0" y="75"/>
                    <a:pt x="12" y="55"/>
                  </a:cubicBezTo>
                  <a:cubicBezTo>
                    <a:pt x="29" y="28"/>
                    <a:pt x="52" y="11"/>
                    <a:pt x="81" y="6"/>
                  </a:cubicBezTo>
                  <a:cubicBezTo>
                    <a:pt x="110" y="0"/>
                    <a:pt x="139" y="10"/>
                    <a:pt x="155" y="32"/>
                  </a:cubicBezTo>
                  <a:cubicBezTo>
                    <a:pt x="170" y="51"/>
                    <a:pt x="173" y="75"/>
                    <a:pt x="163" y="96"/>
                  </a:cubicBezTo>
                  <a:lnTo>
                    <a:pt x="143" y="87"/>
                  </a:lnTo>
                  <a:lnTo>
                    <a:pt x="163" y="96"/>
                  </a:lnTo>
                  <a:cubicBezTo>
                    <a:pt x="145" y="134"/>
                    <a:pt x="113" y="156"/>
                    <a:pt x="71" y="156"/>
                  </a:cubicBezTo>
                  <a:lnTo>
                    <a:pt x="70" y="156"/>
                  </a:lnTo>
                  <a:close/>
                  <a:moveTo>
                    <a:pt x="96" y="47"/>
                  </a:moveTo>
                  <a:cubicBezTo>
                    <a:pt x="94" y="47"/>
                    <a:pt x="92" y="48"/>
                    <a:pt x="89" y="48"/>
                  </a:cubicBezTo>
                  <a:cubicBezTo>
                    <a:pt x="72" y="51"/>
                    <a:pt x="59" y="60"/>
                    <a:pt x="49" y="77"/>
                  </a:cubicBezTo>
                  <a:cubicBezTo>
                    <a:pt x="44" y="86"/>
                    <a:pt x="47" y="94"/>
                    <a:pt x="50" y="99"/>
                  </a:cubicBezTo>
                  <a:cubicBezTo>
                    <a:pt x="54" y="107"/>
                    <a:pt x="63" y="113"/>
                    <a:pt x="70" y="113"/>
                  </a:cubicBezTo>
                  <a:lnTo>
                    <a:pt x="70" y="113"/>
                  </a:lnTo>
                  <a:cubicBezTo>
                    <a:pt x="96" y="113"/>
                    <a:pt x="113" y="101"/>
                    <a:pt x="124" y="78"/>
                  </a:cubicBezTo>
                  <a:cubicBezTo>
                    <a:pt x="128" y="70"/>
                    <a:pt x="125" y="63"/>
                    <a:pt x="121" y="59"/>
                  </a:cubicBezTo>
                  <a:cubicBezTo>
                    <a:pt x="117" y="53"/>
                    <a:pt x="108" y="47"/>
                    <a:pt x="96" y="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3" name="Freeform 270"/>
            <p:cNvSpPr>
              <a:spLocks/>
            </p:cNvSpPr>
            <p:nvPr/>
          </p:nvSpPr>
          <p:spPr bwMode="auto">
            <a:xfrm>
              <a:off x="5888038" y="4765675"/>
              <a:ext cx="117475" cy="130175"/>
            </a:xfrm>
            <a:custGeom>
              <a:avLst/>
              <a:gdLst>
                <a:gd name="T0" fmla="*/ 82 w 180"/>
                <a:gd name="T1" fmla="*/ 196 h 196"/>
                <a:gd name="T2" fmla="*/ 38 w 180"/>
                <a:gd name="T3" fmla="*/ 183 h 196"/>
                <a:gd name="T4" fmla="*/ 9 w 180"/>
                <a:gd name="T5" fmla="*/ 105 h 196"/>
                <a:gd name="T6" fmla="*/ 35 w 180"/>
                <a:gd name="T7" fmla="*/ 90 h 196"/>
                <a:gd name="T8" fmla="*/ 50 w 180"/>
                <a:gd name="T9" fmla="*/ 116 h 196"/>
                <a:gd name="T10" fmla="*/ 60 w 180"/>
                <a:gd name="T11" fmla="*/ 147 h 196"/>
                <a:gd name="T12" fmla="*/ 100 w 180"/>
                <a:gd name="T13" fmla="*/ 147 h 196"/>
                <a:gd name="T14" fmla="*/ 133 w 180"/>
                <a:gd name="T15" fmla="*/ 80 h 196"/>
                <a:gd name="T16" fmla="*/ 120 w 180"/>
                <a:gd name="T17" fmla="*/ 50 h 196"/>
                <a:gd name="T18" fmla="*/ 98 w 180"/>
                <a:gd name="T19" fmla="*/ 50 h 196"/>
                <a:gd name="T20" fmla="*/ 69 w 180"/>
                <a:gd name="T21" fmla="*/ 43 h 196"/>
                <a:gd name="T22" fmla="*/ 76 w 180"/>
                <a:gd name="T23" fmla="*/ 13 h 196"/>
                <a:gd name="T24" fmla="*/ 144 w 180"/>
                <a:gd name="T25" fmla="*/ 14 h 196"/>
                <a:gd name="T26" fmla="*/ 176 w 180"/>
                <a:gd name="T27" fmla="*/ 86 h 196"/>
                <a:gd name="T28" fmla="*/ 128 w 180"/>
                <a:gd name="T29" fmla="*/ 179 h 196"/>
                <a:gd name="T30" fmla="*/ 82 w 180"/>
                <a:gd name="T3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96">
                  <a:moveTo>
                    <a:pt x="82" y="196"/>
                  </a:moveTo>
                  <a:cubicBezTo>
                    <a:pt x="67" y="196"/>
                    <a:pt x="51" y="191"/>
                    <a:pt x="38" y="183"/>
                  </a:cubicBezTo>
                  <a:cubicBezTo>
                    <a:pt x="10" y="166"/>
                    <a:pt x="0" y="137"/>
                    <a:pt x="9" y="105"/>
                  </a:cubicBezTo>
                  <a:cubicBezTo>
                    <a:pt x="12" y="93"/>
                    <a:pt x="24" y="87"/>
                    <a:pt x="35" y="90"/>
                  </a:cubicBezTo>
                  <a:cubicBezTo>
                    <a:pt x="47" y="93"/>
                    <a:pt x="54" y="105"/>
                    <a:pt x="50" y="116"/>
                  </a:cubicBezTo>
                  <a:cubicBezTo>
                    <a:pt x="46" y="130"/>
                    <a:pt x="50" y="140"/>
                    <a:pt x="60" y="147"/>
                  </a:cubicBezTo>
                  <a:cubicBezTo>
                    <a:pt x="74" y="155"/>
                    <a:pt x="92" y="154"/>
                    <a:pt x="100" y="147"/>
                  </a:cubicBezTo>
                  <a:cubicBezTo>
                    <a:pt x="118" y="131"/>
                    <a:pt x="129" y="108"/>
                    <a:pt x="133" y="80"/>
                  </a:cubicBezTo>
                  <a:cubicBezTo>
                    <a:pt x="135" y="69"/>
                    <a:pt x="129" y="56"/>
                    <a:pt x="120" y="50"/>
                  </a:cubicBezTo>
                  <a:cubicBezTo>
                    <a:pt x="113" y="45"/>
                    <a:pt x="106" y="45"/>
                    <a:pt x="98" y="50"/>
                  </a:cubicBezTo>
                  <a:cubicBezTo>
                    <a:pt x="88" y="56"/>
                    <a:pt x="75" y="53"/>
                    <a:pt x="69" y="43"/>
                  </a:cubicBezTo>
                  <a:cubicBezTo>
                    <a:pt x="63" y="33"/>
                    <a:pt x="66" y="19"/>
                    <a:pt x="76" y="13"/>
                  </a:cubicBezTo>
                  <a:cubicBezTo>
                    <a:pt x="99" y="0"/>
                    <a:pt x="123" y="0"/>
                    <a:pt x="144" y="14"/>
                  </a:cubicBezTo>
                  <a:cubicBezTo>
                    <a:pt x="167" y="29"/>
                    <a:pt x="180" y="58"/>
                    <a:pt x="176" y="86"/>
                  </a:cubicBezTo>
                  <a:cubicBezTo>
                    <a:pt x="170" y="125"/>
                    <a:pt x="154" y="156"/>
                    <a:pt x="128" y="179"/>
                  </a:cubicBezTo>
                  <a:cubicBezTo>
                    <a:pt x="117" y="190"/>
                    <a:pt x="99" y="196"/>
                    <a:pt x="82" y="1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4" name="Freeform 271"/>
            <p:cNvSpPr>
              <a:spLocks noEditPoints="1"/>
            </p:cNvSpPr>
            <p:nvPr/>
          </p:nvSpPr>
          <p:spPr bwMode="auto">
            <a:xfrm>
              <a:off x="5838825" y="4729163"/>
              <a:ext cx="123825" cy="128588"/>
            </a:xfrm>
            <a:custGeom>
              <a:avLst/>
              <a:gdLst>
                <a:gd name="T0" fmla="*/ 75 w 189"/>
                <a:gd name="T1" fmla="*/ 195 h 195"/>
                <a:gd name="T2" fmla="*/ 26 w 189"/>
                <a:gd name="T3" fmla="*/ 176 h 195"/>
                <a:gd name="T4" fmla="*/ 3 w 189"/>
                <a:gd name="T5" fmla="*/ 131 h 195"/>
                <a:gd name="T6" fmla="*/ 19 w 189"/>
                <a:gd name="T7" fmla="*/ 76 h 195"/>
                <a:gd name="T8" fmla="*/ 82 w 189"/>
                <a:gd name="T9" fmla="*/ 16 h 195"/>
                <a:gd name="T10" fmla="*/ 82 w 189"/>
                <a:gd name="T11" fmla="*/ 16 h 195"/>
                <a:gd name="T12" fmla="*/ 163 w 189"/>
                <a:gd name="T13" fmla="*/ 25 h 195"/>
                <a:gd name="T14" fmla="*/ 171 w 189"/>
                <a:gd name="T15" fmla="*/ 113 h 195"/>
                <a:gd name="T16" fmla="*/ 169 w 189"/>
                <a:gd name="T17" fmla="*/ 116 h 195"/>
                <a:gd name="T18" fmla="*/ 122 w 189"/>
                <a:gd name="T19" fmla="*/ 177 h 195"/>
                <a:gd name="T20" fmla="*/ 75 w 189"/>
                <a:gd name="T21" fmla="*/ 195 h 195"/>
                <a:gd name="T22" fmla="*/ 104 w 189"/>
                <a:gd name="T23" fmla="*/ 53 h 195"/>
                <a:gd name="T24" fmla="*/ 53 w 189"/>
                <a:gd name="T25" fmla="*/ 102 h 195"/>
                <a:gd name="T26" fmla="*/ 55 w 189"/>
                <a:gd name="T27" fmla="*/ 144 h 195"/>
                <a:gd name="T28" fmla="*/ 93 w 189"/>
                <a:gd name="T29" fmla="*/ 145 h 195"/>
                <a:gd name="T30" fmla="*/ 132 w 189"/>
                <a:gd name="T31" fmla="*/ 94 h 195"/>
                <a:gd name="T32" fmla="*/ 134 w 189"/>
                <a:gd name="T33" fmla="*/ 90 h 195"/>
                <a:gd name="T34" fmla="*/ 133 w 189"/>
                <a:gd name="T35" fmla="*/ 56 h 195"/>
                <a:gd name="T36" fmla="*/ 104 w 189"/>
                <a:gd name="T37" fmla="*/ 5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9" h="195">
                  <a:moveTo>
                    <a:pt x="75" y="195"/>
                  </a:moveTo>
                  <a:cubicBezTo>
                    <a:pt x="59" y="195"/>
                    <a:pt x="42" y="190"/>
                    <a:pt x="26" y="176"/>
                  </a:cubicBezTo>
                  <a:cubicBezTo>
                    <a:pt x="13" y="164"/>
                    <a:pt x="5" y="148"/>
                    <a:pt x="3" y="131"/>
                  </a:cubicBezTo>
                  <a:cubicBezTo>
                    <a:pt x="0" y="112"/>
                    <a:pt x="6" y="93"/>
                    <a:pt x="19" y="76"/>
                  </a:cubicBezTo>
                  <a:cubicBezTo>
                    <a:pt x="38" y="51"/>
                    <a:pt x="56" y="32"/>
                    <a:pt x="82" y="16"/>
                  </a:cubicBezTo>
                  <a:lnTo>
                    <a:pt x="82" y="16"/>
                  </a:lnTo>
                  <a:cubicBezTo>
                    <a:pt x="109" y="0"/>
                    <a:pt x="141" y="4"/>
                    <a:pt x="163" y="25"/>
                  </a:cubicBezTo>
                  <a:cubicBezTo>
                    <a:pt x="186" y="48"/>
                    <a:pt x="189" y="83"/>
                    <a:pt x="171" y="113"/>
                  </a:cubicBezTo>
                  <a:lnTo>
                    <a:pt x="169" y="116"/>
                  </a:lnTo>
                  <a:cubicBezTo>
                    <a:pt x="159" y="132"/>
                    <a:pt x="145" y="155"/>
                    <a:pt x="122" y="177"/>
                  </a:cubicBezTo>
                  <a:cubicBezTo>
                    <a:pt x="110" y="188"/>
                    <a:pt x="93" y="195"/>
                    <a:pt x="75" y="195"/>
                  </a:cubicBezTo>
                  <a:close/>
                  <a:moveTo>
                    <a:pt x="104" y="53"/>
                  </a:moveTo>
                  <a:cubicBezTo>
                    <a:pt x="84" y="66"/>
                    <a:pt x="70" y="80"/>
                    <a:pt x="53" y="102"/>
                  </a:cubicBezTo>
                  <a:cubicBezTo>
                    <a:pt x="36" y="124"/>
                    <a:pt x="51" y="140"/>
                    <a:pt x="55" y="144"/>
                  </a:cubicBezTo>
                  <a:cubicBezTo>
                    <a:pt x="63" y="151"/>
                    <a:pt x="79" y="158"/>
                    <a:pt x="93" y="145"/>
                  </a:cubicBezTo>
                  <a:cubicBezTo>
                    <a:pt x="112" y="128"/>
                    <a:pt x="123" y="109"/>
                    <a:pt x="132" y="94"/>
                  </a:cubicBezTo>
                  <a:lnTo>
                    <a:pt x="134" y="90"/>
                  </a:lnTo>
                  <a:cubicBezTo>
                    <a:pt x="146" y="71"/>
                    <a:pt x="136" y="59"/>
                    <a:pt x="133" y="56"/>
                  </a:cubicBezTo>
                  <a:cubicBezTo>
                    <a:pt x="127" y="50"/>
                    <a:pt x="116" y="46"/>
                    <a:pt x="104" y="5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pic>
        <p:nvPicPr>
          <p:cNvPr id="4" name="Picture 3">
            <a:extLst>
              <a:ext uri="{FF2B5EF4-FFF2-40B4-BE49-F238E27FC236}">
                <a16:creationId xmlns:a16="http://schemas.microsoft.com/office/drawing/2014/main" id="{AD0FD880-72CA-49F8-AA69-8EDFEDBCC544}"/>
              </a:ext>
            </a:extLst>
          </p:cNvPr>
          <p:cNvPicPr>
            <a:picLocks noChangeAspect="1"/>
          </p:cNvPicPr>
          <p:nvPr/>
        </p:nvPicPr>
        <p:blipFill>
          <a:blip r:embed="rId7"/>
          <a:stretch>
            <a:fillRect/>
          </a:stretch>
        </p:blipFill>
        <p:spPr>
          <a:xfrm>
            <a:off x="4781404" y="1723322"/>
            <a:ext cx="2753102" cy="3658608"/>
          </a:xfrm>
          <a:prstGeom prst="rect">
            <a:avLst/>
          </a:prstGeom>
        </p:spPr>
      </p:pic>
      <p:pic>
        <p:nvPicPr>
          <p:cNvPr id="8" name="Picture 7">
            <a:extLst>
              <a:ext uri="{FF2B5EF4-FFF2-40B4-BE49-F238E27FC236}">
                <a16:creationId xmlns:a16="http://schemas.microsoft.com/office/drawing/2014/main" id="{ABFAB4E2-CE50-4B70-AD58-E817AFCC877D}"/>
              </a:ext>
            </a:extLst>
          </p:cNvPr>
          <p:cNvPicPr>
            <a:picLocks noChangeAspect="1"/>
          </p:cNvPicPr>
          <p:nvPr/>
        </p:nvPicPr>
        <p:blipFill rotWithShape="1">
          <a:blip r:embed="rId8"/>
          <a:srcRect l="2271" r="3822"/>
          <a:stretch/>
        </p:blipFill>
        <p:spPr>
          <a:xfrm>
            <a:off x="8432944" y="1723322"/>
            <a:ext cx="2766101" cy="3652059"/>
          </a:xfrm>
          <a:prstGeom prst="rect">
            <a:avLst/>
          </a:prstGeom>
        </p:spPr>
      </p:pic>
    </p:spTree>
    <p:extLst>
      <p:ext uri="{BB962C8B-B14F-4D97-AF65-F5344CB8AC3E}">
        <p14:creationId xmlns:p14="http://schemas.microsoft.com/office/powerpoint/2010/main" val="2061024414"/>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70166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3" imgH="493" progId="TCLayout.ActiveDocument.1">
                  <p:embed/>
                </p:oleObj>
              </mc:Choice>
              <mc:Fallback>
                <p:oleObj name="think-cell Folie" r:id="rId4" imgW="493" imgH="493"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2" name="Picture 433" descr="https://www.europeactive.eu/sites/default/files/Home4.jp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flipH="1">
            <a:off x="0" y="1450340"/>
            <a:ext cx="12192000" cy="3256207"/>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bwMode="gray">
          <a:xfrm>
            <a:off x="0" y="4700804"/>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4" name="Rectangle 13"/>
          <p:cNvSpPr/>
          <p:nvPr/>
        </p:nvSpPr>
        <p:spPr bwMode="gray">
          <a:xfrm>
            <a:off x="0" y="1450340"/>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5" name="Rectangle 14"/>
          <p:cNvSpPr/>
          <p:nvPr/>
        </p:nvSpPr>
        <p:spPr bwMode="gray">
          <a:xfrm>
            <a:off x="0" y="3099834"/>
            <a:ext cx="12192000" cy="1600970"/>
          </a:xfrm>
          <a:prstGeom prst="rect">
            <a:avLst/>
          </a:prstGeom>
          <a:solidFill>
            <a:schemeClr val="accent5">
              <a:lumMod val="50000"/>
              <a:alpha val="7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20" name="Group 19"/>
          <p:cNvGrpSpPr/>
          <p:nvPr/>
        </p:nvGrpSpPr>
        <p:grpSpPr>
          <a:xfrm>
            <a:off x="0" y="1112402"/>
            <a:ext cx="1872351" cy="233523"/>
            <a:chOff x="0" y="1112402"/>
            <a:chExt cx="1872351" cy="233523"/>
          </a:xfrm>
        </p:grpSpPr>
        <p:sp>
          <p:nvSpPr>
            <p:cNvPr id="21" name="Freeform 20"/>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cxnSp>
          <p:nvCxnSpPr>
            <p:cNvPr id="22" name="Straight Connector 21"/>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p:nvGrpSpPr>
        <p:grpSpPr>
          <a:xfrm flipH="1">
            <a:off x="10319649" y="4844723"/>
            <a:ext cx="1872351" cy="233523"/>
            <a:chOff x="0" y="1112402"/>
            <a:chExt cx="1872351" cy="233523"/>
          </a:xfrm>
        </p:grpSpPr>
        <p:sp>
          <p:nvSpPr>
            <p:cNvPr id="25" name="Freeform 24"/>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cxnSp>
          <p:nvCxnSpPr>
            <p:cNvPr id="26" name="Straight Connector 25"/>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grpSp>
        <p:nvGrpSpPr>
          <p:cNvPr id="3" name="Gruppieren 2">
            <a:extLst>
              <a:ext uri="{FF2B5EF4-FFF2-40B4-BE49-F238E27FC236}">
                <a16:creationId xmlns:a16="http://schemas.microsoft.com/office/drawing/2014/main" id="{1200BC1E-D51C-4AB0-8AED-5AED11BC0C4E}"/>
              </a:ext>
            </a:extLst>
          </p:cNvPr>
          <p:cNvGrpSpPr/>
          <p:nvPr/>
        </p:nvGrpSpPr>
        <p:grpSpPr>
          <a:xfrm>
            <a:off x="299651" y="2692400"/>
            <a:ext cx="2241447" cy="3520922"/>
            <a:chOff x="299651" y="2692400"/>
            <a:chExt cx="2241447" cy="3520922"/>
          </a:xfrm>
        </p:grpSpPr>
        <p:grpSp>
          <p:nvGrpSpPr>
            <p:cNvPr id="60" name="Group 59"/>
            <p:cNvGrpSpPr/>
            <p:nvPr/>
          </p:nvGrpSpPr>
          <p:grpSpPr>
            <a:xfrm>
              <a:off x="495300" y="2692400"/>
              <a:ext cx="1850140" cy="2808149"/>
              <a:chOff x="7461752" y="2701400"/>
              <a:chExt cx="1850140" cy="2808149"/>
            </a:xfrm>
          </p:grpSpPr>
          <p:grpSp>
            <p:nvGrpSpPr>
              <p:cNvPr id="61" name="Group 60"/>
              <p:cNvGrpSpPr/>
              <p:nvPr/>
            </p:nvGrpSpPr>
            <p:grpSpPr>
              <a:xfrm>
                <a:off x="7478662" y="2701400"/>
                <a:ext cx="1828338" cy="2590143"/>
                <a:chOff x="565396" y="1866355"/>
                <a:chExt cx="1750030" cy="2479207"/>
              </a:xfrm>
              <a:solidFill>
                <a:schemeClr val="tx1">
                  <a:alpha val="35000"/>
                </a:schemeClr>
              </a:solidFill>
            </p:grpSpPr>
            <p:sp>
              <p:nvSpPr>
                <p:cNvPr id="68" name="Freeform 245"/>
                <p:cNvSpPr>
                  <a:spLocks noEditPoints="1"/>
                </p:cNvSpPr>
                <p:nvPr/>
              </p:nvSpPr>
              <p:spPr bwMode="auto">
                <a:xfrm>
                  <a:off x="565396" y="1866355"/>
                  <a:ext cx="1624610" cy="2371289"/>
                </a:xfrm>
                <a:custGeom>
                  <a:avLst/>
                  <a:gdLst>
                    <a:gd name="T0" fmla="*/ 1337 w 1607"/>
                    <a:gd name="T1" fmla="*/ 964 h 2344"/>
                    <a:gd name="T2" fmla="*/ 866 w 1607"/>
                    <a:gd name="T3" fmla="*/ 825 h 2344"/>
                    <a:gd name="T4" fmla="*/ 394 w 1607"/>
                    <a:gd name="T5" fmla="*/ 964 h 2344"/>
                    <a:gd name="T6" fmla="*/ 309 w 1607"/>
                    <a:gd name="T7" fmla="*/ 742 h 2344"/>
                    <a:gd name="T8" fmla="*/ 866 w 1607"/>
                    <a:gd name="T9" fmla="*/ 323 h 2344"/>
                    <a:gd name="T10" fmla="*/ 1422 w 1607"/>
                    <a:gd name="T11" fmla="*/ 742 h 2344"/>
                    <a:gd name="T12" fmla="*/ 1337 w 1607"/>
                    <a:gd name="T13" fmla="*/ 964 h 2344"/>
                    <a:gd name="T14" fmla="*/ 1509 w 1607"/>
                    <a:gd name="T15" fmla="*/ 1111 h 2344"/>
                    <a:gd name="T16" fmla="*/ 1607 w 1607"/>
                    <a:gd name="T17" fmla="*/ 742 h 2344"/>
                    <a:gd name="T18" fmla="*/ 866 w 1607"/>
                    <a:gd name="T19" fmla="*/ 0 h 2344"/>
                    <a:gd name="T20" fmla="*/ 124 w 1607"/>
                    <a:gd name="T21" fmla="*/ 742 h 2344"/>
                    <a:gd name="T22" fmla="*/ 222 w 1607"/>
                    <a:gd name="T23" fmla="*/ 1111 h 2344"/>
                    <a:gd name="T24" fmla="*/ 0 w 1607"/>
                    <a:gd name="T25" fmla="*/ 1690 h 2344"/>
                    <a:gd name="T26" fmla="*/ 281 w 1607"/>
                    <a:gd name="T27" fmla="*/ 2328 h 2344"/>
                    <a:gd name="T28" fmla="*/ 296 w 1607"/>
                    <a:gd name="T29" fmla="*/ 2344 h 2344"/>
                    <a:gd name="T30" fmla="*/ 1518 w 1607"/>
                    <a:gd name="T31" fmla="*/ 1122 h 2344"/>
                    <a:gd name="T32" fmla="*/ 1509 w 1607"/>
                    <a:gd name="T33" fmla="*/ 1111 h 2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7" h="2344">
                      <a:moveTo>
                        <a:pt x="1337" y="964"/>
                      </a:moveTo>
                      <a:cubicBezTo>
                        <a:pt x="1202" y="876"/>
                        <a:pt x="1039" y="825"/>
                        <a:pt x="866" y="825"/>
                      </a:cubicBezTo>
                      <a:cubicBezTo>
                        <a:pt x="692" y="825"/>
                        <a:pt x="530" y="876"/>
                        <a:pt x="394" y="964"/>
                      </a:cubicBezTo>
                      <a:cubicBezTo>
                        <a:pt x="340" y="900"/>
                        <a:pt x="309" y="824"/>
                        <a:pt x="309" y="742"/>
                      </a:cubicBezTo>
                      <a:cubicBezTo>
                        <a:pt x="309" y="511"/>
                        <a:pt x="558" y="323"/>
                        <a:pt x="866" y="323"/>
                      </a:cubicBezTo>
                      <a:cubicBezTo>
                        <a:pt x="1173" y="323"/>
                        <a:pt x="1422" y="511"/>
                        <a:pt x="1422" y="742"/>
                      </a:cubicBezTo>
                      <a:cubicBezTo>
                        <a:pt x="1422" y="824"/>
                        <a:pt x="1391" y="900"/>
                        <a:pt x="1337" y="964"/>
                      </a:cubicBezTo>
                      <a:moveTo>
                        <a:pt x="1509" y="1111"/>
                      </a:moveTo>
                      <a:cubicBezTo>
                        <a:pt x="1571" y="1002"/>
                        <a:pt x="1607" y="876"/>
                        <a:pt x="1607" y="742"/>
                      </a:cubicBezTo>
                      <a:cubicBezTo>
                        <a:pt x="1607" y="332"/>
                        <a:pt x="1275" y="0"/>
                        <a:pt x="866" y="0"/>
                      </a:cubicBezTo>
                      <a:cubicBezTo>
                        <a:pt x="456" y="0"/>
                        <a:pt x="124" y="332"/>
                        <a:pt x="124" y="742"/>
                      </a:cubicBezTo>
                      <a:cubicBezTo>
                        <a:pt x="124" y="876"/>
                        <a:pt x="159" y="1002"/>
                        <a:pt x="222" y="1111"/>
                      </a:cubicBezTo>
                      <a:cubicBezTo>
                        <a:pt x="84" y="1265"/>
                        <a:pt x="0" y="1467"/>
                        <a:pt x="0" y="1690"/>
                      </a:cubicBezTo>
                      <a:cubicBezTo>
                        <a:pt x="0" y="1943"/>
                        <a:pt x="108" y="2170"/>
                        <a:pt x="281" y="2328"/>
                      </a:cubicBezTo>
                      <a:cubicBezTo>
                        <a:pt x="286" y="2334"/>
                        <a:pt x="291" y="2339"/>
                        <a:pt x="296" y="2344"/>
                      </a:cubicBezTo>
                      <a:lnTo>
                        <a:pt x="1518" y="1122"/>
                      </a:lnTo>
                      <a:cubicBezTo>
                        <a:pt x="1515" y="1118"/>
                        <a:pt x="1512" y="1115"/>
                        <a:pt x="1509" y="1111"/>
                      </a:cubicBezTo>
                    </a:path>
                  </a:pathLst>
                </a:custGeom>
                <a:grpFill/>
                <a:ln>
                  <a:noFill/>
                </a:ln>
                <a:effectLst>
                  <a:softEdge rad="63500"/>
                </a:effectLst>
              </p:spPr>
              <p:txBody>
                <a:bodyPr vert="horz" wrap="square" lIns="91440" tIns="45720" rIns="91440" bIns="45720" numCol="1" anchor="t" anchorCtr="0" compatLnSpc="1">
                  <a:prstTxWarp prst="textNoShape">
                    <a:avLst/>
                  </a:prstTxWarp>
                </a:bodyPr>
                <a:lstStyle/>
                <a:p>
                  <a:endParaRPr lang="en-GB" dirty="0"/>
                </a:p>
              </p:txBody>
            </p:sp>
            <p:sp>
              <p:nvSpPr>
                <p:cNvPr id="69" name="Freeform 246"/>
                <p:cNvSpPr>
                  <a:spLocks/>
                </p:cNvSpPr>
                <p:nvPr/>
              </p:nvSpPr>
              <p:spPr bwMode="auto">
                <a:xfrm>
                  <a:off x="864360" y="3000957"/>
                  <a:ext cx="1451066" cy="1344605"/>
                </a:xfrm>
                <a:custGeom>
                  <a:avLst/>
                  <a:gdLst>
                    <a:gd name="T0" fmla="*/ 1222 w 1435"/>
                    <a:gd name="T1" fmla="*/ 0 h 1328"/>
                    <a:gd name="T2" fmla="*/ 0 w 1435"/>
                    <a:gd name="T3" fmla="*/ 1222 h 1328"/>
                    <a:gd name="T4" fmla="*/ 81 w 1435"/>
                    <a:gd name="T5" fmla="*/ 1282 h 1328"/>
                    <a:gd name="T6" fmla="*/ 257 w 1435"/>
                    <a:gd name="T7" fmla="*/ 1328 h 1328"/>
                    <a:gd name="T8" fmla="*/ 511 w 1435"/>
                    <a:gd name="T9" fmla="*/ 1328 h 1328"/>
                    <a:gd name="T10" fmla="*/ 628 w 1435"/>
                    <a:gd name="T11" fmla="*/ 1328 h 1328"/>
                    <a:gd name="T12" fmla="*/ 882 w 1435"/>
                    <a:gd name="T13" fmla="*/ 1328 h 1328"/>
                    <a:gd name="T14" fmla="*/ 1057 w 1435"/>
                    <a:gd name="T15" fmla="*/ 1283 h 1328"/>
                    <a:gd name="T16" fmla="*/ 1155 w 1435"/>
                    <a:gd name="T17" fmla="*/ 1205 h 1328"/>
                    <a:gd name="T18" fmla="*/ 1435 w 1435"/>
                    <a:gd name="T19" fmla="*/ 568 h 1328"/>
                    <a:gd name="T20" fmla="*/ 1222 w 1435"/>
                    <a:gd name="T21" fmla="*/ 0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5" h="1328">
                      <a:moveTo>
                        <a:pt x="1222" y="0"/>
                      </a:moveTo>
                      <a:lnTo>
                        <a:pt x="0" y="1222"/>
                      </a:lnTo>
                      <a:cubicBezTo>
                        <a:pt x="24" y="1246"/>
                        <a:pt x="51" y="1266"/>
                        <a:pt x="81" y="1282"/>
                      </a:cubicBezTo>
                      <a:cubicBezTo>
                        <a:pt x="133" y="1311"/>
                        <a:pt x="193" y="1328"/>
                        <a:pt x="257" y="1328"/>
                      </a:cubicBezTo>
                      <a:lnTo>
                        <a:pt x="511" y="1328"/>
                      </a:lnTo>
                      <a:lnTo>
                        <a:pt x="628" y="1328"/>
                      </a:lnTo>
                      <a:lnTo>
                        <a:pt x="882" y="1328"/>
                      </a:lnTo>
                      <a:cubicBezTo>
                        <a:pt x="945" y="1328"/>
                        <a:pt x="1005" y="1312"/>
                        <a:pt x="1057" y="1283"/>
                      </a:cubicBezTo>
                      <a:cubicBezTo>
                        <a:pt x="1094" y="1263"/>
                        <a:pt x="1127" y="1237"/>
                        <a:pt x="1155" y="1205"/>
                      </a:cubicBezTo>
                      <a:cubicBezTo>
                        <a:pt x="1327" y="1047"/>
                        <a:pt x="1435" y="820"/>
                        <a:pt x="1435" y="568"/>
                      </a:cubicBezTo>
                      <a:cubicBezTo>
                        <a:pt x="1435" y="351"/>
                        <a:pt x="1355" y="152"/>
                        <a:pt x="1222" y="0"/>
                      </a:cubicBezTo>
                      <a:close/>
                    </a:path>
                  </a:pathLst>
                </a:custGeom>
                <a:grpFill/>
                <a:ln>
                  <a:noFill/>
                </a:ln>
                <a:effectLst>
                  <a:softEdge rad="63500"/>
                </a:effectLst>
              </p:spPr>
              <p:txBody>
                <a:bodyPr vert="horz" wrap="square" lIns="91440" tIns="45720" rIns="91440" bIns="45720" numCol="1" anchor="t" anchorCtr="0" compatLnSpc="1">
                  <a:prstTxWarp prst="textNoShape">
                    <a:avLst/>
                  </a:prstTxWarp>
                </a:bodyPr>
                <a:lstStyle/>
                <a:p>
                  <a:endParaRPr lang="en-GB" dirty="0"/>
                </a:p>
              </p:txBody>
            </p:sp>
          </p:grpSp>
          <p:grpSp>
            <p:nvGrpSpPr>
              <p:cNvPr id="62" name="Group 61"/>
              <p:cNvGrpSpPr/>
              <p:nvPr/>
            </p:nvGrpSpPr>
            <p:grpSpPr>
              <a:xfrm>
                <a:off x="7461752" y="2926272"/>
                <a:ext cx="1850140" cy="2583277"/>
                <a:chOff x="7461752" y="2926272"/>
                <a:chExt cx="1850140" cy="2583277"/>
              </a:xfrm>
            </p:grpSpPr>
            <p:sp>
              <p:nvSpPr>
                <p:cNvPr id="63" name="Oval 244"/>
                <p:cNvSpPr>
                  <a:spLocks noChangeArrowheads="1"/>
                </p:cNvSpPr>
                <p:nvPr/>
              </p:nvSpPr>
              <p:spPr bwMode="auto">
                <a:xfrm>
                  <a:off x="7461752" y="5129605"/>
                  <a:ext cx="1850140" cy="379944"/>
                </a:xfrm>
                <a:prstGeom prst="ellipse">
                  <a:avLst/>
                </a:prstGeom>
                <a:gradFill flip="none" rotWithShape="1">
                  <a:gsLst>
                    <a:gs pos="100000">
                      <a:schemeClr val="tx1">
                        <a:alpha val="0"/>
                      </a:schemeClr>
                    </a:gs>
                    <a:gs pos="0">
                      <a:schemeClr val="tx1">
                        <a:lumMod val="75000"/>
                        <a:lumOff val="25000"/>
                      </a:schemeClr>
                    </a:gs>
                  </a:gsLst>
                  <a:path path="shap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Freeform 245"/>
                <p:cNvSpPr>
                  <a:spLocks noEditPoints="1"/>
                </p:cNvSpPr>
                <p:nvPr/>
              </p:nvSpPr>
              <p:spPr bwMode="auto">
                <a:xfrm>
                  <a:off x="7564123" y="2926272"/>
                  <a:ext cx="1560508" cy="2277724"/>
                </a:xfrm>
                <a:custGeom>
                  <a:avLst/>
                  <a:gdLst>
                    <a:gd name="T0" fmla="*/ 1337 w 1607"/>
                    <a:gd name="T1" fmla="*/ 964 h 2344"/>
                    <a:gd name="T2" fmla="*/ 866 w 1607"/>
                    <a:gd name="T3" fmla="*/ 825 h 2344"/>
                    <a:gd name="T4" fmla="*/ 394 w 1607"/>
                    <a:gd name="T5" fmla="*/ 964 h 2344"/>
                    <a:gd name="T6" fmla="*/ 309 w 1607"/>
                    <a:gd name="T7" fmla="*/ 742 h 2344"/>
                    <a:gd name="T8" fmla="*/ 866 w 1607"/>
                    <a:gd name="T9" fmla="*/ 323 h 2344"/>
                    <a:gd name="T10" fmla="*/ 1422 w 1607"/>
                    <a:gd name="T11" fmla="*/ 742 h 2344"/>
                    <a:gd name="T12" fmla="*/ 1337 w 1607"/>
                    <a:gd name="T13" fmla="*/ 964 h 2344"/>
                    <a:gd name="T14" fmla="*/ 1509 w 1607"/>
                    <a:gd name="T15" fmla="*/ 1111 h 2344"/>
                    <a:gd name="T16" fmla="*/ 1607 w 1607"/>
                    <a:gd name="T17" fmla="*/ 742 h 2344"/>
                    <a:gd name="T18" fmla="*/ 866 w 1607"/>
                    <a:gd name="T19" fmla="*/ 0 h 2344"/>
                    <a:gd name="T20" fmla="*/ 124 w 1607"/>
                    <a:gd name="T21" fmla="*/ 742 h 2344"/>
                    <a:gd name="T22" fmla="*/ 222 w 1607"/>
                    <a:gd name="T23" fmla="*/ 1111 h 2344"/>
                    <a:gd name="T24" fmla="*/ 0 w 1607"/>
                    <a:gd name="T25" fmla="*/ 1690 h 2344"/>
                    <a:gd name="T26" fmla="*/ 281 w 1607"/>
                    <a:gd name="T27" fmla="*/ 2328 h 2344"/>
                    <a:gd name="T28" fmla="*/ 296 w 1607"/>
                    <a:gd name="T29" fmla="*/ 2344 h 2344"/>
                    <a:gd name="T30" fmla="*/ 1518 w 1607"/>
                    <a:gd name="T31" fmla="*/ 1122 h 2344"/>
                    <a:gd name="T32" fmla="*/ 1509 w 1607"/>
                    <a:gd name="T33" fmla="*/ 1111 h 2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7" h="2344">
                      <a:moveTo>
                        <a:pt x="1337" y="964"/>
                      </a:moveTo>
                      <a:cubicBezTo>
                        <a:pt x="1202" y="876"/>
                        <a:pt x="1039" y="825"/>
                        <a:pt x="866" y="825"/>
                      </a:cubicBezTo>
                      <a:cubicBezTo>
                        <a:pt x="692" y="825"/>
                        <a:pt x="530" y="876"/>
                        <a:pt x="394" y="964"/>
                      </a:cubicBezTo>
                      <a:cubicBezTo>
                        <a:pt x="340" y="900"/>
                        <a:pt x="309" y="824"/>
                        <a:pt x="309" y="742"/>
                      </a:cubicBezTo>
                      <a:cubicBezTo>
                        <a:pt x="309" y="511"/>
                        <a:pt x="558" y="323"/>
                        <a:pt x="866" y="323"/>
                      </a:cubicBezTo>
                      <a:cubicBezTo>
                        <a:pt x="1173" y="323"/>
                        <a:pt x="1422" y="511"/>
                        <a:pt x="1422" y="742"/>
                      </a:cubicBezTo>
                      <a:cubicBezTo>
                        <a:pt x="1422" y="824"/>
                        <a:pt x="1391" y="900"/>
                        <a:pt x="1337" y="964"/>
                      </a:cubicBezTo>
                      <a:moveTo>
                        <a:pt x="1509" y="1111"/>
                      </a:moveTo>
                      <a:cubicBezTo>
                        <a:pt x="1571" y="1002"/>
                        <a:pt x="1607" y="876"/>
                        <a:pt x="1607" y="742"/>
                      </a:cubicBezTo>
                      <a:cubicBezTo>
                        <a:pt x="1607" y="332"/>
                        <a:pt x="1275" y="0"/>
                        <a:pt x="866" y="0"/>
                      </a:cubicBezTo>
                      <a:cubicBezTo>
                        <a:pt x="456" y="0"/>
                        <a:pt x="124" y="332"/>
                        <a:pt x="124" y="742"/>
                      </a:cubicBezTo>
                      <a:cubicBezTo>
                        <a:pt x="124" y="876"/>
                        <a:pt x="159" y="1002"/>
                        <a:pt x="222" y="1111"/>
                      </a:cubicBezTo>
                      <a:cubicBezTo>
                        <a:pt x="84" y="1265"/>
                        <a:pt x="0" y="1467"/>
                        <a:pt x="0" y="1690"/>
                      </a:cubicBezTo>
                      <a:cubicBezTo>
                        <a:pt x="0" y="1943"/>
                        <a:pt x="108" y="2170"/>
                        <a:pt x="281" y="2328"/>
                      </a:cubicBezTo>
                      <a:cubicBezTo>
                        <a:pt x="286" y="2334"/>
                        <a:pt x="291" y="2339"/>
                        <a:pt x="296" y="2344"/>
                      </a:cubicBezTo>
                      <a:lnTo>
                        <a:pt x="1518" y="1122"/>
                      </a:lnTo>
                      <a:cubicBezTo>
                        <a:pt x="1515" y="1118"/>
                        <a:pt x="1512" y="1115"/>
                        <a:pt x="1509" y="1111"/>
                      </a:cubicBezTo>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5" name="Freeform 246"/>
                <p:cNvSpPr>
                  <a:spLocks/>
                </p:cNvSpPr>
                <p:nvPr/>
              </p:nvSpPr>
              <p:spPr bwMode="auto">
                <a:xfrm>
                  <a:off x="7851291" y="4016105"/>
                  <a:ext cx="1393811" cy="1291551"/>
                </a:xfrm>
                <a:custGeom>
                  <a:avLst/>
                  <a:gdLst>
                    <a:gd name="T0" fmla="*/ 1222 w 1435"/>
                    <a:gd name="T1" fmla="*/ 0 h 1328"/>
                    <a:gd name="T2" fmla="*/ 0 w 1435"/>
                    <a:gd name="T3" fmla="*/ 1222 h 1328"/>
                    <a:gd name="T4" fmla="*/ 81 w 1435"/>
                    <a:gd name="T5" fmla="*/ 1282 h 1328"/>
                    <a:gd name="T6" fmla="*/ 257 w 1435"/>
                    <a:gd name="T7" fmla="*/ 1328 h 1328"/>
                    <a:gd name="T8" fmla="*/ 511 w 1435"/>
                    <a:gd name="T9" fmla="*/ 1328 h 1328"/>
                    <a:gd name="T10" fmla="*/ 628 w 1435"/>
                    <a:gd name="T11" fmla="*/ 1328 h 1328"/>
                    <a:gd name="T12" fmla="*/ 882 w 1435"/>
                    <a:gd name="T13" fmla="*/ 1328 h 1328"/>
                    <a:gd name="T14" fmla="*/ 1057 w 1435"/>
                    <a:gd name="T15" fmla="*/ 1283 h 1328"/>
                    <a:gd name="T16" fmla="*/ 1155 w 1435"/>
                    <a:gd name="T17" fmla="*/ 1205 h 1328"/>
                    <a:gd name="T18" fmla="*/ 1435 w 1435"/>
                    <a:gd name="T19" fmla="*/ 568 h 1328"/>
                    <a:gd name="T20" fmla="*/ 1222 w 1435"/>
                    <a:gd name="T21" fmla="*/ 0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5" h="1328">
                      <a:moveTo>
                        <a:pt x="1222" y="0"/>
                      </a:moveTo>
                      <a:lnTo>
                        <a:pt x="0" y="1222"/>
                      </a:lnTo>
                      <a:cubicBezTo>
                        <a:pt x="24" y="1246"/>
                        <a:pt x="51" y="1266"/>
                        <a:pt x="81" y="1282"/>
                      </a:cubicBezTo>
                      <a:cubicBezTo>
                        <a:pt x="133" y="1311"/>
                        <a:pt x="193" y="1328"/>
                        <a:pt x="257" y="1328"/>
                      </a:cubicBezTo>
                      <a:lnTo>
                        <a:pt x="511" y="1328"/>
                      </a:lnTo>
                      <a:lnTo>
                        <a:pt x="628" y="1328"/>
                      </a:lnTo>
                      <a:lnTo>
                        <a:pt x="882" y="1328"/>
                      </a:lnTo>
                      <a:cubicBezTo>
                        <a:pt x="945" y="1328"/>
                        <a:pt x="1005" y="1312"/>
                        <a:pt x="1057" y="1283"/>
                      </a:cubicBezTo>
                      <a:cubicBezTo>
                        <a:pt x="1094" y="1263"/>
                        <a:pt x="1127" y="1237"/>
                        <a:pt x="1155" y="1205"/>
                      </a:cubicBezTo>
                      <a:cubicBezTo>
                        <a:pt x="1327" y="1047"/>
                        <a:pt x="1435" y="820"/>
                        <a:pt x="1435" y="568"/>
                      </a:cubicBezTo>
                      <a:cubicBezTo>
                        <a:pt x="1435" y="351"/>
                        <a:pt x="1355" y="152"/>
                        <a:pt x="1222" y="0"/>
                      </a:cubicBez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6" name="Freeform 247"/>
                <p:cNvSpPr>
                  <a:spLocks/>
                </p:cNvSpPr>
                <p:nvPr/>
              </p:nvSpPr>
              <p:spPr bwMode="auto">
                <a:xfrm>
                  <a:off x="7667728" y="4093151"/>
                  <a:ext cx="270357" cy="463670"/>
                </a:xfrm>
                <a:custGeom>
                  <a:avLst/>
                  <a:gdLst>
                    <a:gd name="T0" fmla="*/ 161 w 278"/>
                    <a:gd name="T1" fmla="*/ 45 h 477"/>
                    <a:gd name="T2" fmla="*/ 11 w 278"/>
                    <a:gd name="T3" fmla="*/ 413 h 477"/>
                    <a:gd name="T4" fmla="*/ 111 w 278"/>
                    <a:gd name="T5" fmla="*/ 413 h 477"/>
                    <a:gd name="T6" fmla="*/ 232 w 278"/>
                    <a:gd name="T7" fmla="*/ 116 h 477"/>
                    <a:gd name="T8" fmla="*/ 161 w 278"/>
                    <a:gd name="T9" fmla="*/ 45 h 477"/>
                  </a:gdLst>
                  <a:ahLst/>
                  <a:cxnLst>
                    <a:cxn ang="0">
                      <a:pos x="T0" y="T1"/>
                    </a:cxn>
                    <a:cxn ang="0">
                      <a:pos x="T2" y="T3"/>
                    </a:cxn>
                    <a:cxn ang="0">
                      <a:pos x="T4" y="T5"/>
                    </a:cxn>
                    <a:cxn ang="0">
                      <a:pos x="T6" y="T7"/>
                    </a:cxn>
                    <a:cxn ang="0">
                      <a:pos x="T8" y="T9"/>
                    </a:cxn>
                  </a:cxnLst>
                  <a:rect l="0" t="0" r="r" b="b"/>
                  <a:pathLst>
                    <a:path w="278" h="477">
                      <a:moveTo>
                        <a:pt x="161" y="45"/>
                      </a:moveTo>
                      <a:cubicBezTo>
                        <a:pt x="64" y="138"/>
                        <a:pt x="0" y="277"/>
                        <a:pt x="11" y="413"/>
                      </a:cubicBezTo>
                      <a:cubicBezTo>
                        <a:pt x="16" y="477"/>
                        <a:pt x="116" y="477"/>
                        <a:pt x="111" y="413"/>
                      </a:cubicBezTo>
                      <a:cubicBezTo>
                        <a:pt x="102" y="302"/>
                        <a:pt x="152" y="192"/>
                        <a:pt x="232" y="116"/>
                      </a:cubicBezTo>
                      <a:cubicBezTo>
                        <a:pt x="278" y="71"/>
                        <a:pt x="207" y="0"/>
                        <a:pt x="161" y="45"/>
                      </a:cubicBezTo>
                      <a:close/>
                    </a:path>
                  </a:pathLst>
                </a:custGeom>
                <a:solidFill>
                  <a:srgbClr val="FFFFFF">
                    <a:alpha val="36000"/>
                  </a:srgb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7" name="Oval 66"/>
                <p:cNvSpPr/>
                <p:nvPr/>
              </p:nvSpPr>
              <p:spPr bwMode="gray">
                <a:xfrm>
                  <a:off x="7863226" y="4093151"/>
                  <a:ext cx="1043551" cy="1043551"/>
                </a:xfrm>
                <a:prstGeom prst="ellipse">
                  <a:avLst/>
                </a:prstGeom>
                <a:solidFill>
                  <a:schemeClr val="bg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70" name="TextBox 69"/>
            <p:cNvSpPr txBox="1"/>
            <p:nvPr/>
          </p:nvSpPr>
          <p:spPr>
            <a:xfrm>
              <a:off x="299651" y="5582380"/>
              <a:ext cx="2241447" cy="630942"/>
            </a:xfrm>
            <a:prstGeom prst="rect">
              <a:avLst/>
            </a:prstGeom>
            <a:noFill/>
          </p:spPr>
          <p:txBody>
            <a:bodyPr wrap="none" lIns="0" tIns="0" rIns="0" bIns="0" rtlCol="0">
              <a:spAutoFit/>
            </a:bodyPr>
            <a:lstStyle/>
            <a:p>
              <a:pPr algn="ctr">
                <a:spcBef>
                  <a:spcPts val="600"/>
                </a:spcBef>
                <a:buSzPct val="100000"/>
              </a:pPr>
              <a:r>
                <a:rPr lang="en-GB" sz="1800" spc="100" dirty="0">
                  <a:solidFill>
                    <a:schemeClr val="bg1"/>
                  </a:solidFill>
                </a:rPr>
                <a:t>LE « NOUVEAU » </a:t>
              </a:r>
            </a:p>
            <a:p>
              <a:pPr algn="ctr">
                <a:spcBef>
                  <a:spcPts val="600"/>
                </a:spcBef>
                <a:buSzPct val="100000"/>
              </a:pPr>
              <a:r>
                <a:rPr lang="en-GB" sz="1800" spc="100" dirty="0">
                  <a:solidFill>
                    <a:schemeClr val="bg1"/>
                  </a:solidFill>
                </a:rPr>
                <a:t>CONSOMMATEUR</a:t>
              </a:r>
            </a:p>
          </p:txBody>
        </p:sp>
      </p:grpSp>
      <p:sp>
        <p:nvSpPr>
          <p:cNvPr id="71" name="Freeform 295"/>
          <p:cNvSpPr>
            <a:spLocks noEditPoints="1"/>
          </p:cNvSpPr>
          <p:nvPr/>
        </p:nvSpPr>
        <p:spPr bwMode="auto">
          <a:xfrm>
            <a:off x="1101269" y="4359101"/>
            <a:ext cx="638202" cy="510910"/>
          </a:xfrm>
          <a:custGeom>
            <a:avLst/>
            <a:gdLst>
              <a:gd name="T0" fmla="*/ 812 w 875"/>
              <a:gd name="T1" fmla="*/ 0 h 700"/>
              <a:gd name="T2" fmla="*/ 750 w 875"/>
              <a:gd name="T3" fmla="*/ 63 h 700"/>
              <a:gd name="T4" fmla="*/ 768 w 875"/>
              <a:gd name="T5" fmla="*/ 106 h 700"/>
              <a:gd name="T6" fmla="*/ 586 w 875"/>
              <a:gd name="T7" fmla="*/ 380 h 700"/>
              <a:gd name="T8" fmla="*/ 562 w 875"/>
              <a:gd name="T9" fmla="*/ 375 h 700"/>
              <a:gd name="T10" fmla="*/ 518 w 875"/>
              <a:gd name="T11" fmla="*/ 394 h 700"/>
              <a:gd name="T12" fmla="*/ 371 w 875"/>
              <a:gd name="T13" fmla="*/ 310 h 700"/>
              <a:gd name="T14" fmla="*/ 375 w 875"/>
              <a:gd name="T15" fmla="*/ 288 h 700"/>
              <a:gd name="T16" fmla="*/ 312 w 875"/>
              <a:gd name="T17" fmla="*/ 225 h 700"/>
              <a:gd name="T18" fmla="*/ 250 w 875"/>
              <a:gd name="T19" fmla="*/ 288 h 700"/>
              <a:gd name="T20" fmla="*/ 268 w 875"/>
              <a:gd name="T21" fmla="*/ 331 h 700"/>
              <a:gd name="T22" fmla="*/ 87 w 875"/>
              <a:gd name="T23" fmla="*/ 580 h 700"/>
              <a:gd name="T24" fmla="*/ 86 w 875"/>
              <a:gd name="T25" fmla="*/ 580 h 700"/>
              <a:gd name="T26" fmla="*/ 63 w 875"/>
              <a:gd name="T27" fmla="*/ 575 h 700"/>
              <a:gd name="T28" fmla="*/ 0 w 875"/>
              <a:gd name="T29" fmla="*/ 638 h 700"/>
              <a:gd name="T30" fmla="*/ 63 w 875"/>
              <a:gd name="T31" fmla="*/ 700 h 700"/>
              <a:gd name="T32" fmla="*/ 125 w 875"/>
              <a:gd name="T33" fmla="*/ 638 h 700"/>
              <a:gd name="T34" fmla="*/ 107 w 875"/>
              <a:gd name="T35" fmla="*/ 594 h 700"/>
              <a:gd name="T36" fmla="*/ 288 w 875"/>
              <a:gd name="T37" fmla="*/ 345 h 700"/>
              <a:gd name="T38" fmla="*/ 312 w 875"/>
              <a:gd name="T39" fmla="*/ 350 h 700"/>
              <a:gd name="T40" fmla="*/ 357 w 875"/>
              <a:gd name="T41" fmla="*/ 331 h 700"/>
              <a:gd name="T42" fmla="*/ 505 w 875"/>
              <a:gd name="T43" fmla="*/ 415 h 700"/>
              <a:gd name="T44" fmla="*/ 500 w 875"/>
              <a:gd name="T45" fmla="*/ 438 h 700"/>
              <a:gd name="T46" fmla="*/ 563 w 875"/>
              <a:gd name="T47" fmla="*/ 500 h 700"/>
              <a:gd name="T48" fmla="*/ 625 w 875"/>
              <a:gd name="T49" fmla="*/ 438 h 700"/>
              <a:gd name="T50" fmla="*/ 607 w 875"/>
              <a:gd name="T51" fmla="*/ 393 h 700"/>
              <a:gd name="T52" fmla="*/ 789 w 875"/>
              <a:gd name="T53" fmla="*/ 120 h 700"/>
              <a:gd name="T54" fmla="*/ 813 w 875"/>
              <a:gd name="T55" fmla="*/ 125 h 700"/>
              <a:gd name="T56" fmla="*/ 875 w 875"/>
              <a:gd name="T57" fmla="*/ 62 h 700"/>
              <a:gd name="T58" fmla="*/ 813 w 875"/>
              <a:gd name="T59" fmla="*/ 0 h 700"/>
              <a:gd name="T60" fmla="*/ 812 w 875"/>
              <a:gd name="T61" fmla="*/ 0 h 700"/>
              <a:gd name="T62" fmla="*/ 812 w 875"/>
              <a:gd name="T63" fmla="*/ 25 h 700"/>
              <a:gd name="T64" fmla="*/ 850 w 875"/>
              <a:gd name="T65" fmla="*/ 63 h 700"/>
              <a:gd name="T66" fmla="*/ 812 w 875"/>
              <a:gd name="T67" fmla="*/ 100 h 700"/>
              <a:gd name="T68" fmla="*/ 775 w 875"/>
              <a:gd name="T69" fmla="*/ 63 h 700"/>
              <a:gd name="T70" fmla="*/ 812 w 875"/>
              <a:gd name="T71" fmla="*/ 25 h 700"/>
              <a:gd name="T72" fmla="*/ 312 w 875"/>
              <a:gd name="T73" fmla="*/ 250 h 700"/>
              <a:gd name="T74" fmla="*/ 350 w 875"/>
              <a:gd name="T75" fmla="*/ 288 h 700"/>
              <a:gd name="T76" fmla="*/ 312 w 875"/>
              <a:gd name="T77" fmla="*/ 325 h 700"/>
              <a:gd name="T78" fmla="*/ 275 w 875"/>
              <a:gd name="T79" fmla="*/ 288 h 700"/>
              <a:gd name="T80" fmla="*/ 312 w 875"/>
              <a:gd name="T81" fmla="*/ 250 h 700"/>
              <a:gd name="T82" fmla="*/ 562 w 875"/>
              <a:gd name="T83" fmla="*/ 400 h 700"/>
              <a:gd name="T84" fmla="*/ 600 w 875"/>
              <a:gd name="T85" fmla="*/ 438 h 700"/>
              <a:gd name="T86" fmla="*/ 562 w 875"/>
              <a:gd name="T87" fmla="*/ 475 h 700"/>
              <a:gd name="T88" fmla="*/ 525 w 875"/>
              <a:gd name="T89" fmla="*/ 438 h 700"/>
              <a:gd name="T90" fmla="*/ 562 w 875"/>
              <a:gd name="T91" fmla="*/ 400 h 700"/>
              <a:gd name="T92" fmla="*/ 62 w 875"/>
              <a:gd name="T93" fmla="*/ 600 h 700"/>
              <a:gd name="T94" fmla="*/ 100 w 875"/>
              <a:gd name="T95" fmla="*/ 638 h 700"/>
              <a:gd name="T96" fmla="*/ 62 w 875"/>
              <a:gd name="T97" fmla="*/ 675 h 700"/>
              <a:gd name="T98" fmla="*/ 25 w 875"/>
              <a:gd name="T99" fmla="*/ 638 h 700"/>
              <a:gd name="T100" fmla="*/ 62 w 875"/>
              <a:gd name="T101" fmla="*/ 60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75" h="700">
                <a:moveTo>
                  <a:pt x="812" y="0"/>
                </a:moveTo>
                <a:cubicBezTo>
                  <a:pt x="778" y="0"/>
                  <a:pt x="750" y="28"/>
                  <a:pt x="750" y="63"/>
                </a:cubicBezTo>
                <a:cubicBezTo>
                  <a:pt x="750" y="79"/>
                  <a:pt x="757" y="95"/>
                  <a:pt x="768" y="106"/>
                </a:cubicBezTo>
                <a:lnTo>
                  <a:pt x="586" y="380"/>
                </a:lnTo>
                <a:cubicBezTo>
                  <a:pt x="578" y="377"/>
                  <a:pt x="571" y="375"/>
                  <a:pt x="562" y="375"/>
                </a:cubicBezTo>
                <a:cubicBezTo>
                  <a:pt x="545" y="375"/>
                  <a:pt x="529" y="382"/>
                  <a:pt x="518" y="394"/>
                </a:cubicBezTo>
                <a:lnTo>
                  <a:pt x="371" y="310"/>
                </a:lnTo>
                <a:cubicBezTo>
                  <a:pt x="373" y="303"/>
                  <a:pt x="375" y="295"/>
                  <a:pt x="375" y="288"/>
                </a:cubicBezTo>
                <a:cubicBezTo>
                  <a:pt x="375" y="253"/>
                  <a:pt x="347" y="225"/>
                  <a:pt x="312" y="225"/>
                </a:cubicBezTo>
                <a:cubicBezTo>
                  <a:pt x="278" y="225"/>
                  <a:pt x="250" y="253"/>
                  <a:pt x="250" y="288"/>
                </a:cubicBezTo>
                <a:cubicBezTo>
                  <a:pt x="250" y="304"/>
                  <a:pt x="257" y="320"/>
                  <a:pt x="268" y="331"/>
                </a:cubicBezTo>
                <a:lnTo>
                  <a:pt x="87" y="580"/>
                </a:lnTo>
                <a:lnTo>
                  <a:pt x="86" y="580"/>
                </a:lnTo>
                <a:cubicBezTo>
                  <a:pt x="79" y="577"/>
                  <a:pt x="71" y="575"/>
                  <a:pt x="63" y="575"/>
                </a:cubicBezTo>
                <a:cubicBezTo>
                  <a:pt x="28" y="575"/>
                  <a:pt x="0" y="603"/>
                  <a:pt x="0" y="638"/>
                </a:cubicBezTo>
                <a:cubicBezTo>
                  <a:pt x="0" y="672"/>
                  <a:pt x="28" y="700"/>
                  <a:pt x="63" y="700"/>
                </a:cubicBezTo>
                <a:cubicBezTo>
                  <a:pt x="97" y="700"/>
                  <a:pt x="125" y="672"/>
                  <a:pt x="125" y="638"/>
                </a:cubicBezTo>
                <a:cubicBezTo>
                  <a:pt x="125" y="621"/>
                  <a:pt x="118" y="605"/>
                  <a:pt x="107" y="594"/>
                </a:cubicBezTo>
                <a:lnTo>
                  <a:pt x="288" y="345"/>
                </a:lnTo>
                <a:cubicBezTo>
                  <a:pt x="295" y="349"/>
                  <a:pt x="304" y="350"/>
                  <a:pt x="312" y="350"/>
                </a:cubicBezTo>
                <a:cubicBezTo>
                  <a:pt x="330" y="350"/>
                  <a:pt x="346" y="343"/>
                  <a:pt x="357" y="331"/>
                </a:cubicBezTo>
                <a:lnTo>
                  <a:pt x="505" y="415"/>
                </a:lnTo>
                <a:cubicBezTo>
                  <a:pt x="502" y="422"/>
                  <a:pt x="500" y="429"/>
                  <a:pt x="500" y="438"/>
                </a:cubicBezTo>
                <a:cubicBezTo>
                  <a:pt x="500" y="472"/>
                  <a:pt x="528" y="500"/>
                  <a:pt x="563" y="500"/>
                </a:cubicBezTo>
                <a:cubicBezTo>
                  <a:pt x="597" y="500"/>
                  <a:pt x="625" y="472"/>
                  <a:pt x="625" y="438"/>
                </a:cubicBezTo>
                <a:cubicBezTo>
                  <a:pt x="625" y="420"/>
                  <a:pt x="618" y="405"/>
                  <a:pt x="607" y="393"/>
                </a:cubicBezTo>
                <a:lnTo>
                  <a:pt x="789" y="120"/>
                </a:lnTo>
                <a:cubicBezTo>
                  <a:pt x="796" y="123"/>
                  <a:pt x="804" y="125"/>
                  <a:pt x="813" y="125"/>
                </a:cubicBezTo>
                <a:cubicBezTo>
                  <a:pt x="847" y="125"/>
                  <a:pt x="875" y="97"/>
                  <a:pt x="875" y="62"/>
                </a:cubicBezTo>
                <a:cubicBezTo>
                  <a:pt x="875" y="28"/>
                  <a:pt x="847" y="0"/>
                  <a:pt x="813" y="0"/>
                </a:cubicBezTo>
                <a:lnTo>
                  <a:pt x="812" y="0"/>
                </a:lnTo>
                <a:close/>
                <a:moveTo>
                  <a:pt x="812" y="25"/>
                </a:moveTo>
                <a:cubicBezTo>
                  <a:pt x="833" y="25"/>
                  <a:pt x="850" y="42"/>
                  <a:pt x="850" y="63"/>
                </a:cubicBezTo>
                <a:cubicBezTo>
                  <a:pt x="850" y="83"/>
                  <a:pt x="833" y="100"/>
                  <a:pt x="812" y="100"/>
                </a:cubicBezTo>
                <a:cubicBezTo>
                  <a:pt x="792" y="100"/>
                  <a:pt x="775" y="83"/>
                  <a:pt x="775" y="63"/>
                </a:cubicBezTo>
                <a:cubicBezTo>
                  <a:pt x="775" y="42"/>
                  <a:pt x="792" y="25"/>
                  <a:pt x="812" y="25"/>
                </a:cubicBezTo>
                <a:close/>
                <a:moveTo>
                  <a:pt x="312" y="250"/>
                </a:moveTo>
                <a:cubicBezTo>
                  <a:pt x="333" y="250"/>
                  <a:pt x="350" y="267"/>
                  <a:pt x="350" y="288"/>
                </a:cubicBezTo>
                <a:cubicBezTo>
                  <a:pt x="350" y="308"/>
                  <a:pt x="333" y="325"/>
                  <a:pt x="312" y="325"/>
                </a:cubicBezTo>
                <a:cubicBezTo>
                  <a:pt x="292" y="325"/>
                  <a:pt x="275" y="308"/>
                  <a:pt x="275" y="288"/>
                </a:cubicBezTo>
                <a:cubicBezTo>
                  <a:pt x="275" y="267"/>
                  <a:pt x="292" y="250"/>
                  <a:pt x="312" y="250"/>
                </a:cubicBezTo>
                <a:close/>
                <a:moveTo>
                  <a:pt x="562" y="400"/>
                </a:moveTo>
                <a:cubicBezTo>
                  <a:pt x="583" y="400"/>
                  <a:pt x="600" y="417"/>
                  <a:pt x="600" y="438"/>
                </a:cubicBezTo>
                <a:cubicBezTo>
                  <a:pt x="600" y="458"/>
                  <a:pt x="583" y="475"/>
                  <a:pt x="562" y="475"/>
                </a:cubicBezTo>
                <a:cubicBezTo>
                  <a:pt x="542" y="475"/>
                  <a:pt x="525" y="458"/>
                  <a:pt x="525" y="438"/>
                </a:cubicBezTo>
                <a:cubicBezTo>
                  <a:pt x="525" y="417"/>
                  <a:pt x="542" y="400"/>
                  <a:pt x="562" y="400"/>
                </a:cubicBezTo>
                <a:close/>
                <a:moveTo>
                  <a:pt x="62" y="600"/>
                </a:moveTo>
                <a:cubicBezTo>
                  <a:pt x="83" y="600"/>
                  <a:pt x="100" y="617"/>
                  <a:pt x="100" y="638"/>
                </a:cubicBezTo>
                <a:cubicBezTo>
                  <a:pt x="100" y="658"/>
                  <a:pt x="83" y="675"/>
                  <a:pt x="62" y="675"/>
                </a:cubicBezTo>
                <a:cubicBezTo>
                  <a:pt x="42" y="675"/>
                  <a:pt x="25" y="658"/>
                  <a:pt x="25" y="638"/>
                </a:cubicBezTo>
                <a:cubicBezTo>
                  <a:pt x="25" y="617"/>
                  <a:pt x="42" y="600"/>
                  <a:pt x="62" y="600"/>
                </a:cubicBezTo>
                <a:close/>
              </a:path>
            </a:pathLst>
          </a:custGeom>
          <a:solidFill>
            <a:schemeClr val="bg1"/>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TextBox 42">
            <a:extLst>
              <a:ext uri="{FF2B5EF4-FFF2-40B4-BE49-F238E27FC236}">
                <a16:creationId xmlns:a16="http://schemas.microsoft.com/office/drawing/2014/main" id="{D8B93D6F-83A2-4856-B031-C33851792E9B}"/>
              </a:ext>
            </a:extLst>
          </p:cNvPr>
          <p:cNvSpPr txBox="1"/>
          <p:nvPr/>
        </p:nvSpPr>
        <p:spPr>
          <a:xfrm>
            <a:off x="4840290" y="5574907"/>
            <a:ext cx="2604811" cy="646331"/>
          </a:xfrm>
          <a:prstGeom prst="rect">
            <a:avLst/>
          </a:prstGeom>
          <a:noFill/>
        </p:spPr>
        <p:txBody>
          <a:bodyPr wrap="square" lIns="0" tIns="0" rIns="0" bIns="0" rtlCol="0">
            <a:spAutoFit/>
          </a:bodyPr>
          <a:lstStyle/>
          <a:p>
            <a:pPr algn="ctr">
              <a:spcBef>
                <a:spcPts val="600"/>
              </a:spcBef>
              <a:buSzPct val="100000"/>
            </a:pPr>
            <a:r>
              <a:rPr lang="en-GB" sz="1400" dirty="0">
                <a:solidFill>
                  <a:schemeClr val="accent1">
                    <a:lumMod val="60000"/>
                    <a:lumOff val="40000"/>
                  </a:schemeClr>
                </a:solidFill>
              </a:rPr>
              <a:t>LES DÉVELOPPEMENTS RÉCENTS DE L’ECOSYSTÈME DU FITNESS</a:t>
            </a:r>
          </a:p>
        </p:txBody>
      </p:sp>
      <p:sp>
        <p:nvSpPr>
          <p:cNvPr id="29" name="TextBox 43">
            <a:extLst>
              <a:ext uri="{FF2B5EF4-FFF2-40B4-BE49-F238E27FC236}">
                <a16:creationId xmlns:a16="http://schemas.microsoft.com/office/drawing/2014/main" id="{6AC9597E-69E2-4729-B863-FC4B0C534808}"/>
              </a:ext>
            </a:extLst>
          </p:cNvPr>
          <p:cNvSpPr txBox="1"/>
          <p:nvPr/>
        </p:nvSpPr>
        <p:spPr>
          <a:xfrm>
            <a:off x="8770071" y="5574906"/>
            <a:ext cx="2144856" cy="646331"/>
          </a:xfrm>
          <a:prstGeom prst="rect">
            <a:avLst/>
          </a:prstGeom>
          <a:noFill/>
        </p:spPr>
        <p:txBody>
          <a:bodyPr wrap="square" lIns="0" tIns="0" rIns="0" bIns="0" rtlCol="0">
            <a:spAutoFit/>
          </a:bodyPr>
          <a:lstStyle/>
          <a:p>
            <a:pPr algn="ctr">
              <a:spcBef>
                <a:spcPts val="600"/>
              </a:spcBef>
              <a:buSzPct val="100000"/>
            </a:pPr>
            <a:r>
              <a:rPr lang="en-GB" sz="1400" dirty="0">
                <a:solidFill>
                  <a:schemeClr val="accent1">
                    <a:lumMod val="60000"/>
                    <a:lumOff val="40000"/>
                  </a:schemeClr>
                </a:solidFill>
              </a:rPr>
              <a:t>PERSPECTIVES DE L’ENQUÊTE DES CONSOMMATEURS</a:t>
            </a:r>
          </a:p>
        </p:txBody>
      </p:sp>
      <p:grpSp>
        <p:nvGrpSpPr>
          <p:cNvPr id="32" name="Group 41">
            <a:extLst>
              <a:ext uri="{FF2B5EF4-FFF2-40B4-BE49-F238E27FC236}">
                <a16:creationId xmlns:a16="http://schemas.microsoft.com/office/drawing/2014/main" id="{AB4D84AC-9AB6-4DFB-B707-1512D876FA60}"/>
              </a:ext>
            </a:extLst>
          </p:cNvPr>
          <p:cNvGrpSpPr/>
          <p:nvPr/>
        </p:nvGrpSpPr>
        <p:grpSpPr>
          <a:xfrm flipH="1">
            <a:off x="10319649" y="4844723"/>
            <a:ext cx="1872351" cy="233523"/>
            <a:chOff x="0" y="1112402"/>
            <a:chExt cx="1872351" cy="233523"/>
          </a:xfrm>
        </p:grpSpPr>
        <p:sp>
          <p:nvSpPr>
            <p:cNvPr id="33" name="Freeform 42">
              <a:extLst>
                <a:ext uri="{FF2B5EF4-FFF2-40B4-BE49-F238E27FC236}">
                  <a16:creationId xmlns:a16="http://schemas.microsoft.com/office/drawing/2014/main" id="{3BF2F41E-457D-4A00-A191-34B4DDF28151}"/>
                </a:ext>
              </a:extLst>
            </p:cNvPr>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cxnSp>
          <p:nvCxnSpPr>
            <p:cNvPr id="34" name="Straight Connector 43">
              <a:extLst>
                <a:ext uri="{FF2B5EF4-FFF2-40B4-BE49-F238E27FC236}">
                  <a16:creationId xmlns:a16="http://schemas.microsoft.com/office/drawing/2014/main" id="{AF5496E7-2D94-4042-B043-7A9BD81FE1CD}"/>
                </a:ext>
              </a:extLst>
            </p:cNvPr>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44">
              <a:extLst>
                <a:ext uri="{FF2B5EF4-FFF2-40B4-BE49-F238E27FC236}">
                  <a16:creationId xmlns:a16="http://schemas.microsoft.com/office/drawing/2014/main" id="{BF59404D-1E0A-4663-97BB-EAD2B4BF7CE4}"/>
                </a:ext>
              </a:extLst>
            </p:cNvPr>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sp>
        <p:nvSpPr>
          <p:cNvPr id="36" name="Rectangle 16">
            <a:extLst>
              <a:ext uri="{FF2B5EF4-FFF2-40B4-BE49-F238E27FC236}">
                <a16:creationId xmlns:a16="http://schemas.microsoft.com/office/drawing/2014/main" id="{47CFCA1D-2FD5-453D-B88A-27F4E50ED28C}"/>
              </a:ext>
            </a:extLst>
          </p:cNvPr>
          <p:cNvSpPr/>
          <p:nvPr/>
        </p:nvSpPr>
        <p:spPr bwMode="gray">
          <a:xfrm>
            <a:off x="8240120" y="1592430"/>
            <a:ext cx="3168000" cy="3992880"/>
          </a:xfrm>
          <a:prstGeom prst="rect">
            <a:avLst/>
          </a:prstGeom>
          <a:solidFill>
            <a:schemeClr val="tx1"/>
          </a:solidFill>
          <a:ln>
            <a:noFill/>
          </a:ln>
          <a:effectLst>
            <a:softEdge rad="152400"/>
          </a:effectLst>
        </p:spPr>
        <p:txBody>
          <a:bodyPr vert="horz" wrap="square" lIns="91440" tIns="45720" rIns="91440" bIns="45720" numCol="1" anchor="t" anchorCtr="0" compatLnSpc="1">
            <a:prstTxWarp prst="textNoShape">
              <a:avLst/>
            </a:prstTxWarp>
          </a:bodyPr>
          <a:lstStyle/>
          <a:p>
            <a:endParaRPr lang="en-GB" dirty="0"/>
          </a:p>
        </p:txBody>
      </p:sp>
      <p:sp>
        <p:nvSpPr>
          <p:cNvPr id="37" name="Rectangle 17">
            <a:extLst>
              <a:ext uri="{FF2B5EF4-FFF2-40B4-BE49-F238E27FC236}">
                <a16:creationId xmlns:a16="http://schemas.microsoft.com/office/drawing/2014/main" id="{55F2DEE7-1515-459A-AED9-04B93A285230}"/>
              </a:ext>
            </a:extLst>
          </p:cNvPr>
          <p:cNvSpPr/>
          <p:nvPr/>
        </p:nvSpPr>
        <p:spPr bwMode="gray">
          <a:xfrm>
            <a:off x="4567646" y="1598568"/>
            <a:ext cx="3204000" cy="3992880"/>
          </a:xfrm>
          <a:prstGeom prst="rect">
            <a:avLst/>
          </a:prstGeom>
          <a:solidFill>
            <a:schemeClr val="tx1"/>
          </a:solidFill>
          <a:ln>
            <a:noFill/>
          </a:ln>
          <a:effectLst>
            <a:softEdge rad="152400"/>
          </a:effectLst>
        </p:spPr>
        <p:txBody>
          <a:bodyPr vert="horz" wrap="square" lIns="91440" tIns="45720" rIns="91440" bIns="45720" numCol="1" anchor="t" anchorCtr="0" compatLnSpc="1">
            <a:prstTxWarp prst="textNoShape">
              <a:avLst/>
            </a:prstTxWarp>
          </a:bodyPr>
          <a:lstStyle/>
          <a:p>
            <a:endParaRPr lang="en-GB" dirty="0"/>
          </a:p>
        </p:txBody>
      </p:sp>
      <p:pic>
        <p:nvPicPr>
          <p:cNvPr id="5" name="Picture 4">
            <a:extLst>
              <a:ext uri="{FF2B5EF4-FFF2-40B4-BE49-F238E27FC236}">
                <a16:creationId xmlns:a16="http://schemas.microsoft.com/office/drawing/2014/main" id="{B7F0DE18-DC36-465F-93BD-C815576F56B9}"/>
              </a:ext>
            </a:extLst>
          </p:cNvPr>
          <p:cNvPicPr>
            <a:picLocks/>
          </p:cNvPicPr>
          <p:nvPr/>
        </p:nvPicPr>
        <p:blipFill>
          <a:blip r:embed="rId7"/>
          <a:stretch>
            <a:fillRect/>
          </a:stretch>
        </p:blipFill>
        <p:spPr>
          <a:xfrm>
            <a:off x="4787282" y="1755679"/>
            <a:ext cx="2753102" cy="3658607"/>
          </a:xfrm>
          <a:prstGeom prst="rect">
            <a:avLst/>
          </a:prstGeom>
        </p:spPr>
      </p:pic>
      <p:pic>
        <p:nvPicPr>
          <p:cNvPr id="8" name="Picture 7">
            <a:extLst>
              <a:ext uri="{FF2B5EF4-FFF2-40B4-BE49-F238E27FC236}">
                <a16:creationId xmlns:a16="http://schemas.microsoft.com/office/drawing/2014/main" id="{ADCFD717-5F61-4F85-9F78-0D451F0340BF}"/>
              </a:ext>
            </a:extLst>
          </p:cNvPr>
          <p:cNvPicPr>
            <a:picLocks/>
          </p:cNvPicPr>
          <p:nvPr/>
        </p:nvPicPr>
        <p:blipFill>
          <a:blip r:embed="rId8"/>
          <a:stretch>
            <a:fillRect/>
          </a:stretch>
        </p:blipFill>
        <p:spPr>
          <a:xfrm>
            <a:off x="8432071" y="1755679"/>
            <a:ext cx="2785894" cy="3619559"/>
          </a:xfrm>
          <a:prstGeom prst="rect">
            <a:avLst/>
          </a:prstGeom>
          <a:ln w="12700">
            <a:solidFill>
              <a:schemeClr val="bg1"/>
            </a:solidFill>
          </a:ln>
        </p:spPr>
      </p:pic>
    </p:spTree>
    <p:extLst>
      <p:ext uri="{BB962C8B-B14F-4D97-AF65-F5344CB8AC3E}">
        <p14:creationId xmlns:p14="http://schemas.microsoft.com/office/powerpoint/2010/main" val="950248850"/>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113880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93" imgH="493" progId="TCLayout.ActiveDocument.1">
                  <p:embed/>
                </p:oleObj>
              </mc:Choice>
              <mc:Fallback>
                <p:oleObj name="think-cell Folie" r:id="rId5" imgW="493" imgH="493"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buFont typeface="Wingdings 2" pitchFamily="18" charset="2"/>
              <a:buNone/>
            </a:pPr>
            <a:endParaRPr lang="en-GB" sz="2000" dirty="0">
              <a:solidFill>
                <a:schemeClr val="bg1"/>
              </a:solidFill>
              <a:latin typeface="Verdana" panose="020B0604030504040204" pitchFamily="34" charset="0"/>
              <a:ea typeface="+mj-ea"/>
              <a:cs typeface="+mj-cs"/>
              <a:sym typeface="Verdana" panose="020B0604030504040204" pitchFamily="34" charset="0"/>
            </a:endParaRPr>
          </a:p>
        </p:txBody>
      </p:sp>
      <p:sp>
        <p:nvSpPr>
          <p:cNvPr id="13" name="Title 1"/>
          <p:cNvSpPr>
            <a:spLocks noGrp="1"/>
          </p:cNvSpPr>
          <p:nvPr>
            <p:ph type="title"/>
          </p:nvPr>
        </p:nvSpPr>
        <p:spPr/>
        <p:txBody>
          <a:bodyPr vert="horz"/>
          <a:lstStyle/>
          <a:p>
            <a:r>
              <a:rPr lang="fr-FR" dirty="0"/>
              <a:t>Accéléré</a:t>
            </a:r>
            <a:r>
              <a:rPr lang="en-US" dirty="0"/>
              <a:t> par la </a:t>
            </a:r>
            <a:r>
              <a:rPr lang="en-US" dirty="0" err="1"/>
              <a:t>pandémie</a:t>
            </a:r>
            <a:r>
              <a:rPr lang="en-US" dirty="0"/>
              <a:t> de COVID-19, </a:t>
            </a:r>
            <a:r>
              <a:rPr lang="en-US" dirty="0" err="1"/>
              <a:t>l’écosystème</a:t>
            </a:r>
            <a:r>
              <a:rPr lang="en-US" dirty="0"/>
              <a:t> du fitness </a:t>
            </a:r>
            <a:r>
              <a:rPr lang="en-US" dirty="0" err="1"/>
              <a:t>s’est</a:t>
            </a:r>
            <a:r>
              <a:rPr lang="en-US" dirty="0"/>
              <a:t> </a:t>
            </a:r>
            <a:r>
              <a:rPr lang="en-US" dirty="0" err="1"/>
              <a:t>adapté</a:t>
            </a:r>
            <a:r>
              <a:rPr lang="en-US" dirty="0"/>
              <a:t> aux </a:t>
            </a:r>
            <a:r>
              <a:rPr lang="en-US" dirty="0" err="1"/>
              <a:t>besoins</a:t>
            </a:r>
            <a:r>
              <a:rPr lang="en-US" dirty="0"/>
              <a:t> des </a:t>
            </a:r>
            <a:r>
              <a:rPr lang="en-US" dirty="0" err="1"/>
              <a:t>consommateurs</a:t>
            </a:r>
            <a:r>
              <a:rPr lang="en-US" dirty="0"/>
              <a:t> </a:t>
            </a:r>
            <a:r>
              <a:rPr lang="en-US" dirty="0" err="1"/>
              <a:t>afin</a:t>
            </a:r>
            <a:r>
              <a:rPr lang="en-US" dirty="0"/>
              <a:t> de </a:t>
            </a:r>
            <a:r>
              <a:rPr lang="en-US" dirty="0" err="1"/>
              <a:t>faciliter</a:t>
            </a:r>
            <a:r>
              <a:rPr lang="en-US" dirty="0"/>
              <a:t> </a:t>
            </a:r>
            <a:r>
              <a:rPr lang="en-US" dirty="0" err="1"/>
              <a:t>l’expérience</a:t>
            </a:r>
            <a:r>
              <a:rPr lang="en-US" dirty="0"/>
              <a:t> fitness</a:t>
            </a:r>
            <a:br>
              <a:rPr lang="en-US" dirty="0"/>
            </a:br>
            <a:endParaRPr lang="en-GB" dirty="0"/>
          </a:p>
        </p:txBody>
      </p:sp>
      <p:sp>
        <p:nvSpPr>
          <p:cNvPr id="45" name="Rectangle 44"/>
          <p:cNvSpPr/>
          <p:nvPr/>
        </p:nvSpPr>
        <p:spPr bwMode="gray">
          <a:xfrm>
            <a:off x="0" y="1449901"/>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6" name="Rectangle 45"/>
          <p:cNvSpPr/>
          <p:nvPr/>
        </p:nvSpPr>
        <p:spPr bwMode="gray">
          <a:xfrm>
            <a:off x="0" y="6055925"/>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47" name="Group 46"/>
          <p:cNvGrpSpPr/>
          <p:nvPr/>
        </p:nvGrpSpPr>
        <p:grpSpPr>
          <a:xfrm>
            <a:off x="0" y="1112402"/>
            <a:ext cx="1872351" cy="233523"/>
            <a:chOff x="0" y="1112402"/>
            <a:chExt cx="1872351" cy="233523"/>
          </a:xfrm>
        </p:grpSpPr>
        <p:sp>
          <p:nvSpPr>
            <p:cNvPr id="48" name="Freeform 47"/>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cxnSp>
          <p:nvCxnSpPr>
            <p:cNvPr id="49" name="Straight Connector 48"/>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flipH="1">
            <a:off x="10319649" y="6223855"/>
            <a:ext cx="1872351" cy="233523"/>
            <a:chOff x="0" y="1112402"/>
            <a:chExt cx="1872351" cy="233523"/>
          </a:xfrm>
        </p:grpSpPr>
        <p:sp>
          <p:nvSpPr>
            <p:cNvPr id="52" name="Freeform 51"/>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cxnSp>
          <p:nvCxnSpPr>
            <p:cNvPr id="53" name="Straight Connector 52"/>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sp>
        <p:nvSpPr>
          <p:cNvPr id="106" name="TextBox 90">
            <a:extLst>
              <a:ext uri="{FF2B5EF4-FFF2-40B4-BE49-F238E27FC236}">
                <a16:creationId xmlns:a16="http://schemas.microsoft.com/office/drawing/2014/main" id="{7923695D-FE81-45CD-B578-87F8CA2571BD}"/>
              </a:ext>
            </a:extLst>
          </p:cNvPr>
          <p:cNvSpPr txBox="1"/>
          <p:nvPr/>
        </p:nvSpPr>
        <p:spPr>
          <a:xfrm>
            <a:off x="480879" y="1671675"/>
            <a:ext cx="5166928" cy="168892"/>
          </a:xfrm>
          <a:prstGeom prst="rect">
            <a:avLst/>
          </a:prstGeom>
          <a:noFill/>
        </p:spPr>
        <p:txBody>
          <a:bodyPr wrap="square" lIns="0" tIns="0" rIns="0" bIns="0" rtlCol="0">
            <a:spAutoFit/>
          </a:bodyPr>
          <a:lstStyle/>
          <a:p>
            <a:pPr eaLnBrk="0" fontAlgn="base" hangingPunct="0">
              <a:lnSpc>
                <a:spcPct val="110000"/>
              </a:lnSpc>
              <a:spcBef>
                <a:spcPct val="0"/>
              </a:spcBef>
              <a:spcAft>
                <a:spcPct val="0"/>
              </a:spcAft>
            </a:pPr>
            <a:r>
              <a:rPr lang="en-GB" sz="1100" b="1" dirty="0">
                <a:solidFill>
                  <a:schemeClr val="bg1"/>
                </a:solidFill>
                <a:latin typeface="+mj-lt"/>
              </a:rPr>
              <a:t>Les </a:t>
            </a:r>
            <a:r>
              <a:rPr lang="en-GB" sz="1100" b="1" dirty="0" err="1">
                <a:solidFill>
                  <a:schemeClr val="bg1"/>
                </a:solidFill>
                <a:latin typeface="+mj-lt"/>
              </a:rPr>
              <a:t>récents</a:t>
            </a:r>
            <a:r>
              <a:rPr lang="en-GB" sz="1100" b="1" dirty="0">
                <a:solidFill>
                  <a:schemeClr val="bg1"/>
                </a:solidFill>
                <a:latin typeface="+mj-lt"/>
              </a:rPr>
              <a:t> </a:t>
            </a:r>
            <a:r>
              <a:rPr lang="fr-FR" sz="1100" b="1" dirty="0">
                <a:solidFill>
                  <a:schemeClr val="bg1"/>
                </a:solidFill>
                <a:latin typeface="+mj-lt"/>
              </a:rPr>
              <a:t>développements</a:t>
            </a:r>
            <a:r>
              <a:rPr lang="en-GB" sz="1100" b="1" dirty="0">
                <a:solidFill>
                  <a:schemeClr val="bg1"/>
                </a:solidFill>
                <a:latin typeface="+mj-lt"/>
              </a:rPr>
              <a:t> de </a:t>
            </a:r>
            <a:r>
              <a:rPr lang="en-GB" sz="1100" b="1" dirty="0" err="1">
                <a:solidFill>
                  <a:schemeClr val="bg1"/>
                </a:solidFill>
                <a:latin typeface="+mj-lt"/>
              </a:rPr>
              <a:t>l’écosystème</a:t>
            </a:r>
            <a:r>
              <a:rPr lang="en-GB" sz="1100" b="1" dirty="0">
                <a:solidFill>
                  <a:schemeClr val="bg1"/>
                </a:solidFill>
                <a:latin typeface="+mj-lt"/>
              </a:rPr>
              <a:t> du fitness</a:t>
            </a:r>
            <a:endParaRPr lang="en-GB" sz="800" baseline="30000" dirty="0">
              <a:solidFill>
                <a:srgbClr val="FF0000"/>
              </a:solidFill>
              <a:latin typeface="+mj-lt"/>
            </a:endParaRPr>
          </a:p>
        </p:txBody>
      </p:sp>
      <p:sp>
        <p:nvSpPr>
          <p:cNvPr id="78" name="Rectangle 77">
            <a:extLst>
              <a:ext uri="{FF2B5EF4-FFF2-40B4-BE49-F238E27FC236}">
                <a16:creationId xmlns:a16="http://schemas.microsoft.com/office/drawing/2014/main" id="{689A29A5-F4E5-4676-8843-C06D28E994BA}"/>
              </a:ext>
            </a:extLst>
          </p:cNvPr>
          <p:cNvSpPr/>
          <p:nvPr/>
        </p:nvSpPr>
        <p:spPr>
          <a:xfrm>
            <a:off x="5470851" y="994507"/>
            <a:ext cx="2401375" cy="606207"/>
          </a:xfrm>
          <a:prstGeom prst="rect">
            <a:avLst/>
          </a:prstGeom>
        </p:spPr>
        <p:txBody>
          <a:bodyPr wrap="square" lIns="0" tIns="0" rIns="0" bIns="0">
            <a:spAutoFit/>
          </a:bodyPr>
          <a:lstStyle/>
          <a:p>
            <a:r>
              <a:rPr lang="en-US" sz="1000" dirty="0"/>
              <a:t>This is dummy text it is not here to be read. This is dummy text it is not here to be read.</a:t>
            </a:r>
          </a:p>
        </p:txBody>
      </p:sp>
      <p:sp>
        <p:nvSpPr>
          <p:cNvPr id="41" name="Oval 40">
            <a:extLst>
              <a:ext uri="{FF2B5EF4-FFF2-40B4-BE49-F238E27FC236}">
                <a16:creationId xmlns:a16="http://schemas.microsoft.com/office/drawing/2014/main" id="{CBFE4EAC-4CA7-448F-ADED-303AD7CC67DD}"/>
              </a:ext>
            </a:extLst>
          </p:cNvPr>
          <p:cNvSpPr/>
          <p:nvPr/>
        </p:nvSpPr>
        <p:spPr bwMode="gray">
          <a:xfrm>
            <a:off x="4353148" y="2200498"/>
            <a:ext cx="3485705" cy="3485705"/>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33" name="Gruppieren 32">
            <a:extLst>
              <a:ext uri="{FF2B5EF4-FFF2-40B4-BE49-F238E27FC236}">
                <a16:creationId xmlns:a16="http://schemas.microsoft.com/office/drawing/2014/main" id="{D7D20E2A-94BE-4A12-A0C9-3017132847EF}"/>
              </a:ext>
            </a:extLst>
          </p:cNvPr>
          <p:cNvGrpSpPr/>
          <p:nvPr/>
        </p:nvGrpSpPr>
        <p:grpSpPr>
          <a:xfrm>
            <a:off x="469900" y="4000209"/>
            <a:ext cx="3972375" cy="986104"/>
            <a:chOff x="469900" y="4000209"/>
            <a:chExt cx="3972375" cy="986104"/>
          </a:xfrm>
        </p:grpSpPr>
        <p:sp>
          <p:nvSpPr>
            <p:cNvPr id="66" name="Rectangle 65">
              <a:extLst>
                <a:ext uri="{FF2B5EF4-FFF2-40B4-BE49-F238E27FC236}">
                  <a16:creationId xmlns:a16="http://schemas.microsoft.com/office/drawing/2014/main" id="{CB4A1F16-EE0D-4D82-AC60-2D31B55E1096}"/>
                </a:ext>
              </a:extLst>
            </p:cNvPr>
            <p:cNvSpPr/>
            <p:nvPr/>
          </p:nvSpPr>
          <p:spPr>
            <a:xfrm>
              <a:off x="469900" y="4000209"/>
              <a:ext cx="2700000" cy="986104"/>
            </a:xfrm>
            <a:prstGeom prst="rect">
              <a:avLst/>
            </a:prstGeom>
          </p:spPr>
          <p:txBody>
            <a:bodyPr wrap="square">
              <a:spAutoFit/>
            </a:bodyPr>
            <a:lstStyle/>
            <a:p>
              <a:pPr algn="r">
                <a:lnSpc>
                  <a:spcPct val="106000"/>
                </a:lnSpc>
                <a:spcAft>
                  <a:spcPts val="1600"/>
                </a:spcAft>
                <a:defRPr/>
              </a:pPr>
              <a:r>
                <a:rPr lang="en-GB" sz="1400" dirty="0" err="1">
                  <a:solidFill>
                    <a:prstClr val="white"/>
                  </a:solidFill>
                  <a:latin typeface="Verdana"/>
                </a:rPr>
                <a:t>Accélération</a:t>
              </a:r>
              <a:r>
                <a:rPr lang="en-GB" sz="1400" dirty="0">
                  <a:solidFill>
                    <a:prstClr val="white"/>
                  </a:solidFill>
                  <a:latin typeface="Verdana"/>
                </a:rPr>
                <a:t> des tendances du fitness (e.g. </a:t>
              </a:r>
              <a:r>
                <a:rPr lang="en-GB" sz="1400" dirty="0" err="1">
                  <a:solidFill>
                    <a:prstClr val="white"/>
                  </a:solidFill>
                  <a:latin typeface="Verdana"/>
                </a:rPr>
                <a:t>numérisation</a:t>
              </a:r>
              <a:r>
                <a:rPr lang="en-GB" sz="1400" dirty="0">
                  <a:solidFill>
                    <a:prstClr val="white"/>
                  </a:solidFill>
                  <a:latin typeface="Verdana"/>
                </a:rPr>
                <a:t>, fitness à la </a:t>
              </a:r>
              <a:r>
                <a:rPr lang="en-GB" sz="1400" dirty="0" err="1">
                  <a:solidFill>
                    <a:prstClr val="white"/>
                  </a:solidFill>
                  <a:latin typeface="Verdana"/>
                </a:rPr>
                <a:t>maison</a:t>
              </a:r>
              <a:r>
                <a:rPr lang="en-GB" sz="1400" dirty="0">
                  <a:solidFill>
                    <a:prstClr val="white"/>
                  </a:solidFill>
                  <a:latin typeface="Verdana"/>
                </a:rPr>
                <a:t> et </a:t>
              </a:r>
              <a:r>
                <a:rPr lang="en-GB" sz="1400" dirty="0" err="1">
                  <a:solidFill>
                    <a:prstClr val="white"/>
                  </a:solidFill>
                  <a:latin typeface="Verdana"/>
                </a:rPr>
                <a:t>en</a:t>
              </a:r>
              <a:r>
                <a:rPr lang="en-GB" sz="1400" dirty="0">
                  <a:solidFill>
                    <a:prstClr val="white"/>
                  </a:solidFill>
                  <a:latin typeface="Verdana"/>
                </a:rPr>
                <a:t> </a:t>
              </a:r>
              <a:r>
                <a:rPr lang="en-GB" sz="1400" dirty="0" err="1">
                  <a:solidFill>
                    <a:prstClr val="white"/>
                  </a:solidFill>
                  <a:latin typeface="Verdana"/>
                </a:rPr>
                <a:t>extérieur</a:t>
              </a:r>
              <a:r>
                <a:rPr lang="en-GB" sz="1400" dirty="0">
                  <a:solidFill>
                    <a:prstClr val="white"/>
                  </a:solidFill>
                  <a:latin typeface="Verdana"/>
                </a:rPr>
                <a:t>)</a:t>
              </a:r>
            </a:p>
          </p:txBody>
        </p:sp>
        <p:cxnSp>
          <p:nvCxnSpPr>
            <p:cNvPr id="64" name="Straight Connector 63">
              <a:extLst>
                <a:ext uri="{FF2B5EF4-FFF2-40B4-BE49-F238E27FC236}">
                  <a16:creationId xmlns:a16="http://schemas.microsoft.com/office/drawing/2014/main" id="{C9A41DD8-D11F-4D52-BE0C-4DE908A56ED0}"/>
                </a:ext>
              </a:extLst>
            </p:cNvPr>
            <p:cNvCxnSpPr>
              <a:cxnSpLocks/>
            </p:cNvCxnSpPr>
            <p:nvPr/>
          </p:nvCxnSpPr>
          <p:spPr>
            <a:xfrm>
              <a:off x="3928998" y="4379063"/>
              <a:ext cx="468000" cy="1"/>
            </a:xfrm>
            <a:prstGeom prst="line">
              <a:avLst/>
            </a:prstGeom>
            <a:noFill/>
            <a:ln w="22225" algn="ctr">
              <a:solidFill>
                <a:schemeClr val="tx1">
                  <a:lumMod val="50000"/>
                  <a:lumOff val="50000"/>
                </a:schemeClr>
              </a:solidFill>
              <a:prstDash val="sysDot"/>
              <a:miter lim="800000"/>
              <a:headEnd/>
              <a:tailEnd/>
            </a:ln>
          </p:spPr>
        </p:cxnSp>
        <p:sp>
          <p:nvSpPr>
            <p:cNvPr id="102" name="Oval 101">
              <a:extLst>
                <a:ext uri="{FF2B5EF4-FFF2-40B4-BE49-F238E27FC236}">
                  <a16:creationId xmlns:a16="http://schemas.microsoft.com/office/drawing/2014/main" id="{877E67C9-74D8-4D57-8985-D35FD9A4F390}"/>
                </a:ext>
              </a:extLst>
            </p:cNvPr>
            <p:cNvSpPr/>
            <p:nvPr/>
          </p:nvSpPr>
          <p:spPr bwMode="gray">
            <a:xfrm>
              <a:off x="4365478" y="4340665"/>
              <a:ext cx="76797" cy="76797"/>
            </a:xfrm>
            <a:prstGeom prst="ellipse">
              <a:avLst/>
            </a:prstGeom>
            <a:solidFill>
              <a:srgbClr val="046A38"/>
            </a:solidFill>
            <a:ln w="34925" algn="ctr">
              <a:solidFill>
                <a:srgbClr val="046A38"/>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5" name="Group 4">
              <a:extLst>
                <a:ext uri="{FF2B5EF4-FFF2-40B4-BE49-F238E27FC236}">
                  <a16:creationId xmlns:a16="http://schemas.microsoft.com/office/drawing/2014/main" id="{81DEA1FC-F3B8-4371-8126-46FFD718158D}"/>
                </a:ext>
              </a:extLst>
            </p:cNvPr>
            <p:cNvGrpSpPr/>
            <p:nvPr/>
          </p:nvGrpSpPr>
          <p:grpSpPr>
            <a:xfrm>
              <a:off x="3198457" y="4019063"/>
              <a:ext cx="720000" cy="720000"/>
              <a:chOff x="3354550" y="4120555"/>
              <a:chExt cx="635416" cy="635416"/>
            </a:xfrm>
          </p:grpSpPr>
          <p:sp>
            <p:nvSpPr>
              <p:cNvPr id="68" name="Oval 67">
                <a:extLst>
                  <a:ext uri="{FF2B5EF4-FFF2-40B4-BE49-F238E27FC236}">
                    <a16:creationId xmlns:a16="http://schemas.microsoft.com/office/drawing/2014/main" id="{BCB9A017-ED33-42B7-89A1-2D97A482308B}"/>
                  </a:ext>
                </a:extLst>
              </p:cNvPr>
              <p:cNvSpPr/>
              <p:nvPr/>
            </p:nvSpPr>
            <p:spPr bwMode="gray">
              <a:xfrm>
                <a:off x="3354550" y="4120555"/>
                <a:ext cx="635416" cy="635416"/>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29" name="Oval 128">
                <a:extLst>
                  <a:ext uri="{FF2B5EF4-FFF2-40B4-BE49-F238E27FC236}">
                    <a16:creationId xmlns:a16="http://schemas.microsoft.com/office/drawing/2014/main" id="{129B1BE7-376B-45A9-AC3D-A9221F5A63E7}"/>
                  </a:ext>
                </a:extLst>
              </p:cNvPr>
              <p:cNvSpPr>
                <a:spLocks/>
              </p:cNvSpPr>
              <p:nvPr/>
            </p:nvSpPr>
            <p:spPr bwMode="gray">
              <a:xfrm>
                <a:off x="3400115" y="4166119"/>
                <a:ext cx="544286" cy="544288"/>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grpSp>
            <p:nvGrpSpPr>
              <p:cNvPr id="137" name="Gruppieren 6">
                <a:extLst>
                  <a:ext uri="{FF2B5EF4-FFF2-40B4-BE49-F238E27FC236}">
                    <a16:creationId xmlns:a16="http://schemas.microsoft.com/office/drawing/2014/main" id="{8D3F3789-75C7-4AC8-B4F1-43578D4E8B43}"/>
                  </a:ext>
                </a:extLst>
              </p:cNvPr>
              <p:cNvGrpSpPr/>
              <p:nvPr/>
            </p:nvGrpSpPr>
            <p:grpSpPr>
              <a:xfrm>
                <a:off x="3550196" y="4267325"/>
                <a:ext cx="242627" cy="340952"/>
                <a:chOff x="3328470" y="3866360"/>
                <a:chExt cx="242627" cy="340952"/>
              </a:xfrm>
            </p:grpSpPr>
            <p:sp>
              <p:nvSpPr>
                <p:cNvPr id="138" name="Graphic 4">
                  <a:extLst>
                    <a:ext uri="{FF2B5EF4-FFF2-40B4-BE49-F238E27FC236}">
                      <a16:creationId xmlns:a16="http://schemas.microsoft.com/office/drawing/2014/main" id="{5EB569D9-F8AD-4D8B-9FBE-36E4646091AE}"/>
                    </a:ext>
                  </a:extLst>
                </p:cNvPr>
                <p:cNvSpPr/>
                <p:nvPr/>
              </p:nvSpPr>
              <p:spPr>
                <a:xfrm>
                  <a:off x="3328470" y="3866360"/>
                  <a:ext cx="242627" cy="340952"/>
                </a:xfrm>
                <a:custGeom>
                  <a:avLst/>
                  <a:gdLst>
                    <a:gd name="connsiteX0" fmla="*/ 157193 w 162637"/>
                    <a:gd name="connsiteY0" fmla="*/ 70224 h 228546"/>
                    <a:gd name="connsiteX1" fmla="*/ 150803 w 162637"/>
                    <a:gd name="connsiteY1" fmla="*/ 75970 h 228546"/>
                    <a:gd name="connsiteX2" fmla="*/ 150803 w 162637"/>
                    <a:gd name="connsiteY2" fmla="*/ 56179 h 228546"/>
                    <a:gd name="connsiteX3" fmla="*/ 126521 w 162637"/>
                    <a:gd name="connsiteY3" fmla="*/ 31920 h 228546"/>
                    <a:gd name="connsiteX4" fmla="*/ 126521 w 162637"/>
                    <a:gd name="connsiteY4" fmla="*/ 31920 h 228546"/>
                    <a:gd name="connsiteX5" fmla="*/ 125882 w 162637"/>
                    <a:gd name="connsiteY5" fmla="*/ 31920 h 228546"/>
                    <a:gd name="connsiteX6" fmla="*/ 127799 w 162637"/>
                    <a:gd name="connsiteY6" fmla="*/ 22344 h 228546"/>
                    <a:gd name="connsiteX7" fmla="*/ 105434 w 162637"/>
                    <a:gd name="connsiteY7" fmla="*/ 0 h 228546"/>
                    <a:gd name="connsiteX8" fmla="*/ 105434 w 162637"/>
                    <a:gd name="connsiteY8" fmla="*/ 0 h 228546"/>
                    <a:gd name="connsiteX9" fmla="*/ 45369 w 162637"/>
                    <a:gd name="connsiteY9" fmla="*/ 0 h 228546"/>
                    <a:gd name="connsiteX10" fmla="*/ 23004 w 162637"/>
                    <a:gd name="connsiteY10" fmla="*/ 22344 h 228546"/>
                    <a:gd name="connsiteX11" fmla="*/ 23004 w 162637"/>
                    <a:gd name="connsiteY11" fmla="*/ 22344 h 228546"/>
                    <a:gd name="connsiteX12" fmla="*/ 24921 w 162637"/>
                    <a:gd name="connsiteY12" fmla="*/ 31920 h 228546"/>
                    <a:gd name="connsiteX13" fmla="*/ 24282 w 162637"/>
                    <a:gd name="connsiteY13" fmla="*/ 31920 h 228546"/>
                    <a:gd name="connsiteX14" fmla="*/ 0 w 162637"/>
                    <a:gd name="connsiteY14" fmla="*/ 56179 h 228546"/>
                    <a:gd name="connsiteX15" fmla="*/ 0 w 162637"/>
                    <a:gd name="connsiteY15" fmla="*/ 56179 h 228546"/>
                    <a:gd name="connsiteX16" fmla="*/ 0 w 162637"/>
                    <a:gd name="connsiteY16" fmla="*/ 172368 h 228546"/>
                    <a:gd name="connsiteX17" fmla="*/ 24282 w 162637"/>
                    <a:gd name="connsiteY17" fmla="*/ 196627 h 228546"/>
                    <a:gd name="connsiteX18" fmla="*/ 24282 w 162637"/>
                    <a:gd name="connsiteY18" fmla="*/ 196627 h 228546"/>
                    <a:gd name="connsiteX19" fmla="*/ 24921 w 162637"/>
                    <a:gd name="connsiteY19" fmla="*/ 196627 h 228546"/>
                    <a:gd name="connsiteX20" fmla="*/ 35145 w 162637"/>
                    <a:gd name="connsiteY20" fmla="*/ 225993 h 228546"/>
                    <a:gd name="connsiteX21" fmla="*/ 44730 w 162637"/>
                    <a:gd name="connsiteY21" fmla="*/ 228546 h 228546"/>
                    <a:gd name="connsiteX22" fmla="*/ 104795 w 162637"/>
                    <a:gd name="connsiteY22" fmla="*/ 228546 h 228546"/>
                    <a:gd name="connsiteX23" fmla="*/ 127160 w 162637"/>
                    <a:gd name="connsiteY23" fmla="*/ 206203 h 228546"/>
                    <a:gd name="connsiteX24" fmla="*/ 124604 w 162637"/>
                    <a:gd name="connsiteY24" fmla="*/ 196627 h 228546"/>
                    <a:gd name="connsiteX25" fmla="*/ 125243 w 162637"/>
                    <a:gd name="connsiteY25" fmla="*/ 196627 h 228546"/>
                    <a:gd name="connsiteX26" fmla="*/ 149525 w 162637"/>
                    <a:gd name="connsiteY26" fmla="*/ 172368 h 228546"/>
                    <a:gd name="connsiteX27" fmla="*/ 149525 w 162637"/>
                    <a:gd name="connsiteY27" fmla="*/ 172368 h 228546"/>
                    <a:gd name="connsiteX28" fmla="*/ 149525 w 162637"/>
                    <a:gd name="connsiteY28" fmla="*/ 100229 h 228546"/>
                    <a:gd name="connsiteX29" fmla="*/ 155915 w 162637"/>
                    <a:gd name="connsiteY29" fmla="*/ 106613 h 228546"/>
                    <a:gd name="connsiteX30" fmla="*/ 162305 w 162637"/>
                    <a:gd name="connsiteY30" fmla="*/ 100229 h 228546"/>
                    <a:gd name="connsiteX31" fmla="*/ 162305 w 162637"/>
                    <a:gd name="connsiteY31" fmla="*/ 76608 h 228546"/>
                    <a:gd name="connsiteX32" fmla="*/ 157193 w 162637"/>
                    <a:gd name="connsiteY32" fmla="*/ 70224 h 228546"/>
                    <a:gd name="connsiteX33" fmla="*/ 157193 w 162637"/>
                    <a:gd name="connsiteY33" fmla="*/ 70224 h 228546"/>
                    <a:gd name="connsiteX34" fmla="*/ 45369 w 162637"/>
                    <a:gd name="connsiteY34" fmla="*/ 12768 h 228546"/>
                    <a:gd name="connsiteX35" fmla="*/ 105434 w 162637"/>
                    <a:gd name="connsiteY35" fmla="*/ 12768 h 228546"/>
                    <a:gd name="connsiteX36" fmla="*/ 115019 w 162637"/>
                    <a:gd name="connsiteY36" fmla="*/ 22344 h 228546"/>
                    <a:gd name="connsiteX37" fmla="*/ 105434 w 162637"/>
                    <a:gd name="connsiteY37" fmla="*/ 31920 h 228546"/>
                    <a:gd name="connsiteX38" fmla="*/ 45369 w 162637"/>
                    <a:gd name="connsiteY38" fmla="*/ 31920 h 228546"/>
                    <a:gd name="connsiteX39" fmla="*/ 35784 w 162637"/>
                    <a:gd name="connsiteY39" fmla="*/ 22344 h 228546"/>
                    <a:gd name="connsiteX40" fmla="*/ 45369 w 162637"/>
                    <a:gd name="connsiteY40" fmla="*/ 12768 h 228546"/>
                    <a:gd name="connsiteX41" fmla="*/ 106073 w 162637"/>
                    <a:gd name="connsiteY41" fmla="*/ 215140 h 228546"/>
                    <a:gd name="connsiteX42" fmla="*/ 46008 w 162637"/>
                    <a:gd name="connsiteY42" fmla="*/ 215140 h 228546"/>
                    <a:gd name="connsiteX43" fmla="*/ 36423 w 162637"/>
                    <a:gd name="connsiteY43" fmla="*/ 205564 h 228546"/>
                    <a:gd name="connsiteX44" fmla="*/ 46008 w 162637"/>
                    <a:gd name="connsiteY44" fmla="*/ 195988 h 228546"/>
                    <a:gd name="connsiteX45" fmla="*/ 106073 w 162637"/>
                    <a:gd name="connsiteY45" fmla="*/ 195988 h 228546"/>
                    <a:gd name="connsiteX46" fmla="*/ 115658 w 162637"/>
                    <a:gd name="connsiteY46" fmla="*/ 205564 h 228546"/>
                    <a:gd name="connsiteX47" fmla="*/ 106073 w 162637"/>
                    <a:gd name="connsiteY47" fmla="*/ 215140 h 228546"/>
                    <a:gd name="connsiteX48" fmla="*/ 138023 w 162637"/>
                    <a:gd name="connsiteY48" fmla="*/ 171729 h 228546"/>
                    <a:gd name="connsiteX49" fmla="*/ 126521 w 162637"/>
                    <a:gd name="connsiteY49" fmla="*/ 183220 h 228546"/>
                    <a:gd name="connsiteX50" fmla="*/ 126521 w 162637"/>
                    <a:gd name="connsiteY50" fmla="*/ 183220 h 228546"/>
                    <a:gd name="connsiteX51" fmla="*/ 25560 w 162637"/>
                    <a:gd name="connsiteY51" fmla="*/ 183220 h 228546"/>
                    <a:gd name="connsiteX52" fmla="*/ 14058 w 162637"/>
                    <a:gd name="connsiteY52" fmla="*/ 171729 h 228546"/>
                    <a:gd name="connsiteX53" fmla="*/ 14058 w 162637"/>
                    <a:gd name="connsiteY53" fmla="*/ 171729 h 228546"/>
                    <a:gd name="connsiteX54" fmla="*/ 14058 w 162637"/>
                    <a:gd name="connsiteY54" fmla="*/ 56179 h 228546"/>
                    <a:gd name="connsiteX55" fmla="*/ 25560 w 162637"/>
                    <a:gd name="connsiteY55" fmla="*/ 44688 h 228546"/>
                    <a:gd name="connsiteX56" fmla="*/ 25560 w 162637"/>
                    <a:gd name="connsiteY56" fmla="*/ 44688 h 228546"/>
                    <a:gd name="connsiteX57" fmla="*/ 127160 w 162637"/>
                    <a:gd name="connsiteY57" fmla="*/ 44688 h 228546"/>
                    <a:gd name="connsiteX58" fmla="*/ 138662 w 162637"/>
                    <a:gd name="connsiteY58" fmla="*/ 56179 h 228546"/>
                    <a:gd name="connsiteX59" fmla="*/ 138662 w 162637"/>
                    <a:gd name="connsiteY59" fmla="*/ 56179 h 228546"/>
                    <a:gd name="connsiteX60" fmla="*/ 138023 w 162637"/>
                    <a:gd name="connsiteY60" fmla="*/ 171729 h 228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62637" h="228546">
                      <a:moveTo>
                        <a:pt x="157193" y="70224"/>
                      </a:moveTo>
                      <a:cubicBezTo>
                        <a:pt x="153998" y="70224"/>
                        <a:pt x="150803" y="72778"/>
                        <a:pt x="150803" y="75970"/>
                      </a:cubicBezTo>
                      <a:lnTo>
                        <a:pt x="150803" y="56179"/>
                      </a:lnTo>
                      <a:cubicBezTo>
                        <a:pt x="150803" y="42773"/>
                        <a:pt x="139940" y="31920"/>
                        <a:pt x="126521" y="31920"/>
                      </a:cubicBezTo>
                      <a:lnTo>
                        <a:pt x="126521" y="31920"/>
                      </a:lnTo>
                      <a:lnTo>
                        <a:pt x="125882" y="31920"/>
                      </a:lnTo>
                      <a:cubicBezTo>
                        <a:pt x="127160" y="28728"/>
                        <a:pt x="127799" y="25536"/>
                        <a:pt x="127799" y="22344"/>
                      </a:cubicBezTo>
                      <a:cubicBezTo>
                        <a:pt x="127799" y="10214"/>
                        <a:pt x="118214" y="0"/>
                        <a:pt x="105434" y="0"/>
                      </a:cubicBezTo>
                      <a:cubicBezTo>
                        <a:pt x="105434" y="0"/>
                        <a:pt x="105434" y="0"/>
                        <a:pt x="105434" y="0"/>
                      </a:cubicBezTo>
                      <a:lnTo>
                        <a:pt x="45369" y="0"/>
                      </a:lnTo>
                      <a:cubicBezTo>
                        <a:pt x="33228" y="0"/>
                        <a:pt x="23004" y="10214"/>
                        <a:pt x="23004" y="22344"/>
                      </a:cubicBezTo>
                      <a:cubicBezTo>
                        <a:pt x="23004" y="22344"/>
                        <a:pt x="23004" y="22344"/>
                        <a:pt x="23004" y="22344"/>
                      </a:cubicBezTo>
                      <a:cubicBezTo>
                        <a:pt x="23004" y="25536"/>
                        <a:pt x="23643" y="28728"/>
                        <a:pt x="24921" y="31920"/>
                      </a:cubicBezTo>
                      <a:lnTo>
                        <a:pt x="24282" y="31920"/>
                      </a:lnTo>
                      <a:cubicBezTo>
                        <a:pt x="10863" y="31920"/>
                        <a:pt x="0" y="42773"/>
                        <a:pt x="0" y="56179"/>
                      </a:cubicBezTo>
                      <a:lnTo>
                        <a:pt x="0" y="56179"/>
                      </a:lnTo>
                      <a:lnTo>
                        <a:pt x="0" y="172368"/>
                      </a:lnTo>
                      <a:cubicBezTo>
                        <a:pt x="0" y="185774"/>
                        <a:pt x="10863" y="196627"/>
                        <a:pt x="24282" y="196627"/>
                      </a:cubicBezTo>
                      <a:lnTo>
                        <a:pt x="24282" y="196627"/>
                      </a:lnTo>
                      <a:lnTo>
                        <a:pt x="24921" y="196627"/>
                      </a:lnTo>
                      <a:cubicBezTo>
                        <a:pt x="19809" y="207479"/>
                        <a:pt x="24282" y="220886"/>
                        <a:pt x="35145" y="225993"/>
                      </a:cubicBezTo>
                      <a:cubicBezTo>
                        <a:pt x="38340" y="227270"/>
                        <a:pt x="41535" y="228546"/>
                        <a:pt x="44730" y="228546"/>
                      </a:cubicBezTo>
                      <a:lnTo>
                        <a:pt x="104795" y="228546"/>
                      </a:lnTo>
                      <a:cubicBezTo>
                        <a:pt x="116936" y="228546"/>
                        <a:pt x="127160" y="218971"/>
                        <a:pt x="127160" y="206203"/>
                      </a:cubicBezTo>
                      <a:cubicBezTo>
                        <a:pt x="127160" y="203011"/>
                        <a:pt x="126521" y="199180"/>
                        <a:pt x="124604" y="196627"/>
                      </a:cubicBezTo>
                      <a:lnTo>
                        <a:pt x="125243" y="196627"/>
                      </a:lnTo>
                      <a:cubicBezTo>
                        <a:pt x="138662" y="196627"/>
                        <a:pt x="149525" y="185774"/>
                        <a:pt x="149525" y="172368"/>
                      </a:cubicBezTo>
                      <a:lnTo>
                        <a:pt x="149525" y="172368"/>
                      </a:lnTo>
                      <a:lnTo>
                        <a:pt x="149525" y="100229"/>
                      </a:lnTo>
                      <a:cubicBezTo>
                        <a:pt x="149525" y="104059"/>
                        <a:pt x="152720" y="106613"/>
                        <a:pt x="155915" y="106613"/>
                      </a:cubicBezTo>
                      <a:cubicBezTo>
                        <a:pt x="159748" y="106613"/>
                        <a:pt x="162305" y="103421"/>
                        <a:pt x="162305" y="100229"/>
                      </a:cubicBezTo>
                      <a:lnTo>
                        <a:pt x="162305" y="76608"/>
                      </a:lnTo>
                      <a:cubicBezTo>
                        <a:pt x="163583" y="72778"/>
                        <a:pt x="161027" y="70224"/>
                        <a:pt x="157193" y="70224"/>
                      </a:cubicBezTo>
                      <a:cubicBezTo>
                        <a:pt x="157193" y="70224"/>
                        <a:pt x="157193" y="70224"/>
                        <a:pt x="157193" y="70224"/>
                      </a:cubicBezTo>
                      <a:close/>
                      <a:moveTo>
                        <a:pt x="45369" y="12768"/>
                      </a:moveTo>
                      <a:lnTo>
                        <a:pt x="105434" y="12768"/>
                      </a:lnTo>
                      <a:cubicBezTo>
                        <a:pt x="110546" y="12768"/>
                        <a:pt x="115019" y="17237"/>
                        <a:pt x="115019" y="22344"/>
                      </a:cubicBezTo>
                      <a:cubicBezTo>
                        <a:pt x="115019" y="27451"/>
                        <a:pt x="110546" y="31920"/>
                        <a:pt x="105434" y="31920"/>
                      </a:cubicBezTo>
                      <a:lnTo>
                        <a:pt x="45369" y="31920"/>
                      </a:lnTo>
                      <a:cubicBezTo>
                        <a:pt x="40257" y="31920"/>
                        <a:pt x="35784" y="27451"/>
                        <a:pt x="35784" y="22344"/>
                      </a:cubicBezTo>
                      <a:cubicBezTo>
                        <a:pt x="35784" y="17237"/>
                        <a:pt x="40257" y="12768"/>
                        <a:pt x="45369" y="12768"/>
                      </a:cubicBezTo>
                      <a:close/>
                      <a:moveTo>
                        <a:pt x="106073" y="215140"/>
                      </a:moveTo>
                      <a:lnTo>
                        <a:pt x="46008" y="215140"/>
                      </a:lnTo>
                      <a:cubicBezTo>
                        <a:pt x="40896" y="215140"/>
                        <a:pt x="36423" y="210671"/>
                        <a:pt x="36423" y="205564"/>
                      </a:cubicBezTo>
                      <a:cubicBezTo>
                        <a:pt x="36423" y="200457"/>
                        <a:pt x="40896" y="195988"/>
                        <a:pt x="46008" y="195988"/>
                      </a:cubicBezTo>
                      <a:lnTo>
                        <a:pt x="106073" y="195988"/>
                      </a:lnTo>
                      <a:cubicBezTo>
                        <a:pt x="111185" y="195988"/>
                        <a:pt x="115658" y="200457"/>
                        <a:pt x="115658" y="205564"/>
                      </a:cubicBezTo>
                      <a:cubicBezTo>
                        <a:pt x="115658" y="210671"/>
                        <a:pt x="111185" y="215140"/>
                        <a:pt x="106073" y="215140"/>
                      </a:cubicBezTo>
                      <a:close/>
                      <a:moveTo>
                        <a:pt x="138023" y="171729"/>
                      </a:moveTo>
                      <a:cubicBezTo>
                        <a:pt x="138023" y="178113"/>
                        <a:pt x="132911" y="183220"/>
                        <a:pt x="126521" y="183220"/>
                      </a:cubicBezTo>
                      <a:lnTo>
                        <a:pt x="126521" y="183220"/>
                      </a:lnTo>
                      <a:lnTo>
                        <a:pt x="25560" y="183220"/>
                      </a:lnTo>
                      <a:cubicBezTo>
                        <a:pt x="19170" y="183220"/>
                        <a:pt x="14058" y="178113"/>
                        <a:pt x="14058" y="171729"/>
                      </a:cubicBezTo>
                      <a:lnTo>
                        <a:pt x="14058" y="171729"/>
                      </a:lnTo>
                      <a:lnTo>
                        <a:pt x="14058" y="56179"/>
                      </a:lnTo>
                      <a:cubicBezTo>
                        <a:pt x="14058" y="49795"/>
                        <a:pt x="19170" y="44688"/>
                        <a:pt x="25560" y="44688"/>
                      </a:cubicBezTo>
                      <a:lnTo>
                        <a:pt x="25560" y="44688"/>
                      </a:lnTo>
                      <a:lnTo>
                        <a:pt x="127160" y="44688"/>
                      </a:lnTo>
                      <a:cubicBezTo>
                        <a:pt x="133550" y="44688"/>
                        <a:pt x="138662" y="49795"/>
                        <a:pt x="138662" y="56179"/>
                      </a:cubicBezTo>
                      <a:lnTo>
                        <a:pt x="138662" y="56179"/>
                      </a:lnTo>
                      <a:lnTo>
                        <a:pt x="138023" y="171729"/>
                      </a:lnTo>
                      <a:close/>
                    </a:path>
                  </a:pathLst>
                </a:custGeom>
                <a:solidFill>
                  <a:schemeClr val="bg1"/>
                </a:solidFill>
                <a:ln w="3175" cap="flat">
                  <a:noFill/>
                  <a:prstDash val="solid"/>
                  <a:miter/>
                </a:ln>
              </p:spPr>
              <p:txBody>
                <a:bodyPr rtlCol="0" anchor="ctr"/>
                <a:lstStyle/>
                <a:p>
                  <a:endParaRPr lang="en-US"/>
                </a:p>
              </p:txBody>
            </p:sp>
            <p:sp>
              <p:nvSpPr>
                <p:cNvPr id="139" name="Graphic 4">
                  <a:extLst>
                    <a:ext uri="{FF2B5EF4-FFF2-40B4-BE49-F238E27FC236}">
                      <a16:creationId xmlns:a16="http://schemas.microsoft.com/office/drawing/2014/main" id="{C34D977C-ECFA-4973-A464-2D692500D74A}"/>
                    </a:ext>
                  </a:extLst>
                </p:cNvPr>
                <p:cNvSpPr/>
                <p:nvPr/>
              </p:nvSpPr>
              <p:spPr>
                <a:xfrm>
                  <a:off x="3379847" y="3986360"/>
                  <a:ext cx="124169" cy="113333"/>
                </a:xfrm>
                <a:custGeom>
                  <a:avLst/>
                  <a:gdLst>
                    <a:gd name="connsiteX0" fmla="*/ 71635 w 83233"/>
                    <a:gd name="connsiteY0" fmla="*/ 5746 h 75969"/>
                    <a:gd name="connsiteX1" fmla="*/ 56937 w 83233"/>
                    <a:gd name="connsiteY1" fmla="*/ 0 h 75969"/>
                    <a:gd name="connsiteX2" fmla="*/ 41602 w 83233"/>
                    <a:gd name="connsiteY2" fmla="*/ 5107 h 75969"/>
                    <a:gd name="connsiteX3" fmla="*/ 26266 w 83233"/>
                    <a:gd name="connsiteY3" fmla="*/ 0 h 75969"/>
                    <a:gd name="connsiteX4" fmla="*/ 9013 w 83233"/>
                    <a:gd name="connsiteY4" fmla="*/ 7023 h 75969"/>
                    <a:gd name="connsiteX5" fmla="*/ 6457 w 83233"/>
                    <a:gd name="connsiteY5" fmla="*/ 44050 h 75969"/>
                    <a:gd name="connsiteX6" fmla="*/ 7096 w 83233"/>
                    <a:gd name="connsiteY6" fmla="*/ 44688 h 75969"/>
                    <a:gd name="connsiteX7" fmla="*/ 7096 w 83233"/>
                    <a:gd name="connsiteY7" fmla="*/ 45327 h 75969"/>
                    <a:gd name="connsiteX8" fmla="*/ 32017 w 83233"/>
                    <a:gd name="connsiteY8" fmla="*/ 72139 h 75969"/>
                    <a:gd name="connsiteX9" fmla="*/ 41602 w 83233"/>
                    <a:gd name="connsiteY9" fmla="*/ 75970 h 75969"/>
                    <a:gd name="connsiteX10" fmla="*/ 41602 w 83233"/>
                    <a:gd name="connsiteY10" fmla="*/ 75970 h 75969"/>
                    <a:gd name="connsiteX11" fmla="*/ 51187 w 83233"/>
                    <a:gd name="connsiteY11" fmla="*/ 72139 h 75969"/>
                    <a:gd name="connsiteX12" fmla="*/ 76747 w 83233"/>
                    <a:gd name="connsiteY12" fmla="*/ 44688 h 75969"/>
                    <a:gd name="connsiteX13" fmla="*/ 83136 w 83233"/>
                    <a:gd name="connsiteY13" fmla="*/ 25536 h 75969"/>
                    <a:gd name="connsiteX14" fmla="*/ 71635 w 83233"/>
                    <a:gd name="connsiteY14" fmla="*/ 5746 h 75969"/>
                    <a:gd name="connsiteX15" fmla="*/ 66522 w 83233"/>
                    <a:gd name="connsiteY15" fmla="*/ 35751 h 75969"/>
                    <a:gd name="connsiteX16" fmla="*/ 40963 w 83233"/>
                    <a:gd name="connsiteY16" fmla="*/ 63202 h 75969"/>
                    <a:gd name="connsiteX17" fmla="*/ 16042 w 83233"/>
                    <a:gd name="connsiteY17" fmla="*/ 36389 h 75969"/>
                    <a:gd name="connsiteX18" fmla="*/ 17320 w 83233"/>
                    <a:gd name="connsiteY18" fmla="*/ 17237 h 75969"/>
                    <a:gd name="connsiteX19" fmla="*/ 25627 w 83233"/>
                    <a:gd name="connsiteY19" fmla="*/ 13407 h 75969"/>
                    <a:gd name="connsiteX20" fmla="*/ 40963 w 83233"/>
                    <a:gd name="connsiteY20" fmla="*/ 22983 h 75969"/>
                    <a:gd name="connsiteX21" fmla="*/ 56299 w 83233"/>
                    <a:gd name="connsiteY21" fmla="*/ 13407 h 75969"/>
                    <a:gd name="connsiteX22" fmla="*/ 63327 w 83233"/>
                    <a:gd name="connsiteY22" fmla="*/ 15960 h 75969"/>
                    <a:gd name="connsiteX23" fmla="*/ 68440 w 83233"/>
                    <a:gd name="connsiteY23" fmla="*/ 33197 h 75969"/>
                    <a:gd name="connsiteX24" fmla="*/ 66522 w 83233"/>
                    <a:gd name="connsiteY24" fmla="*/ 35751 h 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233" h="75969">
                      <a:moveTo>
                        <a:pt x="71635" y="5746"/>
                      </a:moveTo>
                      <a:cubicBezTo>
                        <a:pt x="67162" y="2554"/>
                        <a:pt x="62050" y="0"/>
                        <a:pt x="56937" y="0"/>
                      </a:cubicBezTo>
                      <a:cubicBezTo>
                        <a:pt x="51187" y="0"/>
                        <a:pt x="46075" y="1916"/>
                        <a:pt x="41602" y="5107"/>
                      </a:cubicBezTo>
                      <a:cubicBezTo>
                        <a:pt x="37129" y="1916"/>
                        <a:pt x="32017" y="639"/>
                        <a:pt x="26266" y="0"/>
                      </a:cubicBezTo>
                      <a:cubicBezTo>
                        <a:pt x="19876" y="0"/>
                        <a:pt x="13486" y="2554"/>
                        <a:pt x="9013" y="7023"/>
                      </a:cubicBezTo>
                      <a:cubicBezTo>
                        <a:pt x="-1850" y="16599"/>
                        <a:pt x="-3128" y="33197"/>
                        <a:pt x="6457" y="44050"/>
                      </a:cubicBezTo>
                      <a:cubicBezTo>
                        <a:pt x="6457" y="44050"/>
                        <a:pt x="6457" y="44050"/>
                        <a:pt x="7096" y="44688"/>
                      </a:cubicBezTo>
                      <a:lnTo>
                        <a:pt x="7096" y="45327"/>
                      </a:lnTo>
                      <a:lnTo>
                        <a:pt x="32017" y="72139"/>
                      </a:lnTo>
                      <a:cubicBezTo>
                        <a:pt x="34573" y="74693"/>
                        <a:pt x="37768" y="75970"/>
                        <a:pt x="41602" y="75970"/>
                      </a:cubicBezTo>
                      <a:lnTo>
                        <a:pt x="41602" y="75970"/>
                      </a:lnTo>
                      <a:cubicBezTo>
                        <a:pt x="45436" y="75970"/>
                        <a:pt x="48631" y="74693"/>
                        <a:pt x="51187" y="72139"/>
                      </a:cubicBezTo>
                      <a:lnTo>
                        <a:pt x="76747" y="44688"/>
                      </a:lnTo>
                      <a:cubicBezTo>
                        <a:pt x="81220" y="39581"/>
                        <a:pt x="83775" y="32559"/>
                        <a:pt x="83136" y="25536"/>
                      </a:cubicBezTo>
                      <a:cubicBezTo>
                        <a:pt x="81858" y="17237"/>
                        <a:pt x="77385" y="10215"/>
                        <a:pt x="71635" y="5746"/>
                      </a:cubicBezTo>
                      <a:close/>
                      <a:moveTo>
                        <a:pt x="66522" y="35751"/>
                      </a:moveTo>
                      <a:lnTo>
                        <a:pt x="40963" y="63202"/>
                      </a:lnTo>
                      <a:lnTo>
                        <a:pt x="16042" y="36389"/>
                      </a:lnTo>
                      <a:cubicBezTo>
                        <a:pt x="10930" y="30643"/>
                        <a:pt x="11569" y="22344"/>
                        <a:pt x="17320" y="17237"/>
                      </a:cubicBezTo>
                      <a:cubicBezTo>
                        <a:pt x="19237" y="14683"/>
                        <a:pt x="22432" y="13407"/>
                        <a:pt x="25627" y="13407"/>
                      </a:cubicBezTo>
                      <a:cubicBezTo>
                        <a:pt x="32017" y="14045"/>
                        <a:pt x="37129" y="17875"/>
                        <a:pt x="40963" y="22983"/>
                      </a:cubicBezTo>
                      <a:cubicBezTo>
                        <a:pt x="40963" y="22983"/>
                        <a:pt x="47992" y="13407"/>
                        <a:pt x="56299" y="13407"/>
                      </a:cubicBezTo>
                      <a:cubicBezTo>
                        <a:pt x="58855" y="13407"/>
                        <a:pt x="61411" y="14045"/>
                        <a:pt x="63327" y="15960"/>
                      </a:cubicBezTo>
                      <a:cubicBezTo>
                        <a:pt x="69717" y="19152"/>
                        <a:pt x="71635" y="27451"/>
                        <a:pt x="68440" y="33197"/>
                      </a:cubicBezTo>
                      <a:cubicBezTo>
                        <a:pt x="67800" y="33835"/>
                        <a:pt x="67162" y="34474"/>
                        <a:pt x="66522" y="35751"/>
                      </a:cubicBezTo>
                      <a:close/>
                    </a:path>
                  </a:pathLst>
                </a:custGeom>
                <a:solidFill>
                  <a:schemeClr val="bg1"/>
                </a:solidFill>
                <a:ln w="3175" cap="flat">
                  <a:noFill/>
                  <a:prstDash val="solid"/>
                  <a:miter/>
                </a:ln>
              </p:spPr>
              <p:txBody>
                <a:bodyPr rtlCol="0" anchor="ctr"/>
                <a:lstStyle/>
                <a:p>
                  <a:endParaRPr lang="en-US"/>
                </a:p>
              </p:txBody>
            </p:sp>
          </p:grpSp>
        </p:grpSp>
      </p:grpSp>
      <p:grpSp>
        <p:nvGrpSpPr>
          <p:cNvPr id="32" name="Gruppieren 31">
            <a:extLst>
              <a:ext uri="{FF2B5EF4-FFF2-40B4-BE49-F238E27FC236}">
                <a16:creationId xmlns:a16="http://schemas.microsoft.com/office/drawing/2014/main" id="{8AD22BCE-00A5-4342-AB90-7D569FA991DB}"/>
              </a:ext>
            </a:extLst>
          </p:cNvPr>
          <p:cNvGrpSpPr/>
          <p:nvPr/>
        </p:nvGrpSpPr>
        <p:grpSpPr>
          <a:xfrm>
            <a:off x="469900" y="2257357"/>
            <a:ext cx="4502993" cy="757708"/>
            <a:chOff x="469900" y="2257357"/>
            <a:chExt cx="4502993" cy="757708"/>
          </a:xfrm>
        </p:grpSpPr>
        <p:cxnSp>
          <p:nvCxnSpPr>
            <p:cNvPr id="98" name="Straight Connector 97">
              <a:extLst>
                <a:ext uri="{FF2B5EF4-FFF2-40B4-BE49-F238E27FC236}">
                  <a16:creationId xmlns:a16="http://schemas.microsoft.com/office/drawing/2014/main" id="{B0311B78-1E00-4CE2-9048-3BB05636B499}"/>
                </a:ext>
              </a:extLst>
            </p:cNvPr>
            <p:cNvCxnSpPr>
              <a:cxnSpLocks/>
            </p:cNvCxnSpPr>
            <p:nvPr/>
          </p:nvCxnSpPr>
          <p:spPr>
            <a:xfrm>
              <a:off x="3928998" y="2636211"/>
              <a:ext cx="1008000" cy="0"/>
            </a:xfrm>
            <a:prstGeom prst="line">
              <a:avLst/>
            </a:prstGeom>
            <a:noFill/>
            <a:ln w="22225" algn="ctr">
              <a:solidFill>
                <a:schemeClr val="tx1">
                  <a:lumMod val="50000"/>
                  <a:lumOff val="50000"/>
                </a:schemeClr>
              </a:solidFill>
              <a:prstDash val="sysDot"/>
              <a:miter lim="800000"/>
              <a:headEnd/>
              <a:tailEnd/>
            </a:ln>
          </p:spPr>
        </p:cxnSp>
        <p:sp>
          <p:nvSpPr>
            <p:cNvPr id="99" name="Rectangle 98">
              <a:extLst>
                <a:ext uri="{FF2B5EF4-FFF2-40B4-BE49-F238E27FC236}">
                  <a16:creationId xmlns:a16="http://schemas.microsoft.com/office/drawing/2014/main" id="{8D995DDE-E131-4EF6-9735-8F84E53167F1}"/>
                </a:ext>
              </a:extLst>
            </p:cNvPr>
            <p:cNvSpPr/>
            <p:nvPr/>
          </p:nvSpPr>
          <p:spPr>
            <a:xfrm>
              <a:off x="469900" y="2257357"/>
              <a:ext cx="2700000" cy="757708"/>
            </a:xfrm>
            <a:prstGeom prst="rect">
              <a:avLst/>
            </a:prstGeom>
          </p:spPr>
          <p:txBody>
            <a:bodyPr wrap="square">
              <a:spAutoFit/>
            </a:bodyPr>
            <a:lstStyle/>
            <a:p>
              <a:pPr marL="0" marR="0" lvl="0" indent="0" algn="r" defTabSz="1219170" rtl="0" eaLnBrk="1" fontAlgn="auto" latinLnBrk="0" hangingPunct="1">
                <a:lnSpc>
                  <a:spcPct val="106000"/>
                </a:lnSpc>
                <a:spcBef>
                  <a:spcPts val="0"/>
                </a:spcBef>
                <a:spcAft>
                  <a:spcPts val="160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Verdana"/>
                  <a:ea typeface="+mn-ea"/>
                  <a:cs typeface="+mn-cs"/>
                </a:rPr>
                <a:t>Consolidation du </a:t>
              </a:r>
              <a:r>
                <a:rPr kumimoji="0" lang="en-GB" sz="1400" b="0" i="0" u="none" strike="noStrike" kern="1200" cap="none" spc="0" normalizeH="0" baseline="0" noProof="0" dirty="0" err="1">
                  <a:ln>
                    <a:noFill/>
                  </a:ln>
                  <a:solidFill>
                    <a:prstClr val="white"/>
                  </a:solidFill>
                  <a:effectLst/>
                  <a:uLnTx/>
                  <a:uFillTx/>
                  <a:latin typeface="Verdana"/>
                  <a:ea typeface="+mn-ea"/>
                  <a:cs typeface="+mn-cs"/>
                </a:rPr>
                <a:t>marché</a:t>
              </a:r>
              <a:r>
                <a:rPr kumimoji="0" lang="en-GB" sz="1400" b="0" i="0" u="none" strike="noStrike" kern="1200" cap="none" spc="0" normalizeH="0" baseline="0" noProof="0" dirty="0">
                  <a:ln>
                    <a:noFill/>
                  </a:ln>
                  <a:solidFill>
                    <a:prstClr val="white"/>
                  </a:solidFill>
                  <a:effectLst/>
                  <a:uLnTx/>
                  <a:uFillTx/>
                  <a:latin typeface="Verdana"/>
                  <a:ea typeface="+mn-ea"/>
                  <a:cs typeface="+mn-cs"/>
                </a:rPr>
                <a:t> des salles de sport physiques</a:t>
              </a:r>
              <a:endParaRPr kumimoji="0" lang="en-GB" sz="1400" b="1" i="0" u="none" strike="noStrike" kern="1200" cap="none" spc="0" normalizeH="0" baseline="0" noProof="0" dirty="0">
                <a:ln>
                  <a:noFill/>
                </a:ln>
                <a:solidFill>
                  <a:prstClr val="white"/>
                </a:solidFill>
                <a:effectLst/>
                <a:uLnTx/>
                <a:uFillTx/>
                <a:latin typeface="Verdana"/>
                <a:ea typeface="+mn-ea"/>
                <a:cs typeface="+mn-cs"/>
              </a:endParaRPr>
            </a:p>
          </p:txBody>
        </p:sp>
        <p:sp>
          <p:nvSpPr>
            <p:cNvPr id="96" name="Oval 95">
              <a:extLst>
                <a:ext uri="{FF2B5EF4-FFF2-40B4-BE49-F238E27FC236}">
                  <a16:creationId xmlns:a16="http://schemas.microsoft.com/office/drawing/2014/main" id="{85664170-D503-4A8E-9D6A-1CD852DE9668}"/>
                </a:ext>
              </a:extLst>
            </p:cNvPr>
            <p:cNvSpPr/>
            <p:nvPr/>
          </p:nvSpPr>
          <p:spPr bwMode="gray">
            <a:xfrm>
              <a:off x="4896096" y="2597813"/>
              <a:ext cx="76797" cy="76797"/>
            </a:xfrm>
            <a:prstGeom prst="ellipse">
              <a:avLst/>
            </a:prstGeom>
            <a:solidFill>
              <a:srgbClr val="00A3E0"/>
            </a:solidFill>
            <a:ln w="34925" algn="ctr">
              <a:solidFill>
                <a:srgbClr val="00A3E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2" name="Gruppieren 11">
              <a:extLst>
                <a:ext uri="{FF2B5EF4-FFF2-40B4-BE49-F238E27FC236}">
                  <a16:creationId xmlns:a16="http://schemas.microsoft.com/office/drawing/2014/main" id="{19D96C32-761A-4A1C-96BC-CC9428A27526}"/>
                </a:ext>
              </a:extLst>
            </p:cNvPr>
            <p:cNvGrpSpPr/>
            <p:nvPr/>
          </p:nvGrpSpPr>
          <p:grpSpPr>
            <a:xfrm>
              <a:off x="3198457" y="2276211"/>
              <a:ext cx="720000" cy="720000"/>
              <a:chOff x="3361319" y="2955308"/>
              <a:chExt cx="629899" cy="629900"/>
            </a:xfrm>
          </p:grpSpPr>
          <p:sp>
            <p:nvSpPr>
              <p:cNvPr id="10" name="Ellipse 9">
                <a:extLst>
                  <a:ext uri="{FF2B5EF4-FFF2-40B4-BE49-F238E27FC236}">
                    <a16:creationId xmlns:a16="http://schemas.microsoft.com/office/drawing/2014/main" id="{0BBE8768-7765-4E84-9796-AC02B1DB9744}"/>
                  </a:ext>
                </a:extLst>
              </p:cNvPr>
              <p:cNvSpPr/>
              <p:nvPr/>
            </p:nvSpPr>
            <p:spPr bwMode="gray">
              <a:xfrm>
                <a:off x="3406268" y="3000258"/>
                <a:ext cx="540000" cy="54000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1" name="Oval 100">
                <a:extLst>
                  <a:ext uri="{FF2B5EF4-FFF2-40B4-BE49-F238E27FC236}">
                    <a16:creationId xmlns:a16="http://schemas.microsoft.com/office/drawing/2014/main" id="{9D25D974-A145-45A1-A62A-2B3CA07F4CE2}"/>
                  </a:ext>
                </a:extLst>
              </p:cNvPr>
              <p:cNvSpPr/>
              <p:nvPr/>
            </p:nvSpPr>
            <p:spPr bwMode="gray">
              <a:xfrm>
                <a:off x="3361319" y="2955308"/>
                <a:ext cx="629899" cy="629900"/>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92" name="Graphic 4">
                <a:extLst>
                  <a:ext uri="{FF2B5EF4-FFF2-40B4-BE49-F238E27FC236}">
                    <a16:creationId xmlns:a16="http://schemas.microsoft.com/office/drawing/2014/main" id="{430F5BF8-A28A-4779-92A4-9E316E34FD30}"/>
                  </a:ext>
                </a:extLst>
              </p:cNvPr>
              <p:cNvSpPr/>
              <p:nvPr/>
            </p:nvSpPr>
            <p:spPr>
              <a:xfrm>
                <a:off x="3514632" y="3119187"/>
                <a:ext cx="323273" cy="302142"/>
              </a:xfrm>
              <a:custGeom>
                <a:avLst/>
                <a:gdLst>
                  <a:gd name="connsiteX0" fmla="*/ 112938 w 216695"/>
                  <a:gd name="connsiteY0" fmla="*/ 1436 h 202531"/>
                  <a:gd name="connsiteX1" fmla="*/ 104632 w 216695"/>
                  <a:gd name="connsiteY1" fmla="*/ 1436 h 202531"/>
                  <a:gd name="connsiteX2" fmla="*/ 2393 w 216695"/>
                  <a:gd name="connsiteY2" fmla="*/ 88897 h 202531"/>
                  <a:gd name="connsiteX3" fmla="*/ 1114 w 216695"/>
                  <a:gd name="connsiteY3" fmla="*/ 97835 h 202531"/>
                  <a:gd name="connsiteX4" fmla="*/ 6865 w 216695"/>
                  <a:gd name="connsiteY4" fmla="*/ 100388 h 202531"/>
                  <a:gd name="connsiteX5" fmla="*/ 22201 w 216695"/>
                  <a:gd name="connsiteY5" fmla="*/ 100388 h 202531"/>
                  <a:gd name="connsiteX6" fmla="*/ 22201 w 216695"/>
                  <a:gd name="connsiteY6" fmla="*/ 196148 h 202531"/>
                  <a:gd name="connsiteX7" fmla="*/ 28591 w 216695"/>
                  <a:gd name="connsiteY7" fmla="*/ 202532 h 202531"/>
                  <a:gd name="connsiteX8" fmla="*/ 94407 w 216695"/>
                  <a:gd name="connsiteY8" fmla="*/ 202532 h 202531"/>
                  <a:gd name="connsiteX9" fmla="*/ 100797 w 216695"/>
                  <a:gd name="connsiteY9" fmla="*/ 196148 h 202531"/>
                  <a:gd name="connsiteX10" fmla="*/ 100797 w 216695"/>
                  <a:gd name="connsiteY10" fmla="*/ 159121 h 202531"/>
                  <a:gd name="connsiteX11" fmla="*/ 117412 w 216695"/>
                  <a:gd name="connsiteY11" fmla="*/ 159121 h 202531"/>
                  <a:gd name="connsiteX12" fmla="*/ 117412 w 216695"/>
                  <a:gd name="connsiteY12" fmla="*/ 196148 h 202531"/>
                  <a:gd name="connsiteX13" fmla="*/ 123802 w 216695"/>
                  <a:gd name="connsiteY13" fmla="*/ 202532 h 202531"/>
                  <a:gd name="connsiteX14" fmla="*/ 188979 w 216695"/>
                  <a:gd name="connsiteY14" fmla="*/ 202532 h 202531"/>
                  <a:gd name="connsiteX15" fmla="*/ 195369 w 216695"/>
                  <a:gd name="connsiteY15" fmla="*/ 196148 h 202531"/>
                  <a:gd name="connsiteX16" fmla="*/ 195369 w 216695"/>
                  <a:gd name="connsiteY16" fmla="*/ 100388 h 202531"/>
                  <a:gd name="connsiteX17" fmla="*/ 210705 w 216695"/>
                  <a:gd name="connsiteY17" fmla="*/ 100388 h 202531"/>
                  <a:gd name="connsiteX18" fmla="*/ 216456 w 216695"/>
                  <a:gd name="connsiteY18" fmla="*/ 95919 h 202531"/>
                  <a:gd name="connsiteX19" fmla="*/ 214538 w 216695"/>
                  <a:gd name="connsiteY19" fmla="*/ 88897 h 202531"/>
                  <a:gd name="connsiteX20" fmla="*/ 112938 w 216695"/>
                  <a:gd name="connsiteY20" fmla="*/ 1436 h 202531"/>
                  <a:gd name="connsiteX21" fmla="*/ 188979 w 216695"/>
                  <a:gd name="connsiteY21" fmla="*/ 87620 h 202531"/>
                  <a:gd name="connsiteX22" fmla="*/ 182589 w 216695"/>
                  <a:gd name="connsiteY22" fmla="*/ 94004 h 202531"/>
                  <a:gd name="connsiteX23" fmla="*/ 182589 w 216695"/>
                  <a:gd name="connsiteY23" fmla="*/ 189764 h 202531"/>
                  <a:gd name="connsiteX24" fmla="*/ 130191 w 216695"/>
                  <a:gd name="connsiteY24" fmla="*/ 189764 h 202531"/>
                  <a:gd name="connsiteX25" fmla="*/ 130191 w 216695"/>
                  <a:gd name="connsiteY25" fmla="*/ 152737 h 202531"/>
                  <a:gd name="connsiteX26" fmla="*/ 123802 w 216695"/>
                  <a:gd name="connsiteY26" fmla="*/ 146353 h 202531"/>
                  <a:gd name="connsiteX27" fmla="*/ 94407 w 216695"/>
                  <a:gd name="connsiteY27" fmla="*/ 146353 h 202531"/>
                  <a:gd name="connsiteX28" fmla="*/ 88017 w 216695"/>
                  <a:gd name="connsiteY28" fmla="*/ 152737 h 202531"/>
                  <a:gd name="connsiteX29" fmla="*/ 88017 w 216695"/>
                  <a:gd name="connsiteY29" fmla="*/ 189764 h 202531"/>
                  <a:gd name="connsiteX30" fmla="*/ 34981 w 216695"/>
                  <a:gd name="connsiteY30" fmla="*/ 189764 h 202531"/>
                  <a:gd name="connsiteX31" fmla="*/ 34981 w 216695"/>
                  <a:gd name="connsiteY31" fmla="*/ 94004 h 202531"/>
                  <a:gd name="connsiteX32" fmla="*/ 28591 w 216695"/>
                  <a:gd name="connsiteY32" fmla="*/ 87620 h 202531"/>
                  <a:gd name="connsiteX33" fmla="*/ 24118 w 216695"/>
                  <a:gd name="connsiteY33" fmla="*/ 87620 h 202531"/>
                  <a:gd name="connsiteX34" fmla="*/ 109104 w 216695"/>
                  <a:gd name="connsiteY34" fmla="*/ 14843 h 202531"/>
                  <a:gd name="connsiteX35" fmla="*/ 193451 w 216695"/>
                  <a:gd name="connsiteY35" fmla="*/ 87620 h 202531"/>
                  <a:gd name="connsiteX36" fmla="*/ 188979 w 216695"/>
                  <a:gd name="connsiteY36" fmla="*/ 87620 h 20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6695" h="202531">
                    <a:moveTo>
                      <a:pt x="112938" y="1436"/>
                    </a:moveTo>
                    <a:cubicBezTo>
                      <a:pt x="110382" y="-479"/>
                      <a:pt x="107187" y="-479"/>
                      <a:pt x="104632" y="1436"/>
                    </a:cubicBezTo>
                    <a:lnTo>
                      <a:pt x="2393" y="88897"/>
                    </a:lnTo>
                    <a:cubicBezTo>
                      <a:pt x="-163" y="90812"/>
                      <a:pt x="-802" y="95281"/>
                      <a:pt x="1114" y="97835"/>
                    </a:cubicBezTo>
                    <a:cubicBezTo>
                      <a:pt x="2393" y="99750"/>
                      <a:pt x="4948" y="100388"/>
                      <a:pt x="6865" y="100388"/>
                    </a:cubicBezTo>
                    <a:lnTo>
                      <a:pt x="22201" y="100388"/>
                    </a:lnTo>
                    <a:lnTo>
                      <a:pt x="22201" y="196148"/>
                    </a:lnTo>
                    <a:cubicBezTo>
                      <a:pt x="22201" y="199978"/>
                      <a:pt x="24758" y="202532"/>
                      <a:pt x="28591" y="202532"/>
                    </a:cubicBezTo>
                    <a:lnTo>
                      <a:pt x="94407" y="202532"/>
                    </a:lnTo>
                    <a:cubicBezTo>
                      <a:pt x="98242" y="202532"/>
                      <a:pt x="100797" y="199978"/>
                      <a:pt x="100797" y="196148"/>
                    </a:cubicBezTo>
                    <a:lnTo>
                      <a:pt x="100797" y="159121"/>
                    </a:lnTo>
                    <a:lnTo>
                      <a:pt x="117412" y="159121"/>
                    </a:lnTo>
                    <a:lnTo>
                      <a:pt x="117412" y="196148"/>
                    </a:lnTo>
                    <a:cubicBezTo>
                      <a:pt x="117412" y="199978"/>
                      <a:pt x="119967" y="202532"/>
                      <a:pt x="123802" y="202532"/>
                    </a:cubicBezTo>
                    <a:lnTo>
                      <a:pt x="188979" y="202532"/>
                    </a:lnTo>
                    <a:cubicBezTo>
                      <a:pt x="192812" y="202532"/>
                      <a:pt x="195369" y="199978"/>
                      <a:pt x="195369" y="196148"/>
                    </a:cubicBezTo>
                    <a:lnTo>
                      <a:pt x="195369" y="100388"/>
                    </a:lnTo>
                    <a:lnTo>
                      <a:pt x="210705" y="100388"/>
                    </a:lnTo>
                    <a:cubicBezTo>
                      <a:pt x="213261" y="100388"/>
                      <a:pt x="215816" y="98473"/>
                      <a:pt x="216456" y="95919"/>
                    </a:cubicBezTo>
                    <a:cubicBezTo>
                      <a:pt x="217094" y="93366"/>
                      <a:pt x="216456" y="90812"/>
                      <a:pt x="214538" y="88897"/>
                    </a:cubicBezTo>
                    <a:lnTo>
                      <a:pt x="112938" y="1436"/>
                    </a:lnTo>
                    <a:close/>
                    <a:moveTo>
                      <a:pt x="188979" y="87620"/>
                    </a:moveTo>
                    <a:cubicBezTo>
                      <a:pt x="185145" y="87620"/>
                      <a:pt x="182589" y="90174"/>
                      <a:pt x="182589" y="94004"/>
                    </a:cubicBezTo>
                    <a:lnTo>
                      <a:pt x="182589" y="189764"/>
                    </a:lnTo>
                    <a:lnTo>
                      <a:pt x="130191" y="189764"/>
                    </a:lnTo>
                    <a:lnTo>
                      <a:pt x="130191" y="152737"/>
                    </a:lnTo>
                    <a:cubicBezTo>
                      <a:pt x="130191" y="148906"/>
                      <a:pt x="127635" y="146353"/>
                      <a:pt x="123802" y="146353"/>
                    </a:cubicBezTo>
                    <a:lnTo>
                      <a:pt x="94407" y="146353"/>
                    </a:lnTo>
                    <a:cubicBezTo>
                      <a:pt x="90573" y="146353"/>
                      <a:pt x="88017" y="148906"/>
                      <a:pt x="88017" y="152737"/>
                    </a:cubicBezTo>
                    <a:lnTo>
                      <a:pt x="88017" y="189764"/>
                    </a:lnTo>
                    <a:lnTo>
                      <a:pt x="34981" y="189764"/>
                    </a:lnTo>
                    <a:lnTo>
                      <a:pt x="34981" y="94004"/>
                    </a:lnTo>
                    <a:cubicBezTo>
                      <a:pt x="34981" y="90174"/>
                      <a:pt x="32425" y="87620"/>
                      <a:pt x="28591" y="87620"/>
                    </a:cubicBezTo>
                    <a:lnTo>
                      <a:pt x="24118" y="87620"/>
                    </a:lnTo>
                    <a:lnTo>
                      <a:pt x="109104" y="14843"/>
                    </a:lnTo>
                    <a:lnTo>
                      <a:pt x="193451" y="87620"/>
                    </a:lnTo>
                    <a:lnTo>
                      <a:pt x="188979" y="87620"/>
                    </a:lnTo>
                    <a:close/>
                  </a:path>
                </a:pathLst>
              </a:custGeom>
              <a:solidFill>
                <a:schemeClr val="bg1"/>
              </a:solidFill>
              <a:ln w="6390" cap="flat">
                <a:noFill/>
                <a:prstDash val="solid"/>
                <a:miter/>
              </a:ln>
            </p:spPr>
            <p:txBody>
              <a:bodyPr rtlCol="0" anchor="ctr"/>
              <a:lstStyle/>
              <a:p>
                <a:endParaRPr lang="en-US"/>
              </a:p>
            </p:txBody>
          </p:sp>
        </p:grpSp>
      </p:grpSp>
      <p:grpSp>
        <p:nvGrpSpPr>
          <p:cNvPr id="34" name="Gruppieren 33">
            <a:extLst>
              <a:ext uri="{FF2B5EF4-FFF2-40B4-BE49-F238E27FC236}">
                <a16:creationId xmlns:a16="http://schemas.microsoft.com/office/drawing/2014/main" id="{191565FD-352B-4ACE-A9D1-3E8BEA49195F}"/>
              </a:ext>
            </a:extLst>
          </p:cNvPr>
          <p:cNvGrpSpPr/>
          <p:nvPr/>
        </p:nvGrpSpPr>
        <p:grpSpPr>
          <a:xfrm>
            <a:off x="7741125" y="3147637"/>
            <a:ext cx="3980975" cy="720000"/>
            <a:chOff x="7741125" y="3147637"/>
            <a:chExt cx="3980975" cy="720000"/>
          </a:xfrm>
        </p:grpSpPr>
        <p:cxnSp>
          <p:nvCxnSpPr>
            <p:cNvPr id="71" name="Straight Connector 70">
              <a:extLst>
                <a:ext uri="{FF2B5EF4-FFF2-40B4-BE49-F238E27FC236}">
                  <a16:creationId xmlns:a16="http://schemas.microsoft.com/office/drawing/2014/main" id="{AEA4608E-1D28-424D-87E4-CA793D8EF0D1}"/>
                </a:ext>
              </a:extLst>
            </p:cNvPr>
            <p:cNvCxnSpPr>
              <a:cxnSpLocks/>
            </p:cNvCxnSpPr>
            <p:nvPr/>
          </p:nvCxnSpPr>
          <p:spPr>
            <a:xfrm flipV="1">
              <a:off x="7837924" y="3507515"/>
              <a:ext cx="446400" cy="244"/>
            </a:xfrm>
            <a:prstGeom prst="line">
              <a:avLst/>
            </a:prstGeom>
            <a:noFill/>
            <a:ln w="22225" algn="ctr">
              <a:solidFill>
                <a:schemeClr val="tx1">
                  <a:lumMod val="50000"/>
                  <a:lumOff val="50000"/>
                </a:schemeClr>
              </a:solidFill>
              <a:prstDash val="sysDot"/>
              <a:miter lim="800000"/>
              <a:headEnd/>
              <a:tailEnd/>
            </a:ln>
          </p:spPr>
        </p:cxnSp>
        <p:sp>
          <p:nvSpPr>
            <p:cNvPr id="75" name="Rectangle 74">
              <a:extLst>
                <a:ext uri="{FF2B5EF4-FFF2-40B4-BE49-F238E27FC236}">
                  <a16:creationId xmlns:a16="http://schemas.microsoft.com/office/drawing/2014/main" id="{D27072DB-D51D-48E7-9ABF-0115CDE9A9CC}"/>
                </a:ext>
              </a:extLst>
            </p:cNvPr>
            <p:cNvSpPr/>
            <p:nvPr/>
          </p:nvSpPr>
          <p:spPr>
            <a:xfrm>
              <a:off x="9022100" y="3242981"/>
              <a:ext cx="2700000" cy="529312"/>
            </a:xfrm>
            <a:prstGeom prst="rect">
              <a:avLst/>
            </a:prstGeom>
          </p:spPr>
          <p:txBody>
            <a:bodyPr wrap="square">
              <a:spAutoFit/>
            </a:bodyPr>
            <a:lstStyle/>
            <a:p>
              <a:pPr>
                <a:lnSpc>
                  <a:spcPct val="106000"/>
                </a:lnSpc>
                <a:spcAft>
                  <a:spcPts val="1600"/>
                </a:spcAft>
                <a:defRPr/>
              </a:pPr>
              <a:r>
                <a:rPr lang="en-GB" sz="1400" dirty="0">
                  <a:solidFill>
                    <a:prstClr val="white"/>
                  </a:solidFill>
                  <a:latin typeface="Verdana"/>
                </a:rPr>
                <a:t>Les </a:t>
              </a:r>
              <a:r>
                <a:rPr lang="en-GB" sz="1400" dirty="0" err="1">
                  <a:solidFill>
                    <a:prstClr val="white"/>
                  </a:solidFill>
                  <a:latin typeface="Verdana"/>
                </a:rPr>
                <a:t>opérateurs</a:t>
              </a:r>
              <a:r>
                <a:rPr lang="en-GB" sz="1400" dirty="0">
                  <a:solidFill>
                    <a:prstClr val="white"/>
                  </a:solidFill>
                  <a:latin typeface="Verdana"/>
                </a:rPr>
                <a:t> de fitness </a:t>
              </a:r>
              <a:r>
                <a:rPr lang="en-GB" sz="1400" dirty="0" err="1">
                  <a:solidFill>
                    <a:prstClr val="white"/>
                  </a:solidFill>
                  <a:latin typeface="Verdana"/>
                </a:rPr>
                <a:t>ajoutent</a:t>
              </a:r>
              <a:r>
                <a:rPr lang="en-GB" sz="1400" dirty="0">
                  <a:solidFill>
                    <a:prstClr val="white"/>
                  </a:solidFill>
                  <a:latin typeface="Verdana"/>
                </a:rPr>
                <a:t> de </a:t>
              </a:r>
              <a:r>
                <a:rPr lang="en-GB" sz="1400" dirty="0" err="1">
                  <a:solidFill>
                    <a:prstClr val="white"/>
                  </a:solidFill>
                  <a:latin typeface="Verdana"/>
                </a:rPr>
                <a:t>nouvelles</a:t>
              </a:r>
              <a:r>
                <a:rPr lang="en-GB" sz="1400" dirty="0">
                  <a:solidFill>
                    <a:prstClr val="white"/>
                  </a:solidFill>
                  <a:latin typeface="Verdana"/>
                </a:rPr>
                <a:t> </a:t>
              </a:r>
              <a:r>
                <a:rPr lang="en-GB" sz="1400" dirty="0" err="1">
                  <a:solidFill>
                    <a:prstClr val="white"/>
                  </a:solidFill>
                  <a:latin typeface="Verdana"/>
                </a:rPr>
                <a:t>offres</a:t>
              </a:r>
              <a:endParaRPr lang="en-GB" sz="1400" dirty="0">
                <a:solidFill>
                  <a:prstClr val="white"/>
                </a:solidFill>
                <a:latin typeface="Verdana"/>
              </a:endParaRPr>
            </a:p>
          </p:txBody>
        </p:sp>
        <p:sp>
          <p:nvSpPr>
            <p:cNvPr id="77" name="Oval 76">
              <a:extLst>
                <a:ext uri="{FF2B5EF4-FFF2-40B4-BE49-F238E27FC236}">
                  <a16:creationId xmlns:a16="http://schemas.microsoft.com/office/drawing/2014/main" id="{F765519B-3836-44A5-B5DB-929D750F1F37}"/>
                </a:ext>
              </a:extLst>
            </p:cNvPr>
            <p:cNvSpPr/>
            <p:nvPr/>
          </p:nvSpPr>
          <p:spPr bwMode="gray">
            <a:xfrm>
              <a:off x="7741125" y="3469239"/>
              <a:ext cx="76797" cy="76797"/>
            </a:xfrm>
            <a:prstGeom prst="ellipse">
              <a:avLst/>
            </a:prstGeom>
            <a:solidFill>
              <a:srgbClr val="009A44"/>
            </a:solidFill>
            <a:ln w="34925" algn="ctr">
              <a:solidFill>
                <a:srgbClr val="009A4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5" name="Gruppieren 14">
              <a:extLst>
                <a:ext uri="{FF2B5EF4-FFF2-40B4-BE49-F238E27FC236}">
                  <a16:creationId xmlns:a16="http://schemas.microsoft.com/office/drawing/2014/main" id="{9287E53C-7079-4ABB-9363-D208BF16FBDE}"/>
                </a:ext>
              </a:extLst>
            </p:cNvPr>
            <p:cNvGrpSpPr/>
            <p:nvPr/>
          </p:nvGrpSpPr>
          <p:grpSpPr>
            <a:xfrm>
              <a:off x="8296740" y="3147637"/>
              <a:ext cx="720000" cy="720000"/>
              <a:chOff x="8134720" y="3523040"/>
              <a:chExt cx="635417" cy="635416"/>
            </a:xfrm>
          </p:grpSpPr>
          <p:sp>
            <p:nvSpPr>
              <p:cNvPr id="121" name="Ellipse 120">
                <a:extLst>
                  <a:ext uri="{FF2B5EF4-FFF2-40B4-BE49-F238E27FC236}">
                    <a16:creationId xmlns:a16="http://schemas.microsoft.com/office/drawing/2014/main" id="{1917512D-1B1C-4C64-B082-2E420557D460}"/>
                  </a:ext>
                </a:extLst>
              </p:cNvPr>
              <p:cNvSpPr/>
              <p:nvPr/>
            </p:nvSpPr>
            <p:spPr bwMode="gray">
              <a:xfrm>
                <a:off x="8182428" y="3570748"/>
                <a:ext cx="540000" cy="540000"/>
              </a:xfrm>
              <a:prstGeom prst="ellipse">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6" name="Oval 135">
                <a:extLst>
                  <a:ext uri="{FF2B5EF4-FFF2-40B4-BE49-F238E27FC236}">
                    <a16:creationId xmlns:a16="http://schemas.microsoft.com/office/drawing/2014/main" id="{24A96629-1C56-4705-BD81-9ED3747BDC78}"/>
                  </a:ext>
                </a:extLst>
              </p:cNvPr>
              <p:cNvSpPr/>
              <p:nvPr/>
            </p:nvSpPr>
            <p:spPr bwMode="gray">
              <a:xfrm>
                <a:off x="8134720" y="3523040"/>
                <a:ext cx="635417" cy="635416"/>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97" name="Graphic 4">
                <a:extLst>
                  <a:ext uri="{FF2B5EF4-FFF2-40B4-BE49-F238E27FC236}">
                    <a16:creationId xmlns:a16="http://schemas.microsoft.com/office/drawing/2014/main" id="{FBC93DE9-3DC2-4FBD-9D48-21EBDCC92FE4}"/>
                  </a:ext>
                </a:extLst>
              </p:cNvPr>
              <p:cNvSpPr/>
              <p:nvPr/>
            </p:nvSpPr>
            <p:spPr>
              <a:xfrm>
                <a:off x="8290065" y="3678843"/>
                <a:ext cx="324727" cy="323810"/>
              </a:xfrm>
              <a:custGeom>
                <a:avLst/>
                <a:gdLst>
                  <a:gd name="connsiteX0" fmla="*/ 210641 w 217670"/>
                  <a:gd name="connsiteY0" fmla="*/ 24259 h 217055"/>
                  <a:gd name="connsiteX1" fmla="*/ 192750 w 217670"/>
                  <a:gd name="connsiteY1" fmla="*/ 24259 h 217055"/>
                  <a:gd name="connsiteX2" fmla="*/ 192750 w 217670"/>
                  <a:gd name="connsiteY2" fmla="*/ 6384 h 217055"/>
                  <a:gd name="connsiteX3" fmla="*/ 186360 w 217670"/>
                  <a:gd name="connsiteY3" fmla="*/ 0 h 217055"/>
                  <a:gd name="connsiteX4" fmla="*/ 179970 w 217670"/>
                  <a:gd name="connsiteY4" fmla="*/ 6384 h 217055"/>
                  <a:gd name="connsiteX5" fmla="*/ 179970 w 217670"/>
                  <a:gd name="connsiteY5" fmla="*/ 28090 h 217055"/>
                  <a:gd name="connsiteX6" fmla="*/ 173580 w 217670"/>
                  <a:gd name="connsiteY6" fmla="*/ 34474 h 217055"/>
                  <a:gd name="connsiteX7" fmla="*/ 25972 w 217670"/>
                  <a:gd name="connsiteY7" fmla="*/ 44050 h 217055"/>
                  <a:gd name="connsiteX8" fmla="*/ 34279 w 217670"/>
                  <a:gd name="connsiteY8" fmla="*/ 190243 h 217055"/>
                  <a:gd name="connsiteX9" fmla="*/ 18304 w 217670"/>
                  <a:gd name="connsiteY9" fmla="*/ 206203 h 217055"/>
                  <a:gd name="connsiteX10" fmla="*/ 18304 w 217670"/>
                  <a:gd name="connsiteY10" fmla="*/ 215140 h 217055"/>
                  <a:gd name="connsiteX11" fmla="*/ 18304 w 217670"/>
                  <a:gd name="connsiteY11" fmla="*/ 215140 h 217055"/>
                  <a:gd name="connsiteX12" fmla="*/ 22777 w 217670"/>
                  <a:gd name="connsiteY12" fmla="*/ 217055 h 217055"/>
                  <a:gd name="connsiteX13" fmla="*/ 27250 w 217670"/>
                  <a:gd name="connsiteY13" fmla="*/ 215140 h 217055"/>
                  <a:gd name="connsiteX14" fmla="*/ 43864 w 217670"/>
                  <a:gd name="connsiteY14" fmla="*/ 198542 h 217055"/>
                  <a:gd name="connsiteX15" fmla="*/ 44503 w 217670"/>
                  <a:gd name="connsiteY15" fmla="*/ 197265 h 217055"/>
                  <a:gd name="connsiteX16" fmla="*/ 165273 w 217670"/>
                  <a:gd name="connsiteY16" fmla="*/ 197265 h 217055"/>
                  <a:gd name="connsiteX17" fmla="*/ 165912 w 217670"/>
                  <a:gd name="connsiteY17" fmla="*/ 198542 h 217055"/>
                  <a:gd name="connsiteX18" fmla="*/ 182526 w 217670"/>
                  <a:gd name="connsiteY18" fmla="*/ 215140 h 217055"/>
                  <a:gd name="connsiteX19" fmla="*/ 186999 w 217670"/>
                  <a:gd name="connsiteY19" fmla="*/ 217055 h 217055"/>
                  <a:gd name="connsiteX20" fmla="*/ 191472 w 217670"/>
                  <a:gd name="connsiteY20" fmla="*/ 215140 h 217055"/>
                  <a:gd name="connsiteX21" fmla="*/ 191472 w 217670"/>
                  <a:gd name="connsiteY21" fmla="*/ 206203 h 217055"/>
                  <a:gd name="connsiteX22" fmla="*/ 191472 w 217670"/>
                  <a:gd name="connsiteY22" fmla="*/ 206203 h 217055"/>
                  <a:gd name="connsiteX23" fmla="*/ 174858 w 217670"/>
                  <a:gd name="connsiteY23" fmla="*/ 190243 h 217055"/>
                  <a:gd name="connsiteX24" fmla="*/ 183165 w 217670"/>
                  <a:gd name="connsiteY24" fmla="*/ 43411 h 217055"/>
                  <a:gd name="connsiteX25" fmla="*/ 189555 w 217670"/>
                  <a:gd name="connsiteY25" fmla="*/ 37027 h 217055"/>
                  <a:gd name="connsiteX26" fmla="*/ 211280 w 217670"/>
                  <a:gd name="connsiteY26" fmla="*/ 37027 h 217055"/>
                  <a:gd name="connsiteX27" fmla="*/ 217670 w 217670"/>
                  <a:gd name="connsiteY27" fmla="*/ 30643 h 217055"/>
                  <a:gd name="connsiteX28" fmla="*/ 210641 w 217670"/>
                  <a:gd name="connsiteY28" fmla="*/ 24259 h 217055"/>
                  <a:gd name="connsiteX29" fmla="*/ 210641 w 217670"/>
                  <a:gd name="connsiteY29" fmla="*/ 24259 h 217055"/>
                  <a:gd name="connsiteX30" fmla="*/ 195945 w 217670"/>
                  <a:gd name="connsiteY30" fmla="*/ 112358 h 217055"/>
                  <a:gd name="connsiteX31" fmla="*/ 103929 w 217670"/>
                  <a:gd name="connsiteY31" fmla="*/ 204926 h 217055"/>
                  <a:gd name="connsiteX32" fmla="*/ 11275 w 217670"/>
                  <a:gd name="connsiteY32" fmla="*/ 112997 h 217055"/>
                  <a:gd name="connsiteX33" fmla="*/ 103290 w 217670"/>
                  <a:gd name="connsiteY33" fmla="*/ 20429 h 217055"/>
                  <a:gd name="connsiteX34" fmla="*/ 163995 w 217670"/>
                  <a:gd name="connsiteY34" fmla="*/ 42773 h 217055"/>
                  <a:gd name="connsiteX35" fmla="*/ 149937 w 217670"/>
                  <a:gd name="connsiteY35" fmla="*/ 56818 h 217055"/>
                  <a:gd name="connsiteX36" fmla="*/ 48337 w 217670"/>
                  <a:gd name="connsiteY36" fmla="*/ 65755 h 217055"/>
                  <a:gd name="connsiteX37" fmla="*/ 57283 w 217670"/>
                  <a:gd name="connsiteY37" fmla="*/ 167260 h 217055"/>
                  <a:gd name="connsiteX38" fmla="*/ 158883 w 217670"/>
                  <a:gd name="connsiteY38" fmla="*/ 158323 h 217055"/>
                  <a:gd name="connsiteX39" fmla="*/ 158883 w 217670"/>
                  <a:gd name="connsiteY39" fmla="*/ 65755 h 217055"/>
                  <a:gd name="connsiteX40" fmla="*/ 172941 w 217670"/>
                  <a:gd name="connsiteY40" fmla="*/ 51710 h 217055"/>
                  <a:gd name="connsiteX41" fmla="*/ 195945 w 217670"/>
                  <a:gd name="connsiteY41" fmla="*/ 112358 h 217055"/>
                  <a:gd name="connsiteX42" fmla="*/ 130767 w 217670"/>
                  <a:gd name="connsiteY42" fmla="*/ 112358 h 217055"/>
                  <a:gd name="connsiteX43" fmla="*/ 104568 w 217670"/>
                  <a:gd name="connsiteY43" fmla="*/ 139171 h 217055"/>
                  <a:gd name="connsiteX44" fmla="*/ 77731 w 217670"/>
                  <a:gd name="connsiteY44" fmla="*/ 112997 h 217055"/>
                  <a:gd name="connsiteX45" fmla="*/ 103929 w 217670"/>
                  <a:gd name="connsiteY45" fmla="*/ 86184 h 217055"/>
                  <a:gd name="connsiteX46" fmla="*/ 117987 w 217670"/>
                  <a:gd name="connsiteY46" fmla="*/ 90014 h 217055"/>
                  <a:gd name="connsiteX47" fmla="*/ 100095 w 217670"/>
                  <a:gd name="connsiteY47" fmla="*/ 107889 h 217055"/>
                  <a:gd name="connsiteX48" fmla="*/ 100095 w 217670"/>
                  <a:gd name="connsiteY48" fmla="*/ 116827 h 217055"/>
                  <a:gd name="connsiteX49" fmla="*/ 104568 w 217670"/>
                  <a:gd name="connsiteY49" fmla="*/ 118742 h 217055"/>
                  <a:gd name="connsiteX50" fmla="*/ 109041 w 217670"/>
                  <a:gd name="connsiteY50" fmla="*/ 116827 h 217055"/>
                  <a:gd name="connsiteX51" fmla="*/ 126933 w 217670"/>
                  <a:gd name="connsiteY51" fmla="*/ 98952 h 217055"/>
                  <a:gd name="connsiteX52" fmla="*/ 130767 w 217670"/>
                  <a:gd name="connsiteY52" fmla="*/ 112358 h 217055"/>
                  <a:gd name="connsiteX53" fmla="*/ 130767 w 217670"/>
                  <a:gd name="connsiteY53" fmla="*/ 112358 h 217055"/>
                  <a:gd name="connsiteX54" fmla="*/ 126933 w 217670"/>
                  <a:gd name="connsiteY54" fmla="*/ 80438 h 217055"/>
                  <a:gd name="connsiteX55" fmla="*/ 72619 w 217670"/>
                  <a:gd name="connsiteY55" fmla="*/ 89376 h 217055"/>
                  <a:gd name="connsiteX56" fmla="*/ 81565 w 217670"/>
                  <a:gd name="connsiteY56" fmla="*/ 143640 h 217055"/>
                  <a:gd name="connsiteX57" fmla="*/ 135879 w 217670"/>
                  <a:gd name="connsiteY57" fmla="*/ 134702 h 217055"/>
                  <a:gd name="connsiteX58" fmla="*/ 135879 w 217670"/>
                  <a:gd name="connsiteY58" fmla="*/ 89376 h 217055"/>
                  <a:gd name="connsiteX59" fmla="*/ 149937 w 217670"/>
                  <a:gd name="connsiteY59" fmla="*/ 75331 h 217055"/>
                  <a:gd name="connsiteX60" fmla="*/ 140991 w 217670"/>
                  <a:gd name="connsiteY60" fmla="*/ 158323 h 217055"/>
                  <a:gd name="connsiteX61" fmla="*/ 57922 w 217670"/>
                  <a:gd name="connsiteY61" fmla="*/ 149385 h 217055"/>
                  <a:gd name="connsiteX62" fmla="*/ 66868 w 217670"/>
                  <a:gd name="connsiteY62" fmla="*/ 66394 h 217055"/>
                  <a:gd name="connsiteX63" fmla="*/ 140991 w 217670"/>
                  <a:gd name="connsiteY63" fmla="*/ 66394 h 217055"/>
                  <a:gd name="connsiteX64" fmla="*/ 126933 w 217670"/>
                  <a:gd name="connsiteY64" fmla="*/ 80438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17670" h="217055">
                    <a:moveTo>
                      <a:pt x="210641" y="24259"/>
                    </a:moveTo>
                    <a:lnTo>
                      <a:pt x="192750" y="24259"/>
                    </a:lnTo>
                    <a:lnTo>
                      <a:pt x="192750" y="6384"/>
                    </a:lnTo>
                    <a:cubicBezTo>
                      <a:pt x="192750" y="2554"/>
                      <a:pt x="190194" y="0"/>
                      <a:pt x="186360" y="0"/>
                    </a:cubicBezTo>
                    <a:cubicBezTo>
                      <a:pt x="182526" y="0"/>
                      <a:pt x="179970" y="2554"/>
                      <a:pt x="179970" y="6384"/>
                    </a:cubicBezTo>
                    <a:lnTo>
                      <a:pt x="179970" y="28090"/>
                    </a:lnTo>
                    <a:lnTo>
                      <a:pt x="173580" y="34474"/>
                    </a:lnTo>
                    <a:cubicBezTo>
                      <a:pt x="130128" y="-3830"/>
                      <a:pt x="64312" y="638"/>
                      <a:pt x="25972" y="44050"/>
                    </a:cubicBezTo>
                    <a:cubicBezTo>
                      <a:pt x="-11728" y="86822"/>
                      <a:pt x="-7894" y="151939"/>
                      <a:pt x="34279" y="190243"/>
                    </a:cubicBezTo>
                    <a:lnTo>
                      <a:pt x="18304" y="206203"/>
                    </a:lnTo>
                    <a:cubicBezTo>
                      <a:pt x="15748" y="208756"/>
                      <a:pt x="15748" y="212587"/>
                      <a:pt x="18304" y="215140"/>
                    </a:cubicBezTo>
                    <a:cubicBezTo>
                      <a:pt x="18304" y="215140"/>
                      <a:pt x="18304" y="215140"/>
                      <a:pt x="18304" y="215140"/>
                    </a:cubicBezTo>
                    <a:cubicBezTo>
                      <a:pt x="19582" y="216417"/>
                      <a:pt x="20860" y="217055"/>
                      <a:pt x="22777" y="217055"/>
                    </a:cubicBezTo>
                    <a:cubicBezTo>
                      <a:pt x="24694" y="217055"/>
                      <a:pt x="25972" y="216417"/>
                      <a:pt x="27250" y="215140"/>
                    </a:cubicBezTo>
                    <a:lnTo>
                      <a:pt x="43864" y="198542"/>
                    </a:lnTo>
                    <a:cubicBezTo>
                      <a:pt x="43864" y="198542"/>
                      <a:pt x="44503" y="197903"/>
                      <a:pt x="44503" y="197265"/>
                    </a:cubicBezTo>
                    <a:cubicBezTo>
                      <a:pt x="80926" y="222801"/>
                      <a:pt x="128850" y="222801"/>
                      <a:pt x="165273" y="197265"/>
                    </a:cubicBezTo>
                    <a:cubicBezTo>
                      <a:pt x="165273" y="197903"/>
                      <a:pt x="165912" y="197903"/>
                      <a:pt x="165912" y="198542"/>
                    </a:cubicBezTo>
                    <a:lnTo>
                      <a:pt x="182526" y="215140"/>
                    </a:lnTo>
                    <a:cubicBezTo>
                      <a:pt x="183804" y="216417"/>
                      <a:pt x="185082" y="217055"/>
                      <a:pt x="186999" y="217055"/>
                    </a:cubicBezTo>
                    <a:cubicBezTo>
                      <a:pt x="188916" y="217055"/>
                      <a:pt x="190194" y="216417"/>
                      <a:pt x="191472" y="215140"/>
                    </a:cubicBezTo>
                    <a:cubicBezTo>
                      <a:pt x="194028" y="212587"/>
                      <a:pt x="194028" y="208756"/>
                      <a:pt x="191472" y="206203"/>
                    </a:cubicBezTo>
                    <a:cubicBezTo>
                      <a:pt x="191472" y="206203"/>
                      <a:pt x="191472" y="206203"/>
                      <a:pt x="191472" y="206203"/>
                    </a:cubicBezTo>
                    <a:lnTo>
                      <a:pt x="174858" y="190243"/>
                    </a:lnTo>
                    <a:cubicBezTo>
                      <a:pt x="217670" y="151939"/>
                      <a:pt x="221504" y="86184"/>
                      <a:pt x="183165" y="43411"/>
                    </a:cubicBezTo>
                    <a:lnTo>
                      <a:pt x="189555" y="37027"/>
                    </a:lnTo>
                    <a:lnTo>
                      <a:pt x="211280" y="37027"/>
                    </a:lnTo>
                    <a:cubicBezTo>
                      <a:pt x="215114" y="37027"/>
                      <a:pt x="217670" y="34474"/>
                      <a:pt x="217670" y="30643"/>
                    </a:cubicBezTo>
                    <a:cubicBezTo>
                      <a:pt x="217670" y="26813"/>
                      <a:pt x="214475" y="24259"/>
                      <a:pt x="210641" y="24259"/>
                    </a:cubicBezTo>
                    <a:lnTo>
                      <a:pt x="210641" y="24259"/>
                    </a:lnTo>
                    <a:close/>
                    <a:moveTo>
                      <a:pt x="195945" y="112358"/>
                    </a:moveTo>
                    <a:cubicBezTo>
                      <a:pt x="195945" y="163430"/>
                      <a:pt x="155049" y="204926"/>
                      <a:pt x="103929" y="204926"/>
                    </a:cubicBezTo>
                    <a:cubicBezTo>
                      <a:pt x="52810" y="204926"/>
                      <a:pt x="11275" y="164068"/>
                      <a:pt x="11275" y="112997"/>
                    </a:cubicBezTo>
                    <a:cubicBezTo>
                      <a:pt x="11275" y="61925"/>
                      <a:pt x="52171" y="20429"/>
                      <a:pt x="103290" y="20429"/>
                    </a:cubicBezTo>
                    <a:cubicBezTo>
                      <a:pt x="125655" y="20429"/>
                      <a:pt x="147381" y="28090"/>
                      <a:pt x="163995" y="42773"/>
                    </a:cubicBezTo>
                    <a:lnTo>
                      <a:pt x="149937" y="56818"/>
                    </a:lnTo>
                    <a:cubicBezTo>
                      <a:pt x="119265" y="31282"/>
                      <a:pt x="73897" y="35112"/>
                      <a:pt x="48337" y="65755"/>
                    </a:cubicBezTo>
                    <a:cubicBezTo>
                      <a:pt x="22777" y="96398"/>
                      <a:pt x="26611" y="141724"/>
                      <a:pt x="57283" y="167260"/>
                    </a:cubicBezTo>
                    <a:cubicBezTo>
                      <a:pt x="87955" y="192796"/>
                      <a:pt x="133323" y="188966"/>
                      <a:pt x="158883" y="158323"/>
                    </a:cubicBezTo>
                    <a:cubicBezTo>
                      <a:pt x="181248" y="131510"/>
                      <a:pt x="181248" y="92568"/>
                      <a:pt x="158883" y="65755"/>
                    </a:cubicBezTo>
                    <a:lnTo>
                      <a:pt x="172941" y="51710"/>
                    </a:lnTo>
                    <a:cubicBezTo>
                      <a:pt x="188277" y="68947"/>
                      <a:pt x="195945" y="90653"/>
                      <a:pt x="195945" y="112358"/>
                    </a:cubicBezTo>
                    <a:close/>
                    <a:moveTo>
                      <a:pt x="130767" y="112358"/>
                    </a:moveTo>
                    <a:cubicBezTo>
                      <a:pt x="130767" y="127041"/>
                      <a:pt x="119265" y="139171"/>
                      <a:pt x="104568" y="139171"/>
                    </a:cubicBezTo>
                    <a:cubicBezTo>
                      <a:pt x="89872" y="139171"/>
                      <a:pt x="77731" y="127680"/>
                      <a:pt x="77731" y="112997"/>
                    </a:cubicBezTo>
                    <a:cubicBezTo>
                      <a:pt x="77731" y="98313"/>
                      <a:pt x="89233" y="86184"/>
                      <a:pt x="103929" y="86184"/>
                    </a:cubicBezTo>
                    <a:cubicBezTo>
                      <a:pt x="109041" y="86184"/>
                      <a:pt x="113514" y="87461"/>
                      <a:pt x="117987" y="90014"/>
                    </a:cubicBezTo>
                    <a:lnTo>
                      <a:pt x="100095" y="107889"/>
                    </a:lnTo>
                    <a:cubicBezTo>
                      <a:pt x="97540" y="110443"/>
                      <a:pt x="97540" y="114273"/>
                      <a:pt x="100095" y="116827"/>
                    </a:cubicBezTo>
                    <a:cubicBezTo>
                      <a:pt x="101373" y="118104"/>
                      <a:pt x="102651" y="118742"/>
                      <a:pt x="104568" y="118742"/>
                    </a:cubicBezTo>
                    <a:cubicBezTo>
                      <a:pt x="106485" y="118742"/>
                      <a:pt x="107763" y="118104"/>
                      <a:pt x="109041" y="116827"/>
                    </a:cubicBezTo>
                    <a:lnTo>
                      <a:pt x="126933" y="98952"/>
                    </a:lnTo>
                    <a:cubicBezTo>
                      <a:pt x="129489" y="103421"/>
                      <a:pt x="130767" y="107889"/>
                      <a:pt x="130767" y="112358"/>
                    </a:cubicBezTo>
                    <a:lnTo>
                      <a:pt x="130767" y="112358"/>
                    </a:lnTo>
                    <a:close/>
                    <a:moveTo>
                      <a:pt x="126933" y="80438"/>
                    </a:moveTo>
                    <a:cubicBezTo>
                      <a:pt x="109680" y="68309"/>
                      <a:pt x="84760" y="72139"/>
                      <a:pt x="72619" y="89376"/>
                    </a:cubicBezTo>
                    <a:cubicBezTo>
                      <a:pt x="60478" y="106613"/>
                      <a:pt x="64312" y="131510"/>
                      <a:pt x="81565" y="143640"/>
                    </a:cubicBezTo>
                    <a:cubicBezTo>
                      <a:pt x="98817" y="155769"/>
                      <a:pt x="123738" y="151939"/>
                      <a:pt x="135879" y="134702"/>
                    </a:cubicBezTo>
                    <a:cubicBezTo>
                      <a:pt x="145464" y="121296"/>
                      <a:pt x="145464" y="102782"/>
                      <a:pt x="135879" y="89376"/>
                    </a:cubicBezTo>
                    <a:lnTo>
                      <a:pt x="149937" y="75331"/>
                    </a:lnTo>
                    <a:cubicBezTo>
                      <a:pt x="170385" y="100867"/>
                      <a:pt x="166551" y="137894"/>
                      <a:pt x="140991" y="158323"/>
                    </a:cubicBezTo>
                    <a:cubicBezTo>
                      <a:pt x="115431" y="178752"/>
                      <a:pt x="78370" y="174921"/>
                      <a:pt x="57922" y="149385"/>
                    </a:cubicBezTo>
                    <a:cubicBezTo>
                      <a:pt x="37474" y="123849"/>
                      <a:pt x="41308" y="86822"/>
                      <a:pt x="66868" y="66394"/>
                    </a:cubicBezTo>
                    <a:cubicBezTo>
                      <a:pt x="88594" y="49157"/>
                      <a:pt x="119265" y="49157"/>
                      <a:pt x="140991" y="66394"/>
                    </a:cubicBezTo>
                    <a:lnTo>
                      <a:pt x="126933" y="80438"/>
                    </a:lnTo>
                    <a:close/>
                  </a:path>
                </a:pathLst>
              </a:custGeom>
              <a:solidFill>
                <a:schemeClr val="bg1"/>
              </a:solidFill>
              <a:ln w="6390" cap="flat">
                <a:noFill/>
                <a:prstDash val="solid"/>
                <a:miter/>
              </a:ln>
            </p:spPr>
            <p:txBody>
              <a:bodyPr rtlCol="0" anchor="ctr"/>
              <a:lstStyle/>
              <a:p>
                <a:endParaRPr lang="en-US"/>
              </a:p>
            </p:txBody>
          </p:sp>
        </p:grpSp>
      </p:grpSp>
      <p:grpSp>
        <p:nvGrpSpPr>
          <p:cNvPr id="31" name="Gruppieren 30">
            <a:extLst>
              <a:ext uri="{FF2B5EF4-FFF2-40B4-BE49-F238E27FC236}">
                <a16:creationId xmlns:a16="http://schemas.microsoft.com/office/drawing/2014/main" id="{E3F22FCA-7177-49AE-B452-6813EFD6A948}"/>
              </a:ext>
            </a:extLst>
          </p:cNvPr>
          <p:cNvGrpSpPr/>
          <p:nvPr/>
        </p:nvGrpSpPr>
        <p:grpSpPr>
          <a:xfrm>
            <a:off x="4629150" y="2471173"/>
            <a:ext cx="2933700" cy="2480200"/>
            <a:chOff x="4629150" y="2566423"/>
            <a:chExt cx="2933700" cy="2480200"/>
          </a:xfrm>
        </p:grpSpPr>
        <p:sp>
          <p:nvSpPr>
            <p:cNvPr id="62" name="Rectangle 61">
              <a:extLst>
                <a:ext uri="{FF2B5EF4-FFF2-40B4-BE49-F238E27FC236}">
                  <a16:creationId xmlns:a16="http://schemas.microsoft.com/office/drawing/2014/main" id="{64D67ED6-AB8B-4BCB-86F6-6D2AC28F6364}"/>
                </a:ext>
              </a:extLst>
            </p:cNvPr>
            <p:cNvSpPr/>
            <p:nvPr/>
          </p:nvSpPr>
          <p:spPr>
            <a:xfrm>
              <a:off x="4629150" y="3877072"/>
              <a:ext cx="2933700" cy="1169551"/>
            </a:xfrm>
            <a:prstGeom prst="rect">
              <a:avLst/>
            </a:prstGeom>
          </p:spPr>
          <p:txBody>
            <a:bodyPr wrap="square">
              <a:spAutoFit/>
            </a:bodyPr>
            <a:lstStyle/>
            <a:p>
              <a:pPr algn="ctr" defTabSz="914400">
                <a:defRPr/>
              </a:pPr>
              <a:r>
                <a:rPr lang="en-GB" sz="1400" dirty="0">
                  <a:solidFill>
                    <a:schemeClr val="bg1"/>
                  </a:solidFill>
                </a:rPr>
                <a:t>Plus grand accent sur </a:t>
              </a:r>
              <a:r>
                <a:rPr lang="en-GB" sz="1400" dirty="0" err="1">
                  <a:solidFill>
                    <a:schemeClr val="bg1"/>
                  </a:solidFill>
                </a:rPr>
                <a:t>l’adaptation</a:t>
              </a:r>
              <a:r>
                <a:rPr lang="en-GB" sz="1400" dirty="0">
                  <a:solidFill>
                    <a:schemeClr val="bg1"/>
                  </a:solidFill>
                </a:rPr>
                <a:t> aux </a:t>
              </a:r>
              <a:r>
                <a:rPr lang="en-GB" sz="1400" b="1" dirty="0" err="1">
                  <a:solidFill>
                    <a:schemeClr val="bg1"/>
                  </a:solidFill>
                </a:rPr>
                <a:t>besoins</a:t>
              </a:r>
              <a:r>
                <a:rPr lang="en-GB" sz="1400" b="1" dirty="0">
                  <a:solidFill>
                    <a:schemeClr val="bg1"/>
                  </a:solidFill>
                </a:rPr>
                <a:t> du </a:t>
              </a:r>
              <a:r>
                <a:rPr lang="en-GB" sz="1400" b="1" dirty="0" err="1">
                  <a:solidFill>
                    <a:schemeClr val="bg1"/>
                  </a:solidFill>
                </a:rPr>
                <a:t>consommateur</a:t>
              </a:r>
              <a:r>
                <a:rPr lang="en-GB" sz="1400" b="1" dirty="0">
                  <a:solidFill>
                    <a:schemeClr val="bg1"/>
                  </a:solidFill>
                </a:rPr>
                <a:t> </a:t>
              </a:r>
              <a:r>
                <a:rPr lang="en-GB" sz="1400" b="1" dirty="0" err="1">
                  <a:solidFill>
                    <a:schemeClr val="bg1"/>
                  </a:solidFill>
                </a:rPr>
                <a:t>comme</a:t>
              </a:r>
              <a:r>
                <a:rPr lang="en-GB" sz="1400" b="1" dirty="0">
                  <a:solidFill>
                    <a:schemeClr val="bg1"/>
                  </a:solidFill>
                </a:rPr>
                <a:t> </a:t>
              </a:r>
              <a:r>
                <a:rPr lang="en-GB" sz="1400" b="1" dirty="0" err="1">
                  <a:solidFill>
                    <a:schemeClr val="bg1"/>
                  </a:solidFill>
                </a:rPr>
                <a:t>élément</a:t>
              </a:r>
              <a:r>
                <a:rPr lang="en-GB" sz="1400" b="1" dirty="0">
                  <a:solidFill>
                    <a:schemeClr val="bg1"/>
                  </a:solidFill>
                </a:rPr>
                <a:t> central</a:t>
              </a:r>
              <a:r>
                <a:rPr lang="en-GB" sz="1400" dirty="0">
                  <a:solidFill>
                    <a:schemeClr val="bg1"/>
                  </a:solidFill>
                </a:rPr>
                <a:t> de </a:t>
              </a:r>
              <a:r>
                <a:rPr lang="en-GB" sz="1400" dirty="0" err="1">
                  <a:solidFill>
                    <a:schemeClr val="bg1"/>
                  </a:solidFill>
                </a:rPr>
                <a:t>l’écosystème</a:t>
              </a:r>
              <a:r>
                <a:rPr lang="en-GB" sz="1400" dirty="0">
                  <a:solidFill>
                    <a:schemeClr val="bg1"/>
                  </a:solidFill>
                </a:rPr>
                <a:t> du fitness</a:t>
              </a:r>
            </a:p>
          </p:txBody>
        </p:sp>
        <p:grpSp>
          <p:nvGrpSpPr>
            <p:cNvPr id="3" name="Gruppieren 2">
              <a:extLst>
                <a:ext uri="{FF2B5EF4-FFF2-40B4-BE49-F238E27FC236}">
                  <a16:creationId xmlns:a16="http://schemas.microsoft.com/office/drawing/2014/main" id="{F1D268B9-8533-42AF-97F0-47A0FF1F09A8}"/>
                </a:ext>
              </a:extLst>
            </p:cNvPr>
            <p:cNvGrpSpPr/>
            <p:nvPr/>
          </p:nvGrpSpPr>
          <p:grpSpPr>
            <a:xfrm>
              <a:off x="5556000" y="2566423"/>
              <a:ext cx="1080000" cy="1080000"/>
              <a:chOff x="5781397" y="2795023"/>
              <a:chExt cx="635416" cy="635416"/>
            </a:xfrm>
          </p:grpSpPr>
          <p:sp>
            <p:nvSpPr>
              <p:cNvPr id="148" name="Oval 147">
                <a:extLst>
                  <a:ext uri="{FF2B5EF4-FFF2-40B4-BE49-F238E27FC236}">
                    <a16:creationId xmlns:a16="http://schemas.microsoft.com/office/drawing/2014/main" id="{1239007C-D14F-485F-8AA6-8D4F4C7BC5E2}"/>
                  </a:ext>
                </a:extLst>
              </p:cNvPr>
              <p:cNvSpPr/>
              <p:nvPr/>
            </p:nvSpPr>
            <p:spPr bwMode="gray">
              <a:xfrm>
                <a:off x="5781397" y="2795023"/>
                <a:ext cx="635416" cy="635416"/>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18" name="Ellipse 117">
                <a:extLst>
                  <a:ext uri="{FF2B5EF4-FFF2-40B4-BE49-F238E27FC236}">
                    <a16:creationId xmlns:a16="http://schemas.microsoft.com/office/drawing/2014/main" id="{12B95EE2-7EAA-4DCF-ADB2-7CDF1AE69C9B}"/>
                  </a:ext>
                </a:extLst>
              </p:cNvPr>
              <p:cNvSpPr/>
              <p:nvPr/>
            </p:nvSpPr>
            <p:spPr bwMode="gray">
              <a:xfrm>
                <a:off x="5829105" y="2842731"/>
                <a:ext cx="540000" cy="540000"/>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80" name="Graphic 4">
                <a:extLst>
                  <a:ext uri="{FF2B5EF4-FFF2-40B4-BE49-F238E27FC236}">
                    <a16:creationId xmlns:a16="http://schemas.microsoft.com/office/drawing/2014/main" id="{71BE0D1F-10C2-4E66-8E3D-BF1A1A4C7506}"/>
                  </a:ext>
                </a:extLst>
              </p:cNvPr>
              <p:cNvGrpSpPr>
                <a:grpSpLocks noChangeAspect="1"/>
              </p:cNvGrpSpPr>
              <p:nvPr/>
            </p:nvGrpSpPr>
            <p:grpSpPr>
              <a:xfrm>
                <a:off x="5921139" y="2935588"/>
                <a:ext cx="355933" cy="354286"/>
                <a:chOff x="6815384" y="986487"/>
                <a:chExt cx="238588" cy="237484"/>
              </a:xfrm>
              <a:solidFill>
                <a:schemeClr val="bg1"/>
              </a:solidFill>
            </p:grpSpPr>
            <p:sp>
              <p:nvSpPr>
                <p:cNvPr id="82" name="Graphic 4">
                  <a:extLst>
                    <a:ext uri="{FF2B5EF4-FFF2-40B4-BE49-F238E27FC236}">
                      <a16:creationId xmlns:a16="http://schemas.microsoft.com/office/drawing/2014/main" id="{D558FF98-BD9E-43FC-BCCB-3C0DFED5518E}"/>
                    </a:ext>
                  </a:extLst>
                </p:cNvPr>
                <p:cNvSpPr/>
                <p:nvPr/>
              </p:nvSpPr>
              <p:spPr>
                <a:xfrm>
                  <a:off x="7027554" y="1036161"/>
                  <a:ext cx="26418" cy="67791"/>
                </a:xfrm>
                <a:custGeom>
                  <a:avLst/>
                  <a:gdLst>
                    <a:gd name="connsiteX0" fmla="*/ 26297 w 26418"/>
                    <a:gd name="connsiteY0" fmla="*/ 60130 h 67791"/>
                    <a:gd name="connsiteX1" fmla="*/ 12879 w 26418"/>
                    <a:gd name="connsiteY1" fmla="*/ 5228 h 67791"/>
                    <a:gd name="connsiteX2" fmla="*/ 5210 w 26418"/>
                    <a:gd name="connsiteY2" fmla="*/ 121 h 67791"/>
                    <a:gd name="connsiteX3" fmla="*/ 99 w 26418"/>
                    <a:gd name="connsiteY3" fmla="*/ 7782 h 67791"/>
                    <a:gd name="connsiteX4" fmla="*/ 13517 w 26418"/>
                    <a:gd name="connsiteY4" fmla="*/ 62684 h 67791"/>
                    <a:gd name="connsiteX5" fmla="*/ 19907 w 26418"/>
                    <a:gd name="connsiteY5" fmla="*/ 67791 h 67791"/>
                    <a:gd name="connsiteX6" fmla="*/ 21185 w 26418"/>
                    <a:gd name="connsiteY6" fmla="*/ 67791 h 67791"/>
                    <a:gd name="connsiteX7" fmla="*/ 26297 w 26418"/>
                    <a:gd name="connsiteY7" fmla="*/ 60130 h 67791"/>
                    <a:gd name="connsiteX8" fmla="*/ 26297 w 26418"/>
                    <a:gd name="connsiteY8" fmla="*/ 60130 h 67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18" h="67791">
                      <a:moveTo>
                        <a:pt x="26297" y="60130"/>
                      </a:moveTo>
                      <a:lnTo>
                        <a:pt x="12879" y="5228"/>
                      </a:lnTo>
                      <a:cubicBezTo>
                        <a:pt x="12239" y="1398"/>
                        <a:pt x="8405" y="-517"/>
                        <a:pt x="5210" y="121"/>
                      </a:cubicBezTo>
                      <a:cubicBezTo>
                        <a:pt x="2015" y="759"/>
                        <a:pt x="-541" y="4590"/>
                        <a:pt x="99" y="7782"/>
                      </a:cubicBezTo>
                      <a:lnTo>
                        <a:pt x="13517" y="62684"/>
                      </a:lnTo>
                      <a:cubicBezTo>
                        <a:pt x="14156" y="65876"/>
                        <a:pt x="16712" y="67791"/>
                        <a:pt x="19907" y="67791"/>
                      </a:cubicBezTo>
                      <a:lnTo>
                        <a:pt x="21185" y="67791"/>
                      </a:lnTo>
                      <a:cubicBezTo>
                        <a:pt x="25019" y="67153"/>
                        <a:pt x="26936" y="63961"/>
                        <a:pt x="26297" y="60130"/>
                      </a:cubicBezTo>
                      <a:cubicBezTo>
                        <a:pt x="26297" y="60130"/>
                        <a:pt x="26297" y="60130"/>
                        <a:pt x="26297" y="60130"/>
                      </a:cubicBezTo>
                      <a:close/>
                    </a:path>
                  </a:pathLst>
                </a:custGeom>
                <a:grpFill/>
                <a:ln w="6390" cap="flat">
                  <a:noFill/>
                  <a:prstDash val="solid"/>
                  <a:miter/>
                </a:ln>
              </p:spPr>
              <p:txBody>
                <a:bodyPr rtlCol="0" anchor="ctr"/>
                <a:lstStyle/>
                <a:p>
                  <a:endParaRPr lang="en-US"/>
                </a:p>
              </p:txBody>
            </p:sp>
            <p:sp>
              <p:nvSpPr>
                <p:cNvPr id="83" name="Graphic 4">
                  <a:extLst>
                    <a:ext uri="{FF2B5EF4-FFF2-40B4-BE49-F238E27FC236}">
                      <a16:creationId xmlns:a16="http://schemas.microsoft.com/office/drawing/2014/main" id="{302C8BCC-2C63-43C5-91FE-C2FFD09E283F}"/>
                    </a:ext>
                  </a:extLst>
                </p:cNvPr>
                <p:cNvSpPr/>
                <p:nvPr/>
              </p:nvSpPr>
              <p:spPr>
                <a:xfrm>
                  <a:off x="6815384" y="1036799"/>
                  <a:ext cx="26076" cy="67154"/>
                </a:xfrm>
                <a:custGeom>
                  <a:avLst/>
                  <a:gdLst>
                    <a:gd name="connsiteX0" fmla="*/ 21209 w 26076"/>
                    <a:gd name="connsiteY0" fmla="*/ 122 h 67154"/>
                    <a:gd name="connsiteX1" fmla="*/ 13541 w 26076"/>
                    <a:gd name="connsiteY1" fmla="*/ 4591 h 67154"/>
                    <a:gd name="connsiteX2" fmla="*/ 13541 w 26076"/>
                    <a:gd name="connsiteY2" fmla="*/ 4591 h 67154"/>
                    <a:gd name="connsiteX3" fmla="*/ 122 w 26076"/>
                    <a:gd name="connsiteY3" fmla="*/ 59493 h 67154"/>
                    <a:gd name="connsiteX4" fmla="*/ 4596 w 26076"/>
                    <a:gd name="connsiteY4" fmla="*/ 67154 h 67154"/>
                    <a:gd name="connsiteX5" fmla="*/ 5873 w 26076"/>
                    <a:gd name="connsiteY5" fmla="*/ 67154 h 67154"/>
                    <a:gd name="connsiteX6" fmla="*/ 12263 w 26076"/>
                    <a:gd name="connsiteY6" fmla="*/ 62047 h 67154"/>
                    <a:gd name="connsiteX7" fmla="*/ 25682 w 26076"/>
                    <a:gd name="connsiteY7" fmla="*/ 7145 h 67154"/>
                    <a:gd name="connsiteX8" fmla="*/ 21209 w 26076"/>
                    <a:gd name="connsiteY8" fmla="*/ 122 h 6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76" h="67154">
                      <a:moveTo>
                        <a:pt x="21209" y="122"/>
                      </a:moveTo>
                      <a:cubicBezTo>
                        <a:pt x="18015" y="-516"/>
                        <a:pt x="14181" y="1399"/>
                        <a:pt x="13541" y="4591"/>
                      </a:cubicBezTo>
                      <a:cubicBezTo>
                        <a:pt x="13541" y="4591"/>
                        <a:pt x="13541" y="4591"/>
                        <a:pt x="13541" y="4591"/>
                      </a:cubicBezTo>
                      <a:lnTo>
                        <a:pt x="122" y="59493"/>
                      </a:lnTo>
                      <a:cubicBezTo>
                        <a:pt x="-516" y="62685"/>
                        <a:pt x="1401" y="66516"/>
                        <a:pt x="4596" y="67154"/>
                      </a:cubicBezTo>
                      <a:lnTo>
                        <a:pt x="5873" y="67154"/>
                      </a:lnTo>
                      <a:cubicBezTo>
                        <a:pt x="9068" y="67154"/>
                        <a:pt x="11625" y="65239"/>
                        <a:pt x="12263" y="62047"/>
                      </a:cubicBezTo>
                      <a:lnTo>
                        <a:pt x="25682" y="7145"/>
                      </a:lnTo>
                      <a:cubicBezTo>
                        <a:pt x="26961" y="3953"/>
                        <a:pt x="25043" y="761"/>
                        <a:pt x="21209" y="122"/>
                      </a:cubicBezTo>
                      <a:close/>
                    </a:path>
                  </a:pathLst>
                </a:custGeom>
                <a:grpFill/>
                <a:ln w="6390" cap="flat">
                  <a:noFill/>
                  <a:prstDash val="solid"/>
                  <a:miter/>
                </a:ln>
              </p:spPr>
              <p:txBody>
                <a:bodyPr rtlCol="0" anchor="ctr"/>
                <a:lstStyle/>
                <a:p>
                  <a:endParaRPr lang="en-US"/>
                </a:p>
              </p:txBody>
            </p:sp>
            <p:sp>
              <p:nvSpPr>
                <p:cNvPr id="84" name="Graphic 4">
                  <a:extLst>
                    <a:ext uri="{FF2B5EF4-FFF2-40B4-BE49-F238E27FC236}">
                      <a16:creationId xmlns:a16="http://schemas.microsoft.com/office/drawing/2014/main" id="{2FFDB7A3-694F-4A03-952C-1A8FAF9492C8}"/>
                    </a:ext>
                  </a:extLst>
                </p:cNvPr>
                <p:cNvSpPr/>
                <p:nvPr/>
              </p:nvSpPr>
              <p:spPr>
                <a:xfrm>
                  <a:off x="6984840" y="986487"/>
                  <a:ext cx="39618" cy="39580"/>
                </a:xfrm>
                <a:custGeom>
                  <a:avLst/>
                  <a:gdLst>
                    <a:gd name="connsiteX0" fmla="*/ 19809 w 39618"/>
                    <a:gd name="connsiteY0" fmla="*/ 39581 h 39580"/>
                    <a:gd name="connsiteX1" fmla="*/ 39618 w 39618"/>
                    <a:gd name="connsiteY1" fmla="*/ 19790 h 39580"/>
                    <a:gd name="connsiteX2" fmla="*/ 19809 w 39618"/>
                    <a:gd name="connsiteY2" fmla="*/ 0 h 39580"/>
                    <a:gd name="connsiteX3" fmla="*/ 0 w 39618"/>
                    <a:gd name="connsiteY3" fmla="*/ 19790 h 39580"/>
                    <a:gd name="connsiteX4" fmla="*/ 0 w 39618"/>
                    <a:gd name="connsiteY4" fmla="*/ 19790 h 39580"/>
                    <a:gd name="connsiteX5" fmla="*/ 19809 w 39618"/>
                    <a:gd name="connsiteY5" fmla="*/ 39581 h 39580"/>
                    <a:gd name="connsiteX6" fmla="*/ 19809 w 39618"/>
                    <a:gd name="connsiteY6" fmla="*/ 12768 h 39580"/>
                    <a:gd name="connsiteX7" fmla="*/ 26838 w 39618"/>
                    <a:gd name="connsiteY7" fmla="*/ 19790 h 39580"/>
                    <a:gd name="connsiteX8" fmla="*/ 19809 w 39618"/>
                    <a:gd name="connsiteY8" fmla="*/ 26813 h 39580"/>
                    <a:gd name="connsiteX9" fmla="*/ 12780 w 39618"/>
                    <a:gd name="connsiteY9" fmla="*/ 19790 h 39580"/>
                    <a:gd name="connsiteX10" fmla="*/ 12780 w 39618"/>
                    <a:gd name="connsiteY10" fmla="*/ 19790 h 39580"/>
                    <a:gd name="connsiteX11" fmla="*/ 19809 w 39618"/>
                    <a:gd name="connsiteY11" fmla="*/ 12768 h 39580"/>
                    <a:gd name="connsiteX12" fmla="*/ 19809 w 39618"/>
                    <a:gd name="connsiteY12" fmla="*/ 12768 h 3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618" h="39580">
                      <a:moveTo>
                        <a:pt x="19809" y="39581"/>
                      </a:moveTo>
                      <a:cubicBezTo>
                        <a:pt x="30672" y="39581"/>
                        <a:pt x="39618" y="30643"/>
                        <a:pt x="39618" y="19790"/>
                      </a:cubicBezTo>
                      <a:cubicBezTo>
                        <a:pt x="39618" y="8938"/>
                        <a:pt x="30672" y="0"/>
                        <a:pt x="19809" y="0"/>
                      </a:cubicBezTo>
                      <a:cubicBezTo>
                        <a:pt x="8946" y="0"/>
                        <a:pt x="0" y="8938"/>
                        <a:pt x="0" y="19790"/>
                      </a:cubicBezTo>
                      <a:cubicBezTo>
                        <a:pt x="0" y="19790"/>
                        <a:pt x="0" y="19790"/>
                        <a:pt x="0" y="19790"/>
                      </a:cubicBezTo>
                      <a:cubicBezTo>
                        <a:pt x="639" y="30643"/>
                        <a:pt x="8946" y="39581"/>
                        <a:pt x="19809" y="39581"/>
                      </a:cubicBezTo>
                      <a:close/>
                      <a:moveTo>
                        <a:pt x="19809" y="12768"/>
                      </a:moveTo>
                      <a:cubicBezTo>
                        <a:pt x="23643" y="12768"/>
                        <a:pt x="26838" y="15960"/>
                        <a:pt x="26838" y="19790"/>
                      </a:cubicBezTo>
                      <a:cubicBezTo>
                        <a:pt x="26838" y="23621"/>
                        <a:pt x="23643" y="26813"/>
                        <a:pt x="19809" y="26813"/>
                      </a:cubicBezTo>
                      <a:cubicBezTo>
                        <a:pt x="15975" y="26813"/>
                        <a:pt x="12780" y="23621"/>
                        <a:pt x="12780" y="19790"/>
                      </a:cubicBezTo>
                      <a:cubicBezTo>
                        <a:pt x="12780" y="19790"/>
                        <a:pt x="12780" y="19790"/>
                        <a:pt x="12780" y="19790"/>
                      </a:cubicBezTo>
                      <a:cubicBezTo>
                        <a:pt x="13419" y="15960"/>
                        <a:pt x="16614" y="12768"/>
                        <a:pt x="19809" y="12768"/>
                      </a:cubicBezTo>
                      <a:lnTo>
                        <a:pt x="19809" y="12768"/>
                      </a:lnTo>
                      <a:close/>
                    </a:path>
                  </a:pathLst>
                </a:custGeom>
                <a:grpFill/>
                <a:ln w="6390" cap="flat">
                  <a:noFill/>
                  <a:prstDash val="solid"/>
                  <a:miter/>
                </a:ln>
              </p:spPr>
              <p:txBody>
                <a:bodyPr rtlCol="0" anchor="ctr"/>
                <a:lstStyle/>
                <a:p>
                  <a:endParaRPr lang="en-US"/>
                </a:p>
              </p:txBody>
            </p:sp>
            <p:sp>
              <p:nvSpPr>
                <p:cNvPr id="85" name="Graphic 4">
                  <a:extLst>
                    <a:ext uri="{FF2B5EF4-FFF2-40B4-BE49-F238E27FC236}">
                      <a16:creationId xmlns:a16="http://schemas.microsoft.com/office/drawing/2014/main" id="{8E200747-2144-4C51-897D-DBBEB071FFFA}"/>
                    </a:ext>
                  </a:extLst>
                </p:cNvPr>
                <p:cNvSpPr/>
                <p:nvPr/>
              </p:nvSpPr>
              <p:spPr>
                <a:xfrm>
                  <a:off x="6978199" y="1035644"/>
                  <a:ext cx="55454" cy="141724"/>
                </a:xfrm>
                <a:custGeom>
                  <a:avLst/>
                  <a:gdLst>
                    <a:gd name="connsiteX0" fmla="*/ 34756 w 55454"/>
                    <a:gd name="connsiteY0" fmla="*/ 0 h 141724"/>
                    <a:gd name="connsiteX1" fmla="*/ 20699 w 55454"/>
                    <a:gd name="connsiteY1" fmla="*/ 0 h 141724"/>
                    <a:gd name="connsiteX2" fmla="*/ 14309 w 55454"/>
                    <a:gd name="connsiteY2" fmla="*/ 5107 h 141724"/>
                    <a:gd name="connsiteX3" fmla="*/ 251 w 55454"/>
                    <a:gd name="connsiteY3" fmla="*/ 74693 h 141724"/>
                    <a:gd name="connsiteX4" fmla="*/ 1529 w 55454"/>
                    <a:gd name="connsiteY4" fmla="*/ 79800 h 141724"/>
                    <a:gd name="connsiteX5" fmla="*/ 6641 w 55454"/>
                    <a:gd name="connsiteY5" fmla="*/ 82353 h 141724"/>
                    <a:gd name="connsiteX6" fmla="*/ 7279 w 55454"/>
                    <a:gd name="connsiteY6" fmla="*/ 82353 h 141724"/>
                    <a:gd name="connsiteX7" fmla="*/ 7279 w 55454"/>
                    <a:gd name="connsiteY7" fmla="*/ 135340 h 141724"/>
                    <a:gd name="connsiteX8" fmla="*/ 13669 w 55454"/>
                    <a:gd name="connsiteY8" fmla="*/ 141724 h 141724"/>
                    <a:gd name="connsiteX9" fmla="*/ 20059 w 55454"/>
                    <a:gd name="connsiteY9" fmla="*/ 135340 h 141724"/>
                    <a:gd name="connsiteX10" fmla="*/ 20059 w 55454"/>
                    <a:gd name="connsiteY10" fmla="*/ 82353 h 141724"/>
                    <a:gd name="connsiteX11" fmla="*/ 35395 w 55454"/>
                    <a:gd name="connsiteY11" fmla="*/ 82353 h 141724"/>
                    <a:gd name="connsiteX12" fmla="*/ 35395 w 55454"/>
                    <a:gd name="connsiteY12" fmla="*/ 135340 h 141724"/>
                    <a:gd name="connsiteX13" fmla="*/ 41785 w 55454"/>
                    <a:gd name="connsiteY13" fmla="*/ 141724 h 141724"/>
                    <a:gd name="connsiteX14" fmla="*/ 48175 w 55454"/>
                    <a:gd name="connsiteY14" fmla="*/ 135340 h 141724"/>
                    <a:gd name="connsiteX15" fmla="*/ 48175 w 55454"/>
                    <a:gd name="connsiteY15" fmla="*/ 82353 h 141724"/>
                    <a:gd name="connsiteX16" fmla="*/ 48814 w 55454"/>
                    <a:gd name="connsiteY16" fmla="*/ 82353 h 141724"/>
                    <a:gd name="connsiteX17" fmla="*/ 53926 w 55454"/>
                    <a:gd name="connsiteY17" fmla="*/ 79800 h 141724"/>
                    <a:gd name="connsiteX18" fmla="*/ 55204 w 55454"/>
                    <a:gd name="connsiteY18" fmla="*/ 74693 h 141724"/>
                    <a:gd name="connsiteX19" fmla="*/ 40508 w 55454"/>
                    <a:gd name="connsiteY19" fmla="*/ 5107 h 141724"/>
                    <a:gd name="connsiteX20" fmla="*/ 34756 w 55454"/>
                    <a:gd name="connsiteY20" fmla="*/ 0 h 141724"/>
                    <a:gd name="connsiteX21" fmla="*/ 14309 w 55454"/>
                    <a:gd name="connsiteY21" fmla="*/ 69585 h 141724"/>
                    <a:gd name="connsiteX22" fmla="*/ 25810 w 55454"/>
                    <a:gd name="connsiteY22" fmla="*/ 12768 h 141724"/>
                    <a:gd name="connsiteX23" fmla="*/ 29644 w 55454"/>
                    <a:gd name="connsiteY23" fmla="*/ 12768 h 141724"/>
                    <a:gd name="connsiteX24" fmla="*/ 41146 w 55454"/>
                    <a:gd name="connsiteY24" fmla="*/ 69585 h 141724"/>
                    <a:gd name="connsiteX25" fmla="*/ 14309 w 55454"/>
                    <a:gd name="connsiteY25" fmla="*/ 69585 h 14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5454" h="141724">
                      <a:moveTo>
                        <a:pt x="34756" y="0"/>
                      </a:moveTo>
                      <a:lnTo>
                        <a:pt x="20699" y="0"/>
                      </a:lnTo>
                      <a:cubicBezTo>
                        <a:pt x="17504" y="0"/>
                        <a:pt x="14948" y="1915"/>
                        <a:pt x="14309" y="5107"/>
                      </a:cubicBezTo>
                      <a:lnTo>
                        <a:pt x="251" y="74693"/>
                      </a:lnTo>
                      <a:cubicBezTo>
                        <a:pt x="-388" y="76608"/>
                        <a:pt x="251" y="78523"/>
                        <a:pt x="1529" y="79800"/>
                      </a:cubicBezTo>
                      <a:cubicBezTo>
                        <a:pt x="2807" y="81077"/>
                        <a:pt x="4724" y="82353"/>
                        <a:pt x="6641" y="82353"/>
                      </a:cubicBezTo>
                      <a:lnTo>
                        <a:pt x="7279" y="82353"/>
                      </a:lnTo>
                      <a:lnTo>
                        <a:pt x="7279" y="135340"/>
                      </a:lnTo>
                      <a:cubicBezTo>
                        <a:pt x="7279" y="139171"/>
                        <a:pt x="9836" y="141724"/>
                        <a:pt x="13669" y="141724"/>
                      </a:cubicBezTo>
                      <a:cubicBezTo>
                        <a:pt x="17504" y="141724"/>
                        <a:pt x="20059" y="139171"/>
                        <a:pt x="20059" y="135340"/>
                      </a:cubicBezTo>
                      <a:lnTo>
                        <a:pt x="20059" y="82353"/>
                      </a:lnTo>
                      <a:lnTo>
                        <a:pt x="35395" y="82353"/>
                      </a:lnTo>
                      <a:lnTo>
                        <a:pt x="35395" y="135340"/>
                      </a:lnTo>
                      <a:cubicBezTo>
                        <a:pt x="35395" y="139171"/>
                        <a:pt x="37951" y="141724"/>
                        <a:pt x="41785" y="141724"/>
                      </a:cubicBezTo>
                      <a:cubicBezTo>
                        <a:pt x="45619" y="141724"/>
                        <a:pt x="48175" y="139171"/>
                        <a:pt x="48175" y="135340"/>
                      </a:cubicBezTo>
                      <a:lnTo>
                        <a:pt x="48175" y="82353"/>
                      </a:lnTo>
                      <a:lnTo>
                        <a:pt x="48814" y="82353"/>
                      </a:lnTo>
                      <a:cubicBezTo>
                        <a:pt x="50731" y="82353"/>
                        <a:pt x="52649" y="81715"/>
                        <a:pt x="53926" y="79800"/>
                      </a:cubicBezTo>
                      <a:cubicBezTo>
                        <a:pt x="55204" y="78523"/>
                        <a:pt x="55844" y="76608"/>
                        <a:pt x="55204" y="74693"/>
                      </a:cubicBezTo>
                      <a:lnTo>
                        <a:pt x="40508" y="5107"/>
                      </a:lnTo>
                      <a:cubicBezTo>
                        <a:pt x="39869" y="2554"/>
                        <a:pt x="37313" y="0"/>
                        <a:pt x="34756" y="0"/>
                      </a:cubicBezTo>
                      <a:close/>
                      <a:moveTo>
                        <a:pt x="14309" y="69585"/>
                      </a:moveTo>
                      <a:lnTo>
                        <a:pt x="25810" y="12768"/>
                      </a:lnTo>
                      <a:lnTo>
                        <a:pt x="29644" y="12768"/>
                      </a:lnTo>
                      <a:lnTo>
                        <a:pt x="41146" y="69585"/>
                      </a:lnTo>
                      <a:lnTo>
                        <a:pt x="14309" y="69585"/>
                      </a:lnTo>
                      <a:close/>
                    </a:path>
                  </a:pathLst>
                </a:custGeom>
                <a:grpFill/>
                <a:ln w="6390" cap="flat">
                  <a:noFill/>
                  <a:prstDash val="solid"/>
                  <a:miter/>
                </a:ln>
              </p:spPr>
              <p:txBody>
                <a:bodyPr rtlCol="0" anchor="ctr"/>
                <a:lstStyle/>
                <a:p>
                  <a:endParaRPr lang="en-US"/>
                </a:p>
              </p:txBody>
            </p:sp>
            <p:sp>
              <p:nvSpPr>
                <p:cNvPr id="86" name="Graphic 4">
                  <a:extLst>
                    <a:ext uri="{FF2B5EF4-FFF2-40B4-BE49-F238E27FC236}">
                      <a16:creationId xmlns:a16="http://schemas.microsoft.com/office/drawing/2014/main" id="{7DE5C8C0-7EE9-464B-998B-9C2C0643C265}"/>
                    </a:ext>
                  </a:extLst>
                </p:cNvPr>
                <p:cNvSpPr/>
                <p:nvPr/>
              </p:nvSpPr>
              <p:spPr>
                <a:xfrm>
                  <a:off x="6841705" y="986487"/>
                  <a:ext cx="39618" cy="39580"/>
                </a:xfrm>
                <a:custGeom>
                  <a:avLst/>
                  <a:gdLst>
                    <a:gd name="connsiteX0" fmla="*/ 19809 w 39618"/>
                    <a:gd name="connsiteY0" fmla="*/ 39581 h 39580"/>
                    <a:gd name="connsiteX1" fmla="*/ 39618 w 39618"/>
                    <a:gd name="connsiteY1" fmla="*/ 19790 h 39580"/>
                    <a:gd name="connsiteX2" fmla="*/ 19809 w 39618"/>
                    <a:gd name="connsiteY2" fmla="*/ 0 h 39580"/>
                    <a:gd name="connsiteX3" fmla="*/ 0 w 39618"/>
                    <a:gd name="connsiteY3" fmla="*/ 19790 h 39580"/>
                    <a:gd name="connsiteX4" fmla="*/ 0 w 39618"/>
                    <a:gd name="connsiteY4" fmla="*/ 19790 h 39580"/>
                    <a:gd name="connsiteX5" fmla="*/ 19809 w 39618"/>
                    <a:gd name="connsiteY5" fmla="*/ 39581 h 39580"/>
                    <a:gd name="connsiteX6" fmla="*/ 19809 w 39618"/>
                    <a:gd name="connsiteY6" fmla="*/ 12768 h 39580"/>
                    <a:gd name="connsiteX7" fmla="*/ 26199 w 39618"/>
                    <a:gd name="connsiteY7" fmla="*/ 20429 h 39580"/>
                    <a:gd name="connsiteX8" fmla="*/ 19809 w 39618"/>
                    <a:gd name="connsiteY8" fmla="*/ 26813 h 39580"/>
                    <a:gd name="connsiteX9" fmla="*/ 12141 w 39618"/>
                    <a:gd name="connsiteY9" fmla="*/ 20429 h 39580"/>
                    <a:gd name="connsiteX10" fmla="*/ 18531 w 39618"/>
                    <a:gd name="connsiteY10" fmla="*/ 12768 h 39580"/>
                    <a:gd name="connsiteX11" fmla="*/ 19809 w 39618"/>
                    <a:gd name="connsiteY11" fmla="*/ 12768 h 3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618" h="39580">
                      <a:moveTo>
                        <a:pt x="19809" y="39581"/>
                      </a:moveTo>
                      <a:cubicBezTo>
                        <a:pt x="30672" y="39581"/>
                        <a:pt x="39618" y="30643"/>
                        <a:pt x="39618" y="19790"/>
                      </a:cubicBezTo>
                      <a:cubicBezTo>
                        <a:pt x="39618" y="8938"/>
                        <a:pt x="30672" y="0"/>
                        <a:pt x="19809" y="0"/>
                      </a:cubicBezTo>
                      <a:cubicBezTo>
                        <a:pt x="8946" y="0"/>
                        <a:pt x="0" y="8938"/>
                        <a:pt x="0" y="19790"/>
                      </a:cubicBezTo>
                      <a:cubicBezTo>
                        <a:pt x="0" y="19790"/>
                        <a:pt x="0" y="19790"/>
                        <a:pt x="0" y="19790"/>
                      </a:cubicBezTo>
                      <a:cubicBezTo>
                        <a:pt x="640" y="30643"/>
                        <a:pt x="8946" y="39581"/>
                        <a:pt x="19809" y="39581"/>
                      </a:cubicBezTo>
                      <a:close/>
                      <a:moveTo>
                        <a:pt x="19809" y="12768"/>
                      </a:moveTo>
                      <a:cubicBezTo>
                        <a:pt x="23643" y="13406"/>
                        <a:pt x="26199" y="16598"/>
                        <a:pt x="26199" y="20429"/>
                      </a:cubicBezTo>
                      <a:cubicBezTo>
                        <a:pt x="26199" y="23621"/>
                        <a:pt x="23004" y="26174"/>
                        <a:pt x="19809" y="26813"/>
                      </a:cubicBezTo>
                      <a:cubicBezTo>
                        <a:pt x="15975" y="27451"/>
                        <a:pt x="12780" y="24259"/>
                        <a:pt x="12141" y="20429"/>
                      </a:cubicBezTo>
                      <a:cubicBezTo>
                        <a:pt x="11502" y="16598"/>
                        <a:pt x="14697" y="13406"/>
                        <a:pt x="18531" y="12768"/>
                      </a:cubicBezTo>
                      <a:cubicBezTo>
                        <a:pt x="19170" y="12768"/>
                        <a:pt x="19809" y="12768"/>
                        <a:pt x="19809" y="12768"/>
                      </a:cubicBezTo>
                      <a:close/>
                    </a:path>
                  </a:pathLst>
                </a:custGeom>
                <a:grpFill/>
                <a:ln w="6390" cap="flat">
                  <a:noFill/>
                  <a:prstDash val="solid"/>
                  <a:miter/>
                </a:ln>
              </p:spPr>
              <p:txBody>
                <a:bodyPr rtlCol="0" anchor="ctr"/>
                <a:lstStyle/>
                <a:p>
                  <a:endParaRPr lang="en-US"/>
                </a:p>
              </p:txBody>
            </p:sp>
            <p:sp>
              <p:nvSpPr>
                <p:cNvPr id="87" name="Graphic 4">
                  <a:extLst>
                    <a:ext uri="{FF2B5EF4-FFF2-40B4-BE49-F238E27FC236}">
                      <a16:creationId xmlns:a16="http://schemas.microsoft.com/office/drawing/2014/main" id="{D5C12EC2-F6A7-4AA5-A812-38DD9B6D6FD9}"/>
                    </a:ext>
                  </a:extLst>
                </p:cNvPr>
                <p:cNvSpPr/>
                <p:nvPr/>
              </p:nvSpPr>
              <p:spPr>
                <a:xfrm>
                  <a:off x="6835064" y="1035644"/>
                  <a:ext cx="55204" cy="141724"/>
                </a:xfrm>
                <a:custGeom>
                  <a:avLst/>
                  <a:gdLst>
                    <a:gd name="connsiteX0" fmla="*/ 34756 w 55204"/>
                    <a:gd name="connsiteY0" fmla="*/ 0 h 141724"/>
                    <a:gd name="connsiteX1" fmla="*/ 20699 w 55204"/>
                    <a:gd name="connsiteY1" fmla="*/ 0 h 141724"/>
                    <a:gd name="connsiteX2" fmla="*/ 14309 w 55204"/>
                    <a:gd name="connsiteY2" fmla="*/ 5107 h 141724"/>
                    <a:gd name="connsiteX3" fmla="*/ 251 w 55204"/>
                    <a:gd name="connsiteY3" fmla="*/ 74693 h 141724"/>
                    <a:gd name="connsiteX4" fmla="*/ 1529 w 55204"/>
                    <a:gd name="connsiteY4" fmla="*/ 79800 h 141724"/>
                    <a:gd name="connsiteX5" fmla="*/ 6641 w 55204"/>
                    <a:gd name="connsiteY5" fmla="*/ 82353 h 141724"/>
                    <a:gd name="connsiteX6" fmla="*/ 7280 w 55204"/>
                    <a:gd name="connsiteY6" fmla="*/ 82353 h 141724"/>
                    <a:gd name="connsiteX7" fmla="*/ 7280 w 55204"/>
                    <a:gd name="connsiteY7" fmla="*/ 135340 h 141724"/>
                    <a:gd name="connsiteX8" fmla="*/ 13670 w 55204"/>
                    <a:gd name="connsiteY8" fmla="*/ 141724 h 141724"/>
                    <a:gd name="connsiteX9" fmla="*/ 20060 w 55204"/>
                    <a:gd name="connsiteY9" fmla="*/ 135340 h 141724"/>
                    <a:gd name="connsiteX10" fmla="*/ 20060 w 55204"/>
                    <a:gd name="connsiteY10" fmla="*/ 82353 h 141724"/>
                    <a:gd name="connsiteX11" fmla="*/ 35395 w 55204"/>
                    <a:gd name="connsiteY11" fmla="*/ 82353 h 141724"/>
                    <a:gd name="connsiteX12" fmla="*/ 35395 w 55204"/>
                    <a:gd name="connsiteY12" fmla="*/ 135340 h 141724"/>
                    <a:gd name="connsiteX13" fmla="*/ 41785 w 55204"/>
                    <a:gd name="connsiteY13" fmla="*/ 141724 h 141724"/>
                    <a:gd name="connsiteX14" fmla="*/ 48175 w 55204"/>
                    <a:gd name="connsiteY14" fmla="*/ 135340 h 141724"/>
                    <a:gd name="connsiteX15" fmla="*/ 48175 w 55204"/>
                    <a:gd name="connsiteY15" fmla="*/ 82353 h 141724"/>
                    <a:gd name="connsiteX16" fmla="*/ 48815 w 55204"/>
                    <a:gd name="connsiteY16" fmla="*/ 82353 h 141724"/>
                    <a:gd name="connsiteX17" fmla="*/ 55205 w 55204"/>
                    <a:gd name="connsiteY17" fmla="*/ 75969 h 141724"/>
                    <a:gd name="connsiteX18" fmla="*/ 55205 w 55204"/>
                    <a:gd name="connsiteY18" fmla="*/ 74693 h 141724"/>
                    <a:gd name="connsiteX19" fmla="*/ 40508 w 55204"/>
                    <a:gd name="connsiteY19" fmla="*/ 5107 h 141724"/>
                    <a:gd name="connsiteX20" fmla="*/ 34756 w 55204"/>
                    <a:gd name="connsiteY20" fmla="*/ 0 h 141724"/>
                    <a:gd name="connsiteX21" fmla="*/ 14309 w 55204"/>
                    <a:gd name="connsiteY21" fmla="*/ 69585 h 141724"/>
                    <a:gd name="connsiteX22" fmla="*/ 25810 w 55204"/>
                    <a:gd name="connsiteY22" fmla="*/ 12768 h 141724"/>
                    <a:gd name="connsiteX23" fmla="*/ 29645 w 55204"/>
                    <a:gd name="connsiteY23" fmla="*/ 12768 h 141724"/>
                    <a:gd name="connsiteX24" fmla="*/ 41785 w 55204"/>
                    <a:gd name="connsiteY24" fmla="*/ 69585 h 141724"/>
                    <a:gd name="connsiteX25" fmla="*/ 14309 w 55204"/>
                    <a:gd name="connsiteY25" fmla="*/ 69585 h 14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5204" h="141724">
                      <a:moveTo>
                        <a:pt x="34756" y="0"/>
                      </a:moveTo>
                      <a:lnTo>
                        <a:pt x="20699" y="0"/>
                      </a:lnTo>
                      <a:cubicBezTo>
                        <a:pt x="17504" y="0"/>
                        <a:pt x="14948" y="1915"/>
                        <a:pt x="14309" y="5107"/>
                      </a:cubicBezTo>
                      <a:lnTo>
                        <a:pt x="251" y="74693"/>
                      </a:lnTo>
                      <a:cubicBezTo>
                        <a:pt x="-388" y="76608"/>
                        <a:pt x="251" y="78523"/>
                        <a:pt x="1529" y="79800"/>
                      </a:cubicBezTo>
                      <a:cubicBezTo>
                        <a:pt x="2807" y="81077"/>
                        <a:pt x="4724" y="82353"/>
                        <a:pt x="6641" y="82353"/>
                      </a:cubicBezTo>
                      <a:lnTo>
                        <a:pt x="7280" y="82353"/>
                      </a:lnTo>
                      <a:lnTo>
                        <a:pt x="7280" y="135340"/>
                      </a:lnTo>
                      <a:cubicBezTo>
                        <a:pt x="7280" y="139171"/>
                        <a:pt x="9836" y="141724"/>
                        <a:pt x="13670" y="141724"/>
                      </a:cubicBezTo>
                      <a:cubicBezTo>
                        <a:pt x="17504" y="141724"/>
                        <a:pt x="20060" y="139171"/>
                        <a:pt x="20060" y="135340"/>
                      </a:cubicBezTo>
                      <a:lnTo>
                        <a:pt x="20060" y="82353"/>
                      </a:lnTo>
                      <a:lnTo>
                        <a:pt x="35395" y="82353"/>
                      </a:lnTo>
                      <a:lnTo>
                        <a:pt x="35395" y="135340"/>
                      </a:lnTo>
                      <a:cubicBezTo>
                        <a:pt x="35395" y="139171"/>
                        <a:pt x="37951" y="141724"/>
                        <a:pt x="41785" y="141724"/>
                      </a:cubicBezTo>
                      <a:cubicBezTo>
                        <a:pt x="45620" y="141724"/>
                        <a:pt x="48175" y="139171"/>
                        <a:pt x="48175" y="135340"/>
                      </a:cubicBezTo>
                      <a:lnTo>
                        <a:pt x="48175" y="82353"/>
                      </a:lnTo>
                      <a:lnTo>
                        <a:pt x="48815" y="82353"/>
                      </a:lnTo>
                      <a:cubicBezTo>
                        <a:pt x="52649" y="82353"/>
                        <a:pt x="55205" y="79800"/>
                        <a:pt x="55205" y="75969"/>
                      </a:cubicBezTo>
                      <a:cubicBezTo>
                        <a:pt x="55205" y="75331"/>
                        <a:pt x="55205" y="75331"/>
                        <a:pt x="55205" y="74693"/>
                      </a:cubicBezTo>
                      <a:lnTo>
                        <a:pt x="40508" y="5107"/>
                      </a:lnTo>
                      <a:cubicBezTo>
                        <a:pt x="40508" y="1915"/>
                        <a:pt x="37313" y="0"/>
                        <a:pt x="34756" y="0"/>
                      </a:cubicBezTo>
                      <a:close/>
                      <a:moveTo>
                        <a:pt x="14309" y="69585"/>
                      </a:moveTo>
                      <a:lnTo>
                        <a:pt x="25810" y="12768"/>
                      </a:lnTo>
                      <a:lnTo>
                        <a:pt x="29645" y="12768"/>
                      </a:lnTo>
                      <a:lnTo>
                        <a:pt x="41785" y="69585"/>
                      </a:lnTo>
                      <a:lnTo>
                        <a:pt x="14309" y="69585"/>
                      </a:lnTo>
                      <a:close/>
                    </a:path>
                  </a:pathLst>
                </a:custGeom>
                <a:grpFill/>
                <a:ln w="6390" cap="flat">
                  <a:noFill/>
                  <a:prstDash val="solid"/>
                  <a:miter/>
                </a:ln>
              </p:spPr>
              <p:txBody>
                <a:bodyPr rtlCol="0" anchor="ctr"/>
                <a:lstStyle/>
                <a:p>
                  <a:endParaRPr lang="en-US"/>
                </a:p>
              </p:txBody>
            </p:sp>
            <p:sp>
              <p:nvSpPr>
                <p:cNvPr id="88" name="Graphic 4">
                  <a:extLst>
                    <a:ext uri="{FF2B5EF4-FFF2-40B4-BE49-F238E27FC236}">
                      <a16:creationId xmlns:a16="http://schemas.microsoft.com/office/drawing/2014/main" id="{91853E78-9AEA-4252-A533-0DF10628C4F5}"/>
                    </a:ext>
                  </a:extLst>
                </p:cNvPr>
                <p:cNvSpPr/>
                <p:nvPr/>
              </p:nvSpPr>
              <p:spPr>
                <a:xfrm>
                  <a:off x="6915189" y="1034367"/>
                  <a:ext cx="38979" cy="38942"/>
                </a:xfrm>
                <a:custGeom>
                  <a:avLst/>
                  <a:gdLst>
                    <a:gd name="connsiteX0" fmla="*/ 19170 w 38979"/>
                    <a:gd name="connsiteY0" fmla="*/ 38942 h 38942"/>
                    <a:gd name="connsiteX1" fmla="*/ 38979 w 38979"/>
                    <a:gd name="connsiteY1" fmla="*/ 19790 h 38942"/>
                    <a:gd name="connsiteX2" fmla="*/ 19809 w 38979"/>
                    <a:gd name="connsiteY2" fmla="*/ 0 h 38942"/>
                    <a:gd name="connsiteX3" fmla="*/ 0 w 38979"/>
                    <a:gd name="connsiteY3" fmla="*/ 19152 h 38942"/>
                    <a:gd name="connsiteX4" fmla="*/ 0 w 38979"/>
                    <a:gd name="connsiteY4" fmla="*/ 19790 h 38942"/>
                    <a:gd name="connsiteX5" fmla="*/ 19170 w 38979"/>
                    <a:gd name="connsiteY5" fmla="*/ 38942 h 38942"/>
                    <a:gd name="connsiteX6" fmla="*/ 19170 w 38979"/>
                    <a:gd name="connsiteY6" fmla="*/ 12768 h 38942"/>
                    <a:gd name="connsiteX7" fmla="*/ 26199 w 38979"/>
                    <a:gd name="connsiteY7" fmla="*/ 19152 h 38942"/>
                    <a:gd name="connsiteX8" fmla="*/ 19809 w 38979"/>
                    <a:gd name="connsiteY8" fmla="*/ 26174 h 38942"/>
                    <a:gd name="connsiteX9" fmla="*/ 12780 w 38979"/>
                    <a:gd name="connsiteY9" fmla="*/ 19790 h 38942"/>
                    <a:gd name="connsiteX10" fmla="*/ 12780 w 38979"/>
                    <a:gd name="connsiteY10" fmla="*/ 19152 h 38942"/>
                    <a:gd name="connsiteX11" fmla="*/ 19170 w 38979"/>
                    <a:gd name="connsiteY11" fmla="*/ 12768 h 3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979" h="38942">
                      <a:moveTo>
                        <a:pt x="19170" y="38942"/>
                      </a:moveTo>
                      <a:cubicBezTo>
                        <a:pt x="30033" y="38942"/>
                        <a:pt x="38979" y="30643"/>
                        <a:pt x="38979" y="19790"/>
                      </a:cubicBezTo>
                      <a:cubicBezTo>
                        <a:pt x="38979" y="8938"/>
                        <a:pt x="30672" y="0"/>
                        <a:pt x="19809" y="0"/>
                      </a:cubicBezTo>
                      <a:cubicBezTo>
                        <a:pt x="8946" y="0"/>
                        <a:pt x="0" y="8299"/>
                        <a:pt x="0" y="19152"/>
                      </a:cubicBezTo>
                      <a:cubicBezTo>
                        <a:pt x="0" y="19152"/>
                        <a:pt x="0" y="19152"/>
                        <a:pt x="0" y="19790"/>
                      </a:cubicBezTo>
                      <a:cubicBezTo>
                        <a:pt x="0" y="30005"/>
                        <a:pt x="8946" y="38304"/>
                        <a:pt x="19170" y="38942"/>
                      </a:cubicBezTo>
                      <a:close/>
                      <a:moveTo>
                        <a:pt x="19170" y="12768"/>
                      </a:moveTo>
                      <a:cubicBezTo>
                        <a:pt x="23004" y="12768"/>
                        <a:pt x="26199" y="15322"/>
                        <a:pt x="26199" y="19152"/>
                      </a:cubicBezTo>
                      <a:cubicBezTo>
                        <a:pt x="26199" y="22982"/>
                        <a:pt x="23643" y="26174"/>
                        <a:pt x="19809" y="26174"/>
                      </a:cubicBezTo>
                      <a:cubicBezTo>
                        <a:pt x="15975" y="26174"/>
                        <a:pt x="12780" y="23621"/>
                        <a:pt x="12780" y="19790"/>
                      </a:cubicBezTo>
                      <a:cubicBezTo>
                        <a:pt x="12780" y="19790"/>
                        <a:pt x="12780" y="19790"/>
                        <a:pt x="12780" y="19152"/>
                      </a:cubicBezTo>
                      <a:cubicBezTo>
                        <a:pt x="12780" y="15960"/>
                        <a:pt x="15975" y="12768"/>
                        <a:pt x="19170" y="12768"/>
                      </a:cubicBezTo>
                      <a:close/>
                    </a:path>
                  </a:pathLst>
                </a:custGeom>
                <a:grpFill/>
                <a:ln w="6390" cap="flat">
                  <a:noFill/>
                  <a:prstDash val="solid"/>
                  <a:miter/>
                </a:ln>
              </p:spPr>
              <p:txBody>
                <a:bodyPr rtlCol="0" anchor="ctr"/>
                <a:lstStyle/>
                <a:p>
                  <a:endParaRPr lang="en-US"/>
                </a:p>
              </p:txBody>
            </p:sp>
            <p:sp>
              <p:nvSpPr>
                <p:cNvPr id="89" name="Graphic 4">
                  <a:extLst>
                    <a:ext uri="{FF2B5EF4-FFF2-40B4-BE49-F238E27FC236}">
                      <a16:creationId xmlns:a16="http://schemas.microsoft.com/office/drawing/2014/main" id="{55DB0A43-C6AF-45A5-B6FB-852F95F2541A}"/>
                    </a:ext>
                  </a:extLst>
                </p:cNvPr>
                <p:cNvSpPr/>
                <p:nvPr/>
              </p:nvSpPr>
              <p:spPr>
                <a:xfrm>
                  <a:off x="6902409" y="1083524"/>
                  <a:ext cx="63899" cy="140447"/>
                </a:xfrm>
                <a:custGeom>
                  <a:avLst/>
                  <a:gdLst>
                    <a:gd name="connsiteX0" fmla="*/ 57509 w 63899"/>
                    <a:gd name="connsiteY0" fmla="*/ 0 h 140447"/>
                    <a:gd name="connsiteX1" fmla="*/ 6390 w 63899"/>
                    <a:gd name="connsiteY1" fmla="*/ 0 h 140447"/>
                    <a:gd name="connsiteX2" fmla="*/ 0 w 63899"/>
                    <a:gd name="connsiteY2" fmla="*/ 6384 h 140447"/>
                    <a:gd name="connsiteX3" fmla="*/ 0 w 63899"/>
                    <a:gd name="connsiteY3" fmla="*/ 69585 h 140447"/>
                    <a:gd name="connsiteX4" fmla="*/ 6390 w 63899"/>
                    <a:gd name="connsiteY4" fmla="*/ 75969 h 140447"/>
                    <a:gd name="connsiteX5" fmla="*/ 13419 w 63899"/>
                    <a:gd name="connsiteY5" fmla="*/ 75969 h 140447"/>
                    <a:gd name="connsiteX6" fmla="*/ 13419 w 63899"/>
                    <a:gd name="connsiteY6" fmla="*/ 134064 h 140447"/>
                    <a:gd name="connsiteX7" fmla="*/ 19809 w 63899"/>
                    <a:gd name="connsiteY7" fmla="*/ 140448 h 140447"/>
                    <a:gd name="connsiteX8" fmla="*/ 26199 w 63899"/>
                    <a:gd name="connsiteY8" fmla="*/ 134064 h 140447"/>
                    <a:gd name="connsiteX9" fmla="*/ 26199 w 63899"/>
                    <a:gd name="connsiteY9" fmla="*/ 75969 h 140447"/>
                    <a:gd name="connsiteX10" fmla="*/ 39618 w 63899"/>
                    <a:gd name="connsiteY10" fmla="*/ 75969 h 140447"/>
                    <a:gd name="connsiteX11" fmla="*/ 39618 w 63899"/>
                    <a:gd name="connsiteY11" fmla="*/ 134064 h 140447"/>
                    <a:gd name="connsiteX12" fmla="*/ 46008 w 63899"/>
                    <a:gd name="connsiteY12" fmla="*/ 140448 h 140447"/>
                    <a:gd name="connsiteX13" fmla="*/ 52398 w 63899"/>
                    <a:gd name="connsiteY13" fmla="*/ 134064 h 140447"/>
                    <a:gd name="connsiteX14" fmla="*/ 52398 w 63899"/>
                    <a:gd name="connsiteY14" fmla="*/ 75969 h 140447"/>
                    <a:gd name="connsiteX15" fmla="*/ 57509 w 63899"/>
                    <a:gd name="connsiteY15" fmla="*/ 75969 h 140447"/>
                    <a:gd name="connsiteX16" fmla="*/ 63899 w 63899"/>
                    <a:gd name="connsiteY16" fmla="*/ 69585 h 140447"/>
                    <a:gd name="connsiteX17" fmla="*/ 63899 w 63899"/>
                    <a:gd name="connsiteY17" fmla="*/ 6384 h 140447"/>
                    <a:gd name="connsiteX18" fmla="*/ 57509 w 63899"/>
                    <a:gd name="connsiteY18" fmla="*/ 0 h 140447"/>
                    <a:gd name="connsiteX19" fmla="*/ 12780 w 63899"/>
                    <a:gd name="connsiteY19" fmla="*/ 12768 h 140447"/>
                    <a:gd name="connsiteX20" fmla="*/ 51119 w 63899"/>
                    <a:gd name="connsiteY20" fmla="*/ 12768 h 140447"/>
                    <a:gd name="connsiteX21" fmla="*/ 51119 w 63899"/>
                    <a:gd name="connsiteY21" fmla="*/ 63201 h 140447"/>
                    <a:gd name="connsiteX22" fmla="*/ 12780 w 63899"/>
                    <a:gd name="connsiteY22" fmla="*/ 63201 h 140447"/>
                    <a:gd name="connsiteX23" fmla="*/ 12780 w 63899"/>
                    <a:gd name="connsiteY23" fmla="*/ 12768 h 140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899" h="140447">
                      <a:moveTo>
                        <a:pt x="57509" y="0"/>
                      </a:moveTo>
                      <a:lnTo>
                        <a:pt x="6390" y="0"/>
                      </a:lnTo>
                      <a:cubicBezTo>
                        <a:pt x="2556" y="0"/>
                        <a:pt x="0" y="2554"/>
                        <a:pt x="0" y="6384"/>
                      </a:cubicBezTo>
                      <a:lnTo>
                        <a:pt x="0" y="69585"/>
                      </a:lnTo>
                      <a:cubicBezTo>
                        <a:pt x="0" y="73416"/>
                        <a:pt x="2556" y="75969"/>
                        <a:pt x="6390" y="75969"/>
                      </a:cubicBezTo>
                      <a:lnTo>
                        <a:pt x="13419" y="75969"/>
                      </a:lnTo>
                      <a:lnTo>
                        <a:pt x="13419" y="134064"/>
                      </a:lnTo>
                      <a:cubicBezTo>
                        <a:pt x="13419" y="137894"/>
                        <a:pt x="15975" y="140448"/>
                        <a:pt x="19809" y="140448"/>
                      </a:cubicBezTo>
                      <a:cubicBezTo>
                        <a:pt x="23643" y="140448"/>
                        <a:pt x="26199" y="137894"/>
                        <a:pt x="26199" y="134064"/>
                      </a:cubicBezTo>
                      <a:lnTo>
                        <a:pt x="26199" y="75969"/>
                      </a:lnTo>
                      <a:lnTo>
                        <a:pt x="39618" y="75969"/>
                      </a:lnTo>
                      <a:lnTo>
                        <a:pt x="39618" y="134064"/>
                      </a:lnTo>
                      <a:cubicBezTo>
                        <a:pt x="39618" y="137894"/>
                        <a:pt x="42174" y="140448"/>
                        <a:pt x="46008" y="140448"/>
                      </a:cubicBezTo>
                      <a:cubicBezTo>
                        <a:pt x="49842" y="140448"/>
                        <a:pt x="52398" y="137894"/>
                        <a:pt x="52398" y="134064"/>
                      </a:cubicBezTo>
                      <a:lnTo>
                        <a:pt x="52398" y="75969"/>
                      </a:lnTo>
                      <a:lnTo>
                        <a:pt x="57509" y="75969"/>
                      </a:lnTo>
                      <a:cubicBezTo>
                        <a:pt x="61344" y="75969"/>
                        <a:pt x="63899" y="73416"/>
                        <a:pt x="63899" y="69585"/>
                      </a:cubicBezTo>
                      <a:lnTo>
                        <a:pt x="63899" y="6384"/>
                      </a:lnTo>
                      <a:cubicBezTo>
                        <a:pt x="63899" y="3192"/>
                        <a:pt x="61344" y="0"/>
                        <a:pt x="57509" y="0"/>
                      </a:cubicBezTo>
                      <a:close/>
                      <a:moveTo>
                        <a:pt x="12780" y="12768"/>
                      </a:moveTo>
                      <a:lnTo>
                        <a:pt x="51119" y="12768"/>
                      </a:lnTo>
                      <a:lnTo>
                        <a:pt x="51119" y="63201"/>
                      </a:lnTo>
                      <a:lnTo>
                        <a:pt x="12780" y="63201"/>
                      </a:lnTo>
                      <a:lnTo>
                        <a:pt x="12780" y="12768"/>
                      </a:lnTo>
                      <a:close/>
                    </a:path>
                  </a:pathLst>
                </a:custGeom>
                <a:grpFill/>
                <a:ln w="6390" cap="flat">
                  <a:noFill/>
                  <a:prstDash val="solid"/>
                  <a:miter/>
                </a:ln>
              </p:spPr>
              <p:txBody>
                <a:bodyPr rtlCol="0" anchor="ctr"/>
                <a:lstStyle/>
                <a:p>
                  <a:endParaRPr lang="en-US"/>
                </a:p>
              </p:txBody>
            </p:sp>
          </p:grpSp>
        </p:grpSp>
      </p:grpSp>
      <p:grpSp>
        <p:nvGrpSpPr>
          <p:cNvPr id="35" name="Gruppieren 34">
            <a:extLst>
              <a:ext uri="{FF2B5EF4-FFF2-40B4-BE49-F238E27FC236}">
                <a16:creationId xmlns:a16="http://schemas.microsoft.com/office/drawing/2014/main" id="{CA1EF28F-6ED4-4A5B-8728-86CDBFBA1478}"/>
              </a:ext>
            </a:extLst>
          </p:cNvPr>
          <p:cNvGrpSpPr/>
          <p:nvPr/>
        </p:nvGrpSpPr>
        <p:grpSpPr>
          <a:xfrm>
            <a:off x="7197158" y="4890490"/>
            <a:ext cx="4524942" cy="853052"/>
            <a:chOff x="7197158" y="4890490"/>
            <a:chExt cx="4524942" cy="853052"/>
          </a:xfrm>
        </p:grpSpPr>
        <p:cxnSp>
          <p:nvCxnSpPr>
            <p:cNvPr id="107" name="Straight Connector 106">
              <a:extLst>
                <a:ext uri="{FF2B5EF4-FFF2-40B4-BE49-F238E27FC236}">
                  <a16:creationId xmlns:a16="http://schemas.microsoft.com/office/drawing/2014/main" id="{75AE1A4E-8A6F-44DA-B961-F34B6AD34812}"/>
                </a:ext>
              </a:extLst>
            </p:cNvPr>
            <p:cNvCxnSpPr>
              <a:cxnSpLocks/>
            </p:cNvCxnSpPr>
            <p:nvPr/>
          </p:nvCxnSpPr>
          <p:spPr>
            <a:xfrm>
              <a:off x="7307305" y="5250490"/>
              <a:ext cx="972000" cy="0"/>
            </a:xfrm>
            <a:prstGeom prst="line">
              <a:avLst/>
            </a:prstGeom>
            <a:noFill/>
            <a:ln w="22225" algn="ctr">
              <a:solidFill>
                <a:schemeClr val="tx1">
                  <a:lumMod val="50000"/>
                  <a:lumOff val="50000"/>
                </a:schemeClr>
              </a:solidFill>
              <a:prstDash val="sysDot"/>
              <a:miter lim="800000"/>
              <a:headEnd/>
              <a:tailEnd/>
            </a:ln>
          </p:spPr>
        </p:cxnSp>
        <p:sp>
          <p:nvSpPr>
            <p:cNvPr id="110" name="Rectangle 109">
              <a:extLst>
                <a:ext uri="{FF2B5EF4-FFF2-40B4-BE49-F238E27FC236}">
                  <a16:creationId xmlns:a16="http://schemas.microsoft.com/office/drawing/2014/main" id="{913259BE-7C1D-4B57-ABF0-AF5BCF44CE6C}"/>
                </a:ext>
              </a:extLst>
            </p:cNvPr>
            <p:cNvSpPr/>
            <p:nvPr/>
          </p:nvSpPr>
          <p:spPr>
            <a:xfrm>
              <a:off x="9022100" y="4985834"/>
              <a:ext cx="2700000" cy="757708"/>
            </a:xfrm>
            <a:prstGeom prst="rect">
              <a:avLst/>
            </a:prstGeom>
          </p:spPr>
          <p:txBody>
            <a:bodyPr wrap="square">
              <a:spAutoFit/>
            </a:bodyPr>
            <a:lstStyle/>
            <a:p>
              <a:pPr>
                <a:lnSpc>
                  <a:spcPct val="106000"/>
                </a:lnSpc>
                <a:spcAft>
                  <a:spcPts val="1600"/>
                </a:spcAft>
                <a:defRPr/>
              </a:pPr>
              <a:r>
                <a:rPr lang="en-GB" sz="1400" dirty="0">
                  <a:solidFill>
                    <a:prstClr val="white"/>
                  </a:solidFill>
                  <a:latin typeface="Verdana"/>
                </a:rPr>
                <a:t>Optimisation et </a:t>
              </a:r>
              <a:r>
                <a:rPr lang="en-GB" sz="1400" dirty="0" err="1">
                  <a:solidFill>
                    <a:prstClr val="white"/>
                  </a:solidFill>
                  <a:latin typeface="Verdana"/>
                </a:rPr>
                <a:t>numérisation</a:t>
              </a:r>
              <a:r>
                <a:rPr lang="en-GB" sz="1400" dirty="0">
                  <a:solidFill>
                    <a:prstClr val="white"/>
                  </a:solidFill>
                  <a:latin typeface="Verdana"/>
                </a:rPr>
                <a:t> des </a:t>
              </a:r>
              <a:r>
                <a:rPr lang="en-GB" sz="1400" dirty="0" err="1">
                  <a:solidFill>
                    <a:prstClr val="white"/>
                  </a:solidFill>
                  <a:latin typeface="Verdana"/>
                </a:rPr>
                <a:t>opérations</a:t>
              </a:r>
              <a:endParaRPr lang="en-GB" sz="1400" dirty="0">
                <a:solidFill>
                  <a:prstClr val="white"/>
                </a:solidFill>
                <a:latin typeface="Verdana"/>
              </a:endParaRPr>
            </a:p>
          </p:txBody>
        </p:sp>
        <p:sp>
          <p:nvSpPr>
            <p:cNvPr id="105" name="Oval 104">
              <a:extLst>
                <a:ext uri="{FF2B5EF4-FFF2-40B4-BE49-F238E27FC236}">
                  <a16:creationId xmlns:a16="http://schemas.microsoft.com/office/drawing/2014/main" id="{8087750D-4BF6-423D-BF74-E495BB829BFF}"/>
                </a:ext>
              </a:extLst>
            </p:cNvPr>
            <p:cNvSpPr/>
            <p:nvPr/>
          </p:nvSpPr>
          <p:spPr bwMode="gray">
            <a:xfrm>
              <a:off x="7197158" y="5212092"/>
              <a:ext cx="76797" cy="76797"/>
            </a:xfrm>
            <a:prstGeom prst="ellipse">
              <a:avLst/>
            </a:prstGeom>
            <a:solidFill>
              <a:srgbClr val="0097A9"/>
            </a:solidFill>
            <a:ln w="34925" algn="ctr">
              <a:solidFill>
                <a:srgbClr val="0097A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16" name="Gruppieren 15">
              <a:extLst>
                <a:ext uri="{FF2B5EF4-FFF2-40B4-BE49-F238E27FC236}">
                  <a16:creationId xmlns:a16="http://schemas.microsoft.com/office/drawing/2014/main" id="{DEF7CE92-6A88-4FD6-B8CF-D13240768C0B}"/>
                </a:ext>
              </a:extLst>
            </p:cNvPr>
            <p:cNvGrpSpPr/>
            <p:nvPr/>
          </p:nvGrpSpPr>
          <p:grpSpPr>
            <a:xfrm>
              <a:off x="8296740" y="4890490"/>
              <a:ext cx="720000" cy="720000"/>
              <a:chOff x="8137405" y="4455251"/>
              <a:chExt cx="635417" cy="635416"/>
            </a:xfrm>
          </p:grpSpPr>
          <p:sp>
            <p:nvSpPr>
              <p:cNvPr id="133" name="Oval 132">
                <a:extLst>
                  <a:ext uri="{FF2B5EF4-FFF2-40B4-BE49-F238E27FC236}">
                    <a16:creationId xmlns:a16="http://schemas.microsoft.com/office/drawing/2014/main" id="{7F650C0F-8B53-488E-A5D9-25A4776EEEBF}"/>
                  </a:ext>
                </a:extLst>
              </p:cNvPr>
              <p:cNvSpPr/>
              <p:nvPr/>
            </p:nvSpPr>
            <p:spPr bwMode="gray">
              <a:xfrm>
                <a:off x="8137405" y="4455251"/>
                <a:ext cx="635417" cy="635416"/>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24" name="Ellipse 123">
                <a:extLst>
                  <a:ext uri="{FF2B5EF4-FFF2-40B4-BE49-F238E27FC236}">
                    <a16:creationId xmlns:a16="http://schemas.microsoft.com/office/drawing/2014/main" id="{69D66FAC-A7DC-4703-864C-1E1257847A6E}"/>
                  </a:ext>
                </a:extLst>
              </p:cNvPr>
              <p:cNvSpPr/>
              <p:nvPr/>
            </p:nvSpPr>
            <p:spPr bwMode="gray">
              <a:xfrm>
                <a:off x="8185113" y="4502959"/>
                <a:ext cx="540000" cy="540000"/>
              </a:xfrm>
              <a:prstGeom prst="ellipse">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00" name="Graphic 4">
                <a:extLst>
                  <a:ext uri="{FF2B5EF4-FFF2-40B4-BE49-F238E27FC236}">
                    <a16:creationId xmlns:a16="http://schemas.microsoft.com/office/drawing/2014/main" id="{61E1A136-6971-44A8-94A8-4401BF2F1197}"/>
                  </a:ext>
                </a:extLst>
              </p:cNvPr>
              <p:cNvGrpSpPr>
                <a:grpSpLocks noChangeAspect="1"/>
              </p:cNvGrpSpPr>
              <p:nvPr/>
            </p:nvGrpSpPr>
            <p:grpSpPr>
              <a:xfrm>
                <a:off x="8273992" y="4594574"/>
                <a:ext cx="362242" cy="356770"/>
                <a:chOff x="2621152" y="1463621"/>
                <a:chExt cx="242817" cy="239149"/>
              </a:xfrm>
              <a:solidFill>
                <a:schemeClr val="bg1"/>
              </a:solidFill>
            </p:grpSpPr>
            <p:sp>
              <p:nvSpPr>
                <p:cNvPr id="104" name="Graphic 4">
                  <a:extLst>
                    <a:ext uri="{FF2B5EF4-FFF2-40B4-BE49-F238E27FC236}">
                      <a16:creationId xmlns:a16="http://schemas.microsoft.com/office/drawing/2014/main" id="{291585D4-3C4A-4177-B21E-BF9EDBB9BD9A}"/>
                    </a:ext>
                  </a:extLst>
                </p:cNvPr>
                <p:cNvSpPr/>
                <p:nvPr/>
              </p:nvSpPr>
              <p:spPr>
                <a:xfrm>
                  <a:off x="2621152" y="1569595"/>
                  <a:ext cx="136744" cy="133175"/>
                </a:xfrm>
                <a:custGeom>
                  <a:avLst/>
                  <a:gdLst>
                    <a:gd name="connsiteX0" fmla="*/ 127160 w 136744"/>
                    <a:gd name="connsiteY0" fmla="*/ 54014 h 133175"/>
                    <a:gd name="connsiteX1" fmla="*/ 122687 w 136744"/>
                    <a:gd name="connsiteY1" fmla="*/ 49545 h 133175"/>
                    <a:gd name="connsiteX2" fmla="*/ 123965 w 136744"/>
                    <a:gd name="connsiteY2" fmla="*/ 43161 h 133175"/>
                    <a:gd name="connsiteX3" fmla="*/ 123965 w 136744"/>
                    <a:gd name="connsiteY3" fmla="*/ 26563 h 133175"/>
                    <a:gd name="connsiteX4" fmla="*/ 107990 w 136744"/>
                    <a:gd name="connsiteY4" fmla="*/ 20817 h 133175"/>
                    <a:gd name="connsiteX5" fmla="*/ 102239 w 136744"/>
                    <a:gd name="connsiteY5" fmla="*/ 20179 h 133175"/>
                    <a:gd name="connsiteX6" fmla="*/ 99683 w 136744"/>
                    <a:gd name="connsiteY6" fmla="*/ 14433 h 133175"/>
                    <a:gd name="connsiteX7" fmla="*/ 90098 w 136744"/>
                    <a:gd name="connsiteY7" fmla="*/ 1027 h 133175"/>
                    <a:gd name="connsiteX8" fmla="*/ 74123 w 136744"/>
                    <a:gd name="connsiteY8" fmla="*/ 5496 h 133175"/>
                    <a:gd name="connsiteX9" fmla="*/ 69011 w 136744"/>
                    <a:gd name="connsiteY9" fmla="*/ 8688 h 133175"/>
                    <a:gd name="connsiteX10" fmla="*/ 63899 w 136744"/>
                    <a:gd name="connsiteY10" fmla="*/ 5496 h 133175"/>
                    <a:gd name="connsiteX11" fmla="*/ 47925 w 136744"/>
                    <a:gd name="connsiteY11" fmla="*/ 388 h 133175"/>
                    <a:gd name="connsiteX12" fmla="*/ 37701 w 136744"/>
                    <a:gd name="connsiteY12" fmla="*/ 13795 h 133175"/>
                    <a:gd name="connsiteX13" fmla="*/ 35145 w 136744"/>
                    <a:gd name="connsiteY13" fmla="*/ 19540 h 133175"/>
                    <a:gd name="connsiteX14" fmla="*/ 28755 w 136744"/>
                    <a:gd name="connsiteY14" fmla="*/ 20179 h 133175"/>
                    <a:gd name="connsiteX15" fmla="*/ 10863 w 136744"/>
                    <a:gd name="connsiteY15" fmla="*/ 30393 h 133175"/>
                    <a:gd name="connsiteX16" fmla="*/ 12780 w 136744"/>
                    <a:gd name="connsiteY16" fmla="*/ 42523 h 133175"/>
                    <a:gd name="connsiteX17" fmla="*/ 14058 w 136744"/>
                    <a:gd name="connsiteY17" fmla="*/ 48268 h 133175"/>
                    <a:gd name="connsiteX18" fmla="*/ 9585 w 136744"/>
                    <a:gd name="connsiteY18" fmla="*/ 52099 h 133175"/>
                    <a:gd name="connsiteX19" fmla="*/ 0 w 136744"/>
                    <a:gd name="connsiteY19" fmla="*/ 65505 h 133175"/>
                    <a:gd name="connsiteX20" fmla="*/ 9585 w 136744"/>
                    <a:gd name="connsiteY20" fmla="*/ 78911 h 133175"/>
                    <a:gd name="connsiteX21" fmla="*/ 14058 w 136744"/>
                    <a:gd name="connsiteY21" fmla="*/ 83380 h 133175"/>
                    <a:gd name="connsiteX22" fmla="*/ 12780 w 136744"/>
                    <a:gd name="connsiteY22" fmla="*/ 89764 h 133175"/>
                    <a:gd name="connsiteX23" fmla="*/ 12780 w 136744"/>
                    <a:gd name="connsiteY23" fmla="*/ 106362 h 133175"/>
                    <a:gd name="connsiteX24" fmla="*/ 28755 w 136744"/>
                    <a:gd name="connsiteY24" fmla="*/ 112108 h 133175"/>
                    <a:gd name="connsiteX25" fmla="*/ 34506 w 136744"/>
                    <a:gd name="connsiteY25" fmla="*/ 112746 h 133175"/>
                    <a:gd name="connsiteX26" fmla="*/ 37062 w 136744"/>
                    <a:gd name="connsiteY26" fmla="*/ 118492 h 133175"/>
                    <a:gd name="connsiteX27" fmla="*/ 46646 w 136744"/>
                    <a:gd name="connsiteY27" fmla="*/ 131898 h 133175"/>
                    <a:gd name="connsiteX28" fmla="*/ 62621 w 136744"/>
                    <a:gd name="connsiteY28" fmla="*/ 127430 h 133175"/>
                    <a:gd name="connsiteX29" fmla="*/ 67733 w 136744"/>
                    <a:gd name="connsiteY29" fmla="*/ 124238 h 133175"/>
                    <a:gd name="connsiteX30" fmla="*/ 72845 w 136744"/>
                    <a:gd name="connsiteY30" fmla="*/ 127430 h 133175"/>
                    <a:gd name="connsiteX31" fmla="*/ 85625 w 136744"/>
                    <a:gd name="connsiteY31" fmla="*/ 133175 h 133175"/>
                    <a:gd name="connsiteX32" fmla="*/ 89459 w 136744"/>
                    <a:gd name="connsiteY32" fmla="*/ 132537 h 133175"/>
                    <a:gd name="connsiteX33" fmla="*/ 99683 w 136744"/>
                    <a:gd name="connsiteY33" fmla="*/ 119130 h 133175"/>
                    <a:gd name="connsiteX34" fmla="*/ 102239 w 136744"/>
                    <a:gd name="connsiteY34" fmla="*/ 114023 h 133175"/>
                    <a:gd name="connsiteX35" fmla="*/ 108629 w 136744"/>
                    <a:gd name="connsiteY35" fmla="*/ 113385 h 133175"/>
                    <a:gd name="connsiteX36" fmla="*/ 126521 w 136744"/>
                    <a:gd name="connsiteY36" fmla="*/ 103170 h 133175"/>
                    <a:gd name="connsiteX37" fmla="*/ 124604 w 136744"/>
                    <a:gd name="connsiteY37" fmla="*/ 91041 h 133175"/>
                    <a:gd name="connsiteX38" fmla="*/ 123326 w 136744"/>
                    <a:gd name="connsiteY38" fmla="*/ 85295 h 133175"/>
                    <a:gd name="connsiteX39" fmla="*/ 127160 w 136744"/>
                    <a:gd name="connsiteY39" fmla="*/ 81465 h 133175"/>
                    <a:gd name="connsiteX40" fmla="*/ 136745 w 136744"/>
                    <a:gd name="connsiteY40" fmla="*/ 68058 h 133175"/>
                    <a:gd name="connsiteX41" fmla="*/ 127160 w 136744"/>
                    <a:gd name="connsiteY41" fmla="*/ 54014 h 133175"/>
                    <a:gd name="connsiteX42" fmla="*/ 119492 w 136744"/>
                    <a:gd name="connsiteY42" fmla="*/ 71250 h 133175"/>
                    <a:gd name="connsiteX43" fmla="*/ 110546 w 136744"/>
                    <a:gd name="connsiteY43" fmla="*/ 81465 h 133175"/>
                    <a:gd name="connsiteX44" fmla="*/ 111824 w 136744"/>
                    <a:gd name="connsiteY44" fmla="*/ 94871 h 133175"/>
                    <a:gd name="connsiteX45" fmla="*/ 113102 w 136744"/>
                    <a:gd name="connsiteY45" fmla="*/ 99978 h 133175"/>
                    <a:gd name="connsiteX46" fmla="*/ 107351 w 136744"/>
                    <a:gd name="connsiteY46" fmla="*/ 100617 h 133175"/>
                    <a:gd name="connsiteX47" fmla="*/ 93932 w 136744"/>
                    <a:gd name="connsiteY47" fmla="*/ 103809 h 133175"/>
                    <a:gd name="connsiteX48" fmla="*/ 86903 w 136744"/>
                    <a:gd name="connsiteY48" fmla="*/ 115300 h 133175"/>
                    <a:gd name="connsiteX49" fmla="*/ 84347 w 136744"/>
                    <a:gd name="connsiteY49" fmla="*/ 121046 h 133175"/>
                    <a:gd name="connsiteX50" fmla="*/ 79235 w 136744"/>
                    <a:gd name="connsiteY50" fmla="*/ 117854 h 133175"/>
                    <a:gd name="connsiteX51" fmla="*/ 67094 w 136744"/>
                    <a:gd name="connsiteY51" fmla="*/ 112108 h 133175"/>
                    <a:gd name="connsiteX52" fmla="*/ 67094 w 136744"/>
                    <a:gd name="connsiteY52" fmla="*/ 112108 h 133175"/>
                    <a:gd name="connsiteX53" fmla="*/ 54314 w 136744"/>
                    <a:gd name="connsiteY53" fmla="*/ 117215 h 133175"/>
                    <a:gd name="connsiteX54" fmla="*/ 49841 w 136744"/>
                    <a:gd name="connsiteY54" fmla="*/ 119769 h 133175"/>
                    <a:gd name="connsiteX55" fmla="*/ 47925 w 136744"/>
                    <a:gd name="connsiteY55" fmla="*/ 114662 h 133175"/>
                    <a:gd name="connsiteX56" fmla="*/ 40896 w 136744"/>
                    <a:gd name="connsiteY56" fmla="*/ 102532 h 133175"/>
                    <a:gd name="connsiteX57" fmla="*/ 27477 w 136744"/>
                    <a:gd name="connsiteY57" fmla="*/ 99340 h 133175"/>
                    <a:gd name="connsiteX58" fmla="*/ 21726 w 136744"/>
                    <a:gd name="connsiteY58" fmla="*/ 99340 h 133175"/>
                    <a:gd name="connsiteX59" fmla="*/ 23004 w 136744"/>
                    <a:gd name="connsiteY59" fmla="*/ 94233 h 133175"/>
                    <a:gd name="connsiteX60" fmla="*/ 15975 w 136744"/>
                    <a:gd name="connsiteY60" fmla="*/ 69974 h 133175"/>
                    <a:gd name="connsiteX61" fmla="*/ 15336 w 136744"/>
                    <a:gd name="connsiteY61" fmla="*/ 69335 h 133175"/>
                    <a:gd name="connsiteX62" fmla="*/ 11502 w 136744"/>
                    <a:gd name="connsiteY62" fmla="*/ 65505 h 133175"/>
                    <a:gd name="connsiteX63" fmla="*/ 15975 w 136744"/>
                    <a:gd name="connsiteY63" fmla="*/ 61674 h 133175"/>
                    <a:gd name="connsiteX64" fmla="*/ 24921 w 136744"/>
                    <a:gd name="connsiteY64" fmla="*/ 51460 h 133175"/>
                    <a:gd name="connsiteX65" fmla="*/ 23643 w 136744"/>
                    <a:gd name="connsiteY65" fmla="*/ 38054 h 133175"/>
                    <a:gd name="connsiteX66" fmla="*/ 22365 w 136744"/>
                    <a:gd name="connsiteY66" fmla="*/ 32308 h 133175"/>
                    <a:gd name="connsiteX67" fmla="*/ 28116 w 136744"/>
                    <a:gd name="connsiteY67" fmla="*/ 31670 h 133175"/>
                    <a:gd name="connsiteX68" fmla="*/ 41535 w 136744"/>
                    <a:gd name="connsiteY68" fmla="*/ 29116 h 133175"/>
                    <a:gd name="connsiteX69" fmla="*/ 48563 w 136744"/>
                    <a:gd name="connsiteY69" fmla="*/ 17625 h 133175"/>
                    <a:gd name="connsiteX70" fmla="*/ 51119 w 136744"/>
                    <a:gd name="connsiteY70" fmla="*/ 11879 h 133175"/>
                    <a:gd name="connsiteX71" fmla="*/ 56231 w 136744"/>
                    <a:gd name="connsiteY71" fmla="*/ 15071 h 133175"/>
                    <a:gd name="connsiteX72" fmla="*/ 68372 w 136744"/>
                    <a:gd name="connsiteY72" fmla="*/ 20817 h 133175"/>
                    <a:gd name="connsiteX73" fmla="*/ 81152 w 136744"/>
                    <a:gd name="connsiteY73" fmla="*/ 15710 h 133175"/>
                    <a:gd name="connsiteX74" fmla="*/ 85625 w 136744"/>
                    <a:gd name="connsiteY74" fmla="*/ 13156 h 133175"/>
                    <a:gd name="connsiteX75" fmla="*/ 87542 w 136744"/>
                    <a:gd name="connsiteY75" fmla="*/ 18263 h 133175"/>
                    <a:gd name="connsiteX76" fmla="*/ 94571 w 136744"/>
                    <a:gd name="connsiteY76" fmla="*/ 30393 h 133175"/>
                    <a:gd name="connsiteX77" fmla="*/ 107990 w 136744"/>
                    <a:gd name="connsiteY77" fmla="*/ 33585 h 133175"/>
                    <a:gd name="connsiteX78" fmla="*/ 113741 w 136744"/>
                    <a:gd name="connsiteY78" fmla="*/ 34223 h 133175"/>
                    <a:gd name="connsiteX79" fmla="*/ 112463 w 136744"/>
                    <a:gd name="connsiteY79" fmla="*/ 39331 h 133175"/>
                    <a:gd name="connsiteX80" fmla="*/ 111185 w 136744"/>
                    <a:gd name="connsiteY80" fmla="*/ 53375 h 133175"/>
                    <a:gd name="connsiteX81" fmla="*/ 120131 w 136744"/>
                    <a:gd name="connsiteY81" fmla="*/ 64228 h 133175"/>
                    <a:gd name="connsiteX82" fmla="*/ 123965 w 136744"/>
                    <a:gd name="connsiteY82" fmla="*/ 68058 h 133175"/>
                    <a:gd name="connsiteX83" fmla="*/ 119492 w 136744"/>
                    <a:gd name="connsiteY83" fmla="*/ 71250 h 13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36744" h="133175">
                      <a:moveTo>
                        <a:pt x="127160" y="54014"/>
                      </a:moveTo>
                      <a:cubicBezTo>
                        <a:pt x="125243" y="52737"/>
                        <a:pt x="123965" y="51460"/>
                        <a:pt x="122687" y="49545"/>
                      </a:cubicBezTo>
                      <a:cubicBezTo>
                        <a:pt x="122687" y="47630"/>
                        <a:pt x="123326" y="45076"/>
                        <a:pt x="123965" y="43161"/>
                      </a:cubicBezTo>
                      <a:cubicBezTo>
                        <a:pt x="126521" y="38054"/>
                        <a:pt x="126521" y="31670"/>
                        <a:pt x="123965" y="26563"/>
                      </a:cubicBezTo>
                      <a:cubicBezTo>
                        <a:pt x="120131" y="22094"/>
                        <a:pt x="113741" y="20179"/>
                        <a:pt x="107990" y="20817"/>
                      </a:cubicBezTo>
                      <a:cubicBezTo>
                        <a:pt x="106073" y="20817"/>
                        <a:pt x="104156" y="20817"/>
                        <a:pt x="102239" y="20179"/>
                      </a:cubicBezTo>
                      <a:cubicBezTo>
                        <a:pt x="100961" y="18263"/>
                        <a:pt x="100322" y="16348"/>
                        <a:pt x="99683" y="14433"/>
                      </a:cubicBezTo>
                      <a:cubicBezTo>
                        <a:pt x="97766" y="9326"/>
                        <a:pt x="95849" y="2942"/>
                        <a:pt x="90098" y="1027"/>
                      </a:cubicBezTo>
                      <a:cubicBezTo>
                        <a:pt x="84347" y="-250"/>
                        <a:pt x="78596" y="1665"/>
                        <a:pt x="74123" y="5496"/>
                      </a:cubicBezTo>
                      <a:cubicBezTo>
                        <a:pt x="72206" y="6772"/>
                        <a:pt x="70928" y="8049"/>
                        <a:pt x="69011" y="8688"/>
                      </a:cubicBezTo>
                      <a:cubicBezTo>
                        <a:pt x="67094" y="8049"/>
                        <a:pt x="65177" y="6772"/>
                        <a:pt x="63899" y="5496"/>
                      </a:cubicBezTo>
                      <a:cubicBezTo>
                        <a:pt x="59426" y="1027"/>
                        <a:pt x="53675" y="-888"/>
                        <a:pt x="47925" y="388"/>
                      </a:cubicBezTo>
                      <a:cubicBezTo>
                        <a:pt x="41535" y="2304"/>
                        <a:pt x="39617" y="8688"/>
                        <a:pt x="37701" y="13795"/>
                      </a:cubicBezTo>
                      <a:cubicBezTo>
                        <a:pt x="37062" y="15710"/>
                        <a:pt x="36423" y="17625"/>
                        <a:pt x="35145" y="19540"/>
                      </a:cubicBezTo>
                      <a:cubicBezTo>
                        <a:pt x="33228" y="20179"/>
                        <a:pt x="30672" y="20179"/>
                        <a:pt x="28755" y="20179"/>
                      </a:cubicBezTo>
                      <a:cubicBezTo>
                        <a:pt x="21087" y="17625"/>
                        <a:pt x="12780" y="22094"/>
                        <a:pt x="10863" y="30393"/>
                      </a:cubicBezTo>
                      <a:cubicBezTo>
                        <a:pt x="9585" y="34223"/>
                        <a:pt x="10224" y="38692"/>
                        <a:pt x="12780" y="42523"/>
                      </a:cubicBezTo>
                      <a:cubicBezTo>
                        <a:pt x="13419" y="44438"/>
                        <a:pt x="14058" y="46353"/>
                        <a:pt x="14058" y="48268"/>
                      </a:cubicBezTo>
                      <a:cubicBezTo>
                        <a:pt x="12780" y="49545"/>
                        <a:pt x="10863" y="51460"/>
                        <a:pt x="9585" y="52099"/>
                      </a:cubicBezTo>
                      <a:cubicBezTo>
                        <a:pt x="5112" y="55290"/>
                        <a:pt x="0" y="59121"/>
                        <a:pt x="0" y="65505"/>
                      </a:cubicBezTo>
                      <a:cubicBezTo>
                        <a:pt x="0" y="71889"/>
                        <a:pt x="5112" y="75719"/>
                        <a:pt x="9585" y="78911"/>
                      </a:cubicBezTo>
                      <a:cubicBezTo>
                        <a:pt x="11502" y="80188"/>
                        <a:pt x="12780" y="81465"/>
                        <a:pt x="14058" y="83380"/>
                      </a:cubicBezTo>
                      <a:cubicBezTo>
                        <a:pt x="14058" y="85295"/>
                        <a:pt x="13419" y="87849"/>
                        <a:pt x="12780" y="89764"/>
                      </a:cubicBezTo>
                      <a:cubicBezTo>
                        <a:pt x="10224" y="94871"/>
                        <a:pt x="10224" y="101255"/>
                        <a:pt x="12780" y="106362"/>
                      </a:cubicBezTo>
                      <a:cubicBezTo>
                        <a:pt x="16614" y="110831"/>
                        <a:pt x="23004" y="112746"/>
                        <a:pt x="28755" y="112108"/>
                      </a:cubicBezTo>
                      <a:cubicBezTo>
                        <a:pt x="30672" y="112108"/>
                        <a:pt x="32589" y="112108"/>
                        <a:pt x="34506" y="112746"/>
                      </a:cubicBezTo>
                      <a:cubicBezTo>
                        <a:pt x="35783" y="114662"/>
                        <a:pt x="36423" y="116577"/>
                        <a:pt x="37062" y="118492"/>
                      </a:cubicBezTo>
                      <a:cubicBezTo>
                        <a:pt x="38978" y="123599"/>
                        <a:pt x="40896" y="129983"/>
                        <a:pt x="46646" y="131898"/>
                      </a:cubicBezTo>
                      <a:cubicBezTo>
                        <a:pt x="52397" y="133175"/>
                        <a:pt x="58148" y="131260"/>
                        <a:pt x="62621" y="127430"/>
                      </a:cubicBezTo>
                      <a:cubicBezTo>
                        <a:pt x="64538" y="126153"/>
                        <a:pt x="65816" y="124876"/>
                        <a:pt x="67733" y="124238"/>
                      </a:cubicBezTo>
                      <a:cubicBezTo>
                        <a:pt x="69650" y="124876"/>
                        <a:pt x="71567" y="126153"/>
                        <a:pt x="72845" y="127430"/>
                      </a:cubicBezTo>
                      <a:cubicBezTo>
                        <a:pt x="76679" y="130622"/>
                        <a:pt x="81152" y="132537"/>
                        <a:pt x="85625" y="133175"/>
                      </a:cubicBezTo>
                      <a:cubicBezTo>
                        <a:pt x="86903" y="133175"/>
                        <a:pt x="88181" y="133175"/>
                        <a:pt x="89459" y="132537"/>
                      </a:cubicBezTo>
                      <a:cubicBezTo>
                        <a:pt x="95849" y="130622"/>
                        <a:pt x="97766" y="124238"/>
                        <a:pt x="99683" y="119130"/>
                      </a:cubicBezTo>
                      <a:cubicBezTo>
                        <a:pt x="100322" y="117215"/>
                        <a:pt x="100961" y="115300"/>
                        <a:pt x="102239" y="114023"/>
                      </a:cubicBezTo>
                      <a:cubicBezTo>
                        <a:pt x="104156" y="113385"/>
                        <a:pt x="106712" y="113385"/>
                        <a:pt x="108629" y="113385"/>
                      </a:cubicBezTo>
                      <a:cubicBezTo>
                        <a:pt x="116297" y="115938"/>
                        <a:pt x="124604" y="111470"/>
                        <a:pt x="126521" y="103170"/>
                      </a:cubicBezTo>
                      <a:cubicBezTo>
                        <a:pt x="127799" y="99340"/>
                        <a:pt x="127160" y="94871"/>
                        <a:pt x="124604" y="91041"/>
                      </a:cubicBezTo>
                      <a:cubicBezTo>
                        <a:pt x="123965" y="89126"/>
                        <a:pt x="123326" y="87210"/>
                        <a:pt x="123326" y="85295"/>
                      </a:cubicBezTo>
                      <a:cubicBezTo>
                        <a:pt x="124604" y="84018"/>
                        <a:pt x="125882" y="82742"/>
                        <a:pt x="127160" y="81465"/>
                      </a:cubicBezTo>
                      <a:cubicBezTo>
                        <a:pt x="131633" y="78273"/>
                        <a:pt x="136745" y="74442"/>
                        <a:pt x="136745" y="68058"/>
                      </a:cubicBezTo>
                      <a:cubicBezTo>
                        <a:pt x="136745" y="61674"/>
                        <a:pt x="131633" y="57206"/>
                        <a:pt x="127160" y="54014"/>
                      </a:cubicBezTo>
                      <a:close/>
                      <a:moveTo>
                        <a:pt x="119492" y="71250"/>
                      </a:moveTo>
                      <a:cubicBezTo>
                        <a:pt x="115658" y="73804"/>
                        <a:pt x="112463" y="76996"/>
                        <a:pt x="110546" y="81465"/>
                      </a:cubicBezTo>
                      <a:cubicBezTo>
                        <a:pt x="109268" y="85934"/>
                        <a:pt x="109907" y="91041"/>
                        <a:pt x="111824" y="94871"/>
                      </a:cubicBezTo>
                      <a:cubicBezTo>
                        <a:pt x="112463" y="96786"/>
                        <a:pt x="112463" y="98702"/>
                        <a:pt x="113102" y="99978"/>
                      </a:cubicBezTo>
                      <a:cubicBezTo>
                        <a:pt x="111185" y="99978"/>
                        <a:pt x="109268" y="100617"/>
                        <a:pt x="107351" y="100617"/>
                      </a:cubicBezTo>
                      <a:cubicBezTo>
                        <a:pt x="102878" y="99978"/>
                        <a:pt x="97766" y="101255"/>
                        <a:pt x="93932" y="103809"/>
                      </a:cubicBezTo>
                      <a:cubicBezTo>
                        <a:pt x="90737" y="107001"/>
                        <a:pt x="88181" y="110831"/>
                        <a:pt x="86903" y="115300"/>
                      </a:cubicBezTo>
                      <a:cubicBezTo>
                        <a:pt x="86264" y="117215"/>
                        <a:pt x="85625" y="119130"/>
                        <a:pt x="84347" y="121046"/>
                      </a:cubicBezTo>
                      <a:cubicBezTo>
                        <a:pt x="82430" y="120407"/>
                        <a:pt x="81152" y="119130"/>
                        <a:pt x="79235" y="117854"/>
                      </a:cubicBezTo>
                      <a:cubicBezTo>
                        <a:pt x="76040" y="114662"/>
                        <a:pt x="71567" y="112746"/>
                        <a:pt x="67094" y="112108"/>
                      </a:cubicBezTo>
                      <a:lnTo>
                        <a:pt x="67094" y="112108"/>
                      </a:lnTo>
                      <a:cubicBezTo>
                        <a:pt x="62621" y="112746"/>
                        <a:pt x="58148" y="114662"/>
                        <a:pt x="54314" y="117215"/>
                      </a:cubicBezTo>
                      <a:cubicBezTo>
                        <a:pt x="53036" y="118492"/>
                        <a:pt x="51119" y="119130"/>
                        <a:pt x="49841" y="119769"/>
                      </a:cubicBezTo>
                      <a:cubicBezTo>
                        <a:pt x="49202" y="117854"/>
                        <a:pt x="48563" y="116577"/>
                        <a:pt x="47925" y="114662"/>
                      </a:cubicBezTo>
                      <a:cubicBezTo>
                        <a:pt x="46646" y="110193"/>
                        <a:pt x="44730" y="105724"/>
                        <a:pt x="40896" y="102532"/>
                      </a:cubicBezTo>
                      <a:cubicBezTo>
                        <a:pt x="37062" y="99978"/>
                        <a:pt x="32589" y="99340"/>
                        <a:pt x="27477" y="99340"/>
                      </a:cubicBezTo>
                      <a:cubicBezTo>
                        <a:pt x="25560" y="99340"/>
                        <a:pt x="23004" y="99340"/>
                        <a:pt x="21726" y="99340"/>
                      </a:cubicBezTo>
                      <a:cubicBezTo>
                        <a:pt x="22365" y="97425"/>
                        <a:pt x="22365" y="95510"/>
                        <a:pt x="23004" y="94233"/>
                      </a:cubicBezTo>
                      <a:cubicBezTo>
                        <a:pt x="27477" y="85934"/>
                        <a:pt x="24921" y="75081"/>
                        <a:pt x="15975" y="69974"/>
                      </a:cubicBezTo>
                      <a:cubicBezTo>
                        <a:pt x="15975" y="69974"/>
                        <a:pt x="15336" y="69974"/>
                        <a:pt x="15336" y="69335"/>
                      </a:cubicBezTo>
                      <a:cubicBezTo>
                        <a:pt x="14058" y="68058"/>
                        <a:pt x="12780" y="66782"/>
                        <a:pt x="11502" y="65505"/>
                      </a:cubicBezTo>
                      <a:cubicBezTo>
                        <a:pt x="12780" y="64228"/>
                        <a:pt x="14058" y="62951"/>
                        <a:pt x="15975" y="61674"/>
                      </a:cubicBezTo>
                      <a:cubicBezTo>
                        <a:pt x="19809" y="59121"/>
                        <a:pt x="23004" y="55929"/>
                        <a:pt x="24921" y="51460"/>
                      </a:cubicBezTo>
                      <a:cubicBezTo>
                        <a:pt x="26199" y="46991"/>
                        <a:pt x="25560" y="41884"/>
                        <a:pt x="23643" y="38054"/>
                      </a:cubicBezTo>
                      <a:cubicBezTo>
                        <a:pt x="23004" y="36139"/>
                        <a:pt x="22365" y="34223"/>
                        <a:pt x="22365" y="32308"/>
                      </a:cubicBezTo>
                      <a:cubicBezTo>
                        <a:pt x="24282" y="32308"/>
                        <a:pt x="26199" y="32308"/>
                        <a:pt x="28116" y="31670"/>
                      </a:cubicBezTo>
                      <a:cubicBezTo>
                        <a:pt x="32589" y="32308"/>
                        <a:pt x="37701" y="31031"/>
                        <a:pt x="41535" y="29116"/>
                      </a:cubicBezTo>
                      <a:cubicBezTo>
                        <a:pt x="44730" y="25924"/>
                        <a:pt x="47285" y="22094"/>
                        <a:pt x="48563" y="17625"/>
                      </a:cubicBezTo>
                      <a:cubicBezTo>
                        <a:pt x="49202" y="15710"/>
                        <a:pt x="49841" y="13795"/>
                        <a:pt x="51119" y="11879"/>
                      </a:cubicBezTo>
                      <a:cubicBezTo>
                        <a:pt x="53036" y="12518"/>
                        <a:pt x="54314" y="13795"/>
                        <a:pt x="56231" y="15071"/>
                      </a:cubicBezTo>
                      <a:cubicBezTo>
                        <a:pt x="59426" y="18263"/>
                        <a:pt x="63899" y="20179"/>
                        <a:pt x="68372" y="20817"/>
                      </a:cubicBezTo>
                      <a:cubicBezTo>
                        <a:pt x="72845" y="20179"/>
                        <a:pt x="77318" y="18263"/>
                        <a:pt x="81152" y="15710"/>
                      </a:cubicBezTo>
                      <a:cubicBezTo>
                        <a:pt x="82430" y="14433"/>
                        <a:pt x="84347" y="13795"/>
                        <a:pt x="85625" y="13156"/>
                      </a:cubicBezTo>
                      <a:cubicBezTo>
                        <a:pt x="86264" y="15071"/>
                        <a:pt x="86903" y="16348"/>
                        <a:pt x="87542" y="18263"/>
                      </a:cubicBezTo>
                      <a:cubicBezTo>
                        <a:pt x="88820" y="22732"/>
                        <a:pt x="90737" y="27201"/>
                        <a:pt x="94571" y="30393"/>
                      </a:cubicBezTo>
                      <a:cubicBezTo>
                        <a:pt x="98405" y="32947"/>
                        <a:pt x="102878" y="33585"/>
                        <a:pt x="107990" y="33585"/>
                      </a:cubicBezTo>
                      <a:cubicBezTo>
                        <a:pt x="109907" y="33585"/>
                        <a:pt x="112463" y="33585"/>
                        <a:pt x="113741" y="34223"/>
                      </a:cubicBezTo>
                      <a:cubicBezTo>
                        <a:pt x="113102" y="36139"/>
                        <a:pt x="113102" y="38054"/>
                        <a:pt x="112463" y="39331"/>
                      </a:cubicBezTo>
                      <a:cubicBezTo>
                        <a:pt x="110546" y="43799"/>
                        <a:pt x="109907" y="48268"/>
                        <a:pt x="111185" y="53375"/>
                      </a:cubicBezTo>
                      <a:cubicBezTo>
                        <a:pt x="113102" y="57844"/>
                        <a:pt x="116297" y="61674"/>
                        <a:pt x="120131" y="64228"/>
                      </a:cubicBezTo>
                      <a:cubicBezTo>
                        <a:pt x="121409" y="65505"/>
                        <a:pt x="123326" y="66782"/>
                        <a:pt x="123965" y="68058"/>
                      </a:cubicBezTo>
                      <a:cubicBezTo>
                        <a:pt x="122048" y="68697"/>
                        <a:pt x="120770" y="69974"/>
                        <a:pt x="119492" y="71250"/>
                      </a:cubicBezTo>
                      <a:close/>
                    </a:path>
                  </a:pathLst>
                </a:custGeom>
                <a:grpFill/>
                <a:ln w="6390" cap="flat">
                  <a:noFill/>
                  <a:prstDash val="solid"/>
                  <a:miter/>
                </a:ln>
              </p:spPr>
              <p:txBody>
                <a:bodyPr rtlCol="0" anchor="ctr"/>
                <a:lstStyle/>
                <a:p>
                  <a:endParaRPr lang="en-US"/>
                </a:p>
              </p:txBody>
            </p:sp>
            <p:sp>
              <p:nvSpPr>
                <p:cNvPr id="108" name="Graphic 4">
                  <a:extLst>
                    <a:ext uri="{FF2B5EF4-FFF2-40B4-BE49-F238E27FC236}">
                      <a16:creationId xmlns:a16="http://schemas.microsoft.com/office/drawing/2014/main" id="{43D67E8F-8E21-4564-9362-E90C5126A82C}"/>
                    </a:ext>
                  </a:extLst>
                </p:cNvPr>
                <p:cNvSpPr/>
                <p:nvPr/>
              </p:nvSpPr>
              <p:spPr>
                <a:xfrm>
                  <a:off x="2662886" y="1611148"/>
                  <a:ext cx="50682" cy="50765"/>
                </a:xfrm>
                <a:custGeom>
                  <a:avLst/>
                  <a:gdLst>
                    <a:gd name="connsiteX0" fmla="*/ 37501 w 50682"/>
                    <a:gd name="connsiteY0" fmla="*/ 2885 h 50765"/>
                    <a:gd name="connsiteX1" fmla="*/ 2995 w 50682"/>
                    <a:gd name="connsiteY1" fmla="*/ 13738 h 50765"/>
                    <a:gd name="connsiteX2" fmla="*/ 1078 w 50682"/>
                    <a:gd name="connsiteY2" fmla="*/ 32890 h 50765"/>
                    <a:gd name="connsiteX3" fmla="*/ 25360 w 50682"/>
                    <a:gd name="connsiteY3" fmla="*/ 50765 h 50765"/>
                    <a:gd name="connsiteX4" fmla="*/ 33028 w 50682"/>
                    <a:gd name="connsiteY4" fmla="*/ 49488 h 50765"/>
                    <a:gd name="connsiteX5" fmla="*/ 49642 w 50682"/>
                    <a:gd name="connsiteY5" fmla="*/ 17568 h 50765"/>
                    <a:gd name="connsiteX6" fmla="*/ 37501 w 50682"/>
                    <a:gd name="connsiteY6" fmla="*/ 2885 h 50765"/>
                    <a:gd name="connsiteX7" fmla="*/ 37501 w 50682"/>
                    <a:gd name="connsiteY7" fmla="*/ 2885 h 50765"/>
                    <a:gd name="connsiteX8" fmla="*/ 29194 w 50682"/>
                    <a:gd name="connsiteY8" fmla="*/ 37359 h 50765"/>
                    <a:gd name="connsiteX9" fmla="*/ 13219 w 50682"/>
                    <a:gd name="connsiteY9" fmla="*/ 29059 h 50765"/>
                    <a:gd name="connsiteX10" fmla="*/ 22165 w 50682"/>
                    <a:gd name="connsiteY10" fmla="*/ 13099 h 50765"/>
                    <a:gd name="connsiteX11" fmla="*/ 25360 w 50682"/>
                    <a:gd name="connsiteY11" fmla="*/ 12461 h 50765"/>
                    <a:gd name="connsiteX12" fmla="*/ 37501 w 50682"/>
                    <a:gd name="connsiteY12" fmla="*/ 21399 h 50765"/>
                    <a:gd name="connsiteX13" fmla="*/ 29194 w 50682"/>
                    <a:gd name="connsiteY13" fmla="*/ 37359 h 50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682" h="50765">
                      <a:moveTo>
                        <a:pt x="37501" y="2885"/>
                      </a:moveTo>
                      <a:cubicBezTo>
                        <a:pt x="25360" y="-3499"/>
                        <a:pt x="10024" y="970"/>
                        <a:pt x="2995" y="13738"/>
                      </a:cubicBezTo>
                      <a:cubicBezTo>
                        <a:pt x="-200" y="19483"/>
                        <a:pt x="-839" y="26506"/>
                        <a:pt x="1078" y="32890"/>
                      </a:cubicBezTo>
                      <a:cubicBezTo>
                        <a:pt x="4273" y="43743"/>
                        <a:pt x="14497" y="50765"/>
                        <a:pt x="25360" y="50765"/>
                      </a:cubicBezTo>
                      <a:cubicBezTo>
                        <a:pt x="27916" y="50765"/>
                        <a:pt x="30472" y="50127"/>
                        <a:pt x="33028" y="49488"/>
                      </a:cubicBezTo>
                      <a:cubicBezTo>
                        <a:pt x="46447" y="45019"/>
                        <a:pt x="53476" y="30975"/>
                        <a:pt x="49642" y="17568"/>
                      </a:cubicBezTo>
                      <a:cubicBezTo>
                        <a:pt x="47725" y="10546"/>
                        <a:pt x="43252" y="5439"/>
                        <a:pt x="37501" y="2885"/>
                      </a:cubicBezTo>
                      <a:lnTo>
                        <a:pt x="37501" y="2885"/>
                      </a:lnTo>
                      <a:close/>
                      <a:moveTo>
                        <a:pt x="29194" y="37359"/>
                      </a:moveTo>
                      <a:cubicBezTo>
                        <a:pt x="22804" y="39274"/>
                        <a:pt x="15775" y="35443"/>
                        <a:pt x="13219" y="29059"/>
                      </a:cubicBezTo>
                      <a:cubicBezTo>
                        <a:pt x="11302" y="22037"/>
                        <a:pt x="15136" y="15015"/>
                        <a:pt x="22165" y="13099"/>
                      </a:cubicBezTo>
                      <a:cubicBezTo>
                        <a:pt x="23443" y="12461"/>
                        <a:pt x="24721" y="12461"/>
                        <a:pt x="25360" y="12461"/>
                      </a:cubicBezTo>
                      <a:cubicBezTo>
                        <a:pt x="31111" y="12461"/>
                        <a:pt x="35584" y="16291"/>
                        <a:pt x="37501" y="21399"/>
                      </a:cubicBezTo>
                      <a:cubicBezTo>
                        <a:pt x="39418" y="27783"/>
                        <a:pt x="36223" y="34805"/>
                        <a:pt x="29194" y="37359"/>
                      </a:cubicBezTo>
                      <a:close/>
                    </a:path>
                  </a:pathLst>
                </a:custGeom>
                <a:grpFill/>
                <a:ln w="6390" cap="flat">
                  <a:noFill/>
                  <a:prstDash val="solid"/>
                  <a:miter/>
                </a:ln>
              </p:spPr>
              <p:txBody>
                <a:bodyPr rtlCol="0" anchor="ctr"/>
                <a:lstStyle/>
                <a:p>
                  <a:endParaRPr lang="en-US"/>
                </a:p>
              </p:txBody>
            </p:sp>
            <p:sp>
              <p:nvSpPr>
                <p:cNvPr id="109" name="Graphic 4">
                  <a:extLst>
                    <a:ext uri="{FF2B5EF4-FFF2-40B4-BE49-F238E27FC236}">
                      <a16:creationId xmlns:a16="http://schemas.microsoft.com/office/drawing/2014/main" id="{5D589040-1C86-4BEA-9A23-3FFF2D9692BD}"/>
                    </a:ext>
                  </a:extLst>
                </p:cNvPr>
                <p:cNvSpPr/>
                <p:nvPr/>
              </p:nvSpPr>
              <p:spPr>
                <a:xfrm>
                  <a:off x="2725947" y="1463621"/>
                  <a:ext cx="138022" cy="133175"/>
                </a:xfrm>
                <a:custGeom>
                  <a:avLst/>
                  <a:gdLst>
                    <a:gd name="connsiteX0" fmla="*/ 128438 w 138022"/>
                    <a:gd name="connsiteY0" fmla="*/ 54014 h 133175"/>
                    <a:gd name="connsiteX1" fmla="*/ 123326 w 138022"/>
                    <a:gd name="connsiteY1" fmla="*/ 49545 h 133175"/>
                    <a:gd name="connsiteX2" fmla="*/ 124604 w 138022"/>
                    <a:gd name="connsiteY2" fmla="*/ 43161 h 133175"/>
                    <a:gd name="connsiteX3" fmla="*/ 120770 w 138022"/>
                    <a:gd name="connsiteY3" fmla="*/ 22732 h 133175"/>
                    <a:gd name="connsiteX4" fmla="*/ 108629 w 138022"/>
                    <a:gd name="connsiteY4" fmla="*/ 20817 h 133175"/>
                    <a:gd name="connsiteX5" fmla="*/ 102878 w 138022"/>
                    <a:gd name="connsiteY5" fmla="*/ 20179 h 133175"/>
                    <a:gd name="connsiteX6" fmla="*/ 100322 w 138022"/>
                    <a:gd name="connsiteY6" fmla="*/ 14433 h 133175"/>
                    <a:gd name="connsiteX7" fmla="*/ 90737 w 138022"/>
                    <a:gd name="connsiteY7" fmla="*/ 1027 h 133175"/>
                    <a:gd name="connsiteX8" fmla="*/ 74762 w 138022"/>
                    <a:gd name="connsiteY8" fmla="*/ 5495 h 133175"/>
                    <a:gd name="connsiteX9" fmla="*/ 66455 w 138022"/>
                    <a:gd name="connsiteY9" fmla="*/ 8049 h 133175"/>
                    <a:gd name="connsiteX10" fmla="*/ 63899 w 138022"/>
                    <a:gd name="connsiteY10" fmla="*/ 5495 h 133175"/>
                    <a:gd name="connsiteX11" fmla="*/ 47925 w 138022"/>
                    <a:gd name="connsiteY11" fmla="*/ 388 h 133175"/>
                    <a:gd name="connsiteX12" fmla="*/ 37701 w 138022"/>
                    <a:gd name="connsiteY12" fmla="*/ 13795 h 133175"/>
                    <a:gd name="connsiteX13" fmla="*/ 35145 w 138022"/>
                    <a:gd name="connsiteY13" fmla="*/ 19540 h 133175"/>
                    <a:gd name="connsiteX14" fmla="*/ 28755 w 138022"/>
                    <a:gd name="connsiteY14" fmla="*/ 20179 h 133175"/>
                    <a:gd name="connsiteX15" fmla="*/ 10863 w 138022"/>
                    <a:gd name="connsiteY15" fmla="*/ 30393 h 133175"/>
                    <a:gd name="connsiteX16" fmla="*/ 12780 w 138022"/>
                    <a:gd name="connsiteY16" fmla="*/ 42523 h 133175"/>
                    <a:gd name="connsiteX17" fmla="*/ 14058 w 138022"/>
                    <a:gd name="connsiteY17" fmla="*/ 48268 h 133175"/>
                    <a:gd name="connsiteX18" fmla="*/ 9585 w 138022"/>
                    <a:gd name="connsiteY18" fmla="*/ 52099 h 133175"/>
                    <a:gd name="connsiteX19" fmla="*/ 0 w 138022"/>
                    <a:gd name="connsiteY19" fmla="*/ 65505 h 133175"/>
                    <a:gd name="connsiteX20" fmla="*/ 9585 w 138022"/>
                    <a:gd name="connsiteY20" fmla="*/ 78911 h 133175"/>
                    <a:gd name="connsiteX21" fmla="*/ 14697 w 138022"/>
                    <a:gd name="connsiteY21" fmla="*/ 83380 h 133175"/>
                    <a:gd name="connsiteX22" fmla="*/ 13419 w 138022"/>
                    <a:gd name="connsiteY22" fmla="*/ 89764 h 133175"/>
                    <a:gd name="connsiteX23" fmla="*/ 17253 w 138022"/>
                    <a:gd name="connsiteY23" fmla="*/ 110193 h 133175"/>
                    <a:gd name="connsiteX24" fmla="*/ 29394 w 138022"/>
                    <a:gd name="connsiteY24" fmla="*/ 112108 h 133175"/>
                    <a:gd name="connsiteX25" fmla="*/ 35145 w 138022"/>
                    <a:gd name="connsiteY25" fmla="*/ 112746 h 133175"/>
                    <a:gd name="connsiteX26" fmla="*/ 37701 w 138022"/>
                    <a:gd name="connsiteY26" fmla="*/ 118492 h 133175"/>
                    <a:gd name="connsiteX27" fmla="*/ 47285 w 138022"/>
                    <a:gd name="connsiteY27" fmla="*/ 131898 h 133175"/>
                    <a:gd name="connsiteX28" fmla="*/ 63260 w 138022"/>
                    <a:gd name="connsiteY28" fmla="*/ 127430 h 133175"/>
                    <a:gd name="connsiteX29" fmla="*/ 68372 w 138022"/>
                    <a:gd name="connsiteY29" fmla="*/ 124238 h 133175"/>
                    <a:gd name="connsiteX30" fmla="*/ 73484 w 138022"/>
                    <a:gd name="connsiteY30" fmla="*/ 127430 h 133175"/>
                    <a:gd name="connsiteX31" fmla="*/ 86264 w 138022"/>
                    <a:gd name="connsiteY31" fmla="*/ 133175 h 133175"/>
                    <a:gd name="connsiteX32" fmla="*/ 89459 w 138022"/>
                    <a:gd name="connsiteY32" fmla="*/ 132537 h 133175"/>
                    <a:gd name="connsiteX33" fmla="*/ 99683 w 138022"/>
                    <a:gd name="connsiteY33" fmla="*/ 119130 h 133175"/>
                    <a:gd name="connsiteX34" fmla="*/ 102239 w 138022"/>
                    <a:gd name="connsiteY34" fmla="*/ 114023 h 133175"/>
                    <a:gd name="connsiteX35" fmla="*/ 108629 w 138022"/>
                    <a:gd name="connsiteY35" fmla="*/ 113385 h 133175"/>
                    <a:gd name="connsiteX36" fmla="*/ 126521 w 138022"/>
                    <a:gd name="connsiteY36" fmla="*/ 103170 h 133175"/>
                    <a:gd name="connsiteX37" fmla="*/ 125243 w 138022"/>
                    <a:gd name="connsiteY37" fmla="*/ 91679 h 133175"/>
                    <a:gd name="connsiteX38" fmla="*/ 123965 w 138022"/>
                    <a:gd name="connsiteY38" fmla="*/ 85934 h 133175"/>
                    <a:gd name="connsiteX39" fmla="*/ 128438 w 138022"/>
                    <a:gd name="connsiteY39" fmla="*/ 82103 h 133175"/>
                    <a:gd name="connsiteX40" fmla="*/ 138023 w 138022"/>
                    <a:gd name="connsiteY40" fmla="*/ 68697 h 133175"/>
                    <a:gd name="connsiteX41" fmla="*/ 128438 w 138022"/>
                    <a:gd name="connsiteY41" fmla="*/ 54014 h 133175"/>
                    <a:gd name="connsiteX42" fmla="*/ 120131 w 138022"/>
                    <a:gd name="connsiteY42" fmla="*/ 71251 h 133175"/>
                    <a:gd name="connsiteX43" fmla="*/ 111824 w 138022"/>
                    <a:gd name="connsiteY43" fmla="*/ 94233 h 133175"/>
                    <a:gd name="connsiteX44" fmla="*/ 112463 w 138022"/>
                    <a:gd name="connsiteY44" fmla="*/ 94871 h 133175"/>
                    <a:gd name="connsiteX45" fmla="*/ 113741 w 138022"/>
                    <a:gd name="connsiteY45" fmla="*/ 100617 h 133175"/>
                    <a:gd name="connsiteX46" fmla="*/ 107990 w 138022"/>
                    <a:gd name="connsiteY46" fmla="*/ 101255 h 133175"/>
                    <a:gd name="connsiteX47" fmla="*/ 94571 w 138022"/>
                    <a:gd name="connsiteY47" fmla="*/ 103809 h 133175"/>
                    <a:gd name="connsiteX48" fmla="*/ 87542 w 138022"/>
                    <a:gd name="connsiteY48" fmla="*/ 115300 h 133175"/>
                    <a:gd name="connsiteX49" fmla="*/ 84986 w 138022"/>
                    <a:gd name="connsiteY49" fmla="*/ 120407 h 133175"/>
                    <a:gd name="connsiteX50" fmla="*/ 79874 w 138022"/>
                    <a:gd name="connsiteY50" fmla="*/ 117215 h 133175"/>
                    <a:gd name="connsiteX51" fmla="*/ 67733 w 138022"/>
                    <a:gd name="connsiteY51" fmla="*/ 111470 h 133175"/>
                    <a:gd name="connsiteX52" fmla="*/ 67733 w 138022"/>
                    <a:gd name="connsiteY52" fmla="*/ 111470 h 133175"/>
                    <a:gd name="connsiteX53" fmla="*/ 54954 w 138022"/>
                    <a:gd name="connsiteY53" fmla="*/ 116577 h 133175"/>
                    <a:gd name="connsiteX54" fmla="*/ 50480 w 138022"/>
                    <a:gd name="connsiteY54" fmla="*/ 119130 h 133175"/>
                    <a:gd name="connsiteX55" fmla="*/ 48564 w 138022"/>
                    <a:gd name="connsiteY55" fmla="*/ 114023 h 133175"/>
                    <a:gd name="connsiteX56" fmla="*/ 29394 w 138022"/>
                    <a:gd name="connsiteY56" fmla="*/ 98702 h 133175"/>
                    <a:gd name="connsiteX57" fmla="*/ 28116 w 138022"/>
                    <a:gd name="connsiteY57" fmla="*/ 98702 h 133175"/>
                    <a:gd name="connsiteX58" fmla="*/ 22365 w 138022"/>
                    <a:gd name="connsiteY58" fmla="*/ 98702 h 133175"/>
                    <a:gd name="connsiteX59" fmla="*/ 23643 w 138022"/>
                    <a:gd name="connsiteY59" fmla="*/ 92956 h 133175"/>
                    <a:gd name="connsiteX60" fmla="*/ 16614 w 138022"/>
                    <a:gd name="connsiteY60" fmla="*/ 68697 h 133175"/>
                    <a:gd name="connsiteX61" fmla="*/ 15975 w 138022"/>
                    <a:gd name="connsiteY61" fmla="*/ 68059 h 133175"/>
                    <a:gd name="connsiteX62" fmla="*/ 12141 w 138022"/>
                    <a:gd name="connsiteY62" fmla="*/ 64228 h 133175"/>
                    <a:gd name="connsiteX63" fmla="*/ 16614 w 138022"/>
                    <a:gd name="connsiteY63" fmla="*/ 60398 h 133175"/>
                    <a:gd name="connsiteX64" fmla="*/ 25560 w 138022"/>
                    <a:gd name="connsiteY64" fmla="*/ 50183 h 133175"/>
                    <a:gd name="connsiteX65" fmla="*/ 24282 w 138022"/>
                    <a:gd name="connsiteY65" fmla="*/ 36777 h 133175"/>
                    <a:gd name="connsiteX66" fmla="*/ 23004 w 138022"/>
                    <a:gd name="connsiteY66" fmla="*/ 31031 h 133175"/>
                    <a:gd name="connsiteX67" fmla="*/ 28755 w 138022"/>
                    <a:gd name="connsiteY67" fmla="*/ 31031 h 133175"/>
                    <a:gd name="connsiteX68" fmla="*/ 42174 w 138022"/>
                    <a:gd name="connsiteY68" fmla="*/ 28478 h 133175"/>
                    <a:gd name="connsiteX69" fmla="*/ 49202 w 138022"/>
                    <a:gd name="connsiteY69" fmla="*/ 16987 h 133175"/>
                    <a:gd name="connsiteX70" fmla="*/ 51759 w 138022"/>
                    <a:gd name="connsiteY70" fmla="*/ 11879 h 133175"/>
                    <a:gd name="connsiteX71" fmla="*/ 56870 w 138022"/>
                    <a:gd name="connsiteY71" fmla="*/ 15071 h 133175"/>
                    <a:gd name="connsiteX72" fmla="*/ 69011 w 138022"/>
                    <a:gd name="connsiteY72" fmla="*/ 20817 h 133175"/>
                    <a:gd name="connsiteX73" fmla="*/ 81791 w 138022"/>
                    <a:gd name="connsiteY73" fmla="*/ 15710 h 133175"/>
                    <a:gd name="connsiteX74" fmla="*/ 86264 w 138022"/>
                    <a:gd name="connsiteY74" fmla="*/ 13156 h 133175"/>
                    <a:gd name="connsiteX75" fmla="*/ 88181 w 138022"/>
                    <a:gd name="connsiteY75" fmla="*/ 18263 h 133175"/>
                    <a:gd name="connsiteX76" fmla="*/ 107351 w 138022"/>
                    <a:gd name="connsiteY76" fmla="*/ 33585 h 133175"/>
                    <a:gd name="connsiteX77" fmla="*/ 107990 w 138022"/>
                    <a:gd name="connsiteY77" fmla="*/ 33585 h 133175"/>
                    <a:gd name="connsiteX78" fmla="*/ 113741 w 138022"/>
                    <a:gd name="connsiteY78" fmla="*/ 33585 h 133175"/>
                    <a:gd name="connsiteX79" fmla="*/ 112463 w 138022"/>
                    <a:gd name="connsiteY79" fmla="*/ 38692 h 133175"/>
                    <a:gd name="connsiteX80" fmla="*/ 119492 w 138022"/>
                    <a:gd name="connsiteY80" fmla="*/ 62951 h 133175"/>
                    <a:gd name="connsiteX81" fmla="*/ 120131 w 138022"/>
                    <a:gd name="connsiteY81" fmla="*/ 63590 h 133175"/>
                    <a:gd name="connsiteX82" fmla="*/ 123965 w 138022"/>
                    <a:gd name="connsiteY82" fmla="*/ 67420 h 133175"/>
                    <a:gd name="connsiteX83" fmla="*/ 120131 w 138022"/>
                    <a:gd name="connsiteY83" fmla="*/ 71251 h 13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38022" h="133175">
                      <a:moveTo>
                        <a:pt x="128438" y="54014"/>
                      </a:moveTo>
                      <a:cubicBezTo>
                        <a:pt x="126521" y="52737"/>
                        <a:pt x="125243" y="51460"/>
                        <a:pt x="123326" y="49545"/>
                      </a:cubicBezTo>
                      <a:cubicBezTo>
                        <a:pt x="123326" y="47630"/>
                        <a:pt x="123965" y="45076"/>
                        <a:pt x="124604" y="43161"/>
                      </a:cubicBezTo>
                      <a:cubicBezTo>
                        <a:pt x="129077" y="36777"/>
                        <a:pt x="127160" y="27201"/>
                        <a:pt x="120770" y="22732"/>
                      </a:cubicBezTo>
                      <a:cubicBezTo>
                        <a:pt x="116936" y="20179"/>
                        <a:pt x="112463" y="19540"/>
                        <a:pt x="108629" y="20817"/>
                      </a:cubicBezTo>
                      <a:cubicBezTo>
                        <a:pt x="106712" y="20817"/>
                        <a:pt x="104795" y="20817"/>
                        <a:pt x="102878" y="20179"/>
                      </a:cubicBezTo>
                      <a:cubicBezTo>
                        <a:pt x="101600" y="18263"/>
                        <a:pt x="100961" y="16348"/>
                        <a:pt x="100322" y="14433"/>
                      </a:cubicBezTo>
                      <a:cubicBezTo>
                        <a:pt x="98405" y="9326"/>
                        <a:pt x="96488" y="2942"/>
                        <a:pt x="90737" y="1027"/>
                      </a:cubicBezTo>
                      <a:cubicBezTo>
                        <a:pt x="84986" y="-250"/>
                        <a:pt x="79235" y="1665"/>
                        <a:pt x="74762" y="5495"/>
                      </a:cubicBezTo>
                      <a:cubicBezTo>
                        <a:pt x="73484" y="8687"/>
                        <a:pt x="69650" y="9326"/>
                        <a:pt x="66455" y="8049"/>
                      </a:cubicBezTo>
                      <a:cubicBezTo>
                        <a:pt x="65177" y="7411"/>
                        <a:pt x="64538" y="6772"/>
                        <a:pt x="63899" y="5495"/>
                      </a:cubicBezTo>
                      <a:cubicBezTo>
                        <a:pt x="59426" y="1027"/>
                        <a:pt x="53675" y="-888"/>
                        <a:pt x="47925" y="388"/>
                      </a:cubicBezTo>
                      <a:cubicBezTo>
                        <a:pt x="41535" y="2304"/>
                        <a:pt x="38979" y="8687"/>
                        <a:pt x="37701" y="13795"/>
                      </a:cubicBezTo>
                      <a:cubicBezTo>
                        <a:pt x="37062" y="15710"/>
                        <a:pt x="36423" y="17625"/>
                        <a:pt x="35145" y="19540"/>
                      </a:cubicBezTo>
                      <a:cubicBezTo>
                        <a:pt x="33228" y="20179"/>
                        <a:pt x="30672" y="20179"/>
                        <a:pt x="28755" y="20179"/>
                      </a:cubicBezTo>
                      <a:cubicBezTo>
                        <a:pt x="21087" y="17625"/>
                        <a:pt x="12780" y="22732"/>
                        <a:pt x="10863" y="30393"/>
                      </a:cubicBezTo>
                      <a:cubicBezTo>
                        <a:pt x="9585" y="34223"/>
                        <a:pt x="10224" y="38692"/>
                        <a:pt x="12780" y="42523"/>
                      </a:cubicBezTo>
                      <a:cubicBezTo>
                        <a:pt x="13419" y="44438"/>
                        <a:pt x="14058" y="46353"/>
                        <a:pt x="14058" y="48268"/>
                      </a:cubicBezTo>
                      <a:cubicBezTo>
                        <a:pt x="12780" y="49545"/>
                        <a:pt x="10863" y="50822"/>
                        <a:pt x="9585" y="52099"/>
                      </a:cubicBezTo>
                      <a:cubicBezTo>
                        <a:pt x="5112" y="55291"/>
                        <a:pt x="0" y="59121"/>
                        <a:pt x="0" y="65505"/>
                      </a:cubicBezTo>
                      <a:cubicBezTo>
                        <a:pt x="0" y="71889"/>
                        <a:pt x="5112" y="75719"/>
                        <a:pt x="9585" y="78911"/>
                      </a:cubicBezTo>
                      <a:cubicBezTo>
                        <a:pt x="11502" y="80188"/>
                        <a:pt x="12780" y="81465"/>
                        <a:pt x="14697" y="83380"/>
                      </a:cubicBezTo>
                      <a:cubicBezTo>
                        <a:pt x="14697" y="85295"/>
                        <a:pt x="14058" y="87849"/>
                        <a:pt x="13419" y="89764"/>
                      </a:cubicBezTo>
                      <a:cubicBezTo>
                        <a:pt x="8946" y="96786"/>
                        <a:pt x="10863" y="105724"/>
                        <a:pt x="17253" y="110193"/>
                      </a:cubicBezTo>
                      <a:cubicBezTo>
                        <a:pt x="20448" y="112746"/>
                        <a:pt x="24921" y="113385"/>
                        <a:pt x="29394" y="112108"/>
                      </a:cubicBezTo>
                      <a:cubicBezTo>
                        <a:pt x="31311" y="112108"/>
                        <a:pt x="33228" y="112108"/>
                        <a:pt x="35145" y="112746"/>
                      </a:cubicBezTo>
                      <a:cubicBezTo>
                        <a:pt x="36423" y="114662"/>
                        <a:pt x="37062" y="116577"/>
                        <a:pt x="37701" y="118492"/>
                      </a:cubicBezTo>
                      <a:cubicBezTo>
                        <a:pt x="39617" y="123599"/>
                        <a:pt x="41535" y="129983"/>
                        <a:pt x="47285" y="131898"/>
                      </a:cubicBezTo>
                      <a:cubicBezTo>
                        <a:pt x="53036" y="133175"/>
                        <a:pt x="58787" y="131260"/>
                        <a:pt x="63260" y="127430"/>
                      </a:cubicBezTo>
                      <a:cubicBezTo>
                        <a:pt x="65177" y="126153"/>
                        <a:pt x="66455" y="124876"/>
                        <a:pt x="68372" y="124238"/>
                      </a:cubicBezTo>
                      <a:cubicBezTo>
                        <a:pt x="70289" y="124876"/>
                        <a:pt x="72206" y="126153"/>
                        <a:pt x="73484" y="127430"/>
                      </a:cubicBezTo>
                      <a:cubicBezTo>
                        <a:pt x="77318" y="130622"/>
                        <a:pt x="81791" y="132537"/>
                        <a:pt x="86264" y="133175"/>
                      </a:cubicBezTo>
                      <a:cubicBezTo>
                        <a:pt x="87542" y="133175"/>
                        <a:pt x="88820" y="133175"/>
                        <a:pt x="89459" y="132537"/>
                      </a:cubicBezTo>
                      <a:cubicBezTo>
                        <a:pt x="95849" y="130622"/>
                        <a:pt x="97766" y="124238"/>
                        <a:pt x="99683" y="119130"/>
                      </a:cubicBezTo>
                      <a:cubicBezTo>
                        <a:pt x="100322" y="117215"/>
                        <a:pt x="100961" y="115300"/>
                        <a:pt x="102239" y="114023"/>
                      </a:cubicBezTo>
                      <a:cubicBezTo>
                        <a:pt x="104156" y="113385"/>
                        <a:pt x="106712" y="113385"/>
                        <a:pt x="108629" y="113385"/>
                      </a:cubicBezTo>
                      <a:cubicBezTo>
                        <a:pt x="116297" y="115300"/>
                        <a:pt x="124604" y="110831"/>
                        <a:pt x="126521" y="103170"/>
                      </a:cubicBezTo>
                      <a:cubicBezTo>
                        <a:pt x="127799" y="99340"/>
                        <a:pt x="127160" y="94871"/>
                        <a:pt x="125243" y="91679"/>
                      </a:cubicBezTo>
                      <a:cubicBezTo>
                        <a:pt x="124604" y="89764"/>
                        <a:pt x="123965" y="87849"/>
                        <a:pt x="123965" y="85934"/>
                      </a:cubicBezTo>
                      <a:cubicBezTo>
                        <a:pt x="125243" y="84657"/>
                        <a:pt x="127160" y="83380"/>
                        <a:pt x="128438" y="82103"/>
                      </a:cubicBezTo>
                      <a:cubicBezTo>
                        <a:pt x="133550" y="79550"/>
                        <a:pt x="137384" y="74443"/>
                        <a:pt x="138023" y="68697"/>
                      </a:cubicBezTo>
                      <a:cubicBezTo>
                        <a:pt x="138023" y="61675"/>
                        <a:pt x="132911" y="57206"/>
                        <a:pt x="128438" y="54014"/>
                      </a:cubicBezTo>
                      <a:close/>
                      <a:moveTo>
                        <a:pt x="120131" y="71251"/>
                      </a:moveTo>
                      <a:cubicBezTo>
                        <a:pt x="111185" y="75081"/>
                        <a:pt x="107990" y="85934"/>
                        <a:pt x="111824" y="94233"/>
                      </a:cubicBezTo>
                      <a:cubicBezTo>
                        <a:pt x="111824" y="94233"/>
                        <a:pt x="111824" y="94871"/>
                        <a:pt x="112463" y="94871"/>
                      </a:cubicBezTo>
                      <a:cubicBezTo>
                        <a:pt x="113102" y="96786"/>
                        <a:pt x="113741" y="98702"/>
                        <a:pt x="113741" y="100617"/>
                      </a:cubicBezTo>
                      <a:cubicBezTo>
                        <a:pt x="111824" y="100617"/>
                        <a:pt x="109907" y="101255"/>
                        <a:pt x="107990" y="101255"/>
                      </a:cubicBezTo>
                      <a:cubicBezTo>
                        <a:pt x="103517" y="100617"/>
                        <a:pt x="98405" y="101894"/>
                        <a:pt x="94571" y="103809"/>
                      </a:cubicBezTo>
                      <a:cubicBezTo>
                        <a:pt x="91376" y="107001"/>
                        <a:pt x="88820" y="110831"/>
                        <a:pt x="87542" y="115300"/>
                      </a:cubicBezTo>
                      <a:cubicBezTo>
                        <a:pt x="86903" y="117215"/>
                        <a:pt x="86264" y="119130"/>
                        <a:pt x="84986" y="120407"/>
                      </a:cubicBezTo>
                      <a:cubicBezTo>
                        <a:pt x="83069" y="119769"/>
                        <a:pt x="81791" y="118492"/>
                        <a:pt x="79874" y="117215"/>
                      </a:cubicBezTo>
                      <a:cubicBezTo>
                        <a:pt x="76679" y="114023"/>
                        <a:pt x="72206" y="112108"/>
                        <a:pt x="67733" y="111470"/>
                      </a:cubicBezTo>
                      <a:lnTo>
                        <a:pt x="67733" y="111470"/>
                      </a:lnTo>
                      <a:cubicBezTo>
                        <a:pt x="63260" y="112108"/>
                        <a:pt x="58787" y="114023"/>
                        <a:pt x="54954" y="116577"/>
                      </a:cubicBezTo>
                      <a:cubicBezTo>
                        <a:pt x="53675" y="117854"/>
                        <a:pt x="51759" y="118492"/>
                        <a:pt x="50480" y="119130"/>
                      </a:cubicBezTo>
                      <a:cubicBezTo>
                        <a:pt x="49841" y="117215"/>
                        <a:pt x="49202" y="115938"/>
                        <a:pt x="48564" y="114023"/>
                      </a:cubicBezTo>
                      <a:cubicBezTo>
                        <a:pt x="47285" y="104447"/>
                        <a:pt x="38979" y="98063"/>
                        <a:pt x="29394" y="98702"/>
                      </a:cubicBezTo>
                      <a:cubicBezTo>
                        <a:pt x="28755" y="98702"/>
                        <a:pt x="28755" y="98702"/>
                        <a:pt x="28116" y="98702"/>
                      </a:cubicBezTo>
                      <a:lnTo>
                        <a:pt x="22365" y="98702"/>
                      </a:lnTo>
                      <a:cubicBezTo>
                        <a:pt x="22365" y="96786"/>
                        <a:pt x="23004" y="94871"/>
                        <a:pt x="23643" y="92956"/>
                      </a:cubicBezTo>
                      <a:cubicBezTo>
                        <a:pt x="28116" y="84657"/>
                        <a:pt x="25560" y="73804"/>
                        <a:pt x="16614" y="68697"/>
                      </a:cubicBezTo>
                      <a:cubicBezTo>
                        <a:pt x="16614" y="68697"/>
                        <a:pt x="15975" y="68697"/>
                        <a:pt x="15975" y="68059"/>
                      </a:cubicBezTo>
                      <a:cubicBezTo>
                        <a:pt x="14697" y="66782"/>
                        <a:pt x="13419" y="65505"/>
                        <a:pt x="12141" y="64228"/>
                      </a:cubicBezTo>
                      <a:cubicBezTo>
                        <a:pt x="13419" y="62951"/>
                        <a:pt x="14697" y="61675"/>
                        <a:pt x="16614" y="60398"/>
                      </a:cubicBezTo>
                      <a:cubicBezTo>
                        <a:pt x="20448" y="57844"/>
                        <a:pt x="23643" y="54652"/>
                        <a:pt x="25560" y="50183"/>
                      </a:cubicBezTo>
                      <a:cubicBezTo>
                        <a:pt x="26838" y="45715"/>
                        <a:pt x="26199" y="40607"/>
                        <a:pt x="24282" y="36777"/>
                      </a:cubicBezTo>
                      <a:cubicBezTo>
                        <a:pt x="23643" y="34862"/>
                        <a:pt x="23004" y="32947"/>
                        <a:pt x="23004" y="31031"/>
                      </a:cubicBezTo>
                      <a:cubicBezTo>
                        <a:pt x="24921" y="31031"/>
                        <a:pt x="26838" y="31031"/>
                        <a:pt x="28755" y="31031"/>
                      </a:cubicBezTo>
                      <a:cubicBezTo>
                        <a:pt x="33228" y="31670"/>
                        <a:pt x="38340" y="30393"/>
                        <a:pt x="42174" y="28478"/>
                      </a:cubicBezTo>
                      <a:cubicBezTo>
                        <a:pt x="45369" y="25286"/>
                        <a:pt x="47925" y="21455"/>
                        <a:pt x="49202" y="16987"/>
                      </a:cubicBezTo>
                      <a:cubicBezTo>
                        <a:pt x="49841" y="15071"/>
                        <a:pt x="50480" y="13156"/>
                        <a:pt x="51759" y="11879"/>
                      </a:cubicBezTo>
                      <a:cubicBezTo>
                        <a:pt x="53675" y="12518"/>
                        <a:pt x="54954" y="13795"/>
                        <a:pt x="56870" y="15071"/>
                      </a:cubicBezTo>
                      <a:cubicBezTo>
                        <a:pt x="60065" y="18263"/>
                        <a:pt x="64538" y="20179"/>
                        <a:pt x="69011" y="20817"/>
                      </a:cubicBezTo>
                      <a:cubicBezTo>
                        <a:pt x="73484" y="20179"/>
                        <a:pt x="77957" y="18263"/>
                        <a:pt x="81791" y="15710"/>
                      </a:cubicBezTo>
                      <a:cubicBezTo>
                        <a:pt x="83069" y="14433"/>
                        <a:pt x="84986" y="13795"/>
                        <a:pt x="86264" y="13156"/>
                      </a:cubicBezTo>
                      <a:cubicBezTo>
                        <a:pt x="86903" y="15071"/>
                        <a:pt x="87542" y="16348"/>
                        <a:pt x="88181" y="18263"/>
                      </a:cubicBezTo>
                      <a:cubicBezTo>
                        <a:pt x="89459" y="27839"/>
                        <a:pt x="97766" y="34862"/>
                        <a:pt x="107351" y="33585"/>
                      </a:cubicBezTo>
                      <a:cubicBezTo>
                        <a:pt x="107351" y="33585"/>
                        <a:pt x="107990" y="33585"/>
                        <a:pt x="107990" y="33585"/>
                      </a:cubicBezTo>
                      <a:cubicBezTo>
                        <a:pt x="109907" y="33585"/>
                        <a:pt x="112463" y="33585"/>
                        <a:pt x="113741" y="33585"/>
                      </a:cubicBezTo>
                      <a:cubicBezTo>
                        <a:pt x="113102" y="35500"/>
                        <a:pt x="113102" y="37415"/>
                        <a:pt x="112463" y="38692"/>
                      </a:cubicBezTo>
                      <a:cubicBezTo>
                        <a:pt x="107990" y="46991"/>
                        <a:pt x="110546" y="57844"/>
                        <a:pt x="119492" y="62951"/>
                      </a:cubicBezTo>
                      <a:cubicBezTo>
                        <a:pt x="119492" y="62951"/>
                        <a:pt x="120131" y="62951"/>
                        <a:pt x="120131" y="63590"/>
                      </a:cubicBezTo>
                      <a:cubicBezTo>
                        <a:pt x="121409" y="64867"/>
                        <a:pt x="122687" y="66143"/>
                        <a:pt x="123965" y="67420"/>
                      </a:cubicBezTo>
                      <a:cubicBezTo>
                        <a:pt x="123326" y="69335"/>
                        <a:pt x="122048" y="69974"/>
                        <a:pt x="120131" y="71251"/>
                      </a:cubicBezTo>
                      <a:close/>
                    </a:path>
                  </a:pathLst>
                </a:custGeom>
                <a:grpFill/>
                <a:ln w="6390" cap="flat">
                  <a:noFill/>
                  <a:prstDash val="solid"/>
                  <a:miter/>
                </a:ln>
              </p:spPr>
              <p:txBody>
                <a:bodyPr rtlCol="0" anchor="ctr"/>
                <a:lstStyle/>
                <a:p>
                  <a:endParaRPr lang="en-US"/>
                </a:p>
              </p:txBody>
            </p:sp>
            <p:sp>
              <p:nvSpPr>
                <p:cNvPr id="111" name="Graphic 4">
                  <a:extLst>
                    <a:ext uri="{FF2B5EF4-FFF2-40B4-BE49-F238E27FC236}">
                      <a16:creationId xmlns:a16="http://schemas.microsoft.com/office/drawing/2014/main" id="{EAFDFAC1-30B6-424D-842F-1ED55DA183B7}"/>
                    </a:ext>
                  </a:extLst>
                </p:cNvPr>
                <p:cNvSpPr/>
                <p:nvPr/>
              </p:nvSpPr>
              <p:spPr>
                <a:xfrm>
                  <a:off x="2769705" y="1505030"/>
                  <a:ext cx="51144" cy="50601"/>
                </a:xfrm>
                <a:custGeom>
                  <a:avLst/>
                  <a:gdLst>
                    <a:gd name="connsiteX0" fmla="*/ 17585 w 51144"/>
                    <a:gd name="connsiteY0" fmla="*/ 1114 h 50601"/>
                    <a:gd name="connsiteX1" fmla="*/ 2888 w 51144"/>
                    <a:gd name="connsiteY1" fmla="*/ 13243 h 50601"/>
                    <a:gd name="connsiteX2" fmla="*/ 13751 w 51144"/>
                    <a:gd name="connsiteY2" fmla="*/ 47717 h 50601"/>
                    <a:gd name="connsiteX3" fmla="*/ 48256 w 51144"/>
                    <a:gd name="connsiteY3" fmla="*/ 36864 h 50601"/>
                    <a:gd name="connsiteX4" fmla="*/ 37393 w 51144"/>
                    <a:gd name="connsiteY4" fmla="*/ 2390 h 50601"/>
                    <a:gd name="connsiteX5" fmla="*/ 17585 w 51144"/>
                    <a:gd name="connsiteY5" fmla="*/ 1114 h 50601"/>
                    <a:gd name="connsiteX6" fmla="*/ 28447 w 51144"/>
                    <a:gd name="connsiteY6" fmla="*/ 37502 h 50601"/>
                    <a:gd name="connsiteX7" fmla="*/ 13751 w 51144"/>
                    <a:gd name="connsiteY7" fmla="*/ 26650 h 50601"/>
                    <a:gd name="connsiteX8" fmla="*/ 20780 w 51144"/>
                    <a:gd name="connsiteY8" fmla="*/ 13243 h 50601"/>
                    <a:gd name="connsiteX9" fmla="*/ 24613 w 51144"/>
                    <a:gd name="connsiteY9" fmla="*/ 12605 h 50601"/>
                    <a:gd name="connsiteX10" fmla="*/ 36755 w 51144"/>
                    <a:gd name="connsiteY10" fmla="*/ 26011 h 50601"/>
                    <a:gd name="connsiteX11" fmla="*/ 28447 w 51144"/>
                    <a:gd name="connsiteY11" fmla="*/ 37502 h 5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144" h="50601">
                      <a:moveTo>
                        <a:pt x="17585" y="1114"/>
                      </a:moveTo>
                      <a:cubicBezTo>
                        <a:pt x="11195" y="3029"/>
                        <a:pt x="5444" y="7498"/>
                        <a:pt x="2888" y="13243"/>
                      </a:cubicBezTo>
                      <a:cubicBezTo>
                        <a:pt x="-3502" y="26011"/>
                        <a:pt x="971" y="41333"/>
                        <a:pt x="13751" y="47717"/>
                      </a:cubicBezTo>
                      <a:cubicBezTo>
                        <a:pt x="26531" y="54101"/>
                        <a:pt x="41866" y="49632"/>
                        <a:pt x="48256" y="36864"/>
                      </a:cubicBezTo>
                      <a:cubicBezTo>
                        <a:pt x="54646" y="24096"/>
                        <a:pt x="50173" y="8774"/>
                        <a:pt x="37393" y="2390"/>
                      </a:cubicBezTo>
                      <a:cubicBezTo>
                        <a:pt x="31003" y="-163"/>
                        <a:pt x="23975" y="-802"/>
                        <a:pt x="17585" y="1114"/>
                      </a:cubicBezTo>
                      <a:close/>
                      <a:moveTo>
                        <a:pt x="28447" y="37502"/>
                      </a:moveTo>
                      <a:cubicBezTo>
                        <a:pt x="21419" y="38779"/>
                        <a:pt x="15029" y="33672"/>
                        <a:pt x="13751" y="26650"/>
                      </a:cubicBezTo>
                      <a:cubicBezTo>
                        <a:pt x="13112" y="20904"/>
                        <a:pt x="15668" y="15797"/>
                        <a:pt x="20780" y="13243"/>
                      </a:cubicBezTo>
                      <a:cubicBezTo>
                        <a:pt x="22058" y="12605"/>
                        <a:pt x="23336" y="12605"/>
                        <a:pt x="24613" y="12605"/>
                      </a:cubicBezTo>
                      <a:cubicBezTo>
                        <a:pt x="31642" y="13243"/>
                        <a:pt x="36755" y="18989"/>
                        <a:pt x="36755" y="26011"/>
                      </a:cubicBezTo>
                      <a:cubicBezTo>
                        <a:pt x="36755" y="31118"/>
                        <a:pt x="33560" y="35587"/>
                        <a:pt x="28447" y="37502"/>
                      </a:cubicBezTo>
                      <a:close/>
                    </a:path>
                  </a:pathLst>
                </a:custGeom>
                <a:grpFill/>
                <a:ln w="6390" cap="flat">
                  <a:noFill/>
                  <a:prstDash val="solid"/>
                  <a:miter/>
                </a:ln>
              </p:spPr>
              <p:txBody>
                <a:bodyPr rtlCol="0" anchor="ctr"/>
                <a:lstStyle/>
                <a:p>
                  <a:endParaRPr lang="en-US"/>
                </a:p>
              </p:txBody>
            </p:sp>
          </p:grpSp>
        </p:grpSp>
      </p:grpSp>
      <p:sp>
        <p:nvSpPr>
          <p:cNvPr id="72" name="TextBox 96">
            <a:extLst>
              <a:ext uri="{FF2B5EF4-FFF2-40B4-BE49-F238E27FC236}">
                <a16:creationId xmlns:a16="http://schemas.microsoft.com/office/drawing/2014/main" id="{A9C6107B-D262-4FD8-B936-7CD5B73526FE}"/>
              </a:ext>
            </a:extLst>
          </p:cNvPr>
          <p:cNvSpPr txBox="1"/>
          <p:nvPr/>
        </p:nvSpPr>
        <p:spPr>
          <a:xfrm>
            <a:off x="469900" y="6175392"/>
            <a:ext cx="10779991" cy="258276"/>
          </a:xfrm>
          <a:prstGeom prst="rect">
            <a:avLst/>
          </a:prstGeom>
          <a:noFill/>
        </p:spPr>
        <p:txBody>
          <a:bodyPr wrap="square" lIns="0" tIns="0" rIns="0" bIns="0" rtlCol="0" anchor="b">
            <a:spAutoFit/>
          </a:bodyPr>
          <a:lstStyle/>
          <a:p>
            <a:pPr eaLnBrk="0" fontAlgn="base" hangingPunct="0">
              <a:lnSpc>
                <a:spcPct val="110000"/>
              </a:lnSpc>
              <a:spcBef>
                <a:spcPct val="0"/>
              </a:spcBef>
              <a:spcAft>
                <a:spcPct val="0"/>
              </a:spcAft>
            </a:pPr>
            <a:br>
              <a:rPr lang="en-GB" sz="800" dirty="0">
                <a:solidFill>
                  <a:schemeClr val="bg1"/>
                </a:solidFill>
                <a:latin typeface="+mj-lt"/>
              </a:rPr>
            </a:br>
            <a:r>
              <a:rPr lang="en-GB" sz="800" dirty="0">
                <a:solidFill>
                  <a:schemeClr val="bg1"/>
                </a:solidFill>
                <a:latin typeface="+mj-lt"/>
              </a:rPr>
              <a:t>Source: EuropeActive, Fitness News Europe, Deloitte.</a:t>
            </a:r>
          </a:p>
        </p:txBody>
      </p:sp>
    </p:spTree>
    <p:extLst>
      <p:ext uri="{BB962C8B-B14F-4D97-AF65-F5344CB8AC3E}">
        <p14:creationId xmlns:p14="http://schemas.microsoft.com/office/powerpoint/2010/main" val="124252260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 grpId="0"/>
      <p:bldP spid="4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 typeface="Wingdings 2" pitchFamily="18" charset="2"/>
              <a:buNone/>
              <a:tabLst/>
              <a:defRPr/>
            </a:pPr>
            <a:endParaRPr kumimoji="0" lang="en-GB" sz="1000" b="0" i="0" u="none" strike="noStrike" kern="1200" cap="none" spc="0" normalizeH="0" baseline="0" noProof="0" dirty="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13" name="Title 1"/>
          <p:cNvSpPr>
            <a:spLocks noGrp="1"/>
          </p:cNvSpPr>
          <p:nvPr>
            <p:ph type="title"/>
          </p:nvPr>
        </p:nvSpPr>
        <p:spPr>
          <a:xfrm>
            <a:off x="469899" y="402586"/>
            <a:ext cx="11507611" cy="698501"/>
          </a:xfrm>
        </p:spPr>
        <p:txBody>
          <a:bodyPr vert="horz"/>
          <a:lstStyle/>
          <a:p>
            <a:r>
              <a:rPr lang="en-GB" dirty="0"/>
              <a:t>Afin de </a:t>
            </a:r>
            <a:r>
              <a:rPr lang="en-GB" dirty="0" err="1"/>
              <a:t>mieux</a:t>
            </a:r>
            <a:r>
              <a:rPr lang="en-GB" dirty="0"/>
              <a:t> </a:t>
            </a:r>
            <a:r>
              <a:rPr lang="en-GB" dirty="0" err="1"/>
              <a:t>comprendre</a:t>
            </a:r>
            <a:r>
              <a:rPr lang="en-GB" dirty="0"/>
              <a:t> les </a:t>
            </a:r>
            <a:r>
              <a:rPr lang="en-GB" dirty="0" err="1"/>
              <a:t>consommateurs</a:t>
            </a:r>
            <a:r>
              <a:rPr lang="en-GB" dirty="0"/>
              <a:t> </a:t>
            </a:r>
            <a:r>
              <a:rPr lang="en-GB" dirty="0" err="1"/>
              <a:t>européens</a:t>
            </a:r>
            <a:r>
              <a:rPr lang="en-GB" dirty="0"/>
              <a:t> du fitness, </a:t>
            </a:r>
            <a:r>
              <a:rPr lang="en-GB" b="1" dirty="0">
                <a:solidFill>
                  <a:schemeClr val="accent1"/>
                </a:solidFill>
              </a:rPr>
              <a:t>EuropeActive a </a:t>
            </a:r>
            <a:r>
              <a:rPr lang="en-GB" b="1" dirty="0" err="1">
                <a:solidFill>
                  <a:schemeClr val="accent1"/>
                </a:solidFill>
              </a:rPr>
              <a:t>mandaté</a:t>
            </a:r>
            <a:r>
              <a:rPr lang="en-GB" b="1" dirty="0">
                <a:solidFill>
                  <a:schemeClr val="accent1"/>
                </a:solidFill>
              </a:rPr>
              <a:t> Deloitte </a:t>
            </a:r>
            <a:r>
              <a:rPr lang="en-GB" dirty="0"/>
              <a:t>pour </a:t>
            </a:r>
            <a:r>
              <a:rPr lang="en-GB" dirty="0" err="1"/>
              <a:t>réaliser</a:t>
            </a:r>
            <a:r>
              <a:rPr lang="en-GB" dirty="0"/>
              <a:t> </a:t>
            </a:r>
            <a:r>
              <a:rPr lang="en-GB" dirty="0" err="1"/>
              <a:t>une</a:t>
            </a:r>
            <a:r>
              <a:rPr lang="en-GB" dirty="0"/>
              <a:t> </a:t>
            </a:r>
            <a:r>
              <a:rPr lang="en-GB" b="1" dirty="0">
                <a:solidFill>
                  <a:schemeClr val="accent1"/>
                </a:solidFill>
              </a:rPr>
              <a:t>étude de </a:t>
            </a:r>
            <a:r>
              <a:rPr lang="en-GB" b="1" dirty="0" err="1">
                <a:solidFill>
                  <a:schemeClr val="accent1"/>
                </a:solidFill>
              </a:rPr>
              <a:t>consommateurs</a:t>
            </a:r>
            <a:r>
              <a:rPr lang="en-GB" b="1" dirty="0">
                <a:solidFill>
                  <a:schemeClr val="accent1"/>
                </a:solidFill>
              </a:rPr>
              <a:t> </a:t>
            </a:r>
            <a:r>
              <a:rPr lang="en-GB" dirty="0"/>
              <a:t>avec </a:t>
            </a:r>
            <a:r>
              <a:rPr lang="en-GB" dirty="0" err="1"/>
              <a:t>près</a:t>
            </a:r>
            <a:r>
              <a:rPr lang="en-GB" dirty="0"/>
              <a:t> de </a:t>
            </a:r>
            <a:r>
              <a:rPr lang="en-GB" b="1" dirty="0">
                <a:solidFill>
                  <a:schemeClr val="accent1"/>
                </a:solidFill>
              </a:rPr>
              <a:t>11 000 participants</a:t>
            </a:r>
            <a:endParaRPr lang="en-GB" b="1" baseline="30000" noProof="0" dirty="0">
              <a:solidFill>
                <a:schemeClr val="accent1"/>
              </a:solidFill>
            </a:endParaRPr>
          </a:p>
        </p:txBody>
      </p:sp>
      <p:sp>
        <p:nvSpPr>
          <p:cNvPr id="25" name="TextBox 24"/>
          <p:cNvSpPr txBox="1"/>
          <p:nvPr/>
        </p:nvSpPr>
        <p:spPr>
          <a:xfrm>
            <a:off x="480878" y="6355779"/>
            <a:ext cx="3416565" cy="393698"/>
          </a:xfrm>
          <a:prstGeom prst="rect">
            <a:avLst/>
          </a:prstGeom>
          <a:noFill/>
        </p:spPr>
        <p:txBody>
          <a:bodyPr wrap="square" lIns="0" tIns="0" rIns="0" bIns="0" rtlCol="0" anchor="b">
            <a:spAutoFit/>
          </a:bodyPr>
          <a:lstStyle/>
          <a:p>
            <a:pPr marL="0" marR="0" lvl="0" indent="0" algn="l" defTabSz="1219170" rtl="0" eaLnBrk="0" fontAlgn="base" latinLnBrk="0" hangingPunct="0">
              <a:lnSpc>
                <a:spcPct val="110000"/>
              </a:lnSpc>
              <a:spcBef>
                <a:spcPct val="0"/>
              </a:spcBef>
              <a:spcAft>
                <a:spcPct val="0"/>
              </a:spcAft>
              <a:buClrTx/>
              <a:buSzTx/>
              <a:buFontTx/>
              <a:buNone/>
              <a:tabLst/>
              <a:defRPr/>
            </a:pPr>
            <a:br>
              <a:rPr kumimoji="0" lang="en-GB" sz="800" b="0" i="0" u="none" strike="noStrike" kern="1200" cap="none" spc="0" normalizeH="0" baseline="0" noProof="0" dirty="0">
                <a:ln>
                  <a:noFill/>
                </a:ln>
                <a:solidFill>
                  <a:prstClr val="black"/>
                </a:solidFill>
                <a:effectLst/>
                <a:uLnTx/>
                <a:uFillTx/>
                <a:latin typeface="Verdana"/>
                <a:ea typeface="+mn-ea"/>
                <a:cs typeface="+mn-cs"/>
              </a:rPr>
            </a:br>
            <a:r>
              <a:rPr kumimoji="0" lang="en-GB" sz="800" b="0" i="0" u="none" strike="noStrike" kern="1200" cap="none" spc="0" normalizeH="0" baseline="0" noProof="0" dirty="0">
                <a:ln>
                  <a:noFill/>
                </a:ln>
                <a:solidFill>
                  <a:prstClr val="black"/>
                </a:solidFill>
                <a:effectLst/>
                <a:uLnTx/>
                <a:uFillTx/>
                <a:latin typeface="Verdana"/>
                <a:ea typeface="+mn-ea"/>
                <a:cs typeface="+mn-cs"/>
              </a:rPr>
              <a:t>Source: EuropeActive Consumer Survey 2022/Étude </a:t>
            </a:r>
            <a:r>
              <a:rPr kumimoji="0" lang="en-GB" sz="800" b="0" i="0" u="none" strike="noStrike" kern="1200" cap="none" spc="0" normalizeH="0" baseline="0" noProof="0" dirty="0" err="1">
                <a:ln>
                  <a:noFill/>
                </a:ln>
                <a:solidFill>
                  <a:prstClr val="black"/>
                </a:solidFill>
                <a:effectLst/>
                <a:uLnTx/>
                <a:uFillTx/>
                <a:latin typeface="Verdana"/>
                <a:ea typeface="+mn-ea"/>
                <a:cs typeface="+mn-cs"/>
              </a:rPr>
              <a:t>consommateurs</a:t>
            </a:r>
            <a:r>
              <a:rPr kumimoji="0" lang="en-GB" sz="800" b="0" i="0" u="none" strike="noStrike" kern="1200" cap="none" spc="0" normalizeH="0" baseline="0" noProof="0" dirty="0">
                <a:ln>
                  <a:noFill/>
                </a:ln>
                <a:solidFill>
                  <a:prstClr val="black"/>
                </a:solidFill>
                <a:effectLst/>
                <a:uLnTx/>
                <a:uFillTx/>
                <a:latin typeface="Verdana"/>
                <a:ea typeface="+mn-ea"/>
                <a:cs typeface="+mn-cs"/>
              </a:rPr>
              <a:t> EuropeActive 2022</a:t>
            </a:r>
          </a:p>
        </p:txBody>
      </p:sp>
      <p:grpSp>
        <p:nvGrpSpPr>
          <p:cNvPr id="106" name="Gruppieren 318">
            <a:extLst>
              <a:ext uri="{FF2B5EF4-FFF2-40B4-BE49-F238E27FC236}">
                <a16:creationId xmlns:a16="http://schemas.microsoft.com/office/drawing/2014/main" id="{AE920E42-522F-4728-9EE2-23338E0C9903}"/>
              </a:ext>
            </a:extLst>
          </p:cNvPr>
          <p:cNvGrpSpPr/>
          <p:nvPr/>
        </p:nvGrpSpPr>
        <p:grpSpPr>
          <a:xfrm>
            <a:off x="1138075" y="2569590"/>
            <a:ext cx="3304876" cy="758952"/>
            <a:chOff x="1404284" y="2066483"/>
            <a:chExt cx="3304876" cy="758952"/>
          </a:xfrm>
        </p:grpSpPr>
        <p:grpSp>
          <p:nvGrpSpPr>
            <p:cNvPr id="108" name="Graphic 4">
              <a:extLst>
                <a:ext uri="{FF2B5EF4-FFF2-40B4-BE49-F238E27FC236}">
                  <a16:creationId xmlns:a16="http://schemas.microsoft.com/office/drawing/2014/main" id="{70451AB9-F8A1-4101-A511-007AB76E6193}"/>
                </a:ext>
              </a:extLst>
            </p:cNvPr>
            <p:cNvGrpSpPr>
              <a:grpSpLocks noChangeAspect="1"/>
            </p:cNvGrpSpPr>
            <p:nvPr/>
          </p:nvGrpSpPr>
          <p:grpSpPr>
            <a:xfrm>
              <a:off x="1404284" y="2066483"/>
              <a:ext cx="758330" cy="758952"/>
              <a:chOff x="6753524" y="918179"/>
              <a:chExt cx="361674" cy="361971"/>
            </a:xfrm>
            <a:solidFill>
              <a:schemeClr val="accent1"/>
            </a:solidFill>
          </p:grpSpPr>
          <p:sp>
            <p:nvSpPr>
              <p:cNvPr id="110" name="Graphic 4">
                <a:extLst>
                  <a:ext uri="{FF2B5EF4-FFF2-40B4-BE49-F238E27FC236}">
                    <a16:creationId xmlns:a16="http://schemas.microsoft.com/office/drawing/2014/main" id="{D406CFC0-7440-4BFD-B9BC-803C87759A53}"/>
                  </a:ext>
                </a:extLst>
              </p:cNvPr>
              <p:cNvSpPr/>
              <p:nvPr/>
            </p:nvSpPr>
            <p:spPr>
              <a:xfrm>
                <a:off x="6753524" y="918179"/>
                <a:ext cx="361674" cy="361971"/>
              </a:xfrm>
              <a:custGeom>
                <a:avLst/>
                <a:gdLst>
                  <a:gd name="connsiteX0" fmla="*/ 180835 w 361674"/>
                  <a:gd name="connsiteY0" fmla="*/ 0 h 361971"/>
                  <a:gd name="connsiteX1" fmla="*/ 0 w 361674"/>
                  <a:gd name="connsiteY1" fmla="*/ 180667 h 361971"/>
                  <a:gd name="connsiteX2" fmla="*/ 180835 w 361674"/>
                  <a:gd name="connsiteY2" fmla="*/ 361972 h 361971"/>
                  <a:gd name="connsiteX3" fmla="*/ 361670 w 361674"/>
                  <a:gd name="connsiteY3" fmla="*/ 181305 h 361971"/>
                  <a:gd name="connsiteX4" fmla="*/ 361670 w 361674"/>
                  <a:gd name="connsiteY4" fmla="*/ 181305 h 361971"/>
                  <a:gd name="connsiteX5" fmla="*/ 180835 w 361674"/>
                  <a:gd name="connsiteY5" fmla="*/ 0 h 361971"/>
                  <a:gd name="connsiteX6" fmla="*/ 180835 w 361674"/>
                  <a:gd name="connsiteY6" fmla="*/ 0 h 361971"/>
                  <a:gd name="connsiteX7" fmla="*/ 180835 w 361674"/>
                  <a:gd name="connsiteY7" fmla="*/ 349204 h 361971"/>
                  <a:gd name="connsiteX8" fmla="*/ 12780 w 361674"/>
                  <a:gd name="connsiteY8" fmla="*/ 181305 h 361971"/>
                  <a:gd name="connsiteX9" fmla="*/ 180835 w 361674"/>
                  <a:gd name="connsiteY9" fmla="*/ 12768 h 361971"/>
                  <a:gd name="connsiteX10" fmla="*/ 348890 w 361674"/>
                  <a:gd name="connsiteY10" fmla="*/ 180667 h 361971"/>
                  <a:gd name="connsiteX11" fmla="*/ 348890 w 361674"/>
                  <a:gd name="connsiteY11" fmla="*/ 180667 h 361971"/>
                  <a:gd name="connsiteX12" fmla="*/ 180835 w 361674"/>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4" h="361971">
                    <a:moveTo>
                      <a:pt x="180835" y="0"/>
                    </a:moveTo>
                    <a:cubicBezTo>
                      <a:pt x="80513" y="0"/>
                      <a:pt x="0" y="81077"/>
                      <a:pt x="0" y="180667"/>
                    </a:cubicBezTo>
                    <a:cubicBezTo>
                      <a:pt x="0" y="280895"/>
                      <a:pt x="81152" y="361972"/>
                      <a:pt x="180835" y="361972"/>
                    </a:cubicBezTo>
                    <a:cubicBezTo>
                      <a:pt x="281157" y="361972"/>
                      <a:pt x="361670" y="280895"/>
                      <a:pt x="361670" y="181305"/>
                    </a:cubicBezTo>
                    <a:lnTo>
                      <a:pt x="361670" y="181305"/>
                    </a:lnTo>
                    <a:cubicBezTo>
                      <a:pt x="362309" y="81077"/>
                      <a:pt x="281157" y="0"/>
                      <a:pt x="180835" y="0"/>
                    </a:cubicBezTo>
                    <a:cubicBezTo>
                      <a:pt x="181474" y="0"/>
                      <a:pt x="181474" y="0"/>
                      <a:pt x="180835" y="0"/>
                    </a:cubicBezTo>
                    <a:close/>
                    <a:moveTo>
                      <a:pt x="180835" y="349204"/>
                    </a:moveTo>
                    <a:cubicBezTo>
                      <a:pt x="87542" y="349204"/>
                      <a:pt x="12780" y="273873"/>
                      <a:pt x="12780" y="181305"/>
                    </a:cubicBezTo>
                    <a:cubicBezTo>
                      <a:pt x="12780" y="88099"/>
                      <a:pt x="88181" y="12768"/>
                      <a:pt x="180835" y="12768"/>
                    </a:cubicBezTo>
                    <a:cubicBezTo>
                      <a:pt x="274128" y="12768"/>
                      <a:pt x="348890" y="88099"/>
                      <a:pt x="348890" y="180667"/>
                    </a:cubicBezTo>
                    <a:lnTo>
                      <a:pt x="348890" y="180667"/>
                    </a:lnTo>
                    <a:cubicBezTo>
                      <a:pt x="349529" y="273873"/>
                      <a:pt x="274128" y="349204"/>
                      <a:pt x="180835" y="349204"/>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11" name="Graphic 4">
                <a:extLst>
                  <a:ext uri="{FF2B5EF4-FFF2-40B4-BE49-F238E27FC236}">
                    <a16:creationId xmlns:a16="http://schemas.microsoft.com/office/drawing/2014/main" id="{89340854-273F-4E16-ABBE-3A17B0021D34}"/>
                  </a:ext>
                </a:extLst>
              </p:cNvPr>
              <p:cNvSpPr/>
              <p:nvPr/>
            </p:nvSpPr>
            <p:spPr>
              <a:xfrm>
                <a:off x="7027554" y="1036161"/>
                <a:ext cx="26418" cy="67791"/>
              </a:xfrm>
              <a:custGeom>
                <a:avLst/>
                <a:gdLst>
                  <a:gd name="connsiteX0" fmla="*/ 26297 w 26418"/>
                  <a:gd name="connsiteY0" fmla="*/ 60130 h 67791"/>
                  <a:gd name="connsiteX1" fmla="*/ 12879 w 26418"/>
                  <a:gd name="connsiteY1" fmla="*/ 5228 h 67791"/>
                  <a:gd name="connsiteX2" fmla="*/ 5210 w 26418"/>
                  <a:gd name="connsiteY2" fmla="*/ 121 h 67791"/>
                  <a:gd name="connsiteX3" fmla="*/ 99 w 26418"/>
                  <a:gd name="connsiteY3" fmla="*/ 7782 h 67791"/>
                  <a:gd name="connsiteX4" fmla="*/ 13517 w 26418"/>
                  <a:gd name="connsiteY4" fmla="*/ 62684 h 67791"/>
                  <a:gd name="connsiteX5" fmla="*/ 19907 w 26418"/>
                  <a:gd name="connsiteY5" fmla="*/ 67791 h 67791"/>
                  <a:gd name="connsiteX6" fmla="*/ 21185 w 26418"/>
                  <a:gd name="connsiteY6" fmla="*/ 67791 h 67791"/>
                  <a:gd name="connsiteX7" fmla="*/ 26297 w 26418"/>
                  <a:gd name="connsiteY7" fmla="*/ 60130 h 67791"/>
                  <a:gd name="connsiteX8" fmla="*/ 26297 w 26418"/>
                  <a:gd name="connsiteY8" fmla="*/ 60130 h 67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18" h="67791">
                    <a:moveTo>
                      <a:pt x="26297" y="60130"/>
                    </a:moveTo>
                    <a:lnTo>
                      <a:pt x="12879" y="5228"/>
                    </a:lnTo>
                    <a:cubicBezTo>
                      <a:pt x="12239" y="1398"/>
                      <a:pt x="8405" y="-517"/>
                      <a:pt x="5210" y="121"/>
                    </a:cubicBezTo>
                    <a:cubicBezTo>
                      <a:pt x="2015" y="759"/>
                      <a:pt x="-541" y="4590"/>
                      <a:pt x="99" y="7782"/>
                    </a:cubicBezTo>
                    <a:lnTo>
                      <a:pt x="13517" y="62684"/>
                    </a:lnTo>
                    <a:cubicBezTo>
                      <a:pt x="14156" y="65876"/>
                      <a:pt x="16712" y="67791"/>
                      <a:pt x="19907" y="67791"/>
                    </a:cubicBezTo>
                    <a:lnTo>
                      <a:pt x="21185" y="67791"/>
                    </a:lnTo>
                    <a:cubicBezTo>
                      <a:pt x="25019" y="67153"/>
                      <a:pt x="26936" y="63961"/>
                      <a:pt x="26297" y="60130"/>
                    </a:cubicBezTo>
                    <a:cubicBezTo>
                      <a:pt x="26297" y="60130"/>
                      <a:pt x="26297" y="60130"/>
                      <a:pt x="26297" y="6013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12" name="Graphic 4">
                <a:extLst>
                  <a:ext uri="{FF2B5EF4-FFF2-40B4-BE49-F238E27FC236}">
                    <a16:creationId xmlns:a16="http://schemas.microsoft.com/office/drawing/2014/main" id="{0A591EDA-57CC-40F6-AB72-E622F5B01598}"/>
                  </a:ext>
                </a:extLst>
              </p:cNvPr>
              <p:cNvSpPr/>
              <p:nvPr/>
            </p:nvSpPr>
            <p:spPr>
              <a:xfrm>
                <a:off x="6815384" y="1036799"/>
                <a:ext cx="26076" cy="67154"/>
              </a:xfrm>
              <a:custGeom>
                <a:avLst/>
                <a:gdLst>
                  <a:gd name="connsiteX0" fmla="*/ 21209 w 26076"/>
                  <a:gd name="connsiteY0" fmla="*/ 122 h 67154"/>
                  <a:gd name="connsiteX1" fmla="*/ 13541 w 26076"/>
                  <a:gd name="connsiteY1" fmla="*/ 4591 h 67154"/>
                  <a:gd name="connsiteX2" fmla="*/ 13541 w 26076"/>
                  <a:gd name="connsiteY2" fmla="*/ 4591 h 67154"/>
                  <a:gd name="connsiteX3" fmla="*/ 122 w 26076"/>
                  <a:gd name="connsiteY3" fmla="*/ 59493 h 67154"/>
                  <a:gd name="connsiteX4" fmla="*/ 4596 w 26076"/>
                  <a:gd name="connsiteY4" fmla="*/ 67154 h 67154"/>
                  <a:gd name="connsiteX5" fmla="*/ 5873 w 26076"/>
                  <a:gd name="connsiteY5" fmla="*/ 67154 h 67154"/>
                  <a:gd name="connsiteX6" fmla="*/ 12263 w 26076"/>
                  <a:gd name="connsiteY6" fmla="*/ 62047 h 67154"/>
                  <a:gd name="connsiteX7" fmla="*/ 25682 w 26076"/>
                  <a:gd name="connsiteY7" fmla="*/ 7145 h 67154"/>
                  <a:gd name="connsiteX8" fmla="*/ 21209 w 26076"/>
                  <a:gd name="connsiteY8" fmla="*/ 122 h 6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76" h="67154">
                    <a:moveTo>
                      <a:pt x="21209" y="122"/>
                    </a:moveTo>
                    <a:cubicBezTo>
                      <a:pt x="18015" y="-516"/>
                      <a:pt x="14181" y="1399"/>
                      <a:pt x="13541" y="4591"/>
                    </a:cubicBezTo>
                    <a:cubicBezTo>
                      <a:pt x="13541" y="4591"/>
                      <a:pt x="13541" y="4591"/>
                      <a:pt x="13541" y="4591"/>
                    </a:cubicBezTo>
                    <a:lnTo>
                      <a:pt x="122" y="59493"/>
                    </a:lnTo>
                    <a:cubicBezTo>
                      <a:pt x="-516" y="62685"/>
                      <a:pt x="1401" y="66516"/>
                      <a:pt x="4596" y="67154"/>
                    </a:cubicBezTo>
                    <a:lnTo>
                      <a:pt x="5873" y="67154"/>
                    </a:lnTo>
                    <a:cubicBezTo>
                      <a:pt x="9068" y="67154"/>
                      <a:pt x="11625" y="65239"/>
                      <a:pt x="12263" y="62047"/>
                    </a:cubicBezTo>
                    <a:lnTo>
                      <a:pt x="25682" y="7145"/>
                    </a:lnTo>
                    <a:cubicBezTo>
                      <a:pt x="26961" y="3953"/>
                      <a:pt x="25043" y="761"/>
                      <a:pt x="21209" y="122"/>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13" name="Graphic 4">
                <a:extLst>
                  <a:ext uri="{FF2B5EF4-FFF2-40B4-BE49-F238E27FC236}">
                    <a16:creationId xmlns:a16="http://schemas.microsoft.com/office/drawing/2014/main" id="{2321E732-540B-455D-B4D2-E9FAD6387001}"/>
                  </a:ext>
                </a:extLst>
              </p:cNvPr>
              <p:cNvSpPr/>
              <p:nvPr/>
            </p:nvSpPr>
            <p:spPr>
              <a:xfrm>
                <a:off x="6984840" y="986487"/>
                <a:ext cx="39618" cy="39580"/>
              </a:xfrm>
              <a:custGeom>
                <a:avLst/>
                <a:gdLst>
                  <a:gd name="connsiteX0" fmla="*/ 19809 w 39618"/>
                  <a:gd name="connsiteY0" fmla="*/ 39581 h 39580"/>
                  <a:gd name="connsiteX1" fmla="*/ 39618 w 39618"/>
                  <a:gd name="connsiteY1" fmla="*/ 19790 h 39580"/>
                  <a:gd name="connsiteX2" fmla="*/ 19809 w 39618"/>
                  <a:gd name="connsiteY2" fmla="*/ 0 h 39580"/>
                  <a:gd name="connsiteX3" fmla="*/ 0 w 39618"/>
                  <a:gd name="connsiteY3" fmla="*/ 19790 h 39580"/>
                  <a:gd name="connsiteX4" fmla="*/ 0 w 39618"/>
                  <a:gd name="connsiteY4" fmla="*/ 19790 h 39580"/>
                  <a:gd name="connsiteX5" fmla="*/ 19809 w 39618"/>
                  <a:gd name="connsiteY5" fmla="*/ 39581 h 39580"/>
                  <a:gd name="connsiteX6" fmla="*/ 19809 w 39618"/>
                  <a:gd name="connsiteY6" fmla="*/ 12768 h 39580"/>
                  <a:gd name="connsiteX7" fmla="*/ 26838 w 39618"/>
                  <a:gd name="connsiteY7" fmla="*/ 19790 h 39580"/>
                  <a:gd name="connsiteX8" fmla="*/ 19809 w 39618"/>
                  <a:gd name="connsiteY8" fmla="*/ 26813 h 39580"/>
                  <a:gd name="connsiteX9" fmla="*/ 12780 w 39618"/>
                  <a:gd name="connsiteY9" fmla="*/ 19790 h 39580"/>
                  <a:gd name="connsiteX10" fmla="*/ 12780 w 39618"/>
                  <a:gd name="connsiteY10" fmla="*/ 19790 h 39580"/>
                  <a:gd name="connsiteX11" fmla="*/ 19809 w 39618"/>
                  <a:gd name="connsiteY11" fmla="*/ 12768 h 39580"/>
                  <a:gd name="connsiteX12" fmla="*/ 19809 w 39618"/>
                  <a:gd name="connsiteY12" fmla="*/ 12768 h 3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618" h="39580">
                    <a:moveTo>
                      <a:pt x="19809" y="39581"/>
                    </a:moveTo>
                    <a:cubicBezTo>
                      <a:pt x="30672" y="39581"/>
                      <a:pt x="39618" y="30643"/>
                      <a:pt x="39618" y="19790"/>
                    </a:cubicBezTo>
                    <a:cubicBezTo>
                      <a:pt x="39618" y="8938"/>
                      <a:pt x="30672" y="0"/>
                      <a:pt x="19809" y="0"/>
                    </a:cubicBezTo>
                    <a:cubicBezTo>
                      <a:pt x="8946" y="0"/>
                      <a:pt x="0" y="8938"/>
                      <a:pt x="0" y="19790"/>
                    </a:cubicBezTo>
                    <a:cubicBezTo>
                      <a:pt x="0" y="19790"/>
                      <a:pt x="0" y="19790"/>
                      <a:pt x="0" y="19790"/>
                    </a:cubicBezTo>
                    <a:cubicBezTo>
                      <a:pt x="639" y="30643"/>
                      <a:pt x="8946" y="39581"/>
                      <a:pt x="19809" y="39581"/>
                    </a:cubicBezTo>
                    <a:close/>
                    <a:moveTo>
                      <a:pt x="19809" y="12768"/>
                    </a:moveTo>
                    <a:cubicBezTo>
                      <a:pt x="23643" y="12768"/>
                      <a:pt x="26838" y="15960"/>
                      <a:pt x="26838" y="19790"/>
                    </a:cubicBezTo>
                    <a:cubicBezTo>
                      <a:pt x="26838" y="23621"/>
                      <a:pt x="23643" y="26813"/>
                      <a:pt x="19809" y="26813"/>
                    </a:cubicBezTo>
                    <a:cubicBezTo>
                      <a:pt x="15975" y="26813"/>
                      <a:pt x="12780" y="23621"/>
                      <a:pt x="12780" y="19790"/>
                    </a:cubicBezTo>
                    <a:cubicBezTo>
                      <a:pt x="12780" y="19790"/>
                      <a:pt x="12780" y="19790"/>
                      <a:pt x="12780" y="19790"/>
                    </a:cubicBezTo>
                    <a:cubicBezTo>
                      <a:pt x="13419" y="15960"/>
                      <a:pt x="16614" y="12768"/>
                      <a:pt x="19809" y="12768"/>
                    </a:cubicBezTo>
                    <a:lnTo>
                      <a:pt x="19809" y="12768"/>
                    </a:ln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14" name="Graphic 4">
                <a:extLst>
                  <a:ext uri="{FF2B5EF4-FFF2-40B4-BE49-F238E27FC236}">
                    <a16:creationId xmlns:a16="http://schemas.microsoft.com/office/drawing/2014/main" id="{090F8E74-9701-457A-BE7C-5F895CB7AED4}"/>
                  </a:ext>
                </a:extLst>
              </p:cNvPr>
              <p:cNvSpPr/>
              <p:nvPr/>
            </p:nvSpPr>
            <p:spPr>
              <a:xfrm>
                <a:off x="6978199" y="1035644"/>
                <a:ext cx="55454" cy="141724"/>
              </a:xfrm>
              <a:custGeom>
                <a:avLst/>
                <a:gdLst>
                  <a:gd name="connsiteX0" fmla="*/ 34756 w 55454"/>
                  <a:gd name="connsiteY0" fmla="*/ 0 h 141724"/>
                  <a:gd name="connsiteX1" fmla="*/ 20699 w 55454"/>
                  <a:gd name="connsiteY1" fmla="*/ 0 h 141724"/>
                  <a:gd name="connsiteX2" fmla="*/ 14309 w 55454"/>
                  <a:gd name="connsiteY2" fmla="*/ 5107 h 141724"/>
                  <a:gd name="connsiteX3" fmla="*/ 251 w 55454"/>
                  <a:gd name="connsiteY3" fmla="*/ 74693 h 141724"/>
                  <a:gd name="connsiteX4" fmla="*/ 1529 w 55454"/>
                  <a:gd name="connsiteY4" fmla="*/ 79800 h 141724"/>
                  <a:gd name="connsiteX5" fmla="*/ 6641 w 55454"/>
                  <a:gd name="connsiteY5" fmla="*/ 82353 h 141724"/>
                  <a:gd name="connsiteX6" fmla="*/ 7279 w 55454"/>
                  <a:gd name="connsiteY6" fmla="*/ 82353 h 141724"/>
                  <a:gd name="connsiteX7" fmla="*/ 7279 w 55454"/>
                  <a:gd name="connsiteY7" fmla="*/ 135340 h 141724"/>
                  <a:gd name="connsiteX8" fmla="*/ 13669 w 55454"/>
                  <a:gd name="connsiteY8" fmla="*/ 141724 h 141724"/>
                  <a:gd name="connsiteX9" fmla="*/ 20059 w 55454"/>
                  <a:gd name="connsiteY9" fmla="*/ 135340 h 141724"/>
                  <a:gd name="connsiteX10" fmla="*/ 20059 w 55454"/>
                  <a:gd name="connsiteY10" fmla="*/ 82353 h 141724"/>
                  <a:gd name="connsiteX11" fmla="*/ 35395 w 55454"/>
                  <a:gd name="connsiteY11" fmla="*/ 82353 h 141724"/>
                  <a:gd name="connsiteX12" fmla="*/ 35395 w 55454"/>
                  <a:gd name="connsiteY12" fmla="*/ 135340 h 141724"/>
                  <a:gd name="connsiteX13" fmla="*/ 41785 w 55454"/>
                  <a:gd name="connsiteY13" fmla="*/ 141724 h 141724"/>
                  <a:gd name="connsiteX14" fmla="*/ 48175 w 55454"/>
                  <a:gd name="connsiteY14" fmla="*/ 135340 h 141724"/>
                  <a:gd name="connsiteX15" fmla="*/ 48175 w 55454"/>
                  <a:gd name="connsiteY15" fmla="*/ 82353 h 141724"/>
                  <a:gd name="connsiteX16" fmla="*/ 48814 w 55454"/>
                  <a:gd name="connsiteY16" fmla="*/ 82353 h 141724"/>
                  <a:gd name="connsiteX17" fmla="*/ 53926 w 55454"/>
                  <a:gd name="connsiteY17" fmla="*/ 79800 h 141724"/>
                  <a:gd name="connsiteX18" fmla="*/ 55204 w 55454"/>
                  <a:gd name="connsiteY18" fmla="*/ 74693 h 141724"/>
                  <a:gd name="connsiteX19" fmla="*/ 40508 w 55454"/>
                  <a:gd name="connsiteY19" fmla="*/ 5107 h 141724"/>
                  <a:gd name="connsiteX20" fmla="*/ 34756 w 55454"/>
                  <a:gd name="connsiteY20" fmla="*/ 0 h 141724"/>
                  <a:gd name="connsiteX21" fmla="*/ 14309 w 55454"/>
                  <a:gd name="connsiteY21" fmla="*/ 69585 h 141724"/>
                  <a:gd name="connsiteX22" fmla="*/ 25810 w 55454"/>
                  <a:gd name="connsiteY22" fmla="*/ 12768 h 141724"/>
                  <a:gd name="connsiteX23" fmla="*/ 29644 w 55454"/>
                  <a:gd name="connsiteY23" fmla="*/ 12768 h 141724"/>
                  <a:gd name="connsiteX24" fmla="*/ 41146 w 55454"/>
                  <a:gd name="connsiteY24" fmla="*/ 69585 h 141724"/>
                  <a:gd name="connsiteX25" fmla="*/ 14309 w 55454"/>
                  <a:gd name="connsiteY25" fmla="*/ 69585 h 14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5454" h="141724">
                    <a:moveTo>
                      <a:pt x="34756" y="0"/>
                    </a:moveTo>
                    <a:lnTo>
                      <a:pt x="20699" y="0"/>
                    </a:lnTo>
                    <a:cubicBezTo>
                      <a:pt x="17504" y="0"/>
                      <a:pt x="14948" y="1915"/>
                      <a:pt x="14309" y="5107"/>
                    </a:cubicBezTo>
                    <a:lnTo>
                      <a:pt x="251" y="74693"/>
                    </a:lnTo>
                    <a:cubicBezTo>
                      <a:pt x="-388" y="76608"/>
                      <a:pt x="251" y="78523"/>
                      <a:pt x="1529" y="79800"/>
                    </a:cubicBezTo>
                    <a:cubicBezTo>
                      <a:pt x="2807" y="81077"/>
                      <a:pt x="4724" y="82353"/>
                      <a:pt x="6641" y="82353"/>
                    </a:cubicBezTo>
                    <a:lnTo>
                      <a:pt x="7279" y="82353"/>
                    </a:lnTo>
                    <a:lnTo>
                      <a:pt x="7279" y="135340"/>
                    </a:lnTo>
                    <a:cubicBezTo>
                      <a:pt x="7279" y="139171"/>
                      <a:pt x="9836" y="141724"/>
                      <a:pt x="13669" y="141724"/>
                    </a:cubicBezTo>
                    <a:cubicBezTo>
                      <a:pt x="17504" y="141724"/>
                      <a:pt x="20059" y="139171"/>
                      <a:pt x="20059" y="135340"/>
                    </a:cubicBezTo>
                    <a:lnTo>
                      <a:pt x="20059" y="82353"/>
                    </a:lnTo>
                    <a:lnTo>
                      <a:pt x="35395" y="82353"/>
                    </a:lnTo>
                    <a:lnTo>
                      <a:pt x="35395" y="135340"/>
                    </a:lnTo>
                    <a:cubicBezTo>
                      <a:pt x="35395" y="139171"/>
                      <a:pt x="37951" y="141724"/>
                      <a:pt x="41785" y="141724"/>
                    </a:cubicBezTo>
                    <a:cubicBezTo>
                      <a:pt x="45619" y="141724"/>
                      <a:pt x="48175" y="139171"/>
                      <a:pt x="48175" y="135340"/>
                    </a:cubicBezTo>
                    <a:lnTo>
                      <a:pt x="48175" y="82353"/>
                    </a:lnTo>
                    <a:lnTo>
                      <a:pt x="48814" y="82353"/>
                    </a:lnTo>
                    <a:cubicBezTo>
                      <a:pt x="50731" y="82353"/>
                      <a:pt x="52649" y="81715"/>
                      <a:pt x="53926" y="79800"/>
                    </a:cubicBezTo>
                    <a:cubicBezTo>
                      <a:pt x="55204" y="78523"/>
                      <a:pt x="55844" y="76608"/>
                      <a:pt x="55204" y="74693"/>
                    </a:cubicBezTo>
                    <a:lnTo>
                      <a:pt x="40508" y="5107"/>
                    </a:lnTo>
                    <a:cubicBezTo>
                      <a:pt x="39869" y="2554"/>
                      <a:pt x="37313" y="0"/>
                      <a:pt x="34756" y="0"/>
                    </a:cubicBezTo>
                    <a:close/>
                    <a:moveTo>
                      <a:pt x="14309" y="69585"/>
                    </a:moveTo>
                    <a:lnTo>
                      <a:pt x="25810" y="12768"/>
                    </a:lnTo>
                    <a:lnTo>
                      <a:pt x="29644" y="12768"/>
                    </a:lnTo>
                    <a:lnTo>
                      <a:pt x="41146" y="69585"/>
                    </a:lnTo>
                    <a:lnTo>
                      <a:pt x="14309" y="69585"/>
                    </a:ln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15" name="Graphic 4">
                <a:extLst>
                  <a:ext uri="{FF2B5EF4-FFF2-40B4-BE49-F238E27FC236}">
                    <a16:creationId xmlns:a16="http://schemas.microsoft.com/office/drawing/2014/main" id="{8D7F9F48-D2A8-43EC-8C9A-BD3EBC20BCDE}"/>
                  </a:ext>
                </a:extLst>
              </p:cNvPr>
              <p:cNvSpPr/>
              <p:nvPr/>
            </p:nvSpPr>
            <p:spPr>
              <a:xfrm>
                <a:off x="6841705" y="986487"/>
                <a:ext cx="39618" cy="39580"/>
              </a:xfrm>
              <a:custGeom>
                <a:avLst/>
                <a:gdLst>
                  <a:gd name="connsiteX0" fmla="*/ 19809 w 39618"/>
                  <a:gd name="connsiteY0" fmla="*/ 39581 h 39580"/>
                  <a:gd name="connsiteX1" fmla="*/ 39618 w 39618"/>
                  <a:gd name="connsiteY1" fmla="*/ 19790 h 39580"/>
                  <a:gd name="connsiteX2" fmla="*/ 19809 w 39618"/>
                  <a:gd name="connsiteY2" fmla="*/ 0 h 39580"/>
                  <a:gd name="connsiteX3" fmla="*/ 0 w 39618"/>
                  <a:gd name="connsiteY3" fmla="*/ 19790 h 39580"/>
                  <a:gd name="connsiteX4" fmla="*/ 0 w 39618"/>
                  <a:gd name="connsiteY4" fmla="*/ 19790 h 39580"/>
                  <a:gd name="connsiteX5" fmla="*/ 19809 w 39618"/>
                  <a:gd name="connsiteY5" fmla="*/ 39581 h 39580"/>
                  <a:gd name="connsiteX6" fmla="*/ 19809 w 39618"/>
                  <a:gd name="connsiteY6" fmla="*/ 12768 h 39580"/>
                  <a:gd name="connsiteX7" fmla="*/ 26199 w 39618"/>
                  <a:gd name="connsiteY7" fmla="*/ 20429 h 39580"/>
                  <a:gd name="connsiteX8" fmla="*/ 19809 w 39618"/>
                  <a:gd name="connsiteY8" fmla="*/ 26813 h 39580"/>
                  <a:gd name="connsiteX9" fmla="*/ 12141 w 39618"/>
                  <a:gd name="connsiteY9" fmla="*/ 20429 h 39580"/>
                  <a:gd name="connsiteX10" fmla="*/ 18531 w 39618"/>
                  <a:gd name="connsiteY10" fmla="*/ 12768 h 39580"/>
                  <a:gd name="connsiteX11" fmla="*/ 19809 w 39618"/>
                  <a:gd name="connsiteY11" fmla="*/ 12768 h 3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618" h="39580">
                    <a:moveTo>
                      <a:pt x="19809" y="39581"/>
                    </a:moveTo>
                    <a:cubicBezTo>
                      <a:pt x="30672" y="39581"/>
                      <a:pt x="39618" y="30643"/>
                      <a:pt x="39618" y="19790"/>
                    </a:cubicBezTo>
                    <a:cubicBezTo>
                      <a:pt x="39618" y="8938"/>
                      <a:pt x="30672" y="0"/>
                      <a:pt x="19809" y="0"/>
                    </a:cubicBezTo>
                    <a:cubicBezTo>
                      <a:pt x="8946" y="0"/>
                      <a:pt x="0" y="8938"/>
                      <a:pt x="0" y="19790"/>
                    </a:cubicBezTo>
                    <a:cubicBezTo>
                      <a:pt x="0" y="19790"/>
                      <a:pt x="0" y="19790"/>
                      <a:pt x="0" y="19790"/>
                    </a:cubicBezTo>
                    <a:cubicBezTo>
                      <a:pt x="640" y="30643"/>
                      <a:pt x="8946" y="39581"/>
                      <a:pt x="19809" y="39581"/>
                    </a:cubicBezTo>
                    <a:close/>
                    <a:moveTo>
                      <a:pt x="19809" y="12768"/>
                    </a:moveTo>
                    <a:cubicBezTo>
                      <a:pt x="23643" y="13406"/>
                      <a:pt x="26199" y="16598"/>
                      <a:pt x="26199" y="20429"/>
                    </a:cubicBezTo>
                    <a:cubicBezTo>
                      <a:pt x="26199" y="23621"/>
                      <a:pt x="23004" y="26174"/>
                      <a:pt x="19809" y="26813"/>
                    </a:cubicBezTo>
                    <a:cubicBezTo>
                      <a:pt x="15975" y="27451"/>
                      <a:pt x="12780" y="24259"/>
                      <a:pt x="12141" y="20429"/>
                    </a:cubicBezTo>
                    <a:cubicBezTo>
                      <a:pt x="11502" y="16598"/>
                      <a:pt x="14697" y="13406"/>
                      <a:pt x="18531" y="12768"/>
                    </a:cubicBezTo>
                    <a:cubicBezTo>
                      <a:pt x="19170" y="12768"/>
                      <a:pt x="19809" y="12768"/>
                      <a:pt x="19809" y="12768"/>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16" name="Graphic 4">
                <a:extLst>
                  <a:ext uri="{FF2B5EF4-FFF2-40B4-BE49-F238E27FC236}">
                    <a16:creationId xmlns:a16="http://schemas.microsoft.com/office/drawing/2014/main" id="{FC1E778B-3344-4C67-9FB8-46F0CCA1B3A6}"/>
                  </a:ext>
                </a:extLst>
              </p:cNvPr>
              <p:cNvSpPr/>
              <p:nvPr/>
            </p:nvSpPr>
            <p:spPr>
              <a:xfrm>
                <a:off x="6835064" y="1035644"/>
                <a:ext cx="55204" cy="141724"/>
              </a:xfrm>
              <a:custGeom>
                <a:avLst/>
                <a:gdLst>
                  <a:gd name="connsiteX0" fmla="*/ 34756 w 55204"/>
                  <a:gd name="connsiteY0" fmla="*/ 0 h 141724"/>
                  <a:gd name="connsiteX1" fmla="*/ 20699 w 55204"/>
                  <a:gd name="connsiteY1" fmla="*/ 0 h 141724"/>
                  <a:gd name="connsiteX2" fmla="*/ 14309 w 55204"/>
                  <a:gd name="connsiteY2" fmla="*/ 5107 h 141724"/>
                  <a:gd name="connsiteX3" fmla="*/ 251 w 55204"/>
                  <a:gd name="connsiteY3" fmla="*/ 74693 h 141724"/>
                  <a:gd name="connsiteX4" fmla="*/ 1529 w 55204"/>
                  <a:gd name="connsiteY4" fmla="*/ 79800 h 141724"/>
                  <a:gd name="connsiteX5" fmla="*/ 6641 w 55204"/>
                  <a:gd name="connsiteY5" fmla="*/ 82353 h 141724"/>
                  <a:gd name="connsiteX6" fmla="*/ 7280 w 55204"/>
                  <a:gd name="connsiteY6" fmla="*/ 82353 h 141724"/>
                  <a:gd name="connsiteX7" fmla="*/ 7280 w 55204"/>
                  <a:gd name="connsiteY7" fmla="*/ 135340 h 141724"/>
                  <a:gd name="connsiteX8" fmla="*/ 13670 w 55204"/>
                  <a:gd name="connsiteY8" fmla="*/ 141724 h 141724"/>
                  <a:gd name="connsiteX9" fmla="*/ 20060 w 55204"/>
                  <a:gd name="connsiteY9" fmla="*/ 135340 h 141724"/>
                  <a:gd name="connsiteX10" fmla="*/ 20060 w 55204"/>
                  <a:gd name="connsiteY10" fmla="*/ 82353 h 141724"/>
                  <a:gd name="connsiteX11" fmla="*/ 35395 w 55204"/>
                  <a:gd name="connsiteY11" fmla="*/ 82353 h 141724"/>
                  <a:gd name="connsiteX12" fmla="*/ 35395 w 55204"/>
                  <a:gd name="connsiteY12" fmla="*/ 135340 h 141724"/>
                  <a:gd name="connsiteX13" fmla="*/ 41785 w 55204"/>
                  <a:gd name="connsiteY13" fmla="*/ 141724 h 141724"/>
                  <a:gd name="connsiteX14" fmla="*/ 48175 w 55204"/>
                  <a:gd name="connsiteY14" fmla="*/ 135340 h 141724"/>
                  <a:gd name="connsiteX15" fmla="*/ 48175 w 55204"/>
                  <a:gd name="connsiteY15" fmla="*/ 82353 h 141724"/>
                  <a:gd name="connsiteX16" fmla="*/ 48815 w 55204"/>
                  <a:gd name="connsiteY16" fmla="*/ 82353 h 141724"/>
                  <a:gd name="connsiteX17" fmla="*/ 55205 w 55204"/>
                  <a:gd name="connsiteY17" fmla="*/ 75969 h 141724"/>
                  <a:gd name="connsiteX18" fmla="*/ 55205 w 55204"/>
                  <a:gd name="connsiteY18" fmla="*/ 74693 h 141724"/>
                  <a:gd name="connsiteX19" fmla="*/ 40508 w 55204"/>
                  <a:gd name="connsiteY19" fmla="*/ 5107 h 141724"/>
                  <a:gd name="connsiteX20" fmla="*/ 34756 w 55204"/>
                  <a:gd name="connsiteY20" fmla="*/ 0 h 141724"/>
                  <a:gd name="connsiteX21" fmla="*/ 14309 w 55204"/>
                  <a:gd name="connsiteY21" fmla="*/ 69585 h 141724"/>
                  <a:gd name="connsiteX22" fmla="*/ 25810 w 55204"/>
                  <a:gd name="connsiteY22" fmla="*/ 12768 h 141724"/>
                  <a:gd name="connsiteX23" fmla="*/ 29645 w 55204"/>
                  <a:gd name="connsiteY23" fmla="*/ 12768 h 141724"/>
                  <a:gd name="connsiteX24" fmla="*/ 41785 w 55204"/>
                  <a:gd name="connsiteY24" fmla="*/ 69585 h 141724"/>
                  <a:gd name="connsiteX25" fmla="*/ 14309 w 55204"/>
                  <a:gd name="connsiteY25" fmla="*/ 69585 h 14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5204" h="141724">
                    <a:moveTo>
                      <a:pt x="34756" y="0"/>
                    </a:moveTo>
                    <a:lnTo>
                      <a:pt x="20699" y="0"/>
                    </a:lnTo>
                    <a:cubicBezTo>
                      <a:pt x="17504" y="0"/>
                      <a:pt x="14948" y="1915"/>
                      <a:pt x="14309" y="5107"/>
                    </a:cubicBezTo>
                    <a:lnTo>
                      <a:pt x="251" y="74693"/>
                    </a:lnTo>
                    <a:cubicBezTo>
                      <a:pt x="-388" y="76608"/>
                      <a:pt x="251" y="78523"/>
                      <a:pt x="1529" y="79800"/>
                    </a:cubicBezTo>
                    <a:cubicBezTo>
                      <a:pt x="2807" y="81077"/>
                      <a:pt x="4724" y="82353"/>
                      <a:pt x="6641" y="82353"/>
                    </a:cubicBezTo>
                    <a:lnTo>
                      <a:pt x="7280" y="82353"/>
                    </a:lnTo>
                    <a:lnTo>
                      <a:pt x="7280" y="135340"/>
                    </a:lnTo>
                    <a:cubicBezTo>
                      <a:pt x="7280" y="139171"/>
                      <a:pt x="9836" y="141724"/>
                      <a:pt x="13670" y="141724"/>
                    </a:cubicBezTo>
                    <a:cubicBezTo>
                      <a:pt x="17504" y="141724"/>
                      <a:pt x="20060" y="139171"/>
                      <a:pt x="20060" y="135340"/>
                    </a:cubicBezTo>
                    <a:lnTo>
                      <a:pt x="20060" y="82353"/>
                    </a:lnTo>
                    <a:lnTo>
                      <a:pt x="35395" y="82353"/>
                    </a:lnTo>
                    <a:lnTo>
                      <a:pt x="35395" y="135340"/>
                    </a:lnTo>
                    <a:cubicBezTo>
                      <a:pt x="35395" y="139171"/>
                      <a:pt x="37951" y="141724"/>
                      <a:pt x="41785" y="141724"/>
                    </a:cubicBezTo>
                    <a:cubicBezTo>
                      <a:pt x="45620" y="141724"/>
                      <a:pt x="48175" y="139171"/>
                      <a:pt x="48175" y="135340"/>
                    </a:cubicBezTo>
                    <a:lnTo>
                      <a:pt x="48175" y="82353"/>
                    </a:lnTo>
                    <a:lnTo>
                      <a:pt x="48815" y="82353"/>
                    </a:lnTo>
                    <a:cubicBezTo>
                      <a:pt x="52649" y="82353"/>
                      <a:pt x="55205" y="79800"/>
                      <a:pt x="55205" y="75969"/>
                    </a:cubicBezTo>
                    <a:cubicBezTo>
                      <a:pt x="55205" y="75331"/>
                      <a:pt x="55205" y="75331"/>
                      <a:pt x="55205" y="74693"/>
                    </a:cubicBezTo>
                    <a:lnTo>
                      <a:pt x="40508" y="5107"/>
                    </a:lnTo>
                    <a:cubicBezTo>
                      <a:pt x="40508" y="1915"/>
                      <a:pt x="37313" y="0"/>
                      <a:pt x="34756" y="0"/>
                    </a:cubicBezTo>
                    <a:close/>
                    <a:moveTo>
                      <a:pt x="14309" y="69585"/>
                    </a:moveTo>
                    <a:lnTo>
                      <a:pt x="25810" y="12768"/>
                    </a:lnTo>
                    <a:lnTo>
                      <a:pt x="29645" y="12768"/>
                    </a:lnTo>
                    <a:lnTo>
                      <a:pt x="41785" y="69585"/>
                    </a:lnTo>
                    <a:lnTo>
                      <a:pt x="14309" y="69585"/>
                    </a:ln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17" name="Graphic 4">
                <a:extLst>
                  <a:ext uri="{FF2B5EF4-FFF2-40B4-BE49-F238E27FC236}">
                    <a16:creationId xmlns:a16="http://schemas.microsoft.com/office/drawing/2014/main" id="{CABEC3A7-7DCC-4572-A509-6BB52D6EDD1C}"/>
                  </a:ext>
                </a:extLst>
              </p:cNvPr>
              <p:cNvSpPr/>
              <p:nvPr/>
            </p:nvSpPr>
            <p:spPr>
              <a:xfrm>
                <a:off x="6915189" y="1034367"/>
                <a:ext cx="38979" cy="38942"/>
              </a:xfrm>
              <a:custGeom>
                <a:avLst/>
                <a:gdLst>
                  <a:gd name="connsiteX0" fmla="*/ 19170 w 38979"/>
                  <a:gd name="connsiteY0" fmla="*/ 38942 h 38942"/>
                  <a:gd name="connsiteX1" fmla="*/ 38979 w 38979"/>
                  <a:gd name="connsiteY1" fmla="*/ 19790 h 38942"/>
                  <a:gd name="connsiteX2" fmla="*/ 19809 w 38979"/>
                  <a:gd name="connsiteY2" fmla="*/ 0 h 38942"/>
                  <a:gd name="connsiteX3" fmla="*/ 0 w 38979"/>
                  <a:gd name="connsiteY3" fmla="*/ 19152 h 38942"/>
                  <a:gd name="connsiteX4" fmla="*/ 0 w 38979"/>
                  <a:gd name="connsiteY4" fmla="*/ 19790 h 38942"/>
                  <a:gd name="connsiteX5" fmla="*/ 19170 w 38979"/>
                  <a:gd name="connsiteY5" fmla="*/ 38942 h 38942"/>
                  <a:gd name="connsiteX6" fmla="*/ 19170 w 38979"/>
                  <a:gd name="connsiteY6" fmla="*/ 12768 h 38942"/>
                  <a:gd name="connsiteX7" fmla="*/ 26199 w 38979"/>
                  <a:gd name="connsiteY7" fmla="*/ 19152 h 38942"/>
                  <a:gd name="connsiteX8" fmla="*/ 19809 w 38979"/>
                  <a:gd name="connsiteY8" fmla="*/ 26174 h 38942"/>
                  <a:gd name="connsiteX9" fmla="*/ 12780 w 38979"/>
                  <a:gd name="connsiteY9" fmla="*/ 19790 h 38942"/>
                  <a:gd name="connsiteX10" fmla="*/ 12780 w 38979"/>
                  <a:gd name="connsiteY10" fmla="*/ 19152 h 38942"/>
                  <a:gd name="connsiteX11" fmla="*/ 19170 w 38979"/>
                  <a:gd name="connsiteY11" fmla="*/ 12768 h 3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979" h="38942">
                    <a:moveTo>
                      <a:pt x="19170" y="38942"/>
                    </a:moveTo>
                    <a:cubicBezTo>
                      <a:pt x="30033" y="38942"/>
                      <a:pt x="38979" y="30643"/>
                      <a:pt x="38979" y="19790"/>
                    </a:cubicBezTo>
                    <a:cubicBezTo>
                      <a:pt x="38979" y="8938"/>
                      <a:pt x="30672" y="0"/>
                      <a:pt x="19809" y="0"/>
                    </a:cubicBezTo>
                    <a:cubicBezTo>
                      <a:pt x="8946" y="0"/>
                      <a:pt x="0" y="8299"/>
                      <a:pt x="0" y="19152"/>
                    </a:cubicBezTo>
                    <a:cubicBezTo>
                      <a:pt x="0" y="19152"/>
                      <a:pt x="0" y="19152"/>
                      <a:pt x="0" y="19790"/>
                    </a:cubicBezTo>
                    <a:cubicBezTo>
                      <a:pt x="0" y="30005"/>
                      <a:pt x="8946" y="38304"/>
                      <a:pt x="19170" y="38942"/>
                    </a:cubicBezTo>
                    <a:close/>
                    <a:moveTo>
                      <a:pt x="19170" y="12768"/>
                    </a:moveTo>
                    <a:cubicBezTo>
                      <a:pt x="23004" y="12768"/>
                      <a:pt x="26199" y="15322"/>
                      <a:pt x="26199" y="19152"/>
                    </a:cubicBezTo>
                    <a:cubicBezTo>
                      <a:pt x="26199" y="22982"/>
                      <a:pt x="23643" y="26174"/>
                      <a:pt x="19809" y="26174"/>
                    </a:cubicBezTo>
                    <a:cubicBezTo>
                      <a:pt x="15975" y="26174"/>
                      <a:pt x="12780" y="23621"/>
                      <a:pt x="12780" y="19790"/>
                    </a:cubicBezTo>
                    <a:cubicBezTo>
                      <a:pt x="12780" y="19790"/>
                      <a:pt x="12780" y="19790"/>
                      <a:pt x="12780" y="19152"/>
                    </a:cubicBezTo>
                    <a:cubicBezTo>
                      <a:pt x="12780" y="15960"/>
                      <a:pt x="15975" y="12768"/>
                      <a:pt x="19170" y="12768"/>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18" name="Graphic 4">
                <a:extLst>
                  <a:ext uri="{FF2B5EF4-FFF2-40B4-BE49-F238E27FC236}">
                    <a16:creationId xmlns:a16="http://schemas.microsoft.com/office/drawing/2014/main" id="{67411254-CD89-433A-A16D-E4B02F9F5B0C}"/>
                  </a:ext>
                </a:extLst>
              </p:cNvPr>
              <p:cNvSpPr/>
              <p:nvPr/>
            </p:nvSpPr>
            <p:spPr>
              <a:xfrm>
                <a:off x="6902409" y="1083524"/>
                <a:ext cx="63899" cy="140447"/>
              </a:xfrm>
              <a:custGeom>
                <a:avLst/>
                <a:gdLst>
                  <a:gd name="connsiteX0" fmla="*/ 57509 w 63899"/>
                  <a:gd name="connsiteY0" fmla="*/ 0 h 140447"/>
                  <a:gd name="connsiteX1" fmla="*/ 6390 w 63899"/>
                  <a:gd name="connsiteY1" fmla="*/ 0 h 140447"/>
                  <a:gd name="connsiteX2" fmla="*/ 0 w 63899"/>
                  <a:gd name="connsiteY2" fmla="*/ 6384 h 140447"/>
                  <a:gd name="connsiteX3" fmla="*/ 0 w 63899"/>
                  <a:gd name="connsiteY3" fmla="*/ 69585 h 140447"/>
                  <a:gd name="connsiteX4" fmla="*/ 6390 w 63899"/>
                  <a:gd name="connsiteY4" fmla="*/ 75969 h 140447"/>
                  <a:gd name="connsiteX5" fmla="*/ 13419 w 63899"/>
                  <a:gd name="connsiteY5" fmla="*/ 75969 h 140447"/>
                  <a:gd name="connsiteX6" fmla="*/ 13419 w 63899"/>
                  <a:gd name="connsiteY6" fmla="*/ 134064 h 140447"/>
                  <a:gd name="connsiteX7" fmla="*/ 19809 w 63899"/>
                  <a:gd name="connsiteY7" fmla="*/ 140448 h 140447"/>
                  <a:gd name="connsiteX8" fmla="*/ 26199 w 63899"/>
                  <a:gd name="connsiteY8" fmla="*/ 134064 h 140447"/>
                  <a:gd name="connsiteX9" fmla="*/ 26199 w 63899"/>
                  <a:gd name="connsiteY9" fmla="*/ 75969 h 140447"/>
                  <a:gd name="connsiteX10" fmla="*/ 39618 w 63899"/>
                  <a:gd name="connsiteY10" fmla="*/ 75969 h 140447"/>
                  <a:gd name="connsiteX11" fmla="*/ 39618 w 63899"/>
                  <a:gd name="connsiteY11" fmla="*/ 134064 h 140447"/>
                  <a:gd name="connsiteX12" fmla="*/ 46008 w 63899"/>
                  <a:gd name="connsiteY12" fmla="*/ 140448 h 140447"/>
                  <a:gd name="connsiteX13" fmla="*/ 52398 w 63899"/>
                  <a:gd name="connsiteY13" fmla="*/ 134064 h 140447"/>
                  <a:gd name="connsiteX14" fmla="*/ 52398 w 63899"/>
                  <a:gd name="connsiteY14" fmla="*/ 75969 h 140447"/>
                  <a:gd name="connsiteX15" fmla="*/ 57509 w 63899"/>
                  <a:gd name="connsiteY15" fmla="*/ 75969 h 140447"/>
                  <a:gd name="connsiteX16" fmla="*/ 63899 w 63899"/>
                  <a:gd name="connsiteY16" fmla="*/ 69585 h 140447"/>
                  <a:gd name="connsiteX17" fmla="*/ 63899 w 63899"/>
                  <a:gd name="connsiteY17" fmla="*/ 6384 h 140447"/>
                  <a:gd name="connsiteX18" fmla="*/ 57509 w 63899"/>
                  <a:gd name="connsiteY18" fmla="*/ 0 h 140447"/>
                  <a:gd name="connsiteX19" fmla="*/ 12780 w 63899"/>
                  <a:gd name="connsiteY19" fmla="*/ 12768 h 140447"/>
                  <a:gd name="connsiteX20" fmla="*/ 51119 w 63899"/>
                  <a:gd name="connsiteY20" fmla="*/ 12768 h 140447"/>
                  <a:gd name="connsiteX21" fmla="*/ 51119 w 63899"/>
                  <a:gd name="connsiteY21" fmla="*/ 63201 h 140447"/>
                  <a:gd name="connsiteX22" fmla="*/ 12780 w 63899"/>
                  <a:gd name="connsiteY22" fmla="*/ 63201 h 140447"/>
                  <a:gd name="connsiteX23" fmla="*/ 12780 w 63899"/>
                  <a:gd name="connsiteY23" fmla="*/ 12768 h 140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899" h="140447">
                    <a:moveTo>
                      <a:pt x="57509" y="0"/>
                    </a:moveTo>
                    <a:lnTo>
                      <a:pt x="6390" y="0"/>
                    </a:lnTo>
                    <a:cubicBezTo>
                      <a:pt x="2556" y="0"/>
                      <a:pt x="0" y="2554"/>
                      <a:pt x="0" y="6384"/>
                    </a:cubicBezTo>
                    <a:lnTo>
                      <a:pt x="0" y="69585"/>
                    </a:lnTo>
                    <a:cubicBezTo>
                      <a:pt x="0" y="73416"/>
                      <a:pt x="2556" y="75969"/>
                      <a:pt x="6390" y="75969"/>
                    </a:cubicBezTo>
                    <a:lnTo>
                      <a:pt x="13419" y="75969"/>
                    </a:lnTo>
                    <a:lnTo>
                      <a:pt x="13419" y="134064"/>
                    </a:lnTo>
                    <a:cubicBezTo>
                      <a:pt x="13419" y="137894"/>
                      <a:pt x="15975" y="140448"/>
                      <a:pt x="19809" y="140448"/>
                    </a:cubicBezTo>
                    <a:cubicBezTo>
                      <a:pt x="23643" y="140448"/>
                      <a:pt x="26199" y="137894"/>
                      <a:pt x="26199" y="134064"/>
                    </a:cubicBezTo>
                    <a:lnTo>
                      <a:pt x="26199" y="75969"/>
                    </a:lnTo>
                    <a:lnTo>
                      <a:pt x="39618" y="75969"/>
                    </a:lnTo>
                    <a:lnTo>
                      <a:pt x="39618" y="134064"/>
                    </a:lnTo>
                    <a:cubicBezTo>
                      <a:pt x="39618" y="137894"/>
                      <a:pt x="42174" y="140448"/>
                      <a:pt x="46008" y="140448"/>
                    </a:cubicBezTo>
                    <a:cubicBezTo>
                      <a:pt x="49842" y="140448"/>
                      <a:pt x="52398" y="137894"/>
                      <a:pt x="52398" y="134064"/>
                    </a:cubicBezTo>
                    <a:lnTo>
                      <a:pt x="52398" y="75969"/>
                    </a:lnTo>
                    <a:lnTo>
                      <a:pt x="57509" y="75969"/>
                    </a:lnTo>
                    <a:cubicBezTo>
                      <a:pt x="61344" y="75969"/>
                      <a:pt x="63899" y="73416"/>
                      <a:pt x="63899" y="69585"/>
                    </a:cubicBezTo>
                    <a:lnTo>
                      <a:pt x="63899" y="6384"/>
                    </a:lnTo>
                    <a:cubicBezTo>
                      <a:pt x="63899" y="3192"/>
                      <a:pt x="61344" y="0"/>
                      <a:pt x="57509" y="0"/>
                    </a:cubicBezTo>
                    <a:close/>
                    <a:moveTo>
                      <a:pt x="12780" y="12768"/>
                    </a:moveTo>
                    <a:lnTo>
                      <a:pt x="51119" y="12768"/>
                    </a:lnTo>
                    <a:lnTo>
                      <a:pt x="51119" y="63201"/>
                    </a:lnTo>
                    <a:lnTo>
                      <a:pt x="12780" y="63201"/>
                    </a:lnTo>
                    <a:lnTo>
                      <a:pt x="12780" y="12768"/>
                    </a:ln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109" name="TextBox 21">
              <a:extLst>
                <a:ext uri="{FF2B5EF4-FFF2-40B4-BE49-F238E27FC236}">
                  <a16:creationId xmlns:a16="http://schemas.microsoft.com/office/drawing/2014/main" id="{C738F3DC-D31E-450E-B17B-81BCB4E819A0}"/>
                </a:ext>
              </a:extLst>
            </p:cNvPr>
            <p:cNvSpPr txBox="1"/>
            <p:nvPr/>
          </p:nvSpPr>
          <p:spPr>
            <a:xfrm>
              <a:off x="2373687" y="2243019"/>
              <a:ext cx="2335473" cy="421269"/>
            </a:xfrm>
            <a:prstGeom prst="rect">
              <a:avLst/>
            </a:prstGeom>
            <a:noFill/>
          </p:spPr>
          <p:txBody>
            <a:bodyPr wrap="square" lIns="0" tIns="0" rIns="0" bIns="0" rtlCol="0">
              <a:spAutoFit/>
            </a:bodyPr>
            <a:lstStyle/>
            <a:p>
              <a:pPr marL="0" marR="0" lvl="0" indent="0" algn="l" defTabSz="1219170" rtl="0" eaLnBrk="0" fontAlgn="base" latinLnBrk="0" hangingPunct="0">
                <a:lnSpc>
                  <a:spcPct val="11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Verdana"/>
                  <a:ea typeface="+mn-ea"/>
                  <a:cs typeface="+mn-cs"/>
                </a:rPr>
                <a:t>10 888 participants</a:t>
              </a:r>
              <a:r>
                <a:rPr kumimoji="0" lang="en-GB" sz="1100" b="1" i="0" u="none" strike="noStrike" kern="1200" cap="none" spc="0" normalizeH="0" baseline="0" noProof="0" dirty="0">
                  <a:ln>
                    <a:noFill/>
                  </a:ln>
                  <a:solidFill>
                    <a:prstClr val="black"/>
                  </a:solidFill>
                  <a:effectLst/>
                  <a:uLnTx/>
                  <a:uFillTx/>
                  <a:latin typeface="Verdana"/>
                  <a:ea typeface="+mn-ea"/>
                  <a:cs typeface="+mn-cs"/>
                </a:rPr>
                <a:t> </a:t>
              </a:r>
            </a:p>
            <a:p>
              <a:pPr marL="0" marR="0" lvl="0" indent="0" algn="l" defTabSz="1219170" rtl="0" eaLnBrk="0" fontAlgn="base" latinLnBrk="0" hangingPunct="0">
                <a:lnSpc>
                  <a:spcPct val="110000"/>
                </a:lnSpc>
                <a:spcBef>
                  <a:spcPct val="0"/>
                </a:spcBef>
                <a:spcAft>
                  <a:spcPct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Verdana"/>
                  <a:ea typeface="+mn-ea"/>
                  <a:cs typeface="+mn-cs"/>
                </a:rPr>
                <a:t>(</a:t>
              </a:r>
              <a:r>
                <a:rPr lang="en-GB" sz="1100" b="1" dirty="0" err="1">
                  <a:solidFill>
                    <a:prstClr val="black"/>
                  </a:solidFill>
                  <a:latin typeface="Verdana"/>
                </a:rPr>
                <a:t>âgés</a:t>
              </a:r>
              <a:r>
                <a:rPr lang="en-GB" sz="1100" b="1" dirty="0">
                  <a:solidFill>
                    <a:prstClr val="black"/>
                  </a:solidFill>
                  <a:latin typeface="Verdana"/>
                </a:rPr>
                <a:t> de</a:t>
              </a:r>
              <a:r>
                <a:rPr kumimoji="0" lang="en-GB" sz="1100" b="1" i="0" u="none" strike="noStrike" kern="1200" cap="none" spc="0" normalizeH="0" baseline="0" noProof="0" dirty="0">
                  <a:ln>
                    <a:noFill/>
                  </a:ln>
                  <a:solidFill>
                    <a:prstClr val="black"/>
                  </a:solidFill>
                  <a:effectLst/>
                  <a:uLnTx/>
                  <a:uFillTx/>
                  <a:latin typeface="Verdana"/>
                  <a:ea typeface="+mn-ea"/>
                  <a:cs typeface="+mn-cs"/>
                </a:rPr>
                <a:t> 16 </a:t>
              </a:r>
              <a:r>
                <a:rPr kumimoji="0" lang="en-GB" sz="1100" b="1" i="0" u="none" strike="noStrike" kern="1200" cap="none" spc="0" normalizeH="0" baseline="0" noProof="0" dirty="0" err="1">
                  <a:ln>
                    <a:noFill/>
                  </a:ln>
                  <a:solidFill>
                    <a:prstClr val="black"/>
                  </a:solidFill>
                  <a:effectLst/>
                  <a:uLnTx/>
                  <a:uFillTx/>
                  <a:latin typeface="Verdana"/>
                  <a:ea typeface="+mn-ea"/>
                  <a:cs typeface="+mn-cs"/>
                </a:rPr>
                <a:t>ans</a:t>
              </a:r>
              <a:r>
                <a:rPr kumimoji="0" lang="en-GB" sz="1100" b="1" i="0" u="none" strike="noStrike" kern="1200" cap="none" spc="0" normalizeH="0" baseline="0" noProof="0" dirty="0">
                  <a:ln>
                    <a:noFill/>
                  </a:ln>
                  <a:solidFill>
                    <a:prstClr val="black"/>
                  </a:solidFill>
                  <a:effectLst/>
                  <a:uLnTx/>
                  <a:uFillTx/>
                  <a:latin typeface="Verdana"/>
                  <a:ea typeface="+mn-ea"/>
                  <a:cs typeface="+mn-cs"/>
                </a:rPr>
                <a:t> et plus)</a:t>
              </a:r>
              <a:endParaRPr kumimoji="0" lang="en-GB" sz="800" b="0" i="0" u="none" strike="noStrike" kern="1200" cap="none" spc="0" normalizeH="0" baseline="30000" noProof="0" dirty="0">
                <a:ln>
                  <a:noFill/>
                </a:ln>
                <a:solidFill>
                  <a:prstClr val="black"/>
                </a:solidFill>
                <a:effectLst/>
                <a:uLnTx/>
                <a:uFillTx/>
                <a:latin typeface="Verdana"/>
                <a:ea typeface="+mn-ea"/>
                <a:cs typeface="+mn-cs"/>
              </a:endParaRPr>
            </a:p>
          </p:txBody>
        </p:sp>
      </p:grpSp>
      <p:grpSp>
        <p:nvGrpSpPr>
          <p:cNvPr id="119" name="Gruppieren 5">
            <a:extLst>
              <a:ext uri="{FF2B5EF4-FFF2-40B4-BE49-F238E27FC236}">
                <a16:creationId xmlns:a16="http://schemas.microsoft.com/office/drawing/2014/main" id="{DC2BE5E6-C996-4FE7-A2F8-772C1056B6D5}"/>
              </a:ext>
            </a:extLst>
          </p:cNvPr>
          <p:cNvGrpSpPr>
            <a:grpSpLocks noChangeAspect="1"/>
          </p:cNvGrpSpPr>
          <p:nvPr/>
        </p:nvGrpSpPr>
        <p:grpSpPr>
          <a:xfrm>
            <a:off x="6610381" y="1711831"/>
            <a:ext cx="4333626" cy="4284000"/>
            <a:chOff x="7566265" y="2023873"/>
            <a:chExt cx="3487659" cy="3447720"/>
          </a:xfrm>
        </p:grpSpPr>
        <p:sp>
          <p:nvSpPr>
            <p:cNvPr id="120" name="Freeform 114">
              <a:extLst>
                <a:ext uri="{FF2B5EF4-FFF2-40B4-BE49-F238E27FC236}">
                  <a16:creationId xmlns:a16="http://schemas.microsoft.com/office/drawing/2014/main" id="{6B2649E2-3AF4-4BD0-9AB2-3ACDD4FEA477}"/>
                </a:ext>
              </a:extLst>
            </p:cNvPr>
            <p:cNvSpPr>
              <a:spLocks noEditPoints="1"/>
            </p:cNvSpPr>
            <p:nvPr/>
          </p:nvSpPr>
          <p:spPr bwMode="gray">
            <a:xfrm>
              <a:off x="8768484" y="2023873"/>
              <a:ext cx="1405985" cy="1476081"/>
            </a:xfrm>
            <a:custGeom>
              <a:avLst/>
              <a:gdLst/>
              <a:ahLst/>
              <a:cxnLst>
                <a:cxn ang="0">
                  <a:pos x="98" y="416"/>
                </a:cxn>
                <a:cxn ang="0">
                  <a:pos x="98" y="349"/>
                </a:cxn>
                <a:cxn ang="0">
                  <a:pos x="103" y="277"/>
                </a:cxn>
                <a:cxn ang="0">
                  <a:pos x="125" y="259"/>
                </a:cxn>
                <a:cxn ang="0">
                  <a:pos x="143" y="215"/>
                </a:cxn>
                <a:cxn ang="0">
                  <a:pos x="161" y="157"/>
                </a:cxn>
                <a:cxn ang="0">
                  <a:pos x="188" y="130"/>
                </a:cxn>
                <a:cxn ang="0">
                  <a:pos x="210" y="103"/>
                </a:cxn>
                <a:cxn ang="0">
                  <a:pos x="228" y="90"/>
                </a:cxn>
                <a:cxn ang="0">
                  <a:pos x="272" y="108"/>
                </a:cxn>
                <a:cxn ang="0">
                  <a:pos x="308" y="58"/>
                </a:cxn>
                <a:cxn ang="0">
                  <a:pos x="339" y="67"/>
                </a:cxn>
                <a:cxn ang="0">
                  <a:pos x="344" y="90"/>
                </a:cxn>
                <a:cxn ang="0">
                  <a:pos x="362" y="76"/>
                </a:cxn>
                <a:cxn ang="0">
                  <a:pos x="357" y="49"/>
                </a:cxn>
                <a:cxn ang="0">
                  <a:pos x="348" y="18"/>
                </a:cxn>
                <a:cxn ang="0">
                  <a:pos x="335" y="14"/>
                </a:cxn>
                <a:cxn ang="0">
                  <a:pos x="335" y="5"/>
                </a:cxn>
                <a:cxn ang="0">
                  <a:pos x="308" y="32"/>
                </a:cxn>
                <a:cxn ang="0">
                  <a:pos x="281" y="49"/>
                </a:cxn>
                <a:cxn ang="0">
                  <a:pos x="272" y="18"/>
                </a:cxn>
                <a:cxn ang="0">
                  <a:pos x="259" y="54"/>
                </a:cxn>
                <a:cxn ang="0">
                  <a:pos x="228" y="45"/>
                </a:cxn>
                <a:cxn ang="0">
                  <a:pos x="214" y="76"/>
                </a:cxn>
                <a:cxn ang="0">
                  <a:pos x="179" y="67"/>
                </a:cxn>
                <a:cxn ang="0">
                  <a:pos x="179" y="81"/>
                </a:cxn>
                <a:cxn ang="0">
                  <a:pos x="161" y="125"/>
                </a:cxn>
                <a:cxn ang="0">
                  <a:pos x="147" y="143"/>
                </a:cxn>
                <a:cxn ang="0">
                  <a:pos x="147" y="157"/>
                </a:cxn>
                <a:cxn ang="0">
                  <a:pos x="134" y="166"/>
                </a:cxn>
                <a:cxn ang="0">
                  <a:pos x="121" y="192"/>
                </a:cxn>
                <a:cxn ang="0">
                  <a:pos x="98" y="233"/>
                </a:cxn>
                <a:cxn ang="0">
                  <a:pos x="89" y="255"/>
                </a:cxn>
                <a:cxn ang="0">
                  <a:pos x="76" y="277"/>
                </a:cxn>
                <a:cxn ang="0">
                  <a:pos x="67" y="295"/>
                </a:cxn>
                <a:cxn ang="0">
                  <a:pos x="40" y="309"/>
                </a:cxn>
                <a:cxn ang="0">
                  <a:pos x="4" y="358"/>
                </a:cxn>
                <a:cxn ang="0">
                  <a:pos x="13" y="376"/>
                </a:cxn>
                <a:cxn ang="0">
                  <a:pos x="0" y="425"/>
                </a:cxn>
                <a:cxn ang="0">
                  <a:pos x="27" y="452"/>
                </a:cxn>
                <a:cxn ang="0">
                  <a:pos x="49" y="456"/>
                </a:cxn>
                <a:cxn ang="0">
                  <a:pos x="71" y="425"/>
                </a:cxn>
                <a:cxn ang="0">
                  <a:pos x="89" y="429"/>
                </a:cxn>
                <a:cxn ang="0">
                  <a:pos x="125" y="125"/>
                </a:cxn>
                <a:cxn ang="0">
                  <a:pos x="134" y="116"/>
                </a:cxn>
                <a:cxn ang="0">
                  <a:pos x="112" y="139"/>
                </a:cxn>
                <a:cxn ang="0">
                  <a:pos x="161" y="94"/>
                </a:cxn>
                <a:cxn ang="0">
                  <a:pos x="156" y="90"/>
                </a:cxn>
                <a:cxn ang="0">
                  <a:pos x="138" y="90"/>
                </a:cxn>
                <a:cxn ang="0">
                  <a:pos x="138" y="108"/>
                </a:cxn>
                <a:cxn ang="0">
                  <a:pos x="192" y="67"/>
                </a:cxn>
                <a:cxn ang="0">
                  <a:pos x="205" y="58"/>
                </a:cxn>
                <a:cxn ang="0">
                  <a:pos x="192" y="54"/>
                </a:cxn>
                <a:cxn ang="0">
                  <a:pos x="192" y="67"/>
                </a:cxn>
                <a:cxn ang="0">
                  <a:pos x="255" y="36"/>
                </a:cxn>
                <a:cxn ang="0">
                  <a:pos x="264" y="14"/>
                </a:cxn>
                <a:cxn ang="0">
                  <a:pos x="241" y="27"/>
                </a:cxn>
              </a:cxnLst>
              <a:rect l="0" t="0" r="r" b="b"/>
              <a:pathLst>
                <a:path w="371" h="465">
                  <a:moveTo>
                    <a:pt x="89" y="434"/>
                  </a:moveTo>
                  <a:lnTo>
                    <a:pt x="98" y="438"/>
                  </a:lnTo>
                  <a:lnTo>
                    <a:pt x="98" y="425"/>
                  </a:lnTo>
                  <a:lnTo>
                    <a:pt x="98" y="416"/>
                  </a:lnTo>
                  <a:lnTo>
                    <a:pt x="107" y="407"/>
                  </a:lnTo>
                  <a:lnTo>
                    <a:pt x="103" y="380"/>
                  </a:lnTo>
                  <a:lnTo>
                    <a:pt x="112" y="367"/>
                  </a:lnTo>
                  <a:lnTo>
                    <a:pt x="98" y="349"/>
                  </a:lnTo>
                  <a:lnTo>
                    <a:pt x="98" y="304"/>
                  </a:lnTo>
                  <a:lnTo>
                    <a:pt x="103" y="300"/>
                  </a:lnTo>
                  <a:lnTo>
                    <a:pt x="98" y="295"/>
                  </a:lnTo>
                  <a:lnTo>
                    <a:pt x="103" y="277"/>
                  </a:lnTo>
                  <a:lnTo>
                    <a:pt x="112" y="273"/>
                  </a:lnTo>
                  <a:lnTo>
                    <a:pt x="121" y="277"/>
                  </a:lnTo>
                  <a:lnTo>
                    <a:pt x="130" y="273"/>
                  </a:lnTo>
                  <a:lnTo>
                    <a:pt x="125" y="259"/>
                  </a:lnTo>
                  <a:lnTo>
                    <a:pt x="134" y="233"/>
                  </a:lnTo>
                  <a:lnTo>
                    <a:pt x="134" y="215"/>
                  </a:lnTo>
                  <a:lnTo>
                    <a:pt x="138" y="210"/>
                  </a:lnTo>
                  <a:lnTo>
                    <a:pt x="143" y="215"/>
                  </a:lnTo>
                  <a:lnTo>
                    <a:pt x="147" y="206"/>
                  </a:lnTo>
                  <a:lnTo>
                    <a:pt x="143" y="197"/>
                  </a:lnTo>
                  <a:lnTo>
                    <a:pt x="165" y="175"/>
                  </a:lnTo>
                  <a:lnTo>
                    <a:pt x="161" y="157"/>
                  </a:lnTo>
                  <a:lnTo>
                    <a:pt x="165" y="143"/>
                  </a:lnTo>
                  <a:lnTo>
                    <a:pt x="174" y="130"/>
                  </a:lnTo>
                  <a:lnTo>
                    <a:pt x="183" y="134"/>
                  </a:lnTo>
                  <a:lnTo>
                    <a:pt x="188" y="130"/>
                  </a:lnTo>
                  <a:lnTo>
                    <a:pt x="183" y="116"/>
                  </a:lnTo>
                  <a:lnTo>
                    <a:pt x="188" y="112"/>
                  </a:lnTo>
                  <a:lnTo>
                    <a:pt x="210" y="116"/>
                  </a:lnTo>
                  <a:lnTo>
                    <a:pt x="210" y="103"/>
                  </a:lnTo>
                  <a:lnTo>
                    <a:pt x="214" y="94"/>
                  </a:lnTo>
                  <a:lnTo>
                    <a:pt x="223" y="94"/>
                  </a:lnTo>
                  <a:lnTo>
                    <a:pt x="219" y="90"/>
                  </a:lnTo>
                  <a:lnTo>
                    <a:pt x="228" y="90"/>
                  </a:lnTo>
                  <a:lnTo>
                    <a:pt x="228" y="85"/>
                  </a:lnTo>
                  <a:lnTo>
                    <a:pt x="237" y="85"/>
                  </a:lnTo>
                  <a:lnTo>
                    <a:pt x="250" y="108"/>
                  </a:lnTo>
                  <a:lnTo>
                    <a:pt x="272" y="108"/>
                  </a:lnTo>
                  <a:lnTo>
                    <a:pt x="281" y="112"/>
                  </a:lnTo>
                  <a:lnTo>
                    <a:pt x="295" y="99"/>
                  </a:lnTo>
                  <a:lnTo>
                    <a:pt x="295" y="76"/>
                  </a:lnTo>
                  <a:lnTo>
                    <a:pt x="308" y="58"/>
                  </a:lnTo>
                  <a:lnTo>
                    <a:pt x="326" y="54"/>
                  </a:lnTo>
                  <a:lnTo>
                    <a:pt x="331" y="63"/>
                  </a:lnTo>
                  <a:lnTo>
                    <a:pt x="339" y="63"/>
                  </a:lnTo>
                  <a:lnTo>
                    <a:pt x="339" y="67"/>
                  </a:lnTo>
                  <a:lnTo>
                    <a:pt x="335" y="85"/>
                  </a:lnTo>
                  <a:lnTo>
                    <a:pt x="331" y="90"/>
                  </a:lnTo>
                  <a:lnTo>
                    <a:pt x="331" y="94"/>
                  </a:lnTo>
                  <a:lnTo>
                    <a:pt x="344" y="90"/>
                  </a:lnTo>
                  <a:lnTo>
                    <a:pt x="353" y="76"/>
                  </a:lnTo>
                  <a:lnTo>
                    <a:pt x="353" y="67"/>
                  </a:lnTo>
                  <a:lnTo>
                    <a:pt x="353" y="67"/>
                  </a:lnTo>
                  <a:lnTo>
                    <a:pt x="362" y="76"/>
                  </a:lnTo>
                  <a:lnTo>
                    <a:pt x="366" y="63"/>
                  </a:lnTo>
                  <a:lnTo>
                    <a:pt x="339" y="49"/>
                  </a:lnTo>
                  <a:lnTo>
                    <a:pt x="335" y="45"/>
                  </a:lnTo>
                  <a:lnTo>
                    <a:pt x="357" y="49"/>
                  </a:lnTo>
                  <a:lnTo>
                    <a:pt x="366" y="36"/>
                  </a:lnTo>
                  <a:lnTo>
                    <a:pt x="371" y="36"/>
                  </a:lnTo>
                  <a:lnTo>
                    <a:pt x="371" y="27"/>
                  </a:lnTo>
                  <a:lnTo>
                    <a:pt x="348" y="18"/>
                  </a:lnTo>
                  <a:lnTo>
                    <a:pt x="344" y="18"/>
                  </a:lnTo>
                  <a:lnTo>
                    <a:pt x="348" y="9"/>
                  </a:lnTo>
                  <a:lnTo>
                    <a:pt x="344" y="5"/>
                  </a:lnTo>
                  <a:lnTo>
                    <a:pt x="335" y="14"/>
                  </a:lnTo>
                  <a:lnTo>
                    <a:pt x="331" y="32"/>
                  </a:lnTo>
                  <a:lnTo>
                    <a:pt x="326" y="27"/>
                  </a:lnTo>
                  <a:lnTo>
                    <a:pt x="331" y="18"/>
                  </a:lnTo>
                  <a:lnTo>
                    <a:pt x="335" y="5"/>
                  </a:lnTo>
                  <a:lnTo>
                    <a:pt x="335" y="5"/>
                  </a:lnTo>
                  <a:lnTo>
                    <a:pt x="326" y="0"/>
                  </a:lnTo>
                  <a:lnTo>
                    <a:pt x="317" y="5"/>
                  </a:lnTo>
                  <a:lnTo>
                    <a:pt x="308" y="32"/>
                  </a:lnTo>
                  <a:lnTo>
                    <a:pt x="304" y="9"/>
                  </a:lnTo>
                  <a:lnTo>
                    <a:pt x="295" y="27"/>
                  </a:lnTo>
                  <a:lnTo>
                    <a:pt x="286" y="49"/>
                  </a:lnTo>
                  <a:lnTo>
                    <a:pt x="281" y="49"/>
                  </a:lnTo>
                  <a:lnTo>
                    <a:pt x="286" y="32"/>
                  </a:lnTo>
                  <a:lnTo>
                    <a:pt x="295" y="9"/>
                  </a:lnTo>
                  <a:lnTo>
                    <a:pt x="277" y="5"/>
                  </a:lnTo>
                  <a:lnTo>
                    <a:pt x="272" y="18"/>
                  </a:lnTo>
                  <a:lnTo>
                    <a:pt x="277" y="23"/>
                  </a:lnTo>
                  <a:lnTo>
                    <a:pt x="268" y="27"/>
                  </a:lnTo>
                  <a:lnTo>
                    <a:pt x="259" y="41"/>
                  </a:lnTo>
                  <a:lnTo>
                    <a:pt x="259" y="54"/>
                  </a:lnTo>
                  <a:lnTo>
                    <a:pt x="250" y="54"/>
                  </a:lnTo>
                  <a:lnTo>
                    <a:pt x="250" y="41"/>
                  </a:lnTo>
                  <a:lnTo>
                    <a:pt x="237" y="41"/>
                  </a:lnTo>
                  <a:lnTo>
                    <a:pt x="228" y="45"/>
                  </a:lnTo>
                  <a:lnTo>
                    <a:pt x="237" y="54"/>
                  </a:lnTo>
                  <a:lnTo>
                    <a:pt x="228" y="58"/>
                  </a:lnTo>
                  <a:lnTo>
                    <a:pt x="223" y="54"/>
                  </a:lnTo>
                  <a:lnTo>
                    <a:pt x="214" y="76"/>
                  </a:lnTo>
                  <a:lnTo>
                    <a:pt x="214" y="58"/>
                  </a:lnTo>
                  <a:lnTo>
                    <a:pt x="197" y="67"/>
                  </a:lnTo>
                  <a:lnTo>
                    <a:pt x="192" y="76"/>
                  </a:lnTo>
                  <a:lnTo>
                    <a:pt x="179" y="67"/>
                  </a:lnTo>
                  <a:lnTo>
                    <a:pt x="170" y="76"/>
                  </a:lnTo>
                  <a:lnTo>
                    <a:pt x="165" y="85"/>
                  </a:lnTo>
                  <a:lnTo>
                    <a:pt x="170" y="90"/>
                  </a:lnTo>
                  <a:lnTo>
                    <a:pt x="179" y="81"/>
                  </a:lnTo>
                  <a:lnTo>
                    <a:pt x="179" y="99"/>
                  </a:lnTo>
                  <a:lnTo>
                    <a:pt x="165" y="108"/>
                  </a:lnTo>
                  <a:lnTo>
                    <a:pt x="161" y="116"/>
                  </a:lnTo>
                  <a:lnTo>
                    <a:pt x="161" y="125"/>
                  </a:lnTo>
                  <a:lnTo>
                    <a:pt x="152" y="121"/>
                  </a:lnTo>
                  <a:lnTo>
                    <a:pt x="138" y="134"/>
                  </a:lnTo>
                  <a:lnTo>
                    <a:pt x="138" y="148"/>
                  </a:lnTo>
                  <a:lnTo>
                    <a:pt x="147" y="143"/>
                  </a:lnTo>
                  <a:lnTo>
                    <a:pt x="147" y="152"/>
                  </a:lnTo>
                  <a:lnTo>
                    <a:pt x="138" y="152"/>
                  </a:lnTo>
                  <a:lnTo>
                    <a:pt x="130" y="161"/>
                  </a:lnTo>
                  <a:lnTo>
                    <a:pt x="147" y="157"/>
                  </a:lnTo>
                  <a:lnTo>
                    <a:pt x="152" y="161"/>
                  </a:lnTo>
                  <a:lnTo>
                    <a:pt x="152" y="166"/>
                  </a:lnTo>
                  <a:lnTo>
                    <a:pt x="143" y="161"/>
                  </a:lnTo>
                  <a:lnTo>
                    <a:pt x="134" y="166"/>
                  </a:lnTo>
                  <a:lnTo>
                    <a:pt x="134" y="170"/>
                  </a:lnTo>
                  <a:lnTo>
                    <a:pt x="125" y="170"/>
                  </a:lnTo>
                  <a:lnTo>
                    <a:pt x="116" y="184"/>
                  </a:lnTo>
                  <a:lnTo>
                    <a:pt x="121" y="192"/>
                  </a:lnTo>
                  <a:lnTo>
                    <a:pt x="112" y="197"/>
                  </a:lnTo>
                  <a:lnTo>
                    <a:pt x="116" y="206"/>
                  </a:lnTo>
                  <a:lnTo>
                    <a:pt x="107" y="215"/>
                  </a:lnTo>
                  <a:lnTo>
                    <a:pt x="98" y="233"/>
                  </a:lnTo>
                  <a:lnTo>
                    <a:pt x="98" y="233"/>
                  </a:lnTo>
                  <a:lnTo>
                    <a:pt x="103" y="246"/>
                  </a:lnTo>
                  <a:lnTo>
                    <a:pt x="98" y="242"/>
                  </a:lnTo>
                  <a:lnTo>
                    <a:pt x="89" y="255"/>
                  </a:lnTo>
                  <a:lnTo>
                    <a:pt x="94" y="255"/>
                  </a:lnTo>
                  <a:lnTo>
                    <a:pt x="94" y="264"/>
                  </a:lnTo>
                  <a:lnTo>
                    <a:pt x="80" y="264"/>
                  </a:lnTo>
                  <a:lnTo>
                    <a:pt x="76" y="277"/>
                  </a:lnTo>
                  <a:lnTo>
                    <a:pt x="71" y="286"/>
                  </a:lnTo>
                  <a:lnTo>
                    <a:pt x="80" y="295"/>
                  </a:lnTo>
                  <a:lnTo>
                    <a:pt x="76" y="300"/>
                  </a:lnTo>
                  <a:lnTo>
                    <a:pt x="67" y="295"/>
                  </a:lnTo>
                  <a:lnTo>
                    <a:pt x="58" y="282"/>
                  </a:lnTo>
                  <a:lnTo>
                    <a:pt x="49" y="295"/>
                  </a:lnTo>
                  <a:lnTo>
                    <a:pt x="49" y="313"/>
                  </a:lnTo>
                  <a:lnTo>
                    <a:pt x="40" y="309"/>
                  </a:lnTo>
                  <a:lnTo>
                    <a:pt x="18" y="327"/>
                  </a:lnTo>
                  <a:lnTo>
                    <a:pt x="4" y="335"/>
                  </a:lnTo>
                  <a:lnTo>
                    <a:pt x="0" y="349"/>
                  </a:lnTo>
                  <a:lnTo>
                    <a:pt x="4" y="358"/>
                  </a:lnTo>
                  <a:lnTo>
                    <a:pt x="13" y="358"/>
                  </a:lnTo>
                  <a:lnTo>
                    <a:pt x="4" y="362"/>
                  </a:lnTo>
                  <a:lnTo>
                    <a:pt x="9" y="371"/>
                  </a:lnTo>
                  <a:lnTo>
                    <a:pt x="13" y="376"/>
                  </a:lnTo>
                  <a:lnTo>
                    <a:pt x="4" y="376"/>
                  </a:lnTo>
                  <a:lnTo>
                    <a:pt x="0" y="398"/>
                  </a:lnTo>
                  <a:lnTo>
                    <a:pt x="4" y="402"/>
                  </a:lnTo>
                  <a:lnTo>
                    <a:pt x="0" y="425"/>
                  </a:lnTo>
                  <a:lnTo>
                    <a:pt x="9" y="434"/>
                  </a:lnTo>
                  <a:lnTo>
                    <a:pt x="13" y="447"/>
                  </a:lnTo>
                  <a:lnTo>
                    <a:pt x="18" y="452"/>
                  </a:lnTo>
                  <a:lnTo>
                    <a:pt x="27" y="452"/>
                  </a:lnTo>
                  <a:lnTo>
                    <a:pt x="27" y="461"/>
                  </a:lnTo>
                  <a:lnTo>
                    <a:pt x="36" y="465"/>
                  </a:lnTo>
                  <a:lnTo>
                    <a:pt x="45" y="461"/>
                  </a:lnTo>
                  <a:lnTo>
                    <a:pt x="49" y="456"/>
                  </a:lnTo>
                  <a:lnTo>
                    <a:pt x="54" y="456"/>
                  </a:lnTo>
                  <a:lnTo>
                    <a:pt x="63" y="438"/>
                  </a:lnTo>
                  <a:lnTo>
                    <a:pt x="67" y="429"/>
                  </a:lnTo>
                  <a:lnTo>
                    <a:pt x="71" y="425"/>
                  </a:lnTo>
                  <a:lnTo>
                    <a:pt x="76" y="420"/>
                  </a:lnTo>
                  <a:lnTo>
                    <a:pt x="80" y="420"/>
                  </a:lnTo>
                  <a:lnTo>
                    <a:pt x="80" y="429"/>
                  </a:lnTo>
                  <a:lnTo>
                    <a:pt x="89" y="429"/>
                  </a:lnTo>
                  <a:lnTo>
                    <a:pt x="89" y="434"/>
                  </a:lnTo>
                  <a:close/>
                  <a:moveTo>
                    <a:pt x="112" y="139"/>
                  </a:moveTo>
                  <a:lnTo>
                    <a:pt x="121" y="130"/>
                  </a:lnTo>
                  <a:lnTo>
                    <a:pt x="125" y="125"/>
                  </a:lnTo>
                  <a:lnTo>
                    <a:pt x="130" y="125"/>
                  </a:lnTo>
                  <a:lnTo>
                    <a:pt x="138" y="121"/>
                  </a:lnTo>
                  <a:lnTo>
                    <a:pt x="138" y="112"/>
                  </a:lnTo>
                  <a:lnTo>
                    <a:pt x="134" y="116"/>
                  </a:lnTo>
                  <a:lnTo>
                    <a:pt x="130" y="121"/>
                  </a:lnTo>
                  <a:lnTo>
                    <a:pt x="125" y="121"/>
                  </a:lnTo>
                  <a:lnTo>
                    <a:pt x="112" y="130"/>
                  </a:lnTo>
                  <a:lnTo>
                    <a:pt x="112" y="139"/>
                  </a:lnTo>
                  <a:close/>
                  <a:moveTo>
                    <a:pt x="152" y="116"/>
                  </a:moveTo>
                  <a:lnTo>
                    <a:pt x="161" y="108"/>
                  </a:lnTo>
                  <a:lnTo>
                    <a:pt x="165" y="99"/>
                  </a:lnTo>
                  <a:lnTo>
                    <a:pt x="161" y="94"/>
                  </a:lnTo>
                  <a:lnTo>
                    <a:pt x="156" y="94"/>
                  </a:lnTo>
                  <a:lnTo>
                    <a:pt x="152" y="103"/>
                  </a:lnTo>
                  <a:lnTo>
                    <a:pt x="152" y="94"/>
                  </a:lnTo>
                  <a:lnTo>
                    <a:pt x="156" y="90"/>
                  </a:lnTo>
                  <a:lnTo>
                    <a:pt x="156" y="76"/>
                  </a:lnTo>
                  <a:lnTo>
                    <a:pt x="147" y="90"/>
                  </a:lnTo>
                  <a:lnTo>
                    <a:pt x="143" y="103"/>
                  </a:lnTo>
                  <a:lnTo>
                    <a:pt x="138" y="90"/>
                  </a:lnTo>
                  <a:lnTo>
                    <a:pt x="138" y="99"/>
                  </a:lnTo>
                  <a:lnTo>
                    <a:pt x="134" y="99"/>
                  </a:lnTo>
                  <a:lnTo>
                    <a:pt x="130" y="108"/>
                  </a:lnTo>
                  <a:lnTo>
                    <a:pt x="138" y="108"/>
                  </a:lnTo>
                  <a:lnTo>
                    <a:pt x="147" y="103"/>
                  </a:lnTo>
                  <a:lnTo>
                    <a:pt x="143" y="116"/>
                  </a:lnTo>
                  <a:lnTo>
                    <a:pt x="152" y="116"/>
                  </a:lnTo>
                  <a:close/>
                  <a:moveTo>
                    <a:pt x="192" y="67"/>
                  </a:moveTo>
                  <a:lnTo>
                    <a:pt x="197" y="63"/>
                  </a:lnTo>
                  <a:lnTo>
                    <a:pt x="201" y="58"/>
                  </a:lnTo>
                  <a:lnTo>
                    <a:pt x="205" y="58"/>
                  </a:lnTo>
                  <a:lnTo>
                    <a:pt x="205" y="58"/>
                  </a:lnTo>
                  <a:lnTo>
                    <a:pt x="210" y="49"/>
                  </a:lnTo>
                  <a:lnTo>
                    <a:pt x="205" y="54"/>
                  </a:lnTo>
                  <a:lnTo>
                    <a:pt x="201" y="49"/>
                  </a:lnTo>
                  <a:lnTo>
                    <a:pt x="192" y="54"/>
                  </a:lnTo>
                  <a:lnTo>
                    <a:pt x="192" y="63"/>
                  </a:lnTo>
                  <a:lnTo>
                    <a:pt x="188" y="58"/>
                  </a:lnTo>
                  <a:lnTo>
                    <a:pt x="183" y="67"/>
                  </a:lnTo>
                  <a:lnTo>
                    <a:pt x="192" y="67"/>
                  </a:lnTo>
                  <a:close/>
                  <a:moveTo>
                    <a:pt x="241" y="27"/>
                  </a:moveTo>
                  <a:lnTo>
                    <a:pt x="246" y="32"/>
                  </a:lnTo>
                  <a:lnTo>
                    <a:pt x="259" y="27"/>
                  </a:lnTo>
                  <a:lnTo>
                    <a:pt x="255" y="36"/>
                  </a:lnTo>
                  <a:lnTo>
                    <a:pt x="259" y="41"/>
                  </a:lnTo>
                  <a:lnTo>
                    <a:pt x="264" y="27"/>
                  </a:lnTo>
                  <a:lnTo>
                    <a:pt x="259" y="27"/>
                  </a:lnTo>
                  <a:lnTo>
                    <a:pt x="264" y="14"/>
                  </a:lnTo>
                  <a:lnTo>
                    <a:pt x="259" y="14"/>
                  </a:lnTo>
                  <a:lnTo>
                    <a:pt x="259" y="18"/>
                  </a:lnTo>
                  <a:lnTo>
                    <a:pt x="250" y="18"/>
                  </a:lnTo>
                  <a:lnTo>
                    <a:pt x="241" y="27"/>
                  </a:lnTo>
                  <a:close/>
                </a:path>
              </a:pathLst>
            </a:custGeom>
            <a:solidFill>
              <a:srgbClr val="86BC25"/>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black"/>
                </a:solidFill>
                <a:effectLst/>
                <a:uLnTx/>
                <a:uFillTx/>
                <a:latin typeface="Arial"/>
                <a:ea typeface="+mn-ea"/>
                <a:cs typeface="+mn-cs"/>
              </a:endParaRPr>
            </a:p>
          </p:txBody>
        </p:sp>
        <p:sp>
          <p:nvSpPr>
            <p:cNvPr id="121" name="Freeform 115">
              <a:extLst>
                <a:ext uri="{FF2B5EF4-FFF2-40B4-BE49-F238E27FC236}">
                  <a16:creationId xmlns:a16="http://schemas.microsoft.com/office/drawing/2014/main" id="{2083D5E1-DBFD-44D5-BCB9-3ED5F8F41F07}"/>
                </a:ext>
              </a:extLst>
            </p:cNvPr>
            <p:cNvSpPr>
              <a:spLocks/>
            </p:cNvSpPr>
            <p:nvPr/>
          </p:nvSpPr>
          <p:spPr bwMode="gray">
            <a:xfrm>
              <a:off x="9598219" y="2195037"/>
              <a:ext cx="625154" cy="1149240"/>
            </a:xfrm>
            <a:custGeom>
              <a:avLst/>
              <a:gdLst/>
              <a:ahLst/>
              <a:cxnLst>
                <a:cxn ang="0">
                  <a:pos x="18" y="54"/>
                </a:cxn>
                <a:cxn ang="0">
                  <a:pos x="45" y="76"/>
                </a:cxn>
                <a:cxn ang="0">
                  <a:pos x="53" y="121"/>
                </a:cxn>
                <a:cxn ang="0">
                  <a:pos x="49" y="152"/>
                </a:cxn>
                <a:cxn ang="0">
                  <a:pos x="58" y="165"/>
                </a:cxn>
                <a:cxn ang="0">
                  <a:pos x="67" y="192"/>
                </a:cxn>
                <a:cxn ang="0">
                  <a:pos x="45" y="219"/>
                </a:cxn>
                <a:cxn ang="0">
                  <a:pos x="22" y="250"/>
                </a:cxn>
                <a:cxn ang="0">
                  <a:pos x="9" y="264"/>
                </a:cxn>
                <a:cxn ang="0">
                  <a:pos x="13" y="277"/>
                </a:cxn>
                <a:cxn ang="0">
                  <a:pos x="13" y="313"/>
                </a:cxn>
                <a:cxn ang="0">
                  <a:pos x="27" y="335"/>
                </a:cxn>
                <a:cxn ang="0">
                  <a:pos x="36" y="340"/>
                </a:cxn>
                <a:cxn ang="0">
                  <a:pos x="36" y="348"/>
                </a:cxn>
                <a:cxn ang="0">
                  <a:pos x="40" y="353"/>
                </a:cxn>
                <a:cxn ang="0">
                  <a:pos x="40" y="362"/>
                </a:cxn>
                <a:cxn ang="0">
                  <a:pos x="58" y="348"/>
                </a:cxn>
                <a:cxn ang="0">
                  <a:pos x="62" y="353"/>
                </a:cxn>
                <a:cxn ang="0">
                  <a:pos x="76" y="348"/>
                </a:cxn>
                <a:cxn ang="0">
                  <a:pos x="85" y="344"/>
                </a:cxn>
                <a:cxn ang="0">
                  <a:pos x="98" y="340"/>
                </a:cxn>
                <a:cxn ang="0">
                  <a:pos x="112" y="340"/>
                </a:cxn>
                <a:cxn ang="0">
                  <a:pos x="129" y="322"/>
                </a:cxn>
                <a:cxn ang="0">
                  <a:pos x="161" y="281"/>
                </a:cxn>
                <a:cxn ang="0">
                  <a:pos x="147" y="255"/>
                </a:cxn>
                <a:cxn ang="0">
                  <a:pos x="147" y="228"/>
                </a:cxn>
                <a:cxn ang="0">
                  <a:pos x="143" y="214"/>
                </a:cxn>
                <a:cxn ang="0">
                  <a:pos x="134" y="165"/>
                </a:cxn>
                <a:cxn ang="0">
                  <a:pos x="134" y="147"/>
                </a:cxn>
                <a:cxn ang="0">
                  <a:pos x="120" y="116"/>
                </a:cxn>
                <a:cxn ang="0">
                  <a:pos x="134" y="80"/>
                </a:cxn>
                <a:cxn ang="0">
                  <a:pos x="116" y="54"/>
                </a:cxn>
                <a:cxn ang="0">
                  <a:pos x="112" y="40"/>
                </a:cxn>
                <a:cxn ang="0">
                  <a:pos x="116" y="31"/>
                </a:cxn>
                <a:cxn ang="0">
                  <a:pos x="120" y="9"/>
                </a:cxn>
                <a:cxn ang="0">
                  <a:pos x="107" y="0"/>
                </a:cxn>
                <a:cxn ang="0">
                  <a:pos x="76" y="22"/>
                </a:cxn>
                <a:cxn ang="0">
                  <a:pos x="62" y="58"/>
                </a:cxn>
                <a:cxn ang="0">
                  <a:pos x="31" y="54"/>
                </a:cxn>
                <a:cxn ang="0">
                  <a:pos x="9" y="31"/>
                </a:cxn>
                <a:cxn ang="0">
                  <a:pos x="0" y="36"/>
                </a:cxn>
              </a:cxnLst>
              <a:rect l="0" t="0" r="r" b="b"/>
              <a:pathLst>
                <a:path w="165" h="362">
                  <a:moveTo>
                    <a:pt x="4" y="40"/>
                  </a:moveTo>
                  <a:lnTo>
                    <a:pt x="18" y="54"/>
                  </a:lnTo>
                  <a:lnTo>
                    <a:pt x="40" y="62"/>
                  </a:lnTo>
                  <a:lnTo>
                    <a:pt x="45" y="76"/>
                  </a:lnTo>
                  <a:lnTo>
                    <a:pt x="49" y="98"/>
                  </a:lnTo>
                  <a:lnTo>
                    <a:pt x="53" y="121"/>
                  </a:lnTo>
                  <a:lnTo>
                    <a:pt x="49" y="138"/>
                  </a:lnTo>
                  <a:lnTo>
                    <a:pt x="49" y="152"/>
                  </a:lnTo>
                  <a:lnTo>
                    <a:pt x="53" y="165"/>
                  </a:lnTo>
                  <a:lnTo>
                    <a:pt x="58" y="165"/>
                  </a:lnTo>
                  <a:lnTo>
                    <a:pt x="71" y="183"/>
                  </a:lnTo>
                  <a:lnTo>
                    <a:pt x="67" y="192"/>
                  </a:lnTo>
                  <a:lnTo>
                    <a:pt x="71" y="197"/>
                  </a:lnTo>
                  <a:lnTo>
                    <a:pt x="45" y="219"/>
                  </a:lnTo>
                  <a:lnTo>
                    <a:pt x="31" y="237"/>
                  </a:lnTo>
                  <a:lnTo>
                    <a:pt x="22" y="250"/>
                  </a:lnTo>
                  <a:lnTo>
                    <a:pt x="13" y="250"/>
                  </a:lnTo>
                  <a:lnTo>
                    <a:pt x="9" y="264"/>
                  </a:lnTo>
                  <a:lnTo>
                    <a:pt x="9" y="277"/>
                  </a:lnTo>
                  <a:lnTo>
                    <a:pt x="13" y="277"/>
                  </a:lnTo>
                  <a:lnTo>
                    <a:pt x="18" y="299"/>
                  </a:lnTo>
                  <a:lnTo>
                    <a:pt x="13" y="313"/>
                  </a:lnTo>
                  <a:lnTo>
                    <a:pt x="18" y="331"/>
                  </a:lnTo>
                  <a:lnTo>
                    <a:pt x="27" y="335"/>
                  </a:lnTo>
                  <a:lnTo>
                    <a:pt x="31" y="344"/>
                  </a:lnTo>
                  <a:lnTo>
                    <a:pt x="36" y="340"/>
                  </a:lnTo>
                  <a:lnTo>
                    <a:pt x="36" y="344"/>
                  </a:lnTo>
                  <a:lnTo>
                    <a:pt x="36" y="348"/>
                  </a:lnTo>
                  <a:lnTo>
                    <a:pt x="36" y="353"/>
                  </a:lnTo>
                  <a:lnTo>
                    <a:pt x="40" y="353"/>
                  </a:lnTo>
                  <a:lnTo>
                    <a:pt x="36" y="362"/>
                  </a:lnTo>
                  <a:lnTo>
                    <a:pt x="40" y="362"/>
                  </a:lnTo>
                  <a:lnTo>
                    <a:pt x="45" y="353"/>
                  </a:lnTo>
                  <a:lnTo>
                    <a:pt x="58" y="348"/>
                  </a:lnTo>
                  <a:lnTo>
                    <a:pt x="58" y="353"/>
                  </a:lnTo>
                  <a:lnTo>
                    <a:pt x="62" y="353"/>
                  </a:lnTo>
                  <a:lnTo>
                    <a:pt x="67" y="344"/>
                  </a:lnTo>
                  <a:lnTo>
                    <a:pt x="76" y="348"/>
                  </a:lnTo>
                  <a:lnTo>
                    <a:pt x="80" y="344"/>
                  </a:lnTo>
                  <a:lnTo>
                    <a:pt x="85" y="344"/>
                  </a:lnTo>
                  <a:lnTo>
                    <a:pt x="94" y="344"/>
                  </a:lnTo>
                  <a:lnTo>
                    <a:pt x="98" y="340"/>
                  </a:lnTo>
                  <a:lnTo>
                    <a:pt x="107" y="344"/>
                  </a:lnTo>
                  <a:lnTo>
                    <a:pt x="112" y="340"/>
                  </a:lnTo>
                  <a:lnTo>
                    <a:pt x="120" y="331"/>
                  </a:lnTo>
                  <a:lnTo>
                    <a:pt x="129" y="322"/>
                  </a:lnTo>
                  <a:lnTo>
                    <a:pt x="134" y="308"/>
                  </a:lnTo>
                  <a:lnTo>
                    <a:pt x="161" y="281"/>
                  </a:lnTo>
                  <a:lnTo>
                    <a:pt x="165" y="273"/>
                  </a:lnTo>
                  <a:lnTo>
                    <a:pt x="147" y="255"/>
                  </a:lnTo>
                  <a:lnTo>
                    <a:pt x="134" y="241"/>
                  </a:lnTo>
                  <a:lnTo>
                    <a:pt x="147" y="228"/>
                  </a:lnTo>
                  <a:lnTo>
                    <a:pt x="134" y="219"/>
                  </a:lnTo>
                  <a:lnTo>
                    <a:pt x="143" y="214"/>
                  </a:lnTo>
                  <a:lnTo>
                    <a:pt x="134" y="210"/>
                  </a:lnTo>
                  <a:lnTo>
                    <a:pt x="134" y="165"/>
                  </a:lnTo>
                  <a:lnTo>
                    <a:pt x="143" y="161"/>
                  </a:lnTo>
                  <a:lnTo>
                    <a:pt x="134" y="147"/>
                  </a:lnTo>
                  <a:lnTo>
                    <a:pt x="129" y="130"/>
                  </a:lnTo>
                  <a:lnTo>
                    <a:pt x="120" y="116"/>
                  </a:lnTo>
                  <a:lnTo>
                    <a:pt x="134" y="89"/>
                  </a:lnTo>
                  <a:lnTo>
                    <a:pt x="134" y="80"/>
                  </a:lnTo>
                  <a:lnTo>
                    <a:pt x="120" y="71"/>
                  </a:lnTo>
                  <a:lnTo>
                    <a:pt x="116" y="54"/>
                  </a:lnTo>
                  <a:lnTo>
                    <a:pt x="125" y="36"/>
                  </a:lnTo>
                  <a:lnTo>
                    <a:pt x="112" y="40"/>
                  </a:lnTo>
                  <a:lnTo>
                    <a:pt x="112" y="36"/>
                  </a:lnTo>
                  <a:lnTo>
                    <a:pt x="116" y="31"/>
                  </a:lnTo>
                  <a:lnTo>
                    <a:pt x="120" y="13"/>
                  </a:lnTo>
                  <a:lnTo>
                    <a:pt x="120" y="9"/>
                  </a:lnTo>
                  <a:lnTo>
                    <a:pt x="112" y="9"/>
                  </a:lnTo>
                  <a:lnTo>
                    <a:pt x="107" y="0"/>
                  </a:lnTo>
                  <a:lnTo>
                    <a:pt x="89" y="4"/>
                  </a:lnTo>
                  <a:lnTo>
                    <a:pt x="76" y="22"/>
                  </a:lnTo>
                  <a:lnTo>
                    <a:pt x="76" y="45"/>
                  </a:lnTo>
                  <a:lnTo>
                    <a:pt x="62" y="58"/>
                  </a:lnTo>
                  <a:lnTo>
                    <a:pt x="53" y="54"/>
                  </a:lnTo>
                  <a:lnTo>
                    <a:pt x="31" y="54"/>
                  </a:lnTo>
                  <a:lnTo>
                    <a:pt x="18" y="31"/>
                  </a:lnTo>
                  <a:lnTo>
                    <a:pt x="9" y="31"/>
                  </a:lnTo>
                  <a:lnTo>
                    <a:pt x="9" y="36"/>
                  </a:lnTo>
                  <a:lnTo>
                    <a:pt x="0" y="36"/>
                  </a:lnTo>
                  <a:lnTo>
                    <a:pt x="4" y="40"/>
                  </a:lnTo>
                  <a:close/>
                </a:path>
              </a:pathLst>
            </a:custGeom>
            <a:solidFill>
              <a:srgbClr val="86BC25"/>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black"/>
                </a:solidFill>
                <a:effectLst/>
                <a:uLnTx/>
                <a:uFillTx/>
                <a:latin typeface="Arial"/>
                <a:ea typeface="+mn-ea"/>
                <a:cs typeface="+mn-cs"/>
              </a:endParaRPr>
            </a:p>
          </p:txBody>
        </p:sp>
        <p:sp>
          <p:nvSpPr>
            <p:cNvPr id="122" name="Freeform 116">
              <a:extLst>
                <a:ext uri="{FF2B5EF4-FFF2-40B4-BE49-F238E27FC236}">
                  <a16:creationId xmlns:a16="http://schemas.microsoft.com/office/drawing/2014/main" id="{9E973A9A-F797-46DE-97E4-2DEB75DFF391}"/>
                </a:ext>
              </a:extLst>
            </p:cNvPr>
            <p:cNvSpPr>
              <a:spLocks noEditPoints="1"/>
            </p:cNvSpPr>
            <p:nvPr/>
          </p:nvSpPr>
          <p:spPr bwMode="gray">
            <a:xfrm>
              <a:off x="9090434" y="2322186"/>
              <a:ext cx="709106" cy="1390499"/>
            </a:xfrm>
            <a:custGeom>
              <a:avLst/>
              <a:gdLst/>
              <a:ahLst/>
              <a:cxnLst>
                <a:cxn ang="0">
                  <a:pos x="0" y="340"/>
                </a:cxn>
                <a:cxn ang="0">
                  <a:pos x="9" y="358"/>
                </a:cxn>
                <a:cxn ang="0">
                  <a:pos x="13" y="358"/>
                </a:cxn>
                <a:cxn ang="0">
                  <a:pos x="9" y="371"/>
                </a:cxn>
                <a:cxn ang="0">
                  <a:pos x="13" y="384"/>
                </a:cxn>
                <a:cxn ang="0">
                  <a:pos x="27" y="402"/>
                </a:cxn>
                <a:cxn ang="0">
                  <a:pos x="22" y="411"/>
                </a:cxn>
                <a:cxn ang="0">
                  <a:pos x="22" y="429"/>
                </a:cxn>
                <a:cxn ang="0">
                  <a:pos x="31" y="438"/>
                </a:cxn>
                <a:cxn ang="0">
                  <a:pos x="45" y="434"/>
                </a:cxn>
                <a:cxn ang="0">
                  <a:pos x="45" y="420"/>
                </a:cxn>
                <a:cxn ang="0">
                  <a:pos x="53" y="416"/>
                </a:cxn>
                <a:cxn ang="0">
                  <a:pos x="76" y="407"/>
                </a:cxn>
                <a:cxn ang="0">
                  <a:pos x="85" y="358"/>
                </a:cxn>
                <a:cxn ang="0">
                  <a:pos x="112" y="340"/>
                </a:cxn>
                <a:cxn ang="0">
                  <a:pos x="116" y="317"/>
                </a:cxn>
                <a:cxn ang="0">
                  <a:pos x="98" y="295"/>
                </a:cxn>
                <a:cxn ang="0">
                  <a:pos x="94" y="282"/>
                </a:cxn>
                <a:cxn ang="0">
                  <a:pos x="98" y="259"/>
                </a:cxn>
                <a:cxn ang="0">
                  <a:pos x="98" y="241"/>
                </a:cxn>
                <a:cxn ang="0">
                  <a:pos x="98" y="233"/>
                </a:cxn>
                <a:cxn ang="0">
                  <a:pos x="103" y="224"/>
                </a:cxn>
                <a:cxn ang="0">
                  <a:pos x="103" y="215"/>
                </a:cxn>
                <a:cxn ang="0">
                  <a:pos x="116" y="210"/>
                </a:cxn>
                <a:cxn ang="0">
                  <a:pos x="125" y="201"/>
                </a:cxn>
                <a:cxn ang="0">
                  <a:pos x="138" y="188"/>
                </a:cxn>
                <a:cxn ang="0">
                  <a:pos x="143" y="165"/>
                </a:cxn>
                <a:cxn ang="0">
                  <a:pos x="161" y="139"/>
                </a:cxn>
                <a:cxn ang="0">
                  <a:pos x="165" y="125"/>
                </a:cxn>
                <a:cxn ang="0">
                  <a:pos x="174" y="125"/>
                </a:cxn>
                <a:cxn ang="0">
                  <a:pos x="183" y="112"/>
                </a:cxn>
                <a:cxn ang="0">
                  <a:pos x="187" y="81"/>
                </a:cxn>
                <a:cxn ang="0">
                  <a:pos x="179" y="36"/>
                </a:cxn>
                <a:cxn ang="0">
                  <a:pos x="152" y="14"/>
                </a:cxn>
                <a:cxn ang="0">
                  <a:pos x="129" y="0"/>
                </a:cxn>
                <a:cxn ang="0">
                  <a:pos x="125" y="22"/>
                </a:cxn>
                <a:cxn ang="0">
                  <a:pos x="98" y="22"/>
                </a:cxn>
                <a:cxn ang="0">
                  <a:pos x="98" y="40"/>
                </a:cxn>
                <a:cxn ang="0">
                  <a:pos x="80" y="49"/>
                </a:cxn>
                <a:cxn ang="0">
                  <a:pos x="80" y="81"/>
                </a:cxn>
                <a:cxn ang="0">
                  <a:pos x="62" y="112"/>
                </a:cxn>
                <a:cxn ang="0">
                  <a:pos x="53" y="116"/>
                </a:cxn>
                <a:cxn ang="0">
                  <a:pos x="49" y="139"/>
                </a:cxn>
                <a:cxn ang="0">
                  <a:pos x="45" y="179"/>
                </a:cxn>
                <a:cxn ang="0">
                  <a:pos x="27" y="179"/>
                </a:cxn>
                <a:cxn ang="0">
                  <a:pos x="13" y="201"/>
                </a:cxn>
                <a:cxn ang="0">
                  <a:pos x="13" y="210"/>
                </a:cxn>
                <a:cxn ang="0">
                  <a:pos x="27" y="273"/>
                </a:cxn>
                <a:cxn ang="0">
                  <a:pos x="22" y="313"/>
                </a:cxn>
                <a:cxn ang="0">
                  <a:pos x="13" y="331"/>
                </a:cxn>
                <a:cxn ang="0">
                  <a:pos x="4" y="340"/>
                </a:cxn>
                <a:cxn ang="0">
                  <a:pos x="80" y="402"/>
                </a:cxn>
                <a:cxn ang="0">
                  <a:pos x="80" y="411"/>
                </a:cxn>
                <a:cxn ang="0">
                  <a:pos x="89" y="384"/>
                </a:cxn>
                <a:cxn ang="0">
                  <a:pos x="120" y="371"/>
                </a:cxn>
                <a:cxn ang="0">
                  <a:pos x="112" y="371"/>
                </a:cxn>
                <a:cxn ang="0">
                  <a:pos x="103" y="376"/>
                </a:cxn>
                <a:cxn ang="0">
                  <a:pos x="107" y="393"/>
                </a:cxn>
                <a:cxn ang="0">
                  <a:pos x="112" y="380"/>
                </a:cxn>
                <a:cxn ang="0">
                  <a:pos x="120" y="371"/>
                </a:cxn>
              </a:cxnLst>
              <a:rect l="0" t="0" r="r" b="b"/>
              <a:pathLst>
                <a:path w="187" h="438">
                  <a:moveTo>
                    <a:pt x="4" y="340"/>
                  </a:moveTo>
                  <a:lnTo>
                    <a:pt x="0" y="340"/>
                  </a:lnTo>
                  <a:lnTo>
                    <a:pt x="0" y="358"/>
                  </a:lnTo>
                  <a:lnTo>
                    <a:pt x="9" y="358"/>
                  </a:lnTo>
                  <a:lnTo>
                    <a:pt x="9" y="353"/>
                  </a:lnTo>
                  <a:lnTo>
                    <a:pt x="13" y="358"/>
                  </a:lnTo>
                  <a:lnTo>
                    <a:pt x="9" y="367"/>
                  </a:lnTo>
                  <a:lnTo>
                    <a:pt x="9" y="371"/>
                  </a:lnTo>
                  <a:lnTo>
                    <a:pt x="9" y="384"/>
                  </a:lnTo>
                  <a:lnTo>
                    <a:pt x="13" y="384"/>
                  </a:lnTo>
                  <a:lnTo>
                    <a:pt x="18" y="398"/>
                  </a:lnTo>
                  <a:lnTo>
                    <a:pt x="27" y="402"/>
                  </a:lnTo>
                  <a:lnTo>
                    <a:pt x="18" y="411"/>
                  </a:lnTo>
                  <a:lnTo>
                    <a:pt x="22" y="411"/>
                  </a:lnTo>
                  <a:lnTo>
                    <a:pt x="18" y="411"/>
                  </a:lnTo>
                  <a:lnTo>
                    <a:pt x="22" y="429"/>
                  </a:lnTo>
                  <a:lnTo>
                    <a:pt x="22" y="434"/>
                  </a:lnTo>
                  <a:lnTo>
                    <a:pt x="31" y="438"/>
                  </a:lnTo>
                  <a:lnTo>
                    <a:pt x="45" y="438"/>
                  </a:lnTo>
                  <a:lnTo>
                    <a:pt x="45" y="434"/>
                  </a:lnTo>
                  <a:lnTo>
                    <a:pt x="45" y="429"/>
                  </a:lnTo>
                  <a:lnTo>
                    <a:pt x="45" y="420"/>
                  </a:lnTo>
                  <a:lnTo>
                    <a:pt x="53" y="420"/>
                  </a:lnTo>
                  <a:lnTo>
                    <a:pt x="53" y="416"/>
                  </a:lnTo>
                  <a:lnTo>
                    <a:pt x="71" y="416"/>
                  </a:lnTo>
                  <a:lnTo>
                    <a:pt x="76" y="407"/>
                  </a:lnTo>
                  <a:lnTo>
                    <a:pt x="80" y="380"/>
                  </a:lnTo>
                  <a:lnTo>
                    <a:pt x="85" y="358"/>
                  </a:lnTo>
                  <a:lnTo>
                    <a:pt x="94" y="344"/>
                  </a:lnTo>
                  <a:lnTo>
                    <a:pt x="112" y="340"/>
                  </a:lnTo>
                  <a:lnTo>
                    <a:pt x="107" y="331"/>
                  </a:lnTo>
                  <a:lnTo>
                    <a:pt x="116" y="317"/>
                  </a:lnTo>
                  <a:lnTo>
                    <a:pt x="112" y="308"/>
                  </a:lnTo>
                  <a:lnTo>
                    <a:pt x="98" y="295"/>
                  </a:lnTo>
                  <a:lnTo>
                    <a:pt x="94" y="291"/>
                  </a:lnTo>
                  <a:lnTo>
                    <a:pt x="94" y="282"/>
                  </a:lnTo>
                  <a:lnTo>
                    <a:pt x="94" y="259"/>
                  </a:lnTo>
                  <a:lnTo>
                    <a:pt x="98" y="259"/>
                  </a:lnTo>
                  <a:lnTo>
                    <a:pt x="94" y="255"/>
                  </a:lnTo>
                  <a:lnTo>
                    <a:pt x="98" y="241"/>
                  </a:lnTo>
                  <a:lnTo>
                    <a:pt x="94" y="237"/>
                  </a:lnTo>
                  <a:lnTo>
                    <a:pt x="98" y="233"/>
                  </a:lnTo>
                  <a:lnTo>
                    <a:pt x="98" y="224"/>
                  </a:lnTo>
                  <a:lnTo>
                    <a:pt x="103" y="224"/>
                  </a:lnTo>
                  <a:lnTo>
                    <a:pt x="107" y="219"/>
                  </a:lnTo>
                  <a:lnTo>
                    <a:pt x="103" y="215"/>
                  </a:lnTo>
                  <a:lnTo>
                    <a:pt x="112" y="206"/>
                  </a:lnTo>
                  <a:lnTo>
                    <a:pt x="116" y="210"/>
                  </a:lnTo>
                  <a:lnTo>
                    <a:pt x="125" y="197"/>
                  </a:lnTo>
                  <a:lnTo>
                    <a:pt x="125" y="201"/>
                  </a:lnTo>
                  <a:lnTo>
                    <a:pt x="129" y="192"/>
                  </a:lnTo>
                  <a:lnTo>
                    <a:pt x="138" y="188"/>
                  </a:lnTo>
                  <a:lnTo>
                    <a:pt x="152" y="174"/>
                  </a:lnTo>
                  <a:lnTo>
                    <a:pt x="143" y="165"/>
                  </a:lnTo>
                  <a:lnTo>
                    <a:pt x="152" y="148"/>
                  </a:lnTo>
                  <a:lnTo>
                    <a:pt x="161" y="139"/>
                  </a:lnTo>
                  <a:lnTo>
                    <a:pt x="161" y="130"/>
                  </a:lnTo>
                  <a:lnTo>
                    <a:pt x="165" y="125"/>
                  </a:lnTo>
                  <a:lnTo>
                    <a:pt x="165" y="121"/>
                  </a:lnTo>
                  <a:lnTo>
                    <a:pt x="174" y="125"/>
                  </a:lnTo>
                  <a:lnTo>
                    <a:pt x="187" y="125"/>
                  </a:lnTo>
                  <a:lnTo>
                    <a:pt x="183" y="112"/>
                  </a:lnTo>
                  <a:lnTo>
                    <a:pt x="183" y="98"/>
                  </a:lnTo>
                  <a:lnTo>
                    <a:pt x="187" y="81"/>
                  </a:lnTo>
                  <a:lnTo>
                    <a:pt x="183" y="58"/>
                  </a:lnTo>
                  <a:lnTo>
                    <a:pt x="179" y="36"/>
                  </a:lnTo>
                  <a:lnTo>
                    <a:pt x="174" y="22"/>
                  </a:lnTo>
                  <a:lnTo>
                    <a:pt x="152" y="14"/>
                  </a:lnTo>
                  <a:lnTo>
                    <a:pt x="138" y="0"/>
                  </a:lnTo>
                  <a:lnTo>
                    <a:pt x="129" y="0"/>
                  </a:lnTo>
                  <a:lnTo>
                    <a:pt x="125" y="9"/>
                  </a:lnTo>
                  <a:lnTo>
                    <a:pt x="125" y="22"/>
                  </a:lnTo>
                  <a:lnTo>
                    <a:pt x="103" y="18"/>
                  </a:lnTo>
                  <a:lnTo>
                    <a:pt x="98" y="22"/>
                  </a:lnTo>
                  <a:lnTo>
                    <a:pt x="103" y="36"/>
                  </a:lnTo>
                  <a:lnTo>
                    <a:pt x="98" y="40"/>
                  </a:lnTo>
                  <a:lnTo>
                    <a:pt x="89" y="36"/>
                  </a:lnTo>
                  <a:lnTo>
                    <a:pt x="80" y="49"/>
                  </a:lnTo>
                  <a:lnTo>
                    <a:pt x="76" y="63"/>
                  </a:lnTo>
                  <a:lnTo>
                    <a:pt x="80" y="81"/>
                  </a:lnTo>
                  <a:lnTo>
                    <a:pt x="58" y="103"/>
                  </a:lnTo>
                  <a:lnTo>
                    <a:pt x="62" y="112"/>
                  </a:lnTo>
                  <a:lnTo>
                    <a:pt x="58" y="121"/>
                  </a:lnTo>
                  <a:lnTo>
                    <a:pt x="53" y="116"/>
                  </a:lnTo>
                  <a:lnTo>
                    <a:pt x="49" y="121"/>
                  </a:lnTo>
                  <a:lnTo>
                    <a:pt x="49" y="139"/>
                  </a:lnTo>
                  <a:lnTo>
                    <a:pt x="40" y="165"/>
                  </a:lnTo>
                  <a:lnTo>
                    <a:pt x="45" y="179"/>
                  </a:lnTo>
                  <a:lnTo>
                    <a:pt x="36" y="183"/>
                  </a:lnTo>
                  <a:lnTo>
                    <a:pt x="27" y="179"/>
                  </a:lnTo>
                  <a:lnTo>
                    <a:pt x="18" y="183"/>
                  </a:lnTo>
                  <a:lnTo>
                    <a:pt x="13" y="201"/>
                  </a:lnTo>
                  <a:lnTo>
                    <a:pt x="18" y="206"/>
                  </a:lnTo>
                  <a:lnTo>
                    <a:pt x="13" y="210"/>
                  </a:lnTo>
                  <a:lnTo>
                    <a:pt x="13" y="255"/>
                  </a:lnTo>
                  <a:lnTo>
                    <a:pt x="27" y="273"/>
                  </a:lnTo>
                  <a:lnTo>
                    <a:pt x="18" y="286"/>
                  </a:lnTo>
                  <a:lnTo>
                    <a:pt x="22" y="313"/>
                  </a:lnTo>
                  <a:lnTo>
                    <a:pt x="13" y="322"/>
                  </a:lnTo>
                  <a:lnTo>
                    <a:pt x="13" y="331"/>
                  </a:lnTo>
                  <a:lnTo>
                    <a:pt x="13" y="344"/>
                  </a:lnTo>
                  <a:lnTo>
                    <a:pt x="4" y="340"/>
                  </a:lnTo>
                  <a:close/>
                  <a:moveTo>
                    <a:pt x="85" y="384"/>
                  </a:moveTo>
                  <a:lnTo>
                    <a:pt x="80" y="402"/>
                  </a:lnTo>
                  <a:lnTo>
                    <a:pt x="80" y="416"/>
                  </a:lnTo>
                  <a:lnTo>
                    <a:pt x="80" y="411"/>
                  </a:lnTo>
                  <a:lnTo>
                    <a:pt x="80" y="407"/>
                  </a:lnTo>
                  <a:lnTo>
                    <a:pt x="89" y="384"/>
                  </a:lnTo>
                  <a:lnTo>
                    <a:pt x="85" y="384"/>
                  </a:lnTo>
                  <a:close/>
                  <a:moveTo>
                    <a:pt x="120" y="371"/>
                  </a:moveTo>
                  <a:lnTo>
                    <a:pt x="116" y="367"/>
                  </a:lnTo>
                  <a:lnTo>
                    <a:pt x="112" y="371"/>
                  </a:lnTo>
                  <a:lnTo>
                    <a:pt x="107" y="367"/>
                  </a:lnTo>
                  <a:lnTo>
                    <a:pt x="103" y="376"/>
                  </a:lnTo>
                  <a:lnTo>
                    <a:pt x="103" y="384"/>
                  </a:lnTo>
                  <a:lnTo>
                    <a:pt x="107" y="393"/>
                  </a:lnTo>
                  <a:lnTo>
                    <a:pt x="112" y="380"/>
                  </a:lnTo>
                  <a:lnTo>
                    <a:pt x="112" y="380"/>
                  </a:lnTo>
                  <a:lnTo>
                    <a:pt x="112" y="371"/>
                  </a:lnTo>
                  <a:lnTo>
                    <a:pt x="120" y="371"/>
                  </a:lnTo>
                  <a:close/>
                </a:path>
              </a:pathLst>
            </a:custGeom>
            <a:solidFill>
              <a:srgbClr val="86BC25"/>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black"/>
                </a:solidFill>
                <a:effectLst/>
                <a:uLnTx/>
                <a:uFillTx/>
                <a:latin typeface="Arial"/>
                <a:ea typeface="+mn-ea"/>
                <a:cs typeface="+mn-cs"/>
              </a:endParaRPr>
            </a:p>
          </p:txBody>
        </p:sp>
        <p:sp>
          <p:nvSpPr>
            <p:cNvPr id="123" name="Rectangle 7">
              <a:extLst>
                <a:ext uri="{FF2B5EF4-FFF2-40B4-BE49-F238E27FC236}">
                  <a16:creationId xmlns:a16="http://schemas.microsoft.com/office/drawing/2014/main" id="{1C0AAF45-74C4-49CD-BE74-33EAF5BF7C4E}"/>
                </a:ext>
              </a:extLst>
            </p:cNvPr>
            <p:cNvSpPr/>
            <p:nvPr/>
          </p:nvSpPr>
          <p:spPr bwMode="auto">
            <a:xfrm>
              <a:off x="9964998" y="2199112"/>
              <a:ext cx="1062028" cy="2538924"/>
            </a:xfrm>
            <a:custGeom>
              <a:avLst/>
              <a:gdLst>
                <a:gd name="connsiteX0" fmla="*/ 0 w 1385330"/>
                <a:gd name="connsiteY0" fmla="*/ 0 h 3291525"/>
                <a:gd name="connsiteX1" fmla="*/ 1385330 w 1385330"/>
                <a:gd name="connsiteY1" fmla="*/ 0 h 3291525"/>
                <a:gd name="connsiteX2" fmla="*/ 1385330 w 1385330"/>
                <a:gd name="connsiteY2" fmla="*/ 3291525 h 3291525"/>
                <a:gd name="connsiteX3" fmla="*/ 0 w 1385330"/>
                <a:gd name="connsiteY3" fmla="*/ 3291525 h 3291525"/>
                <a:gd name="connsiteX4" fmla="*/ 0 w 1385330"/>
                <a:gd name="connsiteY4" fmla="*/ 0 h 3291525"/>
                <a:gd name="connsiteX0" fmla="*/ 236220 w 1385330"/>
                <a:gd name="connsiteY0" fmla="*/ 220980 h 3291525"/>
                <a:gd name="connsiteX1" fmla="*/ 1385330 w 1385330"/>
                <a:gd name="connsiteY1" fmla="*/ 0 h 3291525"/>
                <a:gd name="connsiteX2" fmla="*/ 1385330 w 1385330"/>
                <a:gd name="connsiteY2" fmla="*/ 3291525 h 3291525"/>
                <a:gd name="connsiteX3" fmla="*/ 0 w 1385330"/>
                <a:gd name="connsiteY3" fmla="*/ 3291525 h 3291525"/>
                <a:gd name="connsiteX4" fmla="*/ 236220 w 1385330"/>
                <a:gd name="connsiteY4" fmla="*/ 220980 h 3291525"/>
                <a:gd name="connsiteX0" fmla="*/ 236220 w 1385330"/>
                <a:gd name="connsiteY0" fmla="*/ 220980 h 3291525"/>
                <a:gd name="connsiteX1" fmla="*/ 1385330 w 1385330"/>
                <a:gd name="connsiteY1" fmla="*/ 0 h 3291525"/>
                <a:gd name="connsiteX2" fmla="*/ 1385330 w 1385330"/>
                <a:gd name="connsiteY2" fmla="*/ 3291525 h 3291525"/>
                <a:gd name="connsiteX3" fmla="*/ 0 w 1385330"/>
                <a:gd name="connsiteY3" fmla="*/ 3291525 h 3291525"/>
                <a:gd name="connsiteX4" fmla="*/ 65201 w 1385330"/>
                <a:gd name="connsiteY4" fmla="*/ 2214562 h 3291525"/>
                <a:gd name="connsiteX5" fmla="*/ 236220 w 1385330"/>
                <a:gd name="connsiteY5" fmla="*/ 220980 h 3291525"/>
                <a:gd name="connsiteX0" fmla="*/ 236220 w 1385330"/>
                <a:gd name="connsiteY0" fmla="*/ 220980 h 3291525"/>
                <a:gd name="connsiteX1" fmla="*/ 1385330 w 1385330"/>
                <a:gd name="connsiteY1" fmla="*/ 0 h 3291525"/>
                <a:gd name="connsiteX2" fmla="*/ 1385330 w 1385330"/>
                <a:gd name="connsiteY2" fmla="*/ 3291525 h 3291525"/>
                <a:gd name="connsiteX3" fmla="*/ 0 w 1385330"/>
                <a:gd name="connsiteY3" fmla="*/ 3291525 h 3291525"/>
                <a:gd name="connsiteX4" fmla="*/ 293801 w 1385330"/>
                <a:gd name="connsiteY4" fmla="*/ 2245042 h 3291525"/>
                <a:gd name="connsiteX5" fmla="*/ 236220 w 1385330"/>
                <a:gd name="connsiteY5" fmla="*/ 220980 h 3291525"/>
                <a:gd name="connsiteX0" fmla="*/ 236220 w 1385330"/>
                <a:gd name="connsiteY0" fmla="*/ 220980 h 3291525"/>
                <a:gd name="connsiteX1" fmla="*/ 1385330 w 1385330"/>
                <a:gd name="connsiteY1" fmla="*/ 0 h 3291525"/>
                <a:gd name="connsiteX2" fmla="*/ 1385330 w 1385330"/>
                <a:gd name="connsiteY2" fmla="*/ 3291525 h 3291525"/>
                <a:gd name="connsiteX3" fmla="*/ 0 w 1385330"/>
                <a:gd name="connsiteY3" fmla="*/ 3291525 h 3291525"/>
                <a:gd name="connsiteX4" fmla="*/ 1154861 w 1385330"/>
                <a:gd name="connsiteY4" fmla="*/ 1917382 h 3291525"/>
                <a:gd name="connsiteX5" fmla="*/ 236220 w 1385330"/>
                <a:gd name="connsiteY5" fmla="*/ 220980 h 3291525"/>
                <a:gd name="connsiteX0" fmla="*/ 236220 w 1385330"/>
                <a:gd name="connsiteY0" fmla="*/ 220980 h 3291525"/>
                <a:gd name="connsiteX1" fmla="*/ 1385330 w 1385330"/>
                <a:gd name="connsiteY1" fmla="*/ 0 h 3291525"/>
                <a:gd name="connsiteX2" fmla="*/ 1385330 w 1385330"/>
                <a:gd name="connsiteY2" fmla="*/ 3291525 h 3291525"/>
                <a:gd name="connsiteX3" fmla="*/ 0 w 1385330"/>
                <a:gd name="connsiteY3" fmla="*/ 3291525 h 3291525"/>
                <a:gd name="connsiteX4" fmla="*/ 800170 w 1385330"/>
                <a:gd name="connsiteY4" fmla="*/ 1900834 h 3291525"/>
                <a:gd name="connsiteX5" fmla="*/ 236220 w 1385330"/>
                <a:gd name="connsiteY5" fmla="*/ 220980 h 3291525"/>
                <a:gd name="connsiteX0" fmla="*/ 236220 w 1385330"/>
                <a:gd name="connsiteY0" fmla="*/ 220980 h 3291525"/>
                <a:gd name="connsiteX1" fmla="*/ 1385330 w 1385330"/>
                <a:gd name="connsiteY1" fmla="*/ 0 h 3291525"/>
                <a:gd name="connsiteX2" fmla="*/ 1385330 w 1385330"/>
                <a:gd name="connsiteY2" fmla="*/ 3291525 h 3291525"/>
                <a:gd name="connsiteX3" fmla="*/ 0 w 1385330"/>
                <a:gd name="connsiteY3" fmla="*/ 3291525 h 3291525"/>
                <a:gd name="connsiteX4" fmla="*/ 657820 w 1385330"/>
                <a:gd name="connsiteY4" fmla="*/ 2139919 h 3291525"/>
                <a:gd name="connsiteX5" fmla="*/ 800170 w 1385330"/>
                <a:gd name="connsiteY5" fmla="*/ 1900834 h 3291525"/>
                <a:gd name="connsiteX6" fmla="*/ 236220 w 1385330"/>
                <a:gd name="connsiteY6" fmla="*/ 220980 h 3291525"/>
                <a:gd name="connsiteX0" fmla="*/ 236220 w 1385330"/>
                <a:gd name="connsiteY0" fmla="*/ 220980 h 3291525"/>
                <a:gd name="connsiteX1" fmla="*/ 1385330 w 1385330"/>
                <a:gd name="connsiteY1" fmla="*/ 0 h 3291525"/>
                <a:gd name="connsiteX2" fmla="*/ 1385330 w 1385330"/>
                <a:gd name="connsiteY2" fmla="*/ 3291525 h 3291525"/>
                <a:gd name="connsiteX3" fmla="*/ 0 w 1385330"/>
                <a:gd name="connsiteY3" fmla="*/ 3291525 h 3291525"/>
                <a:gd name="connsiteX4" fmla="*/ 329730 w 1385330"/>
                <a:gd name="connsiteY4" fmla="*/ 2702566 h 3291525"/>
                <a:gd name="connsiteX5" fmla="*/ 657820 w 1385330"/>
                <a:gd name="connsiteY5" fmla="*/ 2139919 h 3291525"/>
                <a:gd name="connsiteX6" fmla="*/ 800170 w 1385330"/>
                <a:gd name="connsiteY6" fmla="*/ 1900834 h 3291525"/>
                <a:gd name="connsiteX7" fmla="*/ 236220 w 1385330"/>
                <a:gd name="connsiteY7" fmla="*/ 220980 h 3291525"/>
                <a:gd name="connsiteX0" fmla="*/ 236220 w 1385330"/>
                <a:gd name="connsiteY0" fmla="*/ 220980 h 3291525"/>
                <a:gd name="connsiteX1" fmla="*/ 1385330 w 1385330"/>
                <a:gd name="connsiteY1" fmla="*/ 0 h 3291525"/>
                <a:gd name="connsiteX2" fmla="*/ 1385330 w 1385330"/>
                <a:gd name="connsiteY2" fmla="*/ 3291525 h 3291525"/>
                <a:gd name="connsiteX3" fmla="*/ 0 w 1385330"/>
                <a:gd name="connsiteY3" fmla="*/ 3291525 h 3291525"/>
                <a:gd name="connsiteX4" fmla="*/ 329730 w 1385330"/>
                <a:gd name="connsiteY4" fmla="*/ 2702566 h 3291525"/>
                <a:gd name="connsiteX5" fmla="*/ 657820 w 1385330"/>
                <a:gd name="connsiteY5" fmla="*/ 2139919 h 3291525"/>
                <a:gd name="connsiteX6" fmla="*/ 800170 w 1385330"/>
                <a:gd name="connsiteY6" fmla="*/ 1900834 h 3291525"/>
                <a:gd name="connsiteX7" fmla="*/ 613483 w 1385330"/>
                <a:gd name="connsiteY7" fmla="*/ 1362143 h 3291525"/>
                <a:gd name="connsiteX8" fmla="*/ 236220 w 1385330"/>
                <a:gd name="connsiteY8" fmla="*/ 220980 h 3291525"/>
                <a:gd name="connsiteX0" fmla="*/ 236220 w 1385330"/>
                <a:gd name="connsiteY0" fmla="*/ 220980 h 3291525"/>
                <a:gd name="connsiteX1" fmla="*/ 1385330 w 1385330"/>
                <a:gd name="connsiteY1" fmla="*/ 0 h 3291525"/>
                <a:gd name="connsiteX2" fmla="*/ 1385330 w 1385330"/>
                <a:gd name="connsiteY2" fmla="*/ 3291525 h 3291525"/>
                <a:gd name="connsiteX3" fmla="*/ 0 w 1385330"/>
                <a:gd name="connsiteY3" fmla="*/ 3291525 h 3291525"/>
                <a:gd name="connsiteX4" fmla="*/ 329730 w 1385330"/>
                <a:gd name="connsiteY4" fmla="*/ 2702566 h 3291525"/>
                <a:gd name="connsiteX5" fmla="*/ 657820 w 1385330"/>
                <a:gd name="connsiteY5" fmla="*/ 2139919 h 3291525"/>
                <a:gd name="connsiteX6" fmla="*/ 800170 w 1385330"/>
                <a:gd name="connsiteY6" fmla="*/ 1900834 h 3291525"/>
                <a:gd name="connsiteX7" fmla="*/ 613483 w 1385330"/>
                <a:gd name="connsiteY7" fmla="*/ 1362143 h 3291525"/>
                <a:gd name="connsiteX8" fmla="*/ 524810 w 1385330"/>
                <a:gd name="connsiteY8" fmla="*/ 1122191 h 3291525"/>
                <a:gd name="connsiteX9" fmla="*/ 236220 w 1385330"/>
                <a:gd name="connsiteY9" fmla="*/ 220980 h 3291525"/>
                <a:gd name="connsiteX0" fmla="*/ 236220 w 1385330"/>
                <a:gd name="connsiteY0" fmla="*/ 220980 h 3291525"/>
                <a:gd name="connsiteX1" fmla="*/ 1385330 w 1385330"/>
                <a:gd name="connsiteY1" fmla="*/ 0 h 3291525"/>
                <a:gd name="connsiteX2" fmla="*/ 1385330 w 1385330"/>
                <a:gd name="connsiteY2" fmla="*/ 3291525 h 3291525"/>
                <a:gd name="connsiteX3" fmla="*/ 0 w 1385330"/>
                <a:gd name="connsiteY3" fmla="*/ 3291525 h 3291525"/>
                <a:gd name="connsiteX4" fmla="*/ 329730 w 1385330"/>
                <a:gd name="connsiteY4" fmla="*/ 2702566 h 3291525"/>
                <a:gd name="connsiteX5" fmla="*/ 657820 w 1385330"/>
                <a:gd name="connsiteY5" fmla="*/ 2139919 h 3291525"/>
                <a:gd name="connsiteX6" fmla="*/ 800170 w 1385330"/>
                <a:gd name="connsiteY6" fmla="*/ 1900834 h 3291525"/>
                <a:gd name="connsiteX7" fmla="*/ 613483 w 1385330"/>
                <a:gd name="connsiteY7" fmla="*/ 1362143 h 3291525"/>
                <a:gd name="connsiteX8" fmla="*/ 365199 w 1385330"/>
                <a:gd name="connsiteY8" fmla="*/ 1130465 h 3291525"/>
                <a:gd name="connsiteX9" fmla="*/ 236220 w 1385330"/>
                <a:gd name="connsiteY9" fmla="*/ 220980 h 3291525"/>
                <a:gd name="connsiteX0" fmla="*/ 236220 w 1385330"/>
                <a:gd name="connsiteY0" fmla="*/ 220980 h 3291525"/>
                <a:gd name="connsiteX1" fmla="*/ 1385330 w 1385330"/>
                <a:gd name="connsiteY1" fmla="*/ 0 h 3291525"/>
                <a:gd name="connsiteX2" fmla="*/ 1385330 w 1385330"/>
                <a:gd name="connsiteY2" fmla="*/ 3291525 h 3291525"/>
                <a:gd name="connsiteX3" fmla="*/ 0 w 1385330"/>
                <a:gd name="connsiteY3" fmla="*/ 3291525 h 3291525"/>
                <a:gd name="connsiteX4" fmla="*/ 329730 w 1385330"/>
                <a:gd name="connsiteY4" fmla="*/ 2702566 h 3291525"/>
                <a:gd name="connsiteX5" fmla="*/ 657820 w 1385330"/>
                <a:gd name="connsiteY5" fmla="*/ 2139919 h 3291525"/>
                <a:gd name="connsiteX6" fmla="*/ 800170 w 1385330"/>
                <a:gd name="connsiteY6" fmla="*/ 1900834 h 3291525"/>
                <a:gd name="connsiteX7" fmla="*/ 613483 w 1385330"/>
                <a:gd name="connsiteY7" fmla="*/ 1362143 h 3291525"/>
                <a:gd name="connsiteX8" fmla="*/ 365199 w 1385330"/>
                <a:gd name="connsiteY8" fmla="*/ 1130465 h 3291525"/>
                <a:gd name="connsiteX9" fmla="*/ 356332 w 1385330"/>
                <a:gd name="connsiteY9" fmla="*/ 1014626 h 3291525"/>
                <a:gd name="connsiteX10" fmla="*/ 236220 w 1385330"/>
                <a:gd name="connsiteY10" fmla="*/ 220980 h 3291525"/>
                <a:gd name="connsiteX0" fmla="*/ 236220 w 1385330"/>
                <a:gd name="connsiteY0" fmla="*/ 187883 h 3258428"/>
                <a:gd name="connsiteX1" fmla="*/ 1358728 w 1385330"/>
                <a:gd name="connsiteY1" fmla="*/ 0 h 3258428"/>
                <a:gd name="connsiteX2" fmla="*/ 1385330 w 1385330"/>
                <a:gd name="connsiteY2" fmla="*/ 3258428 h 3258428"/>
                <a:gd name="connsiteX3" fmla="*/ 0 w 1385330"/>
                <a:gd name="connsiteY3" fmla="*/ 3258428 h 3258428"/>
                <a:gd name="connsiteX4" fmla="*/ 329730 w 1385330"/>
                <a:gd name="connsiteY4" fmla="*/ 2669469 h 3258428"/>
                <a:gd name="connsiteX5" fmla="*/ 657820 w 1385330"/>
                <a:gd name="connsiteY5" fmla="*/ 2106822 h 3258428"/>
                <a:gd name="connsiteX6" fmla="*/ 800170 w 1385330"/>
                <a:gd name="connsiteY6" fmla="*/ 1867737 h 3258428"/>
                <a:gd name="connsiteX7" fmla="*/ 613483 w 1385330"/>
                <a:gd name="connsiteY7" fmla="*/ 1329046 h 3258428"/>
                <a:gd name="connsiteX8" fmla="*/ 365199 w 1385330"/>
                <a:gd name="connsiteY8" fmla="*/ 1097368 h 3258428"/>
                <a:gd name="connsiteX9" fmla="*/ 356332 w 1385330"/>
                <a:gd name="connsiteY9" fmla="*/ 981529 h 3258428"/>
                <a:gd name="connsiteX10" fmla="*/ 236220 w 1385330"/>
                <a:gd name="connsiteY10" fmla="*/ 187883 h 3258428"/>
                <a:gd name="connsiteX0" fmla="*/ 236220 w 1385330"/>
                <a:gd name="connsiteY0" fmla="*/ 0 h 3070545"/>
                <a:gd name="connsiteX1" fmla="*/ 1376463 w 1385330"/>
                <a:gd name="connsiteY1" fmla="*/ 27247 h 3070545"/>
                <a:gd name="connsiteX2" fmla="*/ 1385330 w 1385330"/>
                <a:gd name="connsiteY2" fmla="*/ 3070545 h 3070545"/>
                <a:gd name="connsiteX3" fmla="*/ 0 w 1385330"/>
                <a:gd name="connsiteY3" fmla="*/ 3070545 h 3070545"/>
                <a:gd name="connsiteX4" fmla="*/ 329730 w 1385330"/>
                <a:gd name="connsiteY4" fmla="*/ 2481586 h 3070545"/>
                <a:gd name="connsiteX5" fmla="*/ 657820 w 1385330"/>
                <a:gd name="connsiteY5" fmla="*/ 1918939 h 3070545"/>
                <a:gd name="connsiteX6" fmla="*/ 800170 w 1385330"/>
                <a:gd name="connsiteY6" fmla="*/ 1679854 h 3070545"/>
                <a:gd name="connsiteX7" fmla="*/ 613483 w 1385330"/>
                <a:gd name="connsiteY7" fmla="*/ 1141163 h 3070545"/>
                <a:gd name="connsiteX8" fmla="*/ 365199 w 1385330"/>
                <a:gd name="connsiteY8" fmla="*/ 909485 h 3070545"/>
                <a:gd name="connsiteX9" fmla="*/ 356332 w 1385330"/>
                <a:gd name="connsiteY9" fmla="*/ 793646 h 3070545"/>
                <a:gd name="connsiteX10" fmla="*/ 236220 w 1385330"/>
                <a:gd name="connsiteY10" fmla="*/ 0 h 3070545"/>
                <a:gd name="connsiteX0" fmla="*/ 236220 w 1376516"/>
                <a:gd name="connsiteY0" fmla="*/ 0 h 3070545"/>
                <a:gd name="connsiteX1" fmla="*/ 1376463 w 1376516"/>
                <a:gd name="connsiteY1" fmla="*/ 27247 h 3070545"/>
                <a:gd name="connsiteX2" fmla="*/ 1261188 w 1376516"/>
                <a:gd name="connsiteY2" fmla="*/ 3037448 h 3070545"/>
                <a:gd name="connsiteX3" fmla="*/ 0 w 1376516"/>
                <a:gd name="connsiteY3" fmla="*/ 3070545 h 3070545"/>
                <a:gd name="connsiteX4" fmla="*/ 329730 w 1376516"/>
                <a:gd name="connsiteY4" fmla="*/ 2481586 h 3070545"/>
                <a:gd name="connsiteX5" fmla="*/ 657820 w 1376516"/>
                <a:gd name="connsiteY5" fmla="*/ 1918939 h 3070545"/>
                <a:gd name="connsiteX6" fmla="*/ 800170 w 1376516"/>
                <a:gd name="connsiteY6" fmla="*/ 1679854 h 3070545"/>
                <a:gd name="connsiteX7" fmla="*/ 613483 w 1376516"/>
                <a:gd name="connsiteY7" fmla="*/ 1141163 h 3070545"/>
                <a:gd name="connsiteX8" fmla="*/ 365199 w 1376516"/>
                <a:gd name="connsiteY8" fmla="*/ 909485 h 3070545"/>
                <a:gd name="connsiteX9" fmla="*/ 356332 w 1376516"/>
                <a:gd name="connsiteY9" fmla="*/ 793646 h 3070545"/>
                <a:gd name="connsiteX10" fmla="*/ 236220 w 1376516"/>
                <a:gd name="connsiteY10" fmla="*/ 0 h 3070545"/>
                <a:gd name="connsiteX0" fmla="*/ 236220 w 1448495"/>
                <a:gd name="connsiteY0" fmla="*/ 0 h 3070545"/>
                <a:gd name="connsiteX1" fmla="*/ 1376463 w 1448495"/>
                <a:gd name="connsiteY1" fmla="*/ 27247 h 3070545"/>
                <a:gd name="connsiteX2" fmla="*/ 1323105 w 1448495"/>
                <a:gd name="connsiteY2" fmla="*/ 1686111 h 3070545"/>
                <a:gd name="connsiteX3" fmla="*/ 1261188 w 1448495"/>
                <a:gd name="connsiteY3" fmla="*/ 3037448 h 3070545"/>
                <a:gd name="connsiteX4" fmla="*/ 0 w 1448495"/>
                <a:gd name="connsiteY4" fmla="*/ 3070545 h 3070545"/>
                <a:gd name="connsiteX5" fmla="*/ 329730 w 1448495"/>
                <a:gd name="connsiteY5" fmla="*/ 2481586 h 3070545"/>
                <a:gd name="connsiteX6" fmla="*/ 657820 w 1448495"/>
                <a:gd name="connsiteY6" fmla="*/ 1918939 h 3070545"/>
                <a:gd name="connsiteX7" fmla="*/ 800170 w 1448495"/>
                <a:gd name="connsiteY7" fmla="*/ 1679854 h 3070545"/>
                <a:gd name="connsiteX8" fmla="*/ 613483 w 1448495"/>
                <a:gd name="connsiteY8" fmla="*/ 1141163 h 3070545"/>
                <a:gd name="connsiteX9" fmla="*/ 365199 w 1448495"/>
                <a:gd name="connsiteY9" fmla="*/ 909485 h 3070545"/>
                <a:gd name="connsiteX10" fmla="*/ 356332 w 1448495"/>
                <a:gd name="connsiteY10" fmla="*/ 793646 h 3070545"/>
                <a:gd name="connsiteX11" fmla="*/ 236220 w 1448495"/>
                <a:gd name="connsiteY11" fmla="*/ 0 h 3070545"/>
                <a:gd name="connsiteX0" fmla="*/ 236220 w 1456614"/>
                <a:gd name="connsiteY0" fmla="*/ 0 h 3070545"/>
                <a:gd name="connsiteX1" fmla="*/ 1376463 w 1456614"/>
                <a:gd name="connsiteY1" fmla="*/ 27247 h 3070545"/>
                <a:gd name="connsiteX2" fmla="*/ 1358575 w 1456614"/>
                <a:gd name="connsiteY2" fmla="*/ 1710934 h 3070545"/>
                <a:gd name="connsiteX3" fmla="*/ 1261188 w 1456614"/>
                <a:gd name="connsiteY3" fmla="*/ 3037448 h 3070545"/>
                <a:gd name="connsiteX4" fmla="*/ 0 w 1456614"/>
                <a:gd name="connsiteY4" fmla="*/ 3070545 h 3070545"/>
                <a:gd name="connsiteX5" fmla="*/ 329730 w 1456614"/>
                <a:gd name="connsiteY5" fmla="*/ 2481586 h 3070545"/>
                <a:gd name="connsiteX6" fmla="*/ 657820 w 1456614"/>
                <a:gd name="connsiteY6" fmla="*/ 1918939 h 3070545"/>
                <a:gd name="connsiteX7" fmla="*/ 800170 w 1456614"/>
                <a:gd name="connsiteY7" fmla="*/ 1679854 h 3070545"/>
                <a:gd name="connsiteX8" fmla="*/ 613483 w 1456614"/>
                <a:gd name="connsiteY8" fmla="*/ 1141163 h 3070545"/>
                <a:gd name="connsiteX9" fmla="*/ 365199 w 1456614"/>
                <a:gd name="connsiteY9" fmla="*/ 909485 h 3070545"/>
                <a:gd name="connsiteX10" fmla="*/ 356332 w 1456614"/>
                <a:gd name="connsiteY10" fmla="*/ 793646 h 3070545"/>
                <a:gd name="connsiteX11" fmla="*/ 236220 w 1456614"/>
                <a:gd name="connsiteY11" fmla="*/ 0 h 3070545"/>
                <a:gd name="connsiteX0" fmla="*/ 236220 w 1456614"/>
                <a:gd name="connsiteY0" fmla="*/ 0 h 3070545"/>
                <a:gd name="connsiteX1" fmla="*/ 1376463 w 1456614"/>
                <a:gd name="connsiteY1" fmla="*/ 27247 h 3070545"/>
                <a:gd name="connsiteX2" fmla="*/ 1358575 w 1456614"/>
                <a:gd name="connsiteY2" fmla="*/ 1710934 h 3070545"/>
                <a:gd name="connsiteX3" fmla="*/ 1349861 w 1456614"/>
                <a:gd name="connsiteY3" fmla="*/ 3062271 h 3070545"/>
                <a:gd name="connsiteX4" fmla="*/ 0 w 1456614"/>
                <a:gd name="connsiteY4" fmla="*/ 3070545 h 3070545"/>
                <a:gd name="connsiteX5" fmla="*/ 329730 w 1456614"/>
                <a:gd name="connsiteY5" fmla="*/ 2481586 h 3070545"/>
                <a:gd name="connsiteX6" fmla="*/ 657820 w 1456614"/>
                <a:gd name="connsiteY6" fmla="*/ 1918939 h 3070545"/>
                <a:gd name="connsiteX7" fmla="*/ 800170 w 1456614"/>
                <a:gd name="connsiteY7" fmla="*/ 1679854 h 3070545"/>
                <a:gd name="connsiteX8" fmla="*/ 613483 w 1456614"/>
                <a:gd name="connsiteY8" fmla="*/ 1141163 h 3070545"/>
                <a:gd name="connsiteX9" fmla="*/ 365199 w 1456614"/>
                <a:gd name="connsiteY9" fmla="*/ 909485 h 3070545"/>
                <a:gd name="connsiteX10" fmla="*/ 356332 w 1456614"/>
                <a:gd name="connsiteY10" fmla="*/ 793646 h 3070545"/>
                <a:gd name="connsiteX11" fmla="*/ 236220 w 1456614"/>
                <a:gd name="connsiteY11" fmla="*/ 0 h 3070545"/>
                <a:gd name="connsiteX0" fmla="*/ 236220 w 1456614"/>
                <a:gd name="connsiteY0" fmla="*/ 0 h 3070545"/>
                <a:gd name="connsiteX1" fmla="*/ 1376463 w 1456614"/>
                <a:gd name="connsiteY1" fmla="*/ 27247 h 3070545"/>
                <a:gd name="connsiteX2" fmla="*/ 1358575 w 1456614"/>
                <a:gd name="connsiteY2" fmla="*/ 1710934 h 3070545"/>
                <a:gd name="connsiteX3" fmla="*/ 1349861 w 1456614"/>
                <a:gd name="connsiteY3" fmla="*/ 3062271 h 3070545"/>
                <a:gd name="connsiteX4" fmla="*/ 0 w 1456614"/>
                <a:gd name="connsiteY4" fmla="*/ 3070545 h 3070545"/>
                <a:gd name="connsiteX5" fmla="*/ 329730 w 1456614"/>
                <a:gd name="connsiteY5" fmla="*/ 2481586 h 3070545"/>
                <a:gd name="connsiteX6" fmla="*/ 657820 w 1456614"/>
                <a:gd name="connsiteY6" fmla="*/ 1918939 h 3070545"/>
                <a:gd name="connsiteX7" fmla="*/ 800170 w 1456614"/>
                <a:gd name="connsiteY7" fmla="*/ 1679854 h 3070545"/>
                <a:gd name="connsiteX8" fmla="*/ 613483 w 1456614"/>
                <a:gd name="connsiteY8" fmla="*/ 1141163 h 3070545"/>
                <a:gd name="connsiteX9" fmla="*/ 365199 w 1456614"/>
                <a:gd name="connsiteY9" fmla="*/ 909485 h 3070545"/>
                <a:gd name="connsiteX10" fmla="*/ 356332 w 1456614"/>
                <a:gd name="connsiteY10" fmla="*/ 793646 h 3070545"/>
                <a:gd name="connsiteX11" fmla="*/ 236220 w 1456614"/>
                <a:gd name="connsiteY11" fmla="*/ 0 h 3070545"/>
                <a:gd name="connsiteX0" fmla="*/ 236220 w 1456614"/>
                <a:gd name="connsiteY0" fmla="*/ 0 h 3070545"/>
                <a:gd name="connsiteX1" fmla="*/ 1376463 w 1456614"/>
                <a:gd name="connsiteY1" fmla="*/ 27247 h 3070545"/>
                <a:gd name="connsiteX2" fmla="*/ 1358575 w 1456614"/>
                <a:gd name="connsiteY2" fmla="*/ 1710934 h 3070545"/>
                <a:gd name="connsiteX3" fmla="*/ 1349861 w 1456614"/>
                <a:gd name="connsiteY3" fmla="*/ 3062271 h 3070545"/>
                <a:gd name="connsiteX4" fmla="*/ 0 w 1456614"/>
                <a:gd name="connsiteY4" fmla="*/ 3070545 h 3070545"/>
                <a:gd name="connsiteX5" fmla="*/ 329730 w 1456614"/>
                <a:gd name="connsiteY5" fmla="*/ 2481586 h 3070545"/>
                <a:gd name="connsiteX6" fmla="*/ 657820 w 1456614"/>
                <a:gd name="connsiteY6" fmla="*/ 1918939 h 3070545"/>
                <a:gd name="connsiteX7" fmla="*/ 800170 w 1456614"/>
                <a:gd name="connsiteY7" fmla="*/ 1679854 h 3070545"/>
                <a:gd name="connsiteX8" fmla="*/ 613483 w 1456614"/>
                <a:gd name="connsiteY8" fmla="*/ 1141163 h 3070545"/>
                <a:gd name="connsiteX9" fmla="*/ 365199 w 1456614"/>
                <a:gd name="connsiteY9" fmla="*/ 909485 h 3070545"/>
                <a:gd name="connsiteX10" fmla="*/ 356332 w 1456614"/>
                <a:gd name="connsiteY10" fmla="*/ 793646 h 3070545"/>
                <a:gd name="connsiteX11" fmla="*/ 236220 w 1456614"/>
                <a:gd name="connsiteY11" fmla="*/ 0 h 3070545"/>
                <a:gd name="connsiteX0" fmla="*/ 236220 w 1461371"/>
                <a:gd name="connsiteY0" fmla="*/ 0 h 3070545"/>
                <a:gd name="connsiteX1" fmla="*/ 1376463 w 1461371"/>
                <a:gd name="connsiteY1" fmla="*/ 27247 h 3070545"/>
                <a:gd name="connsiteX2" fmla="*/ 1376309 w 1461371"/>
                <a:gd name="connsiteY2" fmla="*/ 1735757 h 3070545"/>
                <a:gd name="connsiteX3" fmla="*/ 1349861 w 1461371"/>
                <a:gd name="connsiteY3" fmla="*/ 3062271 h 3070545"/>
                <a:gd name="connsiteX4" fmla="*/ 0 w 1461371"/>
                <a:gd name="connsiteY4" fmla="*/ 3070545 h 3070545"/>
                <a:gd name="connsiteX5" fmla="*/ 329730 w 1461371"/>
                <a:gd name="connsiteY5" fmla="*/ 2481586 h 3070545"/>
                <a:gd name="connsiteX6" fmla="*/ 657820 w 1461371"/>
                <a:gd name="connsiteY6" fmla="*/ 1918939 h 3070545"/>
                <a:gd name="connsiteX7" fmla="*/ 800170 w 1461371"/>
                <a:gd name="connsiteY7" fmla="*/ 1679854 h 3070545"/>
                <a:gd name="connsiteX8" fmla="*/ 613483 w 1461371"/>
                <a:gd name="connsiteY8" fmla="*/ 1141163 h 3070545"/>
                <a:gd name="connsiteX9" fmla="*/ 365199 w 1461371"/>
                <a:gd name="connsiteY9" fmla="*/ 909485 h 3070545"/>
                <a:gd name="connsiteX10" fmla="*/ 356332 w 1461371"/>
                <a:gd name="connsiteY10" fmla="*/ 793646 h 3070545"/>
                <a:gd name="connsiteX11" fmla="*/ 236220 w 1461371"/>
                <a:gd name="connsiteY11" fmla="*/ 0 h 3070545"/>
                <a:gd name="connsiteX0" fmla="*/ 236220 w 1449898"/>
                <a:gd name="connsiteY0" fmla="*/ 0 h 3070545"/>
                <a:gd name="connsiteX1" fmla="*/ 1376463 w 1449898"/>
                <a:gd name="connsiteY1" fmla="*/ 27247 h 3070545"/>
                <a:gd name="connsiteX2" fmla="*/ 1376309 w 1449898"/>
                <a:gd name="connsiteY2" fmla="*/ 1735757 h 3070545"/>
                <a:gd name="connsiteX3" fmla="*/ 1349861 w 1449898"/>
                <a:gd name="connsiteY3" fmla="*/ 3062271 h 3070545"/>
                <a:gd name="connsiteX4" fmla="*/ 0 w 1449898"/>
                <a:gd name="connsiteY4" fmla="*/ 3070545 h 3070545"/>
                <a:gd name="connsiteX5" fmla="*/ 329730 w 1449898"/>
                <a:gd name="connsiteY5" fmla="*/ 2481586 h 3070545"/>
                <a:gd name="connsiteX6" fmla="*/ 657820 w 1449898"/>
                <a:gd name="connsiteY6" fmla="*/ 1918939 h 3070545"/>
                <a:gd name="connsiteX7" fmla="*/ 800170 w 1449898"/>
                <a:gd name="connsiteY7" fmla="*/ 1679854 h 3070545"/>
                <a:gd name="connsiteX8" fmla="*/ 613483 w 1449898"/>
                <a:gd name="connsiteY8" fmla="*/ 1141163 h 3070545"/>
                <a:gd name="connsiteX9" fmla="*/ 365199 w 1449898"/>
                <a:gd name="connsiteY9" fmla="*/ 909485 h 3070545"/>
                <a:gd name="connsiteX10" fmla="*/ 356332 w 1449898"/>
                <a:gd name="connsiteY10" fmla="*/ 793646 h 3070545"/>
                <a:gd name="connsiteX11" fmla="*/ 236220 w 1449898"/>
                <a:gd name="connsiteY11" fmla="*/ 0 h 3070545"/>
                <a:gd name="connsiteX0" fmla="*/ 236220 w 1439397"/>
                <a:gd name="connsiteY0" fmla="*/ 0 h 3070545"/>
                <a:gd name="connsiteX1" fmla="*/ 1376463 w 1439397"/>
                <a:gd name="connsiteY1" fmla="*/ 27247 h 3070545"/>
                <a:gd name="connsiteX2" fmla="*/ 1376309 w 1439397"/>
                <a:gd name="connsiteY2" fmla="*/ 1735757 h 3070545"/>
                <a:gd name="connsiteX3" fmla="*/ 1349861 w 1439397"/>
                <a:gd name="connsiteY3" fmla="*/ 3062271 h 3070545"/>
                <a:gd name="connsiteX4" fmla="*/ 0 w 1439397"/>
                <a:gd name="connsiteY4" fmla="*/ 3070545 h 3070545"/>
                <a:gd name="connsiteX5" fmla="*/ 329730 w 1439397"/>
                <a:gd name="connsiteY5" fmla="*/ 2481586 h 3070545"/>
                <a:gd name="connsiteX6" fmla="*/ 657820 w 1439397"/>
                <a:gd name="connsiteY6" fmla="*/ 1918939 h 3070545"/>
                <a:gd name="connsiteX7" fmla="*/ 800170 w 1439397"/>
                <a:gd name="connsiteY7" fmla="*/ 1679854 h 3070545"/>
                <a:gd name="connsiteX8" fmla="*/ 613483 w 1439397"/>
                <a:gd name="connsiteY8" fmla="*/ 1141163 h 3070545"/>
                <a:gd name="connsiteX9" fmla="*/ 365199 w 1439397"/>
                <a:gd name="connsiteY9" fmla="*/ 909485 h 3070545"/>
                <a:gd name="connsiteX10" fmla="*/ 356332 w 1439397"/>
                <a:gd name="connsiteY10" fmla="*/ 793646 h 3070545"/>
                <a:gd name="connsiteX11" fmla="*/ 236220 w 1439397"/>
                <a:gd name="connsiteY11" fmla="*/ 0 h 3070545"/>
                <a:gd name="connsiteX0" fmla="*/ 236220 w 1403400"/>
                <a:gd name="connsiteY0" fmla="*/ 0 h 3070545"/>
                <a:gd name="connsiteX1" fmla="*/ 1332126 w 1403400"/>
                <a:gd name="connsiteY1" fmla="*/ 27247 h 3070545"/>
                <a:gd name="connsiteX2" fmla="*/ 1376309 w 1403400"/>
                <a:gd name="connsiteY2" fmla="*/ 1735757 h 3070545"/>
                <a:gd name="connsiteX3" fmla="*/ 1349861 w 1403400"/>
                <a:gd name="connsiteY3" fmla="*/ 3062271 h 3070545"/>
                <a:gd name="connsiteX4" fmla="*/ 0 w 1403400"/>
                <a:gd name="connsiteY4" fmla="*/ 3070545 h 3070545"/>
                <a:gd name="connsiteX5" fmla="*/ 329730 w 1403400"/>
                <a:gd name="connsiteY5" fmla="*/ 2481586 h 3070545"/>
                <a:gd name="connsiteX6" fmla="*/ 657820 w 1403400"/>
                <a:gd name="connsiteY6" fmla="*/ 1918939 h 3070545"/>
                <a:gd name="connsiteX7" fmla="*/ 800170 w 1403400"/>
                <a:gd name="connsiteY7" fmla="*/ 1679854 h 3070545"/>
                <a:gd name="connsiteX8" fmla="*/ 613483 w 1403400"/>
                <a:gd name="connsiteY8" fmla="*/ 1141163 h 3070545"/>
                <a:gd name="connsiteX9" fmla="*/ 365199 w 1403400"/>
                <a:gd name="connsiteY9" fmla="*/ 909485 h 3070545"/>
                <a:gd name="connsiteX10" fmla="*/ 356332 w 1403400"/>
                <a:gd name="connsiteY10" fmla="*/ 793646 h 3070545"/>
                <a:gd name="connsiteX11" fmla="*/ 236220 w 1403400"/>
                <a:gd name="connsiteY11" fmla="*/ 0 h 3070545"/>
                <a:gd name="connsiteX0" fmla="*/ 236220 w 1376309"/>
                <a:gd name="connsiteY0" fmla="*/ 0 h 3070545"/>
                <a:gd name="connsiteX1" fmla="*/ 1332126 w 1376309"/>
                <a:gd name="connsiteY1" fmla="*/ 27247 h 3070545"/>
                <a:gd name="connsiteX2" fmla="*/ 1376309 w 1376309"/>
                <a:gd name="connsiteY2" fmla="*/ 1735757 h 3070545"/>
                <a:gd name="connsiteX3" fmla="*/ 1349861 w 1376309"/>
                <a:gd name="connsiteY3" fmla="*/ 3062271 h 3070545"/>
                <a:gd name="connsiteX4" fmla="*/ 0 w 1376309"/>
                <a:gd name="connsiteY4" fmla="*/ 3070545 h 3070545"/>
                <a:gd name="connsiteX5" fmla="*/ 329730 w 1376309"/>
                <a:gd name="connsiteY5" fmla="*/ 2481586 h 3070545"/>
                <a:gd name="connsiteX6" fmla="*/ 657820 w 1376309"/>
                <a:gd name="connsiteY6" fmla="*/ 1918939 h 3070545"/>
                <a:gd name="connsiteX7" fmla="*/ 800170 w 1376309"/>
                <a:gd name="connsiteY7" fmla="*/ 1679854 h 3070545"/>
                <a:gd name="connsiteX8" fmla="*/ 613483 w 1376309"/>
                <a:gd name="connsiteY8" fmla="*/ 1141163 h 3070545"/>
                <a:gd name="connsiteX9" fmla="*/ 365199 w 1376309"/>
                <a:gd name="connsiteY9" fmla="*/ 909485 h 3070545"/>
                <a:gd name="connsiteX10" fmla="*/ 356332 w 1376309"/>
                <a:gd name="connsiteY10" fmla="*/ 793646 h 3070545"/>
                <a:gd name="connsiteX11" fmla="*/ 236220 w 1376309"/>
                <a:gd name="connsiteY11" fmla="*/ 0 h 3070545"/>
                <a:gd name="connsiteX0" fmla="*/ 236220 w 1376309"/>
                <a:gd name="connsiteY0" fmla="*/ 0 h 3070545"/>
                <a:gd name="connsiteX1" fmla="*/ 1332126 w 1376309"/>
                <a:gd name="connsiteY1" fmla="*/ 27247 h 3070545"/>
                <a:gd name="connsiteX2" fmla="*/ 1376309 w 1376309"/>
                <a:gd name="connsiteY2" fmla="*/ 1735757 h 3070545"/>
                <a:gd name="connsiteX3" fmla="*/ 1349861 w 1376309"/>
                <a:gd name="connsiteY3" fmla="*/ 3062271 h 3070545"/>
                <a:gd name="connsiteX4" fmla="*/ 0 w 1376309"/>
                <a:gd name="connsiteY4" fmla="*/ 3070545 h 3070545"/>
                <a:gd name="connsiteX5" fmla="*/ 329730 w 1376309"/>
                <a:gd name="connsiteY5" fmla="*/ 2481586 h 3070545"/>
                <a:gd name="connsiteX6" fmla="*/ 657820 w 1376309"/>
                <a:gd name="connsiteY6" fmla="*/ 1918939 h 3070545"/>
                <a:gd name="connsiteX7" fmla="*/ 800170 w 1376309"/>
                <a:gd name="connsiteY7" fmla="*/ 1679854 h 3070545"/>
                <a:gd name="connsiteX8" fmla="*/ 613483 w 1376309"/>
                <a:gd name="connsiteY8" fmla="*/ 1141163 h 3070545"/>
                <a:gd name="connsiteX9" fmla="*/ 365199 w 1376309"/>
                <a:gd name="connsiteY9" fmla="*/ 909485 h 3070545"/>
                <a:gd name="connsiteX10" fmla="*/ 356332 w 1376309"/>
                <a:gd name="connsiteY10" fmla="*/ 793646 h 3070545"/>
                <a:gd name="connsiteX11" fmla="*/ 236220 w 1376309"/>
                <a:gd name="connsiteY11" fmla="*/ 0 h 3070545"/>
                <a:gd name="connsiteX0" fmla="*/ 236220 w 1417649"/>
                <a:gd name="connsiteY0" fmla="*/ 0 h 3070545"/>
                <a:gd name="connsiteX1" fmla="*/ 1332126 w 1417649"/>
                <a:gd name="connsiteY1" fmla="*/ 27247 h 3070545"/>
                <a:gd name="connsiteX2" fmla="*/ 1349707 w 1417649"/>
                <a:gd name="connsiteY2" fmla="*/ 1280675 h 3070545"/>
                <a:gd name="connsiteX3" fmla="*/ 1376309 w 1417649"/>
                <a:gd name="connsiteY3" fmla="*/ 1735757 h 3070545"/>
                <a:gd name="connsiteX4" fmla="*/ 1349861 w 1417649"/>
                <a:gd name="connsiteY4" fmla="*/ 3062271 h 3070545"/>
                <a:gd name="connsiteX5" fmla="*/ 0 w 1417649"/>
                <a:gd name="connsiteY5" fmla="*/ 3070545 h 3070545"/>
                <a:gd name="connsiteX6" fmla="*/ 329730 w 1417649"/>
                <a:gd name="connsiteY6" fmla="*/ 2481586 h 3070545"/>
                <a:gd name="connsiteX7" fmla="*/ 657820 w 1417649"/>
                <a:gd name="connsiteY7" fmla="*/ 1918939 h 3070545"/>
                <a:gd name="connsiteX8" fmla="*/ 800170 w 1417649"/>
                <a:gd name="connsiteY8" fmla="*/ 1679854 h 3070545"/>
                <a:gd name="connsiteX9" fmla="*/ 613483 w 1417649"/>
                <a:gd name="connsiteY9" fmla="*/ 1141163 h 3070545"/>
                <a:gd name="connsiteX10" fmla="*/ 365199 w 1417649"/>
                <a:gd name="connsiteY10" fmla="*/ 909485 h 3070545"/>
                <a:gd name="connsiteX11" fmla="*/ 356332 w 1417649"/>
                <a:gd name="connsiteY11" fmla="*/ 793646 h 3070545"/>
                <a:gd name="connsiteX12" fmla="*/ 236220 w 1417649"/>
                <a:gd name="connsiteY12" fmla="*/ 0 h 3070545"/>
                <a:gd name="connsiteX0" fmla="*/ 236220 w 1422914"/>
                <a:gd name="connsiteY0" fmla="*/ 0 h 3070545"/>
                <a:gd name="connsiteX1" fmla="*/ 1332126 w 1422914"/>
                <a:gd name="connsiteY1" fmla="*/ 27247 h 3070545"/>
                <a:gd name="connsiteX2" fmla="*/ 1367442 w 1422914"/>
                <a:gd name="connsiteY2" fmla="*/ 1280675 h 3070545"/>
                <a:gd name="connsiteX3" fmla="*/ 1376309 w 1422914"/>
                <a:gd name="connsiteY3" fmla="*/ 1735757 h 3070545"/>
                <a:gd name="connsiteX4" fmla="*/ 1349861 w 1422914"/>
                <a:gd name="connsiteY4" fmla="*/ 3062271 h 3070545"/>
                <a:gd name="connsiteX5" fmla="*/ 0 w 1422914"/>
                <a:gd name="connsiteY5" fmla="*/ 3070545 h 3070545"/>
                <a:gd name="connsiteX6" fmla="*/ 329730 w 1422914"/>
                <a:gd name="connsiteY6" fmla="*/ 2481586 h 3070545"/>
                <a:gd name="connsiteX7" fmla="*/ 657820 w 1422914"/>
                <a:gd name="connsiteY7" fmla="*/ 1918939 h 3070545"/>
                <a:gd name="connsiteX8" fmla="*/ 800170 w 1422914"/>
                <a:gd name="connsiteY8" fmla="*/ 1679854 h 3070545"/>
                <a:gd name="connsiteX9" fmla="*/ 613483 w 1422914"/>
                <a:gd name="connsiteY9" fmla="*/ 1141163 h 3070545"/>
                <a:gd name="connsiteX10" fmla="*/ 365199 w 1422914"/>
                <a:gd name="connsiteY10" fmla="*/ 909485 h 3070545"/>
                <a:gd name="connsiteX11" fmla="*/ 356332 w 1422914"/>
                <a:gd name="connsiteY11" fmla="*/ 793646 h 3070545"/>
                <a:gd name="connsiteX12" fmla="*/ 236220 w 1422914"/>
                <a:gd name="connsiteY12" fmla="*/ 0 h 3070545"/>
                <a:gd name="connsiteX0" fmla="*/ 236220 w 1448526"/>
                <a:gd name="connsiteY0" fmla="*/ 0 h 3070545"/>
                <a:gd name="connsiteX1" fmla="*/ 1332126 w 1448526"/>
                <a:gd name="connsiteY1" fmla="*/ 27247 h 3070545"/>
                <a:gd name="connsiteX2" fmla="*/ 1420646 w 1448526"/>
                <a:gd name="connsiteY2" fmla="*/ 453253 h 3070545"/>
                <a:gd name="connsiteX3" fmla="*/ 1367442 w 1448526"/>
                <a:gd name="connsiteY3" fmla="*/ 1280675 h 3070545"/>
                <a:gd name="connsiteX4" fmla="*/ 1376309 w 1448526"/>
                <a:gd name="connsiteY4" fmla="*/ 1735757 h 3070545"/>
                <a:gd name="connsiteX5" fmla="*/ 1349861 w 1448526"/>
                <a:gd name="connsiteY5" fmla="*/ 3062271 h 3070545"/>
                <a:gd name="connsiteX6" fmla="*/ 0 w 1448526"/>
                <a:gd name="connsiteY6" fmla="*/ 3070545 h 3070545"/>
                <a:gd name="connsiteX7" fmla="*/ 329730 w 1448526"/>
                <a:gd name="connsiteY7" fmla="*/ 2481586 h 3070545"/>
                <a:gd name="connsiteX8" fmla="*/ 657820 w 1448526"/>
                <a:gd name="connsiteY8" fmla="*/ 1918939 h 3070545"/>
                <a:gd name="connsiteX9" fmla="*/ 800170 w 1448526"/>
                <a:gd name="connsiteY9" fmla="*/ 1679854 h 3070545"/>
                <a:gd name="connsiteX10" fmla="*/ 613483 w 1448526"/>
                <a:gd name="connsiteY10" fmla="*/ 1141163 h 3070545"/>
                <a:gd name="connsiteX11" fmla="*/ 365199 w 1448526"/>
                <a:gd name="connsiteY11" fmla="*/ 909485 h 3070545"/>
                <a:gd name="connsiteX12" fmla="*/ 356332 w 1448526"/>
                <a:gd name="connsiteY12" fmla="*/ 793646 h 3070545"/>
                <a:gd name="connsiteX13" fmla="*/ 236220 w 1448526"/>
                <a:gd name="connsiteY13" fmla="*/ 0 h 3070545"/>
                <a:gd name="connsiteX0" fmla="*/ 236220 w 1431357"/>
                <a:gd name="connsiteY0" fmla="*/ 0 h 3070545"/>
                <a:gd name="connsiteX1" fmla="*/ 1332126 w 1431357"/>
                <a:gd name="connsiteY1" fmla="*/ 27247 h 3070545"/>
                <a:gd name="connsiteX2" fmla="*/ 1376310 w 1431357"/>
                <a:gd name="connsiteY2" fmla="*/ 478076 h 3070545"/>
                <a:gd name="connsiteX3" fmla="*/ 1367442 w 1431357"/>
                <a:gd name="connsiteY3" fmla="*/ 1280675 h 3070545"/>
                <a:gd name="connsiteX4" fmla="*/ 1376309 w 1431357"/>
                <a:gd name="connsiteY4" fmla="*/ 1735757 h 3070545"/>
                <a:gd name="connsiteX5" fmla="*/ 1349861 w 1431357"/>
                <a:gd name="connsiteY5" fmla="*/ 3062271 h 3070545"/>
                <a:gd name="connsiteX6" fmla="*/ 0 w 1431357"/>
                <a:gd name="connsiteY6" fmla="*/ 3070545 h 3070545"/>
                <a:gd name="connsiteX7" fmla="*/ 329730 w 1431357"/>
                <a:gd name="connsiteY7" fmla="*/ 2481586 h 3070545"/>
                <a:gd name="connsiteX8" fmla="*/ 657820 w 1431357"/>
                <a:gd name="connsiteY8" fmla="*/ 1918939 h 3070545"/>
                <a:gd name="connsiteX9" fmla="*/ 800170 w 1431357"/>
                <a:gd name="connsiteY9" fmla="*/ 1679854 h 3070545"/>
                <a:gd name="connsiteX10" fmla="*/ 613483 w 1431357"/>
                <a:gd name="connsiteY10" fmla="*/ 1141163 h 3070545"/>
                <a:gd name="connsiteX11" fmla="*/ 365199 w 1431357"/>
                <a:gd name="connsiteY11" fmla="*/ 909485 h 3070545"/>
                <a:gd name="connsiteX12" fmla="*/ 356332 w 1431357"/>
                <a:gd name="connsiteY12" fmla="*/ 793646 h 3070545"/>
                <a:gd name="connsiteX13" fmla="*/ 236220 w 1431357"/>
                <a:gd name="connsiteY13" fmla="*/ 0 h 3070545"/>
                <a:gd name="connsiteX0" fmla="*/ 236220 w 1422240"/>
                <a:gd name="connsiteY0" fmla="*/ 0 h 3070545"/>
                <a:gd name="connsiteX1" fmla="*/ 1332126 w 1422240"/>
                <a:gd name="connsiteY1" fmla="*/ 27247 h 3070545"/>
                <a:gd name="connsiteX2" fmla="*/ 1349707 w 1422240"/>
                <a:gd name="connsiteY2" fmla="*/ 147107 h 3070545"/>
                <a:gd name="connsiteX3" fmla="*/ 1376310 w 1422240"/>
                <a:gd name="connsiteY3" fmla="*/ 478076 h 3070545"/>
                <a:gd name="connsiteX4" fmla="*/ 1367442 w 1422240"/>
                <a:gd name="connsiteY4" fmla="*/ 1280675 h 3070545"/>
                <a:gd name="connsiteX5" fmla="*/ 1376309 w 1422240"/>
                <a:gd name="connsiteY5" fmla="*/ 1735757 h 3070545"/>
                <a:gd name="connsiteX6" fmla="*/ 1349861 w 1422240"/>
                <a:gd name="connsiteY6" fmla="*/ 3062271 h 3070545"/>
                <a:gd name="connsiteX7" fmla="*/ 0 w 1422240"/>
                <a:gd name="connsiteY7" fmla="*/ 3070545 h 3070545"/>
                <a:gd name="connsiteX8" fmla="*/ 329730 w 1422240"/>
                <a:gd name="connsiteY8" fmla="*/ 2481586 h 3070545"/>
                <a:gd name="connsiteX9" fmla="*/ 657820 w 1422240"/>
                <a:gd name="connsiteY9" fmla="*/ 1918939 h 3070545"/>
                <a:gd name="connsiteX10" fmla="*/ 800170 w 1422240"/>
                <a:gd name="connsiteY10" fmla="*/ 1679854 h 3070545"/>
                <a:gd name="connsiteX11" fmla="*/ 613483 w 1422240"/>
                <a:gd name="connsiteY11" fmla="*/ 1141163 h 3070545"/>
                <a:gd name="connsiteX12" fmla="*/ 365199 w 1422240"/>
                <a:gd name="connsiteY12" fmla="*/ 909485 h 3070545"/>
                <a:gd name="connsiteX13" fmla="*/ 356332 w 1422240"/>
                <a:gd name="connsiteY13" fmla="*/ 793646 h 3070545"/>
                <a:gd name="connsiteX14" fmla="*/ 236220 w 1422240"/>
                <a:gd name="connsiteY14" fmla="*/ 0 h 3070545"/>
                <a:gd name="connsiteX0" fmla="*/ 236220 w 1422240"/>
                <a:gd name="connsiteY0" fmla="*/ 0 h 3070545"/>
                <a:gd name="connsiteX1" fmla="*/ 471847 w 1422240"/>
                <a:gd name="connsiteY1" fmla="*/ 6446 h 3070545"/>
                <a:gd name="connsiteX2" fmla="*/ 1332126 w 1422240"/>
                <a:gd name="connsiteY2" fmla="*/ 27247 h 3070545"/>
                <a:gd name="connsiteX3" fmla="*/ 1349707 w 1422240"/>
                <a:gd name="connsiteY3" fmla="*/ 147107 h 3070545"/>
                <a:gd name="connsiteX4" fmla="*/ 1376310 w 1422240"/>
                <a:gd name="connsiteY4" fmla="*/ 478076 h 3070545"/>
                <a:gd name="connsiteX5" fmla="*/ 1367442 w 1422240"/>
                <a:gd name="connsiteY5" fmla="*/ 1280675 h 3070545"/>
                <a:gd name="connsiteX6" fmla="*/ 1376309 w 1422240"/>
                <a:gd name="connsiteY6" fmla="*/ 1735757 h 3070545"/>
                <a:gd name="connsiteX7" fmla="*/ 1349861 w 1422240"/>
                <a:gd name="connsiteY7" fmla="*/ 3062271 h 3070545"/>
                <a:gd name="connsiteX8" fmla="*/ 0 w 1422240"/>
                <a:gd name="connsiteY8" fmla="*/ 3070545 h 3070545"/>
                <a:gd name="connsiteX9" fmla="*/ 329730 w 1422240"/>
                <a:gd name="connsiteY9" fmla="*/ 2481586 h 3070545"/>
                <a:gd name="connsiteX10" fmla="*/ 657820 w 1422240"/>
                <a:gd name="connsiteY10" fmla="*/ 1918939 h 3070545"/>
                <a:gd name="connsiteX11" fmla="*/ 800170 w 1422240"/>
                <a:gd name="connsiteY11" fmla="*/ 1679854 h 3070545"/>
                <a:gd name="connsiteX12" fmla="*/ 613483 w 1422240"/>
                <a:gd name="connsiteY12" fmla="*/ 1141163 h 3070545"/>
                <a:gd name="connsiteX13" fmla="*/ 365199 w 1422240"/>
                <a:gd name="connsiteY13" fmla="*/ 909485 h 3070545"/>
                <a:gd name="connsiteX14" fmla="*/ 356332 w 1422240"/>
                <a:gd name="connsiteY14" fmla="*/ 793646 h 3070545"/>
                <a:gd name="connsiteX15" fmla="*/ 236220 w 1422240"/>
                <a:gd name="connsiteY15" fmla="*/ 0 h 3070545"/>
                <a:gd name="connsiteX0" fmla="*/ 236220 w 1422240"/>
                <a:gd name="connsiteY0" fmla="*/ 0 h 3070545"/>
                <a:gd name="connsiteX1" fmla="*/ 471847 w 1422240"/>
                <a:gd name="connsiteY1" fmla="*/ 6446 h 3070545"/>
                <a:gd name="connsiteX2" fmla="*/ 1332126 w 1422240"/>
                <a:gd name="connsiteY2" fmla="*/ 27247 h 3070545"/>
                <a:gd name="connsiteX3" fmla="*/ 1349707 w 1422240"/>
                <a:gd name="connsiteY3" fmla="*/ 147107 h 3070545"/>
                <a:gd name="connsiteX4" fmla="*/ 1376310 w 1422240"/>
                <a:gd name="connsiteY4" fmla="*/ 478076 h 3070545"/>
                <a:gd name="connsiteX5" fmla="*/ 1367442 w 1422240"/>
                <a:gd name="connsiteY5" fmla="*/ 1280675 h 3070545"/>
                <a:gd name="connsiteX6" fmla="*/ 1376309 w 1422240"/>
                <a:gd name="connsiteY6" fmla="*/ 1735757 h 3070545"/>
                <a:gd name="connsiteX7" fmla="*/ 1349861 w 1422240"/>
                <a:gd name="connsiteY7" fmla="*/ 3062271 h 3070545"/>
                <a:gd name="connsiteX8" fmla="*/ 0 w 1422240"/>
                <a:gd name="connsiteY8" fmla="*/ 3070545 h 3070545"/>
                <a:gd name="connsiteX9" fmla="*/ 329730 w 1422240"/>
                <a:gd name="connsiteY9" fmla="*/ 2481586 h 3070545"/>
                <a:gd name="connsiteX10" fmla="*/ 657820 w 1422240"/>
                <a:gd name="connsiteY10" fmla="*/ 1918939 h 3070545"/>
                <a:gd name="connsiteX11" fmla="*/ 800170 w 1422240"/>
                <a:gd name="connsiteY11" fmla="*/ 1679854 h 3070545"/>
                <a:gd name="connsiteX12" fmla="*/ 613483 w 1422240"/>
                <a:gd name="connsiteY12" fmla="*/ 1141163 h 3070545"/>
                <a:gd name="connsiteX13" fmla="*/ 365199 w 1422240"/>
                <a:gd name="connsiteY13" fmla="*/ 909485 h 3070545"/>
                <a:gd name="connsiteX14" fmla="*/ 356332 w 1422240"/>
                <a:gd name="connsiteY14" fmla="*/ 793646 h 3070545"/>
                <a:gd name="connsiteX15" fmla="*/ 236220 w 1422240"/>
                <a:gd name="connsiteY15" fmla="*/ 0 h 3070545"/>
                <a:gd name="connsiteX0" fmla="*/ 236220 w 1422240"/>
                <a:gd name="connsiteY0" fmla="*/ 0 h 3070545"/>
                <a:gd name="connsiteX1" fmla="*/ 471847 w 1422240"/>
                <a:gd name="connsiteY1" fmla="*/ 6446 h 3070545"/>
                <a:gd name="connsiteX2" fmla="*/ 1332126 w 1422240"/>
                <a:gd name="connsiteY2" fmla="*/ 27247 h 3070545"/>
                <a:gd name="connsiteX3" fmla="*/ 1349707 w 1422240"/>
                <a:gd name="connsiteY3" fmla="*/ 147107 h 3070545"/>
                <a:gd name="connsiteX4" fmla="*/ 1376310 w 1422240"/>
                <a:gd name="connsiteY4" fmla="*/ 478076 h 3070545"/>
                <a:gd name="connsiteX5" fmla="*/ 1367442 w 1422240"/>
                <a:gd name="connsiteY5" fmla="*/ 1280675 h 3070545"/>
                <a:gd name="connsiteX6" fmla="*/ 1376309 w 1422240"/>
                <a:gd name="connsiteY6" fmla="*/ 1735757 h 3070545"/>
                <a:gd name="connsiteX7" fmla="*/ 1349861 w 1422240"/>
                <a:gd name="connsiteY7" fmla="*/ 3062271 h 3070545"/>
                <a:gd name="connsiteX8" fmla="*/ 0 w 1422240"/>
                <a:gd name="connsiteY8" fmla="*/ 3070545 h 3070545"/>
                <a:gd name="connsiteX9" fmla="*/ 329730 w 1422240"/>
                <a:gd name="connsiteY9" fmla="*/ 2481586 h 3070545"/>
                <a:gd name="connsiteX10" fmla="*/ 657820 w 1422240"/>
                <a:gd name="connsiteY10" fmla="*/ 1918939 h 3070545"/>
                <a:gd name="connsiteX11" fmla="*/ 800170 w 1422240"/>
                <a:gd name="connsiteY11" fmla="*/ 1679854 h 3070545"/>
                <a:gd name="connsiteX12" fmla="*/ 613483 w 1422240"/>
                <a:gd name="connsiteY12" fmla="*/ 1141163 h 3070545"/>
                <a:gd name="connsiteX13" fmla="*/ 365199 w 1422240"/>
                <a:gd name="connsiteY13" fmla="*/ 909485 h 3070545"/>
                <a:gd name="connsiteX14" fmla="*/ 356332 w 1422240"/>
                <a:gd name="connsiteY14" fmla="*/ 793646 h 3070545"/>
                <a:gd name="connsiteX15" fmla="*/ 236220 w 1422240"/>
                <a:gd name="connsiteY15" fmla="*/ 0 h 3070545"/>
                <a:gd name="connsiteX0" fmla="*/ 236220 w 1422240"/>
                <a:gd name="connsiteY0" fmla="*/ 0 h 3070545"/>
                <a:gd name="connsiteX1" fmla="*/ 471847 w 1422240"/>
                <a:gd name="connsiteY1" fmla="*/ 6446 h 3070545"/>
                <a:gd name="connsiteX2" fmla="*/ 1332126 w 1422240"/>
                <a:gd name="connsiteY2" fmla="*/ 27247 h 3070545"/>
                <a:gd name="connsiteX3" fmla="*/ 1349707 w 1422240"/>
                <a:gd name="connsiteY3" fmla="*/ 147107 h 3070545"/>
                <a:gd name="connsiteX4" fmla="*/ 1376310 w 1422240"/>
                <a:gd name="connsiteY4" fmla="*/ 478076 h 3070545"/>
                <a:gd name="connsiteX5" fmla="*/ 1367442 w 1422240"/>
                <a:gd name="connsiteY5" fmla="*/ 1280675 h 3070545"/>
                <a:gd name="connsiteX6" fmla="*/ 1376309 w 1422240"/>
                <a:gd name="connsiteY6" fmla="*/ 1735757 h 3070545"/>
                <a:gd name="connsiteX7" fmla="*/ 1349861 w 1422240"/>
                <a:gd name="connsiteY7" fmla="*/ 3062271 h 3070545"/>
                <a:gd name="connsiteX8" fmla="*/ 0 w 1422240"/>
                <a:gd name="connsiteY8" fmla="*/ 3070545 h 3070545"/>
                <a:gd name="connsiteX9" fmla="*/ 329730 w 1422240"/>
                <a:gd name="connsiteY9" fmla="*/ 2481586 h 3070545"/>
                <a:gd name="connsiteX10" fmla="*/ 657820 w 1422240"/>
                <a:gd name="connsiteY10" fmla="*/ 1918939 h 3070545"/>
                <a:gd name="connsiteX11" fmla="*/ 800170 w 1422240"/>
                <a:gd name="connsiteY11" fmla="*/ 1679854 h 3070545"/>
                <a:gd name="connsiteX12" fmla="*/ 613483 w 1422240"/>
                <a:gd name="connsiteY12" fmla="*/ 1141163 h 3070545"/>
                <a:gd name="connsiteX13" fmla="*/ 365199 w 1422240"/>
                <a:gd name="connsiteY13" fmla="*/ 909485 h 3070545"/>
                <a:gd name="connsiteX14" fmla="*/ 356332 w 1422240"/>
                <a:gd name="connsiteY14" fmla="*/ 793646 h 3070545"/>
                <a:gd name="connsiteX15" fmla="*/ 236220 w 1422240"/>
                <a:gd name="connsiteY15" fmla="*/ 0 h 3070545"/>
                <a:gd name="connsiteX0" fmla="*/ 236220 w 1422240"/>
                <a:gd name="connsiteY0" fmla="*/ 0 h 3070545"/>
                <a:gd name="connsiteX1" fmla="*/ 471847 w 1422240"/>
                <a:gd name="connsiteY1" fmla="*/ 6446 h 3070545"/>
                <a:gd name="connsiteX2" fmla="*/ 1332126 w 1422240"/>
                <a:gd name="connsiteY2" fmla="*/ 27247 h 3070545"/>
                <a:gd name="connsiteX3" fmla="*/ 1349707 w 1422240"/>
                <a:gd name="connsiteY3" fmla="*/ 147107 h 3070545"/>
                <a:gd name="connsiteX4" fmla="*/ 1376310 w 1422240"/>
                <a:gd name="connsiteY4" fmla="*/ 478076 h 3070545"/>
                <a:gd name="connsiteX5" fmla="*/ 1367442 w 1422240"/>
                <a:gd name="connsiteY5" fmla="*/ 1280675 h 3070545"/>
                <a:gd name="connsiteX6" fmla="*/ 1376309 w 1422240"/>
                <a:gd name="connsiteY6" fmla="*/ 1735757 h 3070545"/>
                <a:gd name="connsiteX7" fmla="*/ 1349861 w 1422240"/>
                <a:gd name="connsiteY7" fmla="*/ 3062271 h 3070545"/>
                <a:gd name="connsiteX8" fmla="*/ 0 w 1422240"/>
                <a:gd name="connsiteY8" fmla="*/ 3070545 h 3070545"/>
                <a:gd name="connsiteX9" fmla="*/ 329730 w 1422240"/>
                <a:gd name="connsiteY9" fmla="*/ 2481586 h 3070545"/>
                <a:gd name="connsiteX10" fmla="*/ 657820 w 1422240"/>
                <a:gd name="connsiteY10" fmla="*/ 1918939 h 3070545"/>
                <a:gd name="connsiteX11" fmla="*/ 800170 w 1422240"/>
                <a:gd name="connsiteY11" fmla="*/ 1679854 h 3070545"/>
                <a:gd name="connsiteX12" fmla="*/ 613483 w 1422240"/>
                <a:gd name="connsiteY12" fmla="*/ 1141163 h 3070545"/>
                <a:gd name="connsiteX13" fmla="*/ 365199 w 1422240"/>
                <a:gd name="connsiteY13" fmla="*/ 909485 h 3070545"/>
                <a:gd name="connsiteX14" fmla="*/ 356332 w 1422240"/>
                <a:gd name="connsiteY14" fmla="*/ 793646 h 3070545"/>
                <a:gd name="connsiteX15" fmla="*/ 236220 w 1422240"/>
                <a:gd name="connsiteY15" fmla="*/ 0 h 3070545"/>
                <a:gd name="connsiteX0" fmla="*/ 236220 w 1422240"/>
                <a:gd name="connsiteY0" fmla="*/ 0 h 3070545"/>
                <a:gd name="connsiteX1" fmla="*/ 471847 w 1422240"/>
                <a:gd name="connsiteY1" fmla="*/ 6446 h 3070545"/>
                <a:gd name="connsiteX2" fmla="*/ 1332126 w 1422240"/>
                <a:gd name="connsiteY2" fmla="*/ 27247 h 3070545"/>
                <a:gd name="connsiteX3" fmla="*/ 1349707 w 1422240"/>
                <a:gd name="connsiteY3" fmla="*/ 147107 h 3070545"/>
                <a:gd name="connsiteX4" fmla="*/ 1376310 w 1422240"/>
                <a:gd name="connsiteY4" fmla="*/ 478076 h 3070545"/>
                <a:gd name="connsiteX5" fmla="*/ 1367442 w 1422240"/>
                <a:gd name="connsiteY5" fmla="*/ 1280675 h 3070545"/>
                <a:gd name="connsiteX6" fmla="*/ 1376309 w 1422240"/>
                <a:gd name="connsiteY6" fmla="*/ 1735757 h 3070545"/>
                <a:gd name="connsiteX7" fmla="*/ 1349861 w 1422240"/>
                <a:gd name="connsiteY7" fmla="*/ 3062271 h 3070545"/>
                <a:gd name="connsiteX8" fmla="*/ 0 w 1422240"/>
                <a:gd name="connsiteY8" fmla="*/ 3070545 h 3070545"/>
                <a:gd name="connsiteX9" fmla="*/ 329730 w 1422240"/>
                <a:gd name="connsiteY9" fmla="*/ 2481586 h 3070545"/>
                <a:gd name="connsiteX10" fmla="*/ 657820 w 1422240"/>
                <a:gd name="connsiteY10" fmla="*/ 1918939 h 3070545"/>
                <a:gd name="connsiteX11" fmla="*/ 800170 w 1422240"/>
                <a:gd name="connsiteY11" fmla="*/ 1679854 h 3070545"/>
                <a:gd name="connsiteX12" fmla="*/ 613483 w 1422240"/>
                <a:gd name="connsiteY12" fmla="*/ 1141163 h 3070545"/>
                <a:gd name="connsiteX13" fmla="*/ 365199 w 1422240"/>
                <a:gd name="connsiteY13" fmla="*/ 909485 h 3070545"/>
                <a:gd name="connsiteX14" fmla="*/ 356332 w 1422240"/>
                <a:gd name="connsiteY14" fmla="*/ 793646 h 3070545"/>
                <a:gd name="connsiteX15" fmla="*/ 236220 w 1422240"/>
                <a:gd name="connsiteY15" fmla="*/ 0 h 3070545"/>
                <a:gd name="connsiteX0" fmla="*/ 236220 w 1422240"/>
                <a:gd name="connsiteY0" fmla="*/ 0 h 3070545"/>
                <a:gd name="connsiteX1" fmla="*/ 471847 w 1422240"/>
                <a:gd name="connsiteY1" fmla="*/ 6446 h 3070545"/>
                <a:gd name="connsiteX2" fmla="*/ 1332126 w 1422240"/>
                <a:gd name="connsiteY2" fmla="*/ 27247 h 3070545"/>
                <a:gd name="connsiteX3" fmla="*/ 1349707 w 1422240"/>
                <a:gd name="connsiteY3" fmla="*/ 147107 h 3070545"/>
                <a:gd name="connsiteX4" fmla="*/ 1376310 w 1422240"/>
                <a:gd name="connsiteY4" fmla="*/ 478076 h 3070545"/>
                <a:gd name="connsiteX5" fmla="*/ 1367442 w 1422240"/>
                <a:gd name="connsiteY5" fmla="*/ 1280675 h 3070545"/>
                <a:gd name="connsiteX6" fmla="*/ 1376309 w 1422240"/>
                <a:gd name="connsiteY6" fmla="*/ 1735757 h 3070545"/>
                <a:gd name="connsiteX7" fmla="*/ 1349861 w 1422240"/>
                <a:gd name="connsiteY7" fmla="*/ 3062271 h 3070545"/>
                <a:gd name="connsiteX8" fmla="*/ 0 w 1422240"/>
                <a:gd name="connsiteY8" fmla="*/ 3070545 h 3070545"/>
                <a:gd name="connsiteX9" fmla="*/ 329730 w 1422240"/>
                <a:gd name="connsiteY9" fmla="*/ 2481586 h 3070545"/>
                <a:gd name="connsiteX10" fmla="*/ 657820 w 1422240"/>
                <a:gd name="connsiteY10" fmla="*/ 1918939 h 3070545"/>
                <a:gd name="connsiteX11" fmla="*/ 800170 w 1422240"/>
                <a:gd name="connsiteY11" fmla="*/ 1679854 h 3070545"/>
                <a:gd name="connsiteX12" fmla="*/ 613483 w 1422240"/>
                <a:gd name="connsiteY12" fmla="*/ 1141163 h 3070545"/>
                <a:gd name="connsiteX13" fmla="*/ 365199 w 1422240"/>
                <a:gd name="connsiteY13" fmla="*/ 909485 h 3070545"/>
                <a:gd name="connsiteX14" fmla="*/ 356332 w 1422240"/>
                <a:gd name="connsiteY14" fmla="*/ 793646 h 3070545"/>
                <a:gd name="connsiteX15" fmla="*/ 236220 w 1422240"/>
                <a:gd name="connsiteY15" fmla="*/ 0 h 3070545"/>
                <a:gd name="connsiteX0" fmla="*/ 236220 w 1403014"/>
                <a:gd name="connsiteY0" fmla="*/ 0 h 3070545"/>
                <a:gd name="connsiteX1" fmla="*/ 471847 w 1403014"/>
                <a:gd name="connsiteY1" fmla="*/ 6446 h 3070545"/>
                <a:gd name="connsiteX2" fmla="*/ 1332126 w 1403014"/>
                <a:gd name="connsiteY2" fmla="*/ 27247 h 3070545"/>
                <a:gd name="connsiteX3" fmla="*/ 1339720 w 1403014"/>
                <a:gd name="connsiteY3" fmla="*/ 56506 h 3070545"/>
                <a:gd name="connsiteX4" fmla="*/ 1349707 w 1403014"/>
                <a:gd name="connsiteY4" fmla="*/ 147107 h 3070545"/>
                <a:gd name="connsiteX5" fmla="*/ 1376310 w 1403014"/>
                <a:gd name="connsiteY5" fmla="*/ 478076 h 3070545"/>
                <a:gd name="connsiteX6" fmla="*/ 1367442 w 1403014"/>
                <a:gd name="connsiteY6" fmla="*/ 1280675 h 3070545"/>
                <a:gd name="connsiteX7" fmla="*/ 1376309 w 1403014"/>
                <a:gd name="connsiteY7" fmla="*/ 1735757 h 3070545"/>
                <a:gd name="connsiteX8" fmla="*/ 1349861 w 1403014"/>
                <a:gd name="connsiteY8" fmla="*/ 3062271 h 3070545"/>
                <a:gd name="connsiteX9" fmla="*/ 0 w 1403014"/>
                <a:gd name="connsiteY9" fmla="*/ 3070545 h 3070545"/>
                <a:gd name="connsiteX10" fmla="*/ 329730 w 1403014"/>
                <a:gd name="connsiteY10" fmla="*/ 2481586 h 3070545"/>
                <a:gd name="connsiteX11" fmla="*/ 657820 w 1403014"/>
                <a:gd name="connsiteY11" fmla="*/ 1918939 h 3070545"/>
                <a:gd name="connsiteX12" fmla="*/ 800170 w 1403014"/>
                <a:gd name="connsiteY12" fmla="*/ 1679854 h 3070545"/>
                <a:gd name="connsiteX13" fmla="*/ 613483 w 1403014"/>
                <a:gd name="connsiteY13" fmla="*/ 1141163 h 3070545"/>
                <a:gd name="connsiteX14" fmla="*/ 365199 w 1403014"/>
                <a:gd name="connsiteY14" fmla="*/ 909485 h 3070545"/>
                <a:gd name="connsiteX15" fmla="*/ 356332 w 1403014"/>
                <a:gd name="connsiteY15" fmla="*/ 793646 h 3070545"/>
                <a:gd name="connsiteX16" fmla="*/ 236220 w 1403014"/>
                <a:gd name="connsiteY16" fmla="*/ 0 h 3070545"/>
                <a:gd name="connsiteX0" fmla="*/ 236220 w 1382508"/>
                <a:gd name="connsiteY0" fmla="*/ 0 h 3070545"/>
                <a:gd name="connsiteX1" fmla="*/ 471847 w 1382508"/>
                <a:gd name="connsiteY1" fmla="*/ 6446 h 3070545"/>
                <a:gd name="connsiteX2" fmla="*/ 1332126 w 1382508"/>
                <a:gd name="connsiteY2" fmla="*/ 27247 h 3070545"/>
                <a:gd name="connsiteX3" fmla="*/ 1233312 w 1382508"/>
                <a:gd name="connsiteY3" fmla="*/ 106151 h 3070545"/>
                <a:gd name="connsiteX4" fmla="*/ 1349707 w 1382508"/>
                <a:gd name="connsiteY4" fmla="*/ 147107 h 3070545"/>
                <a:gd name="connsiteX5" fmla="*/ 1376310 w 1382508"/>
                <a:gd name="connsiteY5" fmla="*/ 478076 h 3070545"/>
                <a:gd name="connsiteX6" fmla="*/ 1367442 w 1382508"/>
                <a:gd name="connsiteY6" fmla="*/ 1280675 h 3070545"/>
                <a:gd name="connsiteX7" fmla="*/ 1376309 w 1382508"/>
                <a:gd name="connsiteY7" fmla="*/ 1735757 h 3070545"/>
                <a:gd name="connsiteX8" fmla="*/ 1349861 w 1382508"/>
                <a:gd name="connsiteY8" fmla="*/ 3062271 h 3070545"/>
                <a:gd name="connsiteX9" fmla="*/ 0 w 1382508"/>
                <a:gd name="connsiteY9" fmla="*/ 3070545 h 3070545"/>
                <a:gd name="connsiteX10" fmla="*/ 329730 w 1382508"/>
                <a:gd name="connsiteY10" fmla="*/ 2481586 h 3070545"/>
                <a:gd name="connsiteX11" fmla="*/ 657820 w 1382508"/>
                <a:gd name="connsiteY11" fmla="*/ 1918939 h 3070545"/>
                <a:gd name="connsiteX12" fmla="*/ 800170 w 1382508"/>
                <a:gd name="connsiteY12" fmla="*/ 1679854 h 3070545"/>
                <a:gd name="connsiteX13" fmla="*/ 613483 w 1382508"/>
                <a:gd name="connsiteY13" fmla="*/ 1141163 h 3070545"/>
                <a:gd name="connsiteX14" fmla="*/ 365199 w 1382508"/>
                <a:gd name="connsiteY14" fmla="*/ 909485 h 3070545"/>
                <a:gd name="connsiteX15" fmla="*/ 356332 w 1382508"/>
                <a:gd name="connsiteY15" fmla="*/ 793646 h 3070545"/>
                <a:gd name="connsiteX16" fmla="*/ 236220 w 1382508"/>
                <a:gd name="connsiteY16" fmla="*/ 0 h 3070545"/>
                <a:gd name="connsiteX0" fmla="*/ 236220 w 1405488"/>
                <a:gd name="connsiteY0" fmla="*/ 0 h 3070545"/>
                <a:gd name="connsiteX1" fmla="*/ 471847 w 1405488"/>
                <a:gd name="connsiteY1" fmla="*/ 6446 h 3070545"/>
                <a:gd name="connsiteX2" fmla="*/ 1332126 w 1405488"/>
                <a:gd name="connsiteY2" fmla="*/ 27247 h 3070545"/>
                <a:gd name="connsiteX3" fmla="*/ 1348587 w 1405488"/>
                <a:gd name="connsiteY3" fmla="*/ 114425 h 3070545"/>
                <a:gd name="connsiteX4" fmla="*/ 1349707 w 1405488"/>
                <a:gd name="connsiteY4" fmla="*/ 147107 h 3070545"/>
                <a:gd name="connsiteX5" fmla="*/ 1376310 w 1405488"/>
                <a:gd name="connsiteY5" fmla="*/ 478076 h 3070545"/>
                <a:gd name="connsiteX6" fmla="*/ 1367442 w 1405488"/>
                <a:gd name="connsiteY6" fmla="*/ 1280675 h 3070545"/>
                <a:gd name="connsiteX7" fmla="*/ 1376309 w 1405488"/>
                <a:gd name="connsiteY7" fmla="*/ 1735757 h 3070545"/>
                <a:gd name="connsiteX8" fmla="*/ 1349861 w 1405488"/>
                <a:gd name="connsiteY8" fmla="*/ 3062271 h 3070545"/>
                <a:gd name="connsiteX9" fmla="*/ 0 w 1405488"/>
                <a:gd name="connsiteY9" fmla="*/ 3070545 h 3070545"/>
                <a:gd name="connsiteX10" fmla="*/ 329730 w 1405488"/>
                <a:gd name="connsiteY10" fmla="*/ 2481586 h 3070545"/>
                <a:gd name="connsiteX11" fmla="*/ 657820 w 1405488"/>
                <a:gd name="connsiteY11" fmla="*/ 1918939 h 3070545"/>
                <a:gd name="connsiteX12" fmla="*/ 800170 w 1405488"/>
                <a:gd name="connsiteY12" fmla="*/ 1679854 h 3070545"/>
                <a:gd name="connsiteX13" fmla="*/ 613483 w 1405488"/>
                <a:gd name="connsiteY13" fmla="*/ 1141163 h 3070545"/>
                <a:gd name="connsiteX14" fmla="*/ 365199 w 1405488"/>
                <a:gd name="connsiteY14" fmla="*/ 909485 h 3070545"/>
                <a:gd name="connsiteX15" fmla="*/ 356332 w 1405488"/>
                <a:gd name="connsiteY15" fmla="*/ 793646 h 3070545"/>
                <a:gd name="connsiteX16" fmla="*/ 236220 w 1405488"/>
                <a:gd name="connsiteY16" fmla="*/ 0 h 3070545"/>
                <a:gd name="connsiteX0" fmla="*/ 236220 w 1405488"/>
                <a:gd name="connsiteY0" fmla="*/ 0 h 3070545"/>
                <a:gd name="connsiteX1" fmla="*/ 471847 w 1405488"/>
                <a:gd name="connsiteY1" fmla="*/ 6446 h 3070545"/>
                <a:gd name="connsiteX2" fmla="*/ 1180109 w 1405488"/>
                <a:gd name="connsiteY2" fmla="*/ 81328 h 3070545"/>
                <a:gd name="connsiteX3" fmla="*/ 1332126 w 1405488"/>
                <a:gd name="connsiteY3" fmla="*/ 27247 h 3070545"/>
                <a:gd name="connsiteX4" fmla="*/ 1348587 w 1405488"/>
                <a:gd name="connsiteY4" fmla="*/ 114425 h 3070545"/>
                <a:gd name="connsiteX5" fmla="*/ 1349707 w 1405488"/>
                <a:gd name="connsiteY5" fmla="*/ 147107 h 3070545"/>
                <a:gd name="connsiteX6" fmla="*/ 1376310 w 1405488"/>
                <a:gd name="connsiteY6" fmla="*/ 478076 h 3070545"/>
                <a:gd name="connsiteX7" fmla="*/ 1367442 w 1405488"/>
                <a:gd name="connsiteY7" fmla="*/ 1280675 h 3070545"/>
                <a:gd name="connsiteX8" fmla="*/ 1376309 w 1405488"/>
                <a:gd name="connsiteY8" fmla="*/ 1735757 h 3070545"/>
                <a:gd name="connsiteX9" fmla="*/ 1349861 w 1405488"/>
                <a:gd name="connsiteY9" fmla="*/ 3062271 h 3070545"/>
                <a:gd name="connsiteX10" fmla="*/ 0 w 1405488"/>
                <a:gd name="connsiteY10" fmla="*/ 3070545 h 3070545"/>
                <a:gd name="connsiteX11" fmla="*/ 329730 w 1405488"/>
                <a:gd name="connsiteY11" fmla="*/ 2481586 h 3070545"/>
                <a:gd name="connsiteX12" fmla="*/ 657820 w 1405488"/>
                <a:gd name="connsiteY12" fmla="*/ 1918939 h 3070545"/>
                <a:gd name="connsiteX13" fmla="*/ 800170 w 1405488"/>
                <a:gd name="connsiteY13" fmla="*/ 1679854 h 3070545"/>
                <a:gd name="connsiteX14" fmla="*/ 613483 w 1405488"/>
                <a:gd name="connsiteY14" fmla="*/ 1141163 h 3070545"/>
                <a:gd name="connsiteX15" fmla="*/ 365199 w 1405488"/>
                <a:gd name="connsiteY15" fmla="*/ 909485 h 3070545"/>
                <a:gd name="connsiteX16" fmla="*/ 356332 w 1405488"/>
                <a:gd name="connsiteY16" fmla="*/ 793646 h 3070545"/>
                <a:gd name="connsiteX17" fmla="*/ 236220 w 1405488"/>
                <a:gd name="connsiteY17" fmla="*/ 0 h 3070545"/>
                <a:gd name="connsiteX0" fmla="*/ 236220 w 1405488"/>
                <a:gd name="connsiteY0" fmla="*/ 0 h 3070545"/>
                <a:gd name="connsiteX1" fmla="*/ 471847 w 1405488"/>
                <a:gd name="connsiteY1" fmla="*/ 6446 h 3070545"/>
                <a:gd name="connsiteX2" fmla="*/ 1180109 w 1405488"/>
                <a:gd name="connsiteY2" fmla="*/ 81328 h 3070545"/>
                <a:gd name="connsiteX3" fmla="*/ 1332126 w 1405488"/>
                <a:gd name="connsiteY3" fmla="*/ 27247 h 3070545"/>
                <a:gd name="connsiteX4" fmla="*/ 1348587 w 1405488"/>
                <a:gd name="connsiteY4" fmla="*/ 114425 h 3070545"/>
                <a:gd name="connsiteX5" fmla="*/ 1349707 w 1405488"/>
                <a:gd name="connsiteY5" fmla="*/ 147107 h 3070545"/>
                <a:gd name="connsiteX6" fmla="*/ 1376310 w 1405488"/>
                <a:gd name="connsiteY6" fmla="*/ 478076 h 3070545"/>
                <a:gd name="connsiteX7" fmla="*/ 1367442 w 1405488"/>
                <a:gd name="connsiteY7" fmla="*/ 1280675 h 3070545"/>
                <a:gd name="connsiteX8" fmla="*/ 1376309 w 1405488"/>
                <a:gd name="connsiteY8" fmla="*/ 1735757 h 3070545"/>
                <a:gd name="connsiteX9" fmla="*/ 1349861 w 1405488"/>
                <a:gd name="connsiteY9" fmla="*/ 3062271 h 3070545"/>
                <a:gd name="connsiteX10" fmla="*/ 0 w 1405488"/>
                <a:gd name="connsiteY10" fmla="*/ 3070545 h 3070545"/>
                <a:gd name="connsiteX11" fmla="*/ 329730 w 1405488"/>
                <a:gd name="connsiteY11" fmla="*/ 2481586 h 3070545"/>
                <a:gd name="connsiteX12" fmla="*/ 657820 w 1405488"/>
                <a:gd name="connsiteY12" fmla="*/ 1918939 h 3070545"/>
                <a:gd name="connsiteX13" fmla="*/ 800170 w 1405488"/>
                <a:gd name="connsiteY13" fmla="*/ 1679854 h 3070545"/>
                <a:gd name="connsiteX14" fmla="*/ 613483 w 1405488"/>
                <a:gd name="connsiteY14" fmla="*/ 1141163 h 3070545"/>
                <a:gd name="connsiteX15" fmla="*/ 365199 w 1405488"/>
                <a:gd name="connsiteY15" fmla="*/ 909485 h 3070545"/>
                <a:gd name="connsiteX16" fmla="*/ 356332 w 1405488"/>
                <a:gd name="connsiteY16" fmla="*/ 793646 h 3070545"/>
                <a:gd name="connsiteX17" fmla="*/ 236220 w 1405488"/>
                <a:gd name="connsiteY17" fmla="*/ 0 h 3070545"/>
                <a:gd name="connsiteX0" fmla="*/ 236220 w 1405488"/>
                <a:gd name="connsiteY0" fmla="*/ 0 h 3070545"/>
                <a:gd name="connsiteX1" fmla="*/ 471847 w 1405488"/>
                <a:gd name="connsiteY1" fmla="*/ 6446 h 3070545"/>
                <a:gd name="connsiteX2" fmla="*/ 1180109 w 1405488"/>
                <a:gd name="connsiteY2" fmla="*/ 81328 h 3070545"/>
                <a:gd name="connsiteX3" fmla="*/ 1332126 w 1405488"/>
                <a:gd name="connsiteY3" fmla="*/ 27247 h 3070545"/>
                <a:gd name="connsiteX4" fmla="*/ 1348587 w 1405488"/>
                <a:gd name="connsiteY4" fmla="*/ 114425 h 3070545"/>
                <a:gd name="connsiteX5" fmla="*/ 1349707 w 1405488"/>
                <a:gd name="connsiteY5" fmla="*/ 147107 h 3070545"/>
                <a:gd name="connsiteX6" fmla="*/ 1376310 w 1405488"/>
                <a:gd name="connsiteY6" fmla="*/ 478076 h 3070545"/>
                <a:gd name="connsiteX7" fmla="*/ 1367442 w 1405488"/>
                <a:gd name="connsiteY7" fmla="*/ 1280675 h 3070545"/>
                <a:gd name="connsiteX8" fmla="*/ 1376309 w 1405488"/>
                <a:gd name="connsiteY8" fmla="*/ 1735757 h 3070545"/>
                <a:gd name="connsiteX9" fmla="*/ 1349861 w 1405488"/>
                <a:gd name="connsiteY9" fmla="*/ 3062271 h 3070545"/>
                <a:gd name="connsiteX10" fmla="*/ 0 w 1405488"/>
                <a:gd name="connsiteY10" fmla="*/ 3070545 h 3070545"/>
                <a:gd name="connsiteX11" fmla="*/ 329730 w 1405488"/>
                <a:gd name="connsiteY11" fmla="*/ 2481586 h 3070545"/>
                <a:gd name="connsiteX12" fmla="*/ 657820 w 1405488"/>
                <a:gd name="connsiteY12" fmla="*/ 1918939 h 3070545"/>
                <a:gd name="connsiteX13" fmla="*/ 800170 w 1405488"/>
                <a:gd name="connsiteY13" fmla="*/ 1679854 h 3070545"/>
                <a:gd name="connsiteX14" fmla="*/ 613483 w 1405488"/>
                <a:gd name="connsiteY14" fmla="*/ 1141163 h 3070545"/>
                <a:gd name="connsiteX15" fmla="*/ 365199 w 1405488"/>
                <a:gd name="connsiteY15" fmla="*/ 909485 h 3070545"/>
                <a:gd name="connsiteX16" fmla="*/ 356332 w 1405488"/>
                <a:gd name="connsiteY16" fmla="*/ 793646 h 3070545"/>
                <a:gd name="connsiteX17" fmla="*/ 236220 w 1405488"/>
                <a:gd name="connsiteY17" fmla="*/ 0 h 3070545"/>
                <a:gd name="connsiteX0" fmla="*/ 0 w 1169268"/>
                <a:gd name="connsiteY0" fmla="*/ 0 h 3062271"/>
                <a:gd name="connsiteX1" fmla="*/ 235627 w 1169268"/>
                <a:gd name="connsiteY1" fmla="*/ 6446 h 3062271"/>
                <a:gd name="connsiteX2" fmla="*/ 943889 w 1169268"/>
                <a:gd name="connsiteY2" fmla="*/ 81328 h 3062271"/>
                <a:gd name="connsiteX3" fmla="*/ 1095906 w 1169268"/>
                <a:gd name="connsiteY3" fmla="*/ 27247 h 3062271"/>
                <a:gd name="connsiteX4" fmla="*/ 1112367 w 1169268"/>
                <a:gd name="connsiteY4" fmla="*/ 114425 h 3062271"/>
                <a:gd name="connsiteX5" fmla="*/ 1113487 w 1169268"/>
                <a:gd name="connsiteY5" fmla="*/ 147107 h 3062271"/>
                <a:gd name="connsiteX6" fmla="*/ 1140090 w 1169268"/>
                <a:gd name="connsiteY6" fmla="*/ 478076 h 3062271"/>
                <a:gd name="connsiteX7" fmla="*/ 1131222 w 1169268"/>
                <a:gd name="connsiteY7" fmla="*/ 1280675 h 3062271"/>
                <a:gd name="connsiteX8" fmla="*/ 1140089 w 1169268"/>
                <a:gd name="connsiteY8" fmla="*/ 1735757 h 3062271"/>
                <a:gd name="connsiteX9" fmla="*/ 1113641 w 1169268"/>
                <a:gd name="connsiteY9" fmla="*/ 3062271 h 3062271"/>
                <a:gd name="connsiteX10" fmla="*/ 91870 w 1169268"/>
                <a:gd name="connsiteY10" fmla="*/ 2830593 h 3062271"/>
                <a:gd name="connsiteX11" fmla="*/ 93510 w 1169268"/>
                <a:gd name="connsiteY11" fmla="*/ 2481586 h 3062271"/>
                <a:gd name="connsiteX12" fmla="*/ 421600 w 1169268"/>
                <a:gd name="connsiteY12" fmla="*/ 1918939 h 3062271"/>
                <a:gd name="connsiteX13" fmla="*/ 563950 w 1169268"/>
                <a:gd name="connsiteY13" fmla="*/ 1679854 h 3062271"/>
                <a:gd name="connsiteX14" fmla="*/ 377263 w 1169268"/>
                <a:gd name="connsiteY14" fmla="*/ 1141163 h 3062271"/>
                <a:gd name="connsiteX15" fmla="*/ 128979 w 1169268"/>
                <a:gd name="connsiteY15" fmla="*/ 909485 h 3062271"/>
                <a:gd name="connsiteX16" fmla="*/ 120112 w 1169268"/>
                <a:gd name="connsiteY16" fmla="*/ 793646 h 3062271"/>
                <a:gd name="connsiteX17" fmla="*/ 0 w 1169268"/>
                <a:gd name="connsiteY17" fmla="*/ 0 h 3062271"/>
                <a:gd name="connsiteX0" fmla="*/ 0 w 1169268"/>
                <a:gd name="connsiteY0" fmla="*/ 0 h 3062271"/>
                <a:gd name="connsiteX1" fmla="*/ 235627 w 1169268"/>
                <a:gd name="connsiteY1" fmla="*/ 6446 h 3062271"/>
                <a:gd name="connsiteX2" fmla="*/ 943889 w 1169268"/>
                <a:gd name="connsiteY2" fmla="*/ 81328 h 3062271"/>
                <a:gd name="connsiteX3" fmla="*/ 1095906 w 1169268"/>
                <a:gd name="connsiteY3" fmla="*/ 27247 h 3062271"/>
                <a:gd name="connsiteX4" fmla="*/ 1112367 w 1169268"/>
                <a:gd name="connsiteY4" fmla="*/ 114425 h 3062271"/>
                <a:gd name="connsiteX5" fmla="*/ 1113487 w 1169268"/>
                <a:gd name="connsiteY5" fmla="*/ 147107 h 3062271"/>
                <a:gd name="connsiteX6" fmla="*/ 1140090 w 1169268"/>
                <a:gd name="connsiteY6" fmla="*/ 478076 h 3062271"/>
                <a:gd name="connsiteX7" fmla="*/ 1131222 w 1169268"/>
                <a:gd name="connsiteY7" fmla="*/ 1280675 h 3062271"/>
                <a:gd name="connsiteX8" fmla="*/ 1140089 w 1169268"/>
                <a:gd name="connsiteY8" fmla="*/ 1735757 h 3062271"/>
                <a:gd name="connsiteX9" fmla="*/ 1113641 w 1169268"/>
                <a:gd name="connsiteY9" fmla="*/ 3062271 h 3062271"/>
                <a:gd name="connsiteX10" fmla="*/ 286950 w 1169268"/>
                <a:gd name="connsiteY10" fmla="*/ 2772673 h 3062271"/>
                <a:gd name="connsiteX11" fmla="*/ 93510 w 1169268"/>
                <a:gd name="connsiteY11" fmla="*/ 2481586 h 3062271"/>
                <a:gd name="connsiteX12" fmla="*/ 421600 w 1169268"/>
                <a:gd name="connsiteY12" fmla="*/ 1918939 h 3062271"/>
                <a:gd name="connsiteX13" fmla="*/ 563950 w 1169268"/>
                <a:gd name="connsiteY13" fmla="*/ 1679854 h 3062271"/>
                <a:gd name="connsiteX14" fmla="*/ 377263 w 1169268"/>
                <a:gd name="connsiteY14" fmla="*/ 1141163 h 3062271"/>
                <a:gd name="connsiteX15" fmla="*/ 128979 w 1169268"/>
                <a:gd name="connsiteY15" fmla="*/ 909485 h 3062271"/>
                <a:gd name="connsiteX16" fmla="*/ 120112 w 1169268"/>
                <a:gd name="connsiteY16" fmla="*/ 793646 h 3062271"/>
                <a:gd name="connsiteX17" fmla="*/ 0 w 1169268"/>
                <a:gd name="connsiteY17" fmla="*/ 0 h 3062271"/>
                <a:gd name="connsiteX0" fmla="*/ 0 w 1169268"/>
                <a:gd name="connsiteY0" fmla="*/ 0 h 3062271"/>
                <a:gd name="connsiteX1" fmla="*/ 235627 w 1169268"/>
                <a:gd name="connsiteY1" fmla="*/ 6446 h 3062271"/>
                <a:gd name="connsiteX2" fmla="*/ 943889 w 1169268"/>
                <a:gd name="connsiteY2" fmla="*/ 81328 h 3062271"/>
                <a:gd name="connsiteX3" fmla="*/ 1095906 w 1169268"/>
                <a:gd name="connsiteY3" fmla="*/ 27247 h 3062271"/>
                <a:gd name="connsiteX4" fmla="*/ 1112367 w 1169268"/>
                <a:gd name="connsiteY4" fmla="*/ 114425 h 3062271"/>
                <a:gd name="connsiteX5" fmla="*/ 1113487 w 1169268"/>
                <a:gd name="connsiteY5" fmla="*/ 147107 h 3062271"/>
                <a:gd name="connsiteX6" fmla="*/ 1140090 w 1169268"/>
                <a:gd name="connsiteY6" fmla="*/ 478076 h 3062271"/>
                <a:gd name="connsiteX7" fmla="*/ 1131222 w 1169268"/>
                <a:gd name="connsiteY7" fmla="*/ 1280675 h 3062271"/>
                <a:gd name="connsiteX8" fmla="*/ 1140089 w 1169268"/>
                <a:gd name="connsiteY8" fmla="*/ 1735757 h 3062271"/>
                <a:gd name="connsiteX9" fmla="*/ 1113641 w 1169268"/>
                <a:gd name="connsiteY9" fmla="*/ 3062271 h 3062271"/>
                <a:gd name="connsiteX10" fmla="*/ 286950 w 1169268"/>
                <a:gd name="connsiteY10" fmla="*/ 2772673 h 3062271"/>
                <a:gd name="connsiteX11" fmla="*/ 297458 w 1169268"/>
                <a:gd name="connsiteY11" fmla="*/ 2473312 h 3062271"/>
                <a:gd name="connsiteX12" fmla="*/ 421600 w 1169268"/>
                <a:gd name="connsiteY12" fmla="*/ 1918939 h 3062271"/>
                <a:gd name="connsiteX13" fmla="*/ 563950 w 1169268"/>
                <a:gd name="connsiteY13" fmla="*/ 1679854 h 3062271"/>
                <a:gd name="connsiteX14" fmla="*/ 377263 w 1169268"/>
                <a:gd name="connsiteY14" fmla="*/ 1141163 h 3062271"/>
                <a:gd name="connsiteX15" fmla="*/ 128979 w 1169268"/>
                <a:gd name="connsiteY15" fmla="*/ 909485 h 3062271"/>
                <a:gd name="connsiteX16" fmla="*/ 120112 w 1169268"/>
                <a:gd name="connsiteY16" fmla="*/ 793646 h 3062271"/>
                <a:gd name="connsiteX17" fmla="*/ 0 w 1169268"/>
                <a:gd name="connsiteY17" fmla="*/ 0 h 3062271"/>
                <a:gd name="connsiteX0" fmla="*/ 0 w 1169268"/>
                <a:gd name="connsiteY0" fmla="*/ 0 h 3062271"/>
                <a:gd name="connsiteX1" fmla="*/ 235627 w 1169268"/>
                <a:gd name="connsiteY1" fmla="*/ 6446 h 3062271"/>
                <a:gd name="connsiteX2" fmla="*/ 943889 w 1169268"/>
                <a:gd name="connsiteY2" fmla="*/ 81328 h 3062271"/>
                <a:gd name="connsiteX3" fmla="*/ 1095906 w 1169268"/>
                <a:gd name="connsiteY3" fmla="*/ 27247 h 3062271"/>
                <a:gd name="connsiteX4" fmla="*/ 1112367 w 1169268"/>
                <a:gd name="connsiteY4" fmla="*/ 114425 h 3062271"/>
                <a:gd name="connsiteX5" fmla="*/ 1113487 w 1169268"/>
                <a:gd name="connsiteY5" fmla="*/ 147107 h 3062271"/>
                <a:gd name="connsiteX6" fmla="*/ 1140090 w 1169268"/>
                <a:gd name="connsiteY6" fmla="*/ 478076 h 3062271"/>
                <a:gd name="connsiteX7" fmla="*/ 1131222 w 1169268"/>
                <a:gd name="connsiteY7" fmla="*/ 1280675 h 3062271"/>
                <a:gd name="connsiteX8" fmla="*/ 1140089 w 1169268"/>
                <a:gd name="connsiteY8" fmla="*/ 1735757 h 3062271"/>
                <a:gd name="connsiteX9" fmla="*/ 1113641 w 1169268"/>
                <a:gd name="connsiteY9" fmla="*/ 3062271 h 3062271"/>
                <a:gd name="connsiteX10" fmla="*/ 286950 w 1169268"/>
                <a:gd name="connsiteY10" fmla="*/ 2772673 h 3062271"/>
                <a:gd name="connsiteX11" fmla="*/ 430468 w 1169268"/>
                <a:gd name="connsiteY11" fmla="*/ 2465038 h 3062271"/>
                <a:gd name="connsiteX12" fmla="*/ 421600 w 1169268"/>
                <a:gd name="connsiteY12" fmla="*/ 1918939 h 3062271"/>
                <a:gd name="connsiteX13" fmla="*/ 563950 w 1169268"/>
                <a:gd name="connsiteY13" fmla="*/ 1679854 h 3062271"/>
                <a:gd name="connsiteX14" fmla="*/ 377263 w 1169268"/>
                <a:gd name="connsiteY14" fmla="*/ 1141163 h 3062271"/>
                <a:gd name="connsiteX15" fmla="*/ 128979 w 1169268"/>
                <a:gd name="connsiteY15" fmla="*/ 909485 h 3062271"/>
                <a:gd name="connsiteX16" fmla="*/ 120112 w 1169268"/>
                <a:gd name="connsiteY16" fmla="*/ 793646 h 3062271"/>
                <a:gd name="connsiteX17" fmla="*/ 0 w 1169268"/>
                <a:gd name="connsiteY17" fmla="*/ 0 h 3062271"/>
                <a:gd name="connsiteX0" fmla="*/ 0 w 1169268"/>
                <a:gd name="connsiteY0" fmla="*/ 0 h 3062271"/>
                <a:gd name="connsiteX1" fmla="*/ 235627 w 1169268"/>
                <a:gd name="connsiteY1" fmla="*/ 6446 h 3062271"/>
                <a:gd name="connsiteX2" fmla="*/ 943889 w 1169268"/>
                <a:gd name="connsiteY2" fmla="*/ 81328 h 3062271"/>
                <a:gd name="connsiteX3" fmla="*/ 1095906 w 1169268"/>
                <a:gd name="connsiteY3" fmla="*/ 27247 h 3062271"/>
                <a:gd name="connsiteX4" fmla="*/ 1112367 w 1169268"/>
                <a:gd name="connsiteY4" fmla="*/ 114425 h 3062271"/>
                <a:gd name="connsiteX5" fmla="*/ 1113487 w 1169268"/>
                <a:gd name="connsiteY5" fmla="*/ 147107 h 3062271"/>
                <a:gd name="connsiteX6" fmla="*/ 1140090 w 1169268"/>
                <a:gd name="connsiteY6" fmla="*/ 478076 h 3062271"/>
                <a:gd name="connsiteX7" fmla="*/ 1131222 w 1169268"/>
                <a:gd name="connsiteY7" fmla="*/ 1280675 h 3062271"/>
                <a:gd name="connsiteX8" fmla="*/ 1140089 w 1169268"/>
                <a:gd name="connsiteY8" fmla="*/ 1735757 h 3062271"/>
                <a:gd name="connsiteX9" fmla="*/ 1113641 w 1169268"/>
                <a:gd name="connsiteY9" fmla="*/ 3062271 h 3062271"/>
                <a:gd name="connsiteX10" fmla="*/ 286950 w 1169268"/>
                <a:gd name="connsiteY10" fmla="*/ 2772673 h 3062271"/>
                <a:gd name="connsiteX11" fmla="*/ 554610 w 1169268"/>
                <a:gd name="connsiteY11" fmla="*/ 2465038 h 3062271"/>
                <a:gd name="connsiteX12" fmla="*/ 421600 w 1169268"/>
                <a:gd name="connsiteY12" fmla="*/ 1918939 h 3062271"/>
                <a:gd name="connsiteX13" fmla="*/ 563950 w 1169268"/>
                <a:gd name="connsiteY13" fmla="*/ 1679854 h 3062271"/>
                <a:gd name="connsiteX14" fmla="*/ 377263 w 1169268"/>
                <a:gd name="connsiteY14" fmla="*/ 1141163 h 3062271"/>
                <a:gd name="connsiteX15" fmla="*/ 128979 w 1169268"/>
                <a:gd name="connsiteY15" fmla="*/ 909485 h 3062271"/>
                <a:gd name="connsiteX16" fmla="*/ 120112 w 1169268"/>
                <a:gd name="connsiteY16" fmla="*/ 793646 h 3062271"/>
                <a:gd name="connsiteX17" fmla="*/ 0 w 1169268"/>
                <a:gd name="connsiteY17" fmla="*/ 0 h 3062271"/>
                <a:gd name="connsiteX0" fmla="*/ 0 w 1169268"/>
                <a:gd name="connsiteY0" fmla="*/ 0 h 3062271"/>
                <a:gd name="connsiteX1" fmla="*/ 235627 w 1169268"/>
                <a:gd name="connsiteY1" fmla="*/ 6446 h 3062271"/>
                <a:gd name="connsiteX2" fmla="*/ 943889 w 1169268"/>
                <a:gd name="connsiteY2" fmla="*/ 81328 h 3062271"/>
                <a:gd name="connsiteX3" fmla="*/ 1095906 w 1169268"/>
                <a:gd name="connsiteY3" fmla="*/ 27247 h 3062271"/>
                <a:gd name="connsiteX4" fmla="*/ 1112367 w 1169268"/>
                <a:gd name="connsiteY4" fmla="*/ 114425 h 3062271"/>
                <a:gd name="connsiteX5" fmla="*/ 1113487 w 1169268"/>
                <a:gd name="connsiteY5" fmla="*/ 147107 h 3062271"/>
                <a:gd name="connsiteX6" fmla="*/ 1140090 w 1169268"/>
                <a:gd name="connsiteY6" fmla="*/ 478076 h 3062271"/>
                <a:gd name="connsiteX7" fmla="*/ 1131222 w 1169268"/>
                <a:gd name="connsiteY7" fmla="*/ 1280675 h 3062271"/>
                <a:gd name="connsiteX8" fmla="*/ 1140089 w 1169268"/>
                <a:gd name="connsiteY8" fmla="*/ 1735757 h 3062271"/>
                <a:gd name="connsiteX9" fmla="*/ 1113641 w 1169268"/>
                <a:gd name="connsiteY9" fmla="*/ 3062271 h 3062271"/>
                <a:gd name="connsiteX10" fmla="*/ 286950 w 1169268"/>
                <a:gd name="connsiteY10" fmla="*/ 2772673 h 3062271"/>
                <a:gd name="connsiteX11" fmla="*/ 705354 w 1169268"/>
                <a:gd name="connsiteY11" fmla="*/ 2456763 h 3062271"/>
                <a:gd name="connsiteX12" fmla="*/ 421600 w 1169268"/>
                <a:gd name="connsiteY12" fmla="*/ 1918939 h 3062271"/>
                <a:gd name="connsiteX13" fmla="*/ 563950 w 1169268"/>
                <a:gd name="connsiteY13" fmla="*/ 1679854 h 3062271"/>
                <a:gd name="connsiteX14" fmla="*/ 377263 w 1169268"/>
                <a:gd name="connsiteY14" fmla="*/ 1141163 h 3062271"/>
                <a:gd name="connsiteX15" fmla="*/ 128979 w 1169268"/>
                <a:gd name="connsiteY15" fmla="*/ 909485 h 3062271"/>
                <a:gd name="connsiteX16" fmla="*/ 120112 w 1169268"/>
                <a:gd name="connsiteY16" fmla="*/ 793646 h 3062271"/>
                <a:gd name="connsiteX17" fmla="*/ 0 w 1169268"/>
                <a:gd name="connsiteY17" fmla="*/ 0 h 3062271"/>
                <a:gd name="connsiteX0" fmla="*/ 0 w 1169268"/>
                <a:gd name="connsiteY0" fmla="*/ 0 h 3062271"/>
                <a:gd name="connsiteX1" fmla="*/ 235627 w 1169268"/>
                <a:gd name="connsiteY1" fmla="*/ 6446 h 3062271"/>
                <a:gd name="connsiteX2" fmla="*/ 943889 w 1169268"/>
                <a:gd name="connsiteY2" fmla="*/ 81328 h 3062271"/>
                <a:gd name="connsiteX3" fmla="*/ 1095906 w 1169268"/>
                <a:gd name="connsiteY3" fmla="*/ 27247 h 3062271"/>
                <a:gd name="connsiteX4" fmla="*/ 1112367 w 1169268"/>
                <a:gd name="connsiteY4" fmla="*/ 114425 h 3062271"/>
                <a:gd name="connsiteX5" fmla="*/ 1113487 w 1169268"/>
                <a:gd name="connsiteY5" fmla="*/ 147107 h 3062271"/>
                <a:gd name="connsiteX6" fmla="*/ 1140090 w 1169268"/>
                <a:gd name="connsiteY6" fmla="*/ 478076 h 3062271"/>
                <a:gd name="connsiteX7" fmla="*/ 1131222 w 1169268"/>
                <a:gd name="connsiteY7" fmla="*/ 1280675 h 3062271"/>
                <a:gd name="connsiteX8" fmla="*/ 1140089 w 1169268"/>
                <a:gd name="connsiteY8" fmla="*/ 1735757 h 3062271"/>
                <a:gd name="connsiteX9" fmla="*/ 1113641 w 1169268"/>
                <a:gd name="connsiteY9" fmla="*/ 3062271 h 3062271"/>
                <a:gd name="connsiteX10" fmla="*/ 411092 w 1169268"/>
                <a:gd name="connsiteY10" fmla="*/ 2764399 h 3062271"/>
                <a:gd name="connsiteX11" fmla="*/ 705354 w 1169268"/>
                <a:gd name="connsiteY11" fmla="*/ 2456763 h 3062271"/>
                <a:gd name="connsiteX12" fmla="*/ 421600 w 1169268"/>
                <a:gd name="connsiteY12" fmla="*/ 1918939 h 3062271"/>
                <a:gd name="connsiteX13" fmla="*/ 563950 w 1169268"/>
                <a:gd name="connsiteY13" fmla="*/ 1679854 h 3062271"/>
                <a:gd name="connsiteX14" fmla="*/ 377263 w 1169268"/>
                <a:gd name="connsiteY14" fmla="*/ 1141163 h 3062271"/>
                <a:gd name="connsiteX15" fmla="*/ 128979 w 1169268"/>
                <a:gd name="connsiteY15" fmla="*/ 909485 h 3062271"/>
                <a:gd name="connsiteX16" fmla="*/ 120112 w 1169268"/>
                <a:gd name="connsiteY16" fmla="*/ 793646 h 3062271"/>
                <a:gd name="connsiteX17" fmla="*/ 0 w 1169268"/>
                <a:gd name="connsiteY17" fmla="*/ 0 h 3062271"/>
                <a:gd name="connsiteX0" fmla="*/ 0 w 1169268"/>
                <a:gd name="connsiteY0" fmla="*/ 0 h 3062271"/>
                <a:gd name="connsiteX1" fmla="*/ 235627 w 1169268"/>
                <a:gd name="connsiteY1" fmla="*/ 6446 h 3062271"/>
                <a:gd name="connsiteX2" fmla="*/ 943889 w 1169268"/>
                <a:gd name="connsiteY2" fmla="*/ 81328 h 3062271"/>
                <a:gd name="connsiteX3" fmla="*/ 1095906 w 1169268"/>
                <a:gd name="connsiteY3" fmla="*/ 27247 h 3062271"/>
                <a:gd name="connsiteX4" fmla="*/ 1112367 w 1169268"/>
                <a:gd name="connsiteY4" fmla="*/ 114425 h 3062271"/>
                <a:gd name="connsiteX5" fmla="*/ 1113487 w 1169268"/>
                <a:gd name="connsiteY5" fmla="*/ 147107 h 3062271"/>
                <a:gd name="connsiteX6" fmla="*/ 1140090 w 1169268"/>
                <a:gd name="connsiteY6" fmla="*/ 478076 h 3062271"/>
                <a:gd name="connsiteX7" fmla="*/ 1131222 w 1169268"/>
                <a:gd name="connsiteY7" fmla="*/ 1280675 h 3062271"/>
                <a:gd name="connsiteX8" fmla="*/ 1140089 w 1169268"/>
                <a:gd name="connsiteY8" fmla="*/ 1735757 h 3062271"/>
                <a:gd name="connsiteX9" fmla="*/ 1113641 w 1169268"/>
                <a:gd name="connsiteY9" fmla="*/ 3062271 h 3062271"/>
                <a:gd name="connsiteX10" fmla="*/ 411092 w 1169268"/>
                <a:gd name="connsiteY10" fmla="*/ 2764399 h 3062271"/>
                <a:gd name="connsiteX11" fmla="*/ 705354 w 1169268"/>
                <a:gd name="connsiteY11" fmla="*/ 2456763 h 3062271"/>
                <a:gd name="connsiteX12" fmla="*/ 421600 w 1169268"/>
                <a:gd name="connsiteY12" fmla="*/ 1918939 h 3062271"/>
                <a:gd name="connsiteX13" fmla="*/ 563950 w 1169268"/>
                <a:gd name="connsiteY13" fmla="*/ 1679854 h 3062271"/>
                <a:gd name="connsiteX14" fmla="*/ 377263 w 1169268"/>
                <a:gd name="connsiteY14" fmla="*/ 1141163 h 3062271"/>
                <a:gd name="connsiteX15" fmla="*/ 128979 w 1169268"/>
                <a:gd name="connsiteY15" fmla="*/ 909485 h 3062271"/>
                <a:gd name="connsiteX16" fmla="*/ 120112 w 1169268"/>
                <a:gd name="connsiteY16" fmla="*/ 793646 h 3062271"/>
                <a:gd name="connsiteX17" fmla="*/ 0 w 1169268"/>
                <a:gd name="connsiteY17" fmla="*/ 0 h 3062271"/>
                <a:gd name="connsiteX0" fmla="*/ 0 w 1169268"/>
                <a:gd name="connsiteY0" fmla="*/ 0 h 3146954"/>
                <a:gd name="connsiteX1" fmla="*/ 235627 w 1169268"/>
                <a:gd name="connsiteY1" fmla="*/ 6446 h 3146954"/>
                <a:gd name="connsiteX2" fmla="*/ 943889 w 1169268"/>
                <a:gd name="connsiteY2" fmla="*/ 81328 h 3146954"/>
                <a:gd name="connsiteX3" fmla="*/ 1095906 w 1169268"/>
                <a:gd name="connsiteY3" fmla="*/ 27247 h 3146954"/>
                <a:gd name="connsiteX4" fmla="*/ 1112367 w 1169268"/>
                <a:gd name="connsiteY4" fmla="*/ 114425 h 3146954"/>
                <a:gd name="connsiteX5" fmla="*/ 1113487 w 1169268"/>
                <a:gd name="connsiteY5" fmla="*/ 147107 h 3146954"/>
                <a:gd name="connsiteX6" fmla="*/ 1140090 w 1169268"/>
                <a:gd name="connsiteY6" fmla="*/ 478076 h 3146954"/>
                <a:gd name="connsiteX7" fmla="*/ 1131222 w 1169268"/>
                <a:gd name="connsiteY7" fmla="*/ 1280675 h 3146954"/>
                <a:gd name="connsiteX8" fmla="*/ 1140089 w 1169268"/>
                <a:gd name="connsiteY8" fmla="*/ 1735757 h 3146954"/>
                <a:gd name="connsiteX9" fmla="*/ 1113641 w 1169268"/>
                <a:gd name="connsiteY9" fmla="*/ 3062271 h 3146954"/>
                <a:gd name="connsiteX10" fmla="*/ 846347 w 1169268"/>
                <a:gd name="connsiteY10" fmla="*/ 2985578 h 3146954"/>
                <a:gd name="connsiteX11" fmla="*/ 411092 w 1169268"/>
                <a:gd name="connsiteY11" fmla="*/ 2764399 h 3146954"/>
                <a:gd name="connsiteX12" fmla="*/ 705354 w 1169268"/>
                <a:gd name="connsiteY12" fmla="*/ 2456763 h 3146954"/>
                <a:gd name="connsiteX13" fmla="*/ 421600 w 1169268"/>
                <a:gd name="connsiteY13" fmla="*/ 1918939 h 3146954"/>
                <a:gd name="connsiteX14" fmla="*/ 563950 w 1169268"/>
                <a:gd name="connsiteY14" fmla="*/ 1679854 h 3146954"/>
                <a:gd name="connsiteX15" fmla="*/ 377263 w 1169268"/>
                <a:gd name="connsiteY15" fmla="*/ 1141163 h 3146954"/>
                <a:gd name="connsiteX16" fmla="*/ 128979 w 1169268"/>
                <a:gd name="connsiteY16" fmla="*/ 909485 h 3146954"/>
                <a:gd name="connsiteX17" fmla="*/ 120112 w 1169268"/>
                <a:gd name="connsiteY17" fmla="*/ 793646 h 3146954"/>
                <a:gd name="connsiteX18" fmla="*/ 0 w 1169268"/>
                <a:gd name="connsiteY18" fmla="*/ 0 h 3146954"/>
                <a:gd name="connsiteX0" fmla="*/ 0 w 1169268"/>
                <a:gd name="connsiteY0" fmla="*/ 0 h 3156727"/>
                <a:gd name="connsiteX1" fmla="*/ 235627 w 1169268"/>
                <a:gd name="connsiteY1" fmla="*/ 6446 h 3156727"/>
                <a:gd name="connsiteX2" fmla="*/ 943889 w 1169268"/>
                <a:gd name="connsiteY2" fmla="*/ 81328 h 3156727"/>
                <a:gd name="connsiteX3" fmla="*/ 1095906 w 1169268"/>
                <a:gd name="connsiteY3" fmla="*/ 27247 h 3156727"/>
                <a:gd name="connsiteX4" fmla="*/ 1112367 w 1169268"/>
                <a:gd name="connsiteY4" fmla="*/ 114425 h 3156727"/>
                <a:gd name="connsiteX5" fmla="*/ 1113487 w 1169268"/>
                <a:gd name="connsiteY5" fmla="*/ 147107 h 3156727"/>
                <a:gd name="connsiteX6" fmla="*/ 1140090 w 1169268"/>
                <a:gd name="connsiteY6" fmla="*/ 478076 h 3156727"/>
                <a:gd name="connsiteX7" fmla="*/ 1131222 w 1169268"/>
                <a:gd name="connsiteY7" fmla="*/ 1280675 h 3156727"/>
                <a:gd name="connsiteX8" fmla="*/ 1140089 w 1169268"/>
                <a:gd name="connsiteY8" fmla="*/ 1735757 h 3156727"/>
                <a:gd name="connsiteX9" fmla="*/ 1113641 w 1169268"/>
                <a:gd name="connsiteY9" fmla="*/ 3062271 h 3156727"/>
                <a:gd name="connsiteX10" fmla="*/ 828613 w 1169268"/>
                <a:gd name="connsiteY10" fmla="*/ 3026950 h 3156727"/>
                <a:gd name="connsiteX11" fmla="*/ 411092 w 1169268"/>
                <a:gd name="connsiteY11" fmla="*/ 2764399 h 3156727"/>
                <a:gd name="connsiteX12" fmla="*/ 705354 w 1169268"/>
                <a:gd name="connsiteY12" fmla="*/ 2456763 h 3156727"/>
                <a:gd name="connsiteX13" fmla="*/ 421600 w 1169268"/>
                <a:gd name="connsiteY13" fmla="*/ 1918939 h 3156727"/>
                <a:gd name="connsiteX14" fmla="*/ 563950 w 1169268"/>
                <a:gd name="connsiteY14" fmla="*/ 1679854 h 3156727"/>
                <a:gd name="connsiteX15" fmla="*/ 377263 w 1169268"/>
                <a:gd name="connsiteY15" fmla="*/ 1141163 h 3156727"/>
                <a:gd name="connsiteX16" fmla="*/ 128979 w 1169268"/>
                <a:gd name="connsiteY16" fmla="*/ 909485 h 3156727"/>
                <a:gd name="connsiteX17" fmla="*/ 120112 w 1169268"/>
                <a:gd name="connsiteY17" fmla="*/ 793646 h 3156727"/>
                <a:gd name="connsiteX18" fmla="*/ 0 w 1169268"/>
                <a:gd name="connsiteY18" fmla="*/ 0 h 3156727"/>
                <a:gd name="connsiteX0" fmla="*/ 0 w 1169268"/>
                <a:gd name="connsiteY0" fmla="*/ 0 h 3156727"/>
                <a:gd name="connsiteX1" fmla="*/ 235627 w 1169268"/>
                <a:gd name="connsiteY1" fmla="*/ 6446 h 3156727"/>
                <a:gd name="connsiteX2" fmla="*/ 943889 w 1169268"/>
                <a:gd name="connsiteY2" fmla="*/ 81328 h 3156727"/>
                <a:gd name="connsiteX3" fmla="*/ 1095906 w 1169268"/>
                <a:gd name="connsiteY3" fmla="*/ 27247 h 3156727"/>
                <a:gd name="connsiteX4" fmla="*/ 1112367 w 1169268"/>
                <a:gd name="connsiteY4" fmla="*/ 114425 h 3156727"/>
                <a:gd name="connsiteX5" fmla="*/ 1113487 w 1169268"/>
                <a:gd name="connsiteY5" fmla="*/ 147107 h 3156727"/>
                <a:gd name="connsiteX6" fmla="*/ 1140090 w 1169268"/>
                <a:gd name="connsiteY6" fmla="*/ 478076 h 3156727"/>
                <a:gd name="connsiteX7" fmla="*/ 1131222 w 1169268"/>
                <a:gd name="connsiteY7" fmla="*/ 1280675 h 3156727"/>
                <a:gd name="connsiteX8" fmla="*/ 1140089 w 1169268"/>
                <a:gd name="connsiteY8" fmla="*/ 1735757 h 3156727"/>
                <a:gd name="connsiteX9" fmla="*/ 1113641 w 1169268"/>
                <a:gd name="connsiteY9" fmla="*/ 3062271 h 3156727"/>
                <a:gd name="connsiteX10" fmla="*/ 828613 w 1169268"/>
                <a:gd name="connsiteY10" fmla="*/ 3026950 h 3156727"/>
                <a:gd name="connsiteX11" fmla="*/ 509390 w 1169268"/>
                <a:gd name="connsiteY11" fmla="*/ 2844916 h 3156727"/>
                <a:gd name="connsiteX12" fmla="*/ 411092 w 1169268"/>
                <a:gd name="connsiteY12" fmla="*/ 2764399 h 3156727"/>
                <a:gd name="connsiteX13" fmla="*/ 705354 w 1169268"/>
                <a:gd name="connsiteY13" fmla="*/ 2456763 h 3156727"/>
                <a:gd name="connsiteX14" fmla="*/ 421600 w 1169268"/>
                <a:gd name="connsiteY14" fmla="*/ 1918939 h 3156727"/>
                <a:gd name="connsiteX15" fmla="*/ 563950 w 1169268"/>
                <a:gd name="connsiteY15" fmla="*/ 1679854 h 3156727"/>
                <a:gd name="connsiteX16" fmla="*/ 377263 w 1169268"/>
                <a:gd name="connsiteY16" fmla="*/ 1141163 h 3156727"/>
                <a:gd name="connsiteX17" fmla="*/ 128979 w 1169268"/>
                <a:gd name="connsiteY17" fmla="*/ 909485 h 3156727"/>
                <a:gd name="connsiteX18" fmla="*/ 120112 w 1169268"/>
                <a:gd name="connsiteY18" fmla="*/ 793646 h 3156727"/>
                <a:gd name="connsiteX19" fmla="*/ 0 w 1169268"/>
                <a:gd name="connsiteY19" fmla="*/ 0 h 3156727"/>
                <a:gd name="connsiteX0" fmla="*/ 0 w 1169268"/>
                <a:gd name="connsiteY0" fmla="*/ 0 h 3156727"/>
                <a:gd name="connsiteX1" fmla="*/ 235627 w 1169268"/>
                <a:gd name="connsiteY1" fmla="*/ 6446 h 3156727"/>
                <a:gd name="connsiteX2" fmla="*/ 943889 w 1169268"/>
                <a:gd name="connsiteY2" fmla="*/ 81328 h 3156727"/>
                <a:gd name="connsiteX3" fmla="*/ 1095906 w 1169268"/>
                <a:gd name="connsiteY3" fmla="*/ 27247 h 3156727"/>
                <a:gd name="connsiteX4" fmla="*/ 1112367 w 1169268"/>
                <a:gd name="connsiteY4" fmla="*/ 114425 h 3156727"/>
                <a:gd name="connsiteX5" fmla="*/ 1113487 w 1169268"/>
                <a:gd name="connsiteY5" fmla="*/ 147107 h 3156727"/>
                <a:gd name="connsiteX6" fmla="*/ 1140090 w 1169268"/>
                <a:gd name="connsiteY6" fmla="*/ 478076 h 3156727"/>
                <a:gd name="connsiteX7" fmla="*/ 1131222 w 1169268"/>
                <a:gd name="connsiteY7" fmla="*/ 1280675 h 3156727"/>
                <a:gd name="connsiteX8" fmla="*/ 1140089 w 1169268"/>
                <a:gd name="connsiteY8" fmla="*/ 1735757 h 3156727"/>
                <a:gd name="connsiteX9" fmla="*/ 1113641 w 1169268"/>
                <a:gd name="connsiteY9" fmla="*/ 3062271 h 3156727"/>
                <a:gd name="connsiteX10" fmla="*/ 828613 w 1169268"/>
                <a:gd name="connsiteY10" fmla="*/ 3026950 h 3156727"/>
                <a:gd name="connsiteX11" fmla="*/ 686736 w 1169268"/>
                <a:gd name="connsiteY11" fmla="*/ 2935932 h 3156727"/>
                <a:gd name="connsiteX12" fmla="*/ 509390 w 1169268"/>
                <a:gd name="connsiteY12" fmla="*/ 2844916 h 3156727"/>
                <a:gd name="connsiteX13" fmla="*/ 411092 w 1169268"/>
                <a:gd name="connsiteY13" fmla="*/ 2764399 h 3156727"/>
                <a:gd name="connsiteX14" fmla="*/ 705354 w 1169268"/>
                <a:gd name="connsiteY14" fmla="*/ 2456763 h 3156727"/>
                <a:gd name="connsiteX15" fmla="*/ 421600 w 1169268"/>
                <a:gd name="connsiteY15" fmla="*/ 1918939 h 3156727"/>
                <a:gd name="connsiteX16" fmla="*/ 563950 w 1169268"/>
                <a:gd name="connsiteY16" fmla="*/ 1679854 h 3156727"/>
                <a:gd name="connsiteX17" fmla="*/ 377263 w 1169268"/>
                <a:gd name="connsiteY17" fmla="*/ 1141163 h 3156727"/>
                <a:gd name="connsiteX18" fmla="*/ 128979 w 1169268"/>
                <a:gd name="connsiteY18" fmla="*/ 909485 h 3156727"/>
                <a:gd name="connsiteX19" fmla="*/ 120112 w 1169268"/>
                <a:gd name="connsiteY19" fmla="*/ 793646 h 3156727"/>
                <a:gd name="connsiteX20" fmla="*/ 0 w 1169268"/>
                <a:gd name="connsiteY20" fmla="*/ 0 h 3156727"/>
                <a:gd name="connsiteX0" fmla="*/ 0 w 1169268"/>
                <a:gd name="connsiteY0" fmla="*/ 0 h 3156727"/>
                <a:gd name="connsiteX1" fmla="*/ 235627 w 1169268"/>
                <a:gd name="connsiteY1" fmla="*/ 6446 h 3156727"/>
                <a:gd name="connsiteX2" fmla="*/ 943889 w 1169268"/>
                <a:gd name="connsiteY2" fmla="*/ 81328 h 3156727"/>
                <a:gd name="connsiteX3" fmla="*/ 1095906 w 1169268"/>
                <a:gd name="connsiteY3" fmla="*/ 27247 h 3156727"/>
                <a:gd name="connsiteX4" fmla="*/ 1112367 w 1169268"/>
                <a:gd name="connsiteY4" fmla="*/ 114425 h 3156727"/>
                <a:gd name="connsiteX5" fmla="*/ 1113487 w 1169268"/>
                <a:gd name="connsiteY5" fmla="*/ 147107 h 3156727"/>
                <a:gd name="connsiteX6" fmla="*/ 1140090 w 1169268"/>
                <a:gd name="connsiteY6" fmla="*/ 478076 h 3156727"/>
                <a:gd name="connsiteX7" fmla="*/ 1131222 w 1169268"/>
                <a:gd name="connsiteY7" fmla="*/ 1280675 h 3156727"/>
                <a:gd name="connsiteX8" fmla="*/ 1140089 w 1169268"/>
                <a:gd name="connsiteY8" fmla="*/ 1735757 h 3156727"/>
                <a:gd name="connsiteX9" fmla="*/ 1113641 w 1169268"/>
                <a:gd name="connsiteY9" fmla="*/ 3062271 h 3156727"/>
                <a:gd name="connsiteX10" fmla="*/ 828613 w 1169268"/>
                <a:gd name="connsiteY10" fmla="*/ 3026950 h 3156727"/>
                <a:gd name="connsiteX11" fmla="*/ 686736 w 1169268"/>
                <a:gd name="connsiteY11" fmla="*/ 2935932 h 3156727"/>
                <a:gd name="connsiteX12" fmla="*/ 509390 w 1169268"/>
                <a:gd name="connsiteY12" fmla="*/ 2844916 h 3156727"/>
                <a:gd name="connsiteX13" fmla="*/ 411092 w 1169268"/>
                <a:gd name="connsiteY13" fmla="*/ 2764399 h 3156727"/>
                <a:gd name="connsiteX14" fmla="*/ 705354 w 1169268"/>
                <a:gd name="connsiteY14" fmla="*/ 2456763 h 3156727"/>
                <a:gd name="connsiteX15" fmla="*/ 421600 w 1169268"/>
                <a:gd name="connsiteY15" fmla="*/ 1918939 h 3156727"/>
                <a:gd name="connsiteX16" fmla="*/ 563950 w 1169268"/>
                <a:gd name="connsiteY16" fmla="*/ 1679854 h 3156727"/>
                <a:gd name="connsiteX17" fmla="*/ 377263 w 1169268"/>
                <a:gd name="connsiteY17" fmla="*/ 1141163 h 3156727"/>
                <a:gd name="connsiteX18" fmla="*/ 128979 w 1169268"/>
                <a:gd name="connsiteY18" fmla="*/ 909485 h 3156727"/>
                <a:gd name="connsiteX19" fmla="*/ 120112 w 1169268"/>
                <a:gd name="connsiteY19" fmla="*/ 793646 h 3156727"/>
                <a:gd name="connsiteX20" fmla="*/ 0 w 1169268"/>
                <a:gd name="connsiteY20" fmla="*/ 0 h 3156727"/>
                <a:gd name="connsiteX0" fmla="*/ 0 w 1169268"/>
                <a:gd name="connsiteY0" fmla="*/ 0 h 3150624"/>
                <a:gd name="connsiteX1" fmla="*/ 235627 w 1169268"/>
                <a:gd name="connsiteY1" fmla="*/ 6446 h 3150624"/>
                <a:gd name="connsiteX2" fmla="*/ 943889 w 1169268"/>
                <a:gd name="connsiteY2" fmla="*/ 81328 h 3150624"/>
                <a:gd name="connsiteX3" fmla="*/ 1095906 w 1169268"/>
                <a:gd name="connsiteY3" fmla="*/ 27247 h 3150624"/>
                <a:gd name="connsiteX4" fmla="*/ 1112367 w 1169268"/>
                <a:gd name="connsiteY4" fmla="*/ 114425 h 3150624"/>
                <a:gd name="connsiteX5" fmla="*/ 1113487 w 1169268"/>
                <a:gd name="connsiteY5" fmla="*/ 147107 h 3150624"/>
                <a:gd name="connsiteX6" fmla="*/ 1140090 w 1169268"/>
                <a:gd name="connsiteY6" fmla="*/ 478076 h 3150624"/>
                <a:gd name="connsiteX7" fmla="*/ 1131222 w 1169268"/>
                <a:gd name="connsiteY7" fmla="*/ 1280675 h 3150624"/>
                <a:gd name="connsiteX8" fmla="*/ 1140089 w 1169268"/>
                <a:gd name="connsiteY8" fmla="*/ 1735757 h 3150624"/>
                <a:gd name="connsiteX9" fmla="*/ 1113641 w 1169268"/>
                <a:gd name="connsiteY9" fmla="*/ 3062271 h 3150624"/>
                <a:gd name="connsiteX10" fmla="*/ 855214 w 1169268"/>
                <a:gd name="connsiteY10" fmla="*/ 3002127 h 3150624"/>
                <a:gd name="connsiteX11" fmla="*/ 686736 w 1169268"/>
                <a:gd name="connsiteY11" fmla="*/ 2935932 h 3150624"/>
                <a:gd name="connsiteX12" fmla="*/ 509390 w 1169268"/>
                <a:gd name="connsiteY12" fmla="*/ 2844916 h 3150624"/>
                <a:gd name="connsiteX13" fmla="*/ 411092 w 1169268"/>
                <a:gd name="connsiteY13" fmla="*/ 2764399 h 3150624"/>
                <a:gd name="connsiteX14" fmla="*/ 705354 w 1169268"/>
                <a:gd name="connsiteY14" fmla="*/ 2456763 h 3150624"/>
                <a:gd name="connsiteX15" fmla="*/ 421600 w 1169268"/>
                <a:gd name="connsiteY15" fmla="*/ 1918939 h 3150624"/>
                <a:gd name="connsiteX16" fmla="*/ 563950 w 1169268"/>
                <a:gd name="connsiteY16" fmla="*/ 1679854 h 3150624"/>
                <a:gd name="connsiteX17" fmla="*/ 377263 w 1169268"/>
                <a:gd name="connsiteY17" fmla="*/ 1141163 h 3150624"/>
                <a:gd name="connsiteX18" fmla="*/ 128979 w 1169268"/>
                <a:gd name="connsiteY18" fmla="*/ 909485 h 3150624"/>
                <a:gd name="connsiteX19" fmla="*/ 120112 w 1169268"/>
                <a:gd name="connsiteY19" fmla="*/ 793646 h 3150624"/>
                <a:gd name="connsiteX20" fmla="*/ 0 w 1169268"/>
                <a:gd name="connsiteY20" fmla="*/ 0 h 3150624"/>
                <a:gd name="connsiteX0" fmla="*/ 0 w 1169268"/>
                <a:gd name="connsiteY0" fmla="*/ 0 h 3157647"/>
                <a:gd name="connsiteX1" fmla="*/ 235627 w 1169268"/>
                <a:gd name="connsiteY1" fmla="*/ 6446 h 3157647"/>
                <a:gd name="connsiteX2" fmla="*/ 943889 w 1169268"/>
                <a:gd name="connsiteY2" fmla="*/ 81328 h 3157647"/>
                <a:gd name="connsiteX3" fmla="*/ 1095906 w 1169268"/>
                <a:gd name="connsiteY3" fmla="*/ 27247 h 3157647"/>
                <a:gd name="connsiteX4" fmla="*/ 1112367 w 1169268"/>
                <a:gd name="connsiteY4" fmla="*/ 114425 h 3157647"/>
                <a:gd name="connsiteX5" fmla="*/ 1113487 w 1169268"/>
                <a:gd name="connsiteY5" fmla="*/ 147107 h 3157647"/>
                <a:gd name="connsiteX6" fmla="*/ 1140090 w 1169268"/>
                <a:gd name="connsiteY6" fmla="*/ 478076 h 3157647"/>
                <a:gd name="connsiteX7" fmla="*/ 1131222 w 1169268"/>
                <a:gd name="connsiteY7" fmla="*/ 1280675 h 3157647"/>
                <a:gd name="connsiteX8" fmla="*/ 1140089 w 1169268"/>
                <a:gd name="connsiteY8" fmla="*/ 1735757 h 3157647"/>
                <a:gd name="connsiteX9" fmla="*/ 1113641 w 1169268"/>
                <a:gd name="connsiteY9" fmla="*/ 3062271 h 3157647"/>
                <a:gd name="connsiteX10" fmla="*/ 855214 w 1169268"/>
                <a:gd name="connsiteY10" fmla="*/ 3002127 h 3157647"/>
                <a:gd name="connsiteX11" fmla="*/ 686736 w 1169268"/>
                <a:gd name="connsiteY11" fmla="*/ 2935932 h 3157647"/>
                <a:gd name="connsiteX12" fmla="*/ 509390 w 1169268"/>
                <a:gd name="connsiteY12" fmla="*/ 2844916 h 3157647"/>
                <a:gd name="connsiteX13" fmla="*/ 411092 w 1169268"/>
                <a:gd name="connsiteY13" fmla="*/ 2764399 h 3157647"/>
                <a:gd name="connsiteX14" fmla="*/ 705354 w 1169268"/>
                <a:gd name="connsiteY14" fmla="*/ 2456763 h 3157647"/>
                <a:gd name="connsiteX15" fmla="*/ 421600 w 1169268"/>
                <a:gd name="connsiteY15" fmla="*/ 1918939 h 3157647"/>
                <a:gd name="connsiteX16" fmla="*/ 563950 w 1169268"/>
                <a:gd name="connsiteY16" fmla="*/ 1679854 h 3157647"/>
                <a:gd name="connsiteX17" fmla="*/ 377263 w 1169268"/>
                <a:gd name="connsiteY17" fmla="*/ 1141163 h 3157647"/>
                <a:gd name="connsiteX18" fmla="*/ 128979 w 1169268"/>
                <a:gd name="connsiteY18" fmla="*/ 909485 h 3157647"/>
                <a:gd name="connsiteX19" fmla="*/ 120112 w 1169268"/>
                <a:gd name="connsiteY19" fmla="*/ 793646 h 3157647"/>
                <a:gd name="connsiteX20" fmla="*/ 0 w 1169268"/>
                <a:gd name="connsiteY20" fmla="*/ 0 h 3157647"/>
                <a:gd name="connsiteX0" fmla="*/ 0 w 1169268"/>
                <a:gd name="connsiteY0" fmla="*/ 0 h 3145615"/>
                <a:gd name="connsiteX1" fmla="*/ 235627 w 1169268"/>
                <a:gd name="connsiteY1" fmla="*/ 6446 h 3145615"/>
                <a:gd name="connsiteX2" fmla="*/ 943889 w 1169268"/>
                <a:gd name="connsiteY2" fmla="*/ 81328 h 3145615"/>
                <a:gd name="connsiteX3" fmla="*/ 1095906 w 1169268"/>
                <a:gd name="connsiteY3" fmla="*/ 27247 h 3145615"/>
                <a:gd name="connsiteX4" fmla="*/ 1112367 w 1169268"/>
                <a:gd name="connsiteY4" fmla="*/ 114425 h 3145615"/>
                <a:gd name="connsiteX5" fmla="*/ 1113487 w 1169268"/>
                <a:gd name="connsiteY5" fmla="*/ 147107 h 3145615"/>
                <a:gd name="connsiteX6" fmla="*/ 1140090 w 1169268"/>
                <a:gd name="connsiteY6" fmla="*/ 478076 h 3145615"/>
                <a:gd name="connsiteX7" fmla="*/ 1131222 w 1169268"/>
                <a:gd name="connsiteY7" fmla="*/ 1280675 h 3145615"/>
                <a:gd name="connsiteX8" fmla="*/ 1140089 w 1169268"/>
                <a:gd name="connsiteY8" fmla="*/ 1735757 h 3145615"/>
                <a:gd name="connsiteX9" fmla="*/ 1113641 w 1169268"/>
                <a:gd name="connsiteY9" fmla="*/ 3045722 h 3145615"/>
                <a:gd name="connsiteX10" fmla="*/ 855214 w 1169268"/>
                <a:gd name="connsiteY10" fmla="*/ 3002127 h 3145615"/>
                <a:gd name="connsiteX11" fmla="*/ 686736 w 1169268"/>
                <a:gd name="connsiteY11" fmla="*/ 2935932 h 3145615"/>
                <a:gd name="connsiteX12" fmla="*/ 509390 w 1169268"/>
                <a:gd name="connsiteY12" fmla="*/ 2844916 h 3145615"/>
                <a:gd name="connsiteX13" fmla="*/ 411092 w 1169268"/>
                <a:gd name="connsiteY13" fmla="*/ 2764399 h 3145615"/>
                <a:gd name="connsiteX14" fmla="*/ 705354 w 1169268"/>
                <a:gd name="connsiteY14" fmla="*/ 2456763 h 3145615"/>
                <a:gd name="connsiteX15" fmla="*/ 421600 w 1169268"/>
                <a:gd name="connsiteY15" fmla="*/ 1918939 h 3145615"/>
                <a:gd name="connsiteX16" fmla="*/ 563950 w 1169268"/>
                <a:gd name="connsiteY16" fmla="*/ 1679854 h 3145615"/>
                <a:gd name="connsiteX17" fmla="*/ 377263 w 1169268"/>
                <a:gd name="connsiteY17" fmla="*/ 1141163 h 3145615"/>
                <a:gd name="connsiteX18" fmla="*/ 128979 w 1169268"/>
                <a:gd name="connsiteY18" fmla="*/ 909485 h 3145615"/>
                <a:gd name="connsiteX19" fmla="*/ 120112 w 1169268"/>
                <a:gd name="connsiteY19" fmla="*/ 793646 h 3145615"/>
                <a:gd name="connsiteX20" fmla="*/ 0 w 1169268"/>
                <a:gd name="connsiteY20" fmla="*/ 0 h 3145615"/>
                <a:gd name="connsiteX0" fmla="*/ 0 w 1169268"/>
                <a:gd name="connsiteY0" fmla="*/ 0 h 3145615"/>
                <a:gd name="connsiteX1" fmla="*/ 235627 w 1169268"/>
                <a:gd name="connsiteY1" fmla="*/ 6446 h 3145615"/>
                <a:gd name="connsiteX2" fmla="*/ 943889 w 1169268"/>
                <a:gd name="connsiteY2" fmla="*/ 81328 h 3145615"/>
                <a:gd name="connsiteX3" fmla="*/ 1095906 w 1169268"/>
                <a:gd name="connsiteY3" fmla="*/ 27247 h 3145615"/>
                <a:gd name="connsiteX4" fmla="*/ 1112367 w 1169268"/>
                <a:gd name="connsiteY4" fmla="*/ 114425 h 3145615"/>
                <a:gd name="connsiteX5" fmla="*/ 1113487 w 1169268"/>
                <a:gd name="connsiteY5" fmla="*/ 147107 h 3145615"/>
                <a:gd name="connsiteX6" fmla="*/ 1140090 w 1169268"/>
                <a:gd name="connsiteY6" fmla="*/ 478076 h 3145615"/>
                <a:gd name="connsiteX7" fmla="*/ 1131222 w 1169268"/>
                <a:gd name="connsiteY7" fmla="*/ 1280675 h 3145615"/>
                <a:gd name="connsiteX8" fmla="*/ 1140089 w 1169268"/>
                <a:gd name="connsiteY8" fmla="*/ 1735757 h 3145615"/>
                <a:gd name="connsiteX9" fmla="*/ 1113641 w 1169268"/>
                <a:gd name="connsiteY9" fmla="*/ 3045722 h 3145615"/>
                <a:gd name="connsiteX10" fmla="*/ 855214 w 1169268"/>
                <a:gd name="connsiteY10" fmla="*/ 3002127 h 3145615"/>
                <a:gd name="connsiteX11" fmla="*/ 686736 w 1169268"/>
                <a:gd name="connsiteY11" fmla="*/ 2935932 h 3145615"/>
                <a:gd name="connsiteX12" fmla="*/ 509390 w 1169268"/>
                <a:gd name="connsiteY12" fmla="*/ 2844916 h 3145615"/>
                <a:gd name="connsiteX13" fmla="*/ 411092 w 1169268"/>
                <a:gd name="connsiteY13" fmla="*/ 2764399 h 3145615"/>
                <a:gd name="connsiteX14" fmla="*/ 705354 w 1169268"/>
                <a:gd name="connsiteY14" fmla="*/ 2456763 h 3145615"/>
                <a:gd name="connsiteX15" fmla="*/ 421600 w 1169268"/>
                <a:gd name="connsiteY15" fmla="*/ 1918939 h 3145615"/>
                <a:gd name="connsiteX16" fmla="*/ 563950 w 1169268"/>
                <a:gd name="connsiteY16" fmla="*/ 1679854 h 3145615"/>
                <a:gd name="connsiteX17" fmla="*/ 377263 w 1169268"/>
                <a:gd name="connsiteY17" fmla="*/ 1141163 h 3145615"/>
                <a:gd name="connsiteX18" fmla="*/ 128979 w 1169268"/>
                <a:gd name="connsiteY18" fmla="*/ 909485 h 3145615"/>
                <a:gd name="connsiteX19" fmla="*/ 120112 w 1169268"/>
                <a:gd name="connsiteY19" fmla="*/ 793646 h 3145615"/>
                <a:gd name="connsiteX20" fmla="*/ 0 w 1169268"/>
                <a:gd name="connsiteY20" fmla="*/ 0 h 3145615"/>
                <a:gd name="connsiteX0" fmla="*/ 0 w 1169268"/>
                <a:gd name="connsiteY0" fmla="*/ 0 h 3079878"/>
                <a:gd name="connsiteX1" fmla="*/ 235627 w 1169268"/>
                <a:gd name="connsiteY1" fmla="*/ 6446 h 3079878"/>
                <a:gd name="connsiteX2" fmla="*/ 943889 w 1169268"/>
                <a:gd name="connsiteY2" fmla="*/ 81328 h 3079878"/>
                <a:gd name="connsiteX3" fmla="*/ 1095906 w 1169268"/>
                <a:gd name="connsiteY3" fmla="*/ 27247 h 3079878"/>
                <a:gd name="connsiteX4" fmla="*/ 1112367 w 1169268"/>
                <a:gd name="connsiteY4" fmla="*/ 114425 h 3079878"/>
                <a:gd name="connsiteX5" fmla="*/ 1113487 w 1169268"/>
                <a:gd name="connsiteY5" fmla="*/ 147107 h 3079878"/>
                <a:gd name="connsiteX6" fmla="*/ 1140090 w 1169268"/>
                <a:gd name="connsiteY6" fmla="*/ 478076 h 3079878"/>
                <a:gd name="connsiteX7" fmla="*/ 1131222 w 1169268"/>
                <a:gd name="connsiteY7" fmla="*/ 1280675 h 3079878"/>
                <a:gd name="connsiteX8" fmla="*/ 1140089 w 1169268"/>
                <a:gd name="connsiteY8" fmla="*/ 1735757 h 3079878"/>
                <a:gd name="connsiteX9" fmla="*/ 1113641 w 1169268"/>
                <a:gd name="connsiteY9" fmla="*/ 3045722 h 3079878"/>
                <a:gd name="connsiteX10" fmla="*/ 855214 w 1169268"/>
                <a:gd name="connsiteY10" fmla="*/ 3002127 h 3079878"/>
                <a:gd name="connsiteX11" fmla="*/ 686736 w 1169268"/>
                <a:gd name="connsiteY11" fmla="*/ 2935932 h 3079878"/>
                <a:gd name="connsiteX12" fmla="*/ 509390 w 1169268"/>
                <a:gd name="connsiteY12" fmla="*/ 2844916 h 3079878"/>
                <a:gd name="connsiteX13" fmla="*/ 411092 w 1169268"/>
                <a:gd name="connsiteY13" fmla="*/ 2764399 h 3079878"/>
                <a:gd name="connsiteX14" fmla="*/ 705354 w 1169268"/>
                <a:gd name="connsiteY14" fmla="*/ 2456763 h 3079878"/>
                <a:gd name="connsiteX15" fmla="*/ 421600 w 1169268"/>
                <a:gd name="connsiteY15" fmla="*/ 1918939 h 3079878"/>
                <a:gd name="connsiteX16" fmla="*/ 563950 w 1169268"/>
                <a:gd name="connsiteY16" fmla="*/ 1679854 h 3079878"/>
                <a:gd name="connsiteX17" fmla="*/ 377263 w 1169268"/>
                <a:gd name="connsiteY17" fmla="*/ 1141163 h 3079878"/>
                <a:gd name="connsiteX18" fmla="*/ 128979 w 1169268"/>
                <a:gd name="connsiteY18" fmla="*/ 909485 h 3079878"/>
                <a:gd name="connsiteX19" fmla="*/ 120112 w 1169268"/>
                <a:gd name="connsiteY19" fmla="*/ 793646 h 3079878"/>
                <a:gd name="connsiteX20" fmla="*/ 0 w 1169268"/>
                <a:gd name="connsiteY20" fmla="*/ 0 h 3079878"/>
                <a:gd name="connsiteX0" fmla="*/ 0 w 1169268"/>
                <a:gd name="connsiteY0" fmla="*/ 0 h 3079878"/>
                <a:gd name="connsiteX1" fmla="*/ 235627 w 1169268"/>
                <a:gd name="connsiteY1" fmla="*/ 6446 h 3079878"/>
                <a:gd name="connsiteX2" fmla="*/ 500523 w 1169268"/>
                <a:gd name="connsiteY2" fmla="*/ 197167 h 3079878"/>
                <a:gd name="connsiteX3" fmla="*/ 943889 w 1169268"/>
                <a:gd name="connsiteY3" fmla="*/ 81328 h 3079878"/>
                <a:gd name="connsiteX4" fmla="*/ 1095906 w 1169268"/>
                <a:gd name="connsiteY4" fmla="*/ 27247 h 3079878"/>
                <a:gd name="connsiteX5" fmla="*/ 1112367 w 1169268"/>
                <a:gd name="connsiteY5" fmla="*/ 114425 h 3079878"/>
                <a:gd name="connsiteX6" fmla="*/ 1113487 w 1169268"/>
                <a:gd name="connsiteY6" fmla="*/ 147107 h 3079878"/>
                <a:gd name="connsiteX7" fmla="*/ 1140090 w 1169268"/>
                <a:gd name="connsiteY7" fmla="*/ 478076 h 3079878"/>
                <a:gd name="connsiteX8" fmla="*/ 1131222 w 1169268"/>
                <a:gd name="connsiteY8" fmla="*/ 1280675 h 3079878"/>
                <a:gd name="connsiteX9" fmla="*/ 1140089 w 1169268"/>
                <a:gd name="connsiteY9" fmla="*/ 1735757 h 3079878"/>
                <a:gd name="connsiteX10" fmla="*/ 1113641 w 1169268"/>
                <a:gd name="connsiteY10" fmla="*/ 3045722 h 3079878"/>
                <a:gd name="connsiteX11" fmla="*/ 855214 w 1169268"/>
                <a:gd name="connsiteY11" fmla="*/ 3002127 h 3079878"/>
                <a:gd name="connsiteX12" fmla="*/ 686736 w 1169268"/>
                <a:gd name="connsiteY12" fmla="*/ 2935932 h 3079878"/>
                <a:gd name="connsiteX13" fmla="*/ 509390 w 1169268"/>
                <a:gd name="connsiteY13" fmla="*/ 2844916 h 3079878"/>
                <a:gd name="connsiteX14" fmla="*/ 411092 w 1169268"/>
                <a:gd name="connsiteY14" fmla="*/ 2764399 h 3079878"/>
                <a:gd name="connsiteX15" fmla="*/ 705354 w 1169268"/>
                <a:gd name="connsiteY15" fmla="*/ 2456763 h 3079878"/>
                <a:gd name="connsiteX16" fmla="*/ 421600 w 1169268"/>
                <a:gd name="connsiteY16" fmla="*/ 1918939 h 3079878"/>
                <a:gd name="connsiteX17" fmla="*/ 563950 w 1169268"/>
                <a:gd name="connsiteY17" fmla="*/ 1679854 h 3079878"/>
                <a:gd name="connsiteX18" fmla="*/ 377263 w 1169268"/>
                <a:gd name="connsiteY18" fmla="*/ 1141163 h 3079878"/>
                <a:gd name="connsiteX19" fmla="*/ 128979 w 1169268"/>
                <a:gd name="connsiteY19" fmla="*/ 909485 h 3079878"/>
                <a:gd name="connsiteX20" fmla="*/ 120112 w 1169268"/>
                <a:gd name="connsiteY20" fmla="*/ 793646 h 3079878"/>
                <a:gd name="connsiteX21" fmla="*/ 0 w 1169268"/>
                <a:gd name="connsiteY21" fmla="*/ 0 h 3079878"/>
                <a:gd name="connsiteX0" fmla="*/ 0 w 1169268"/>
                <a:gd name="connsiteY0" fmla="*/ 0 h 3079878"/>
                <a:gd name="connsiteX1" fmla="*/ 235627 w 1169268"/>
                <a:gd name="connsiteY1" fmla="*/ 6446 h 3079878"/>
                <a:gd name="connsiteX2" fmla="*/ 500523 w 1169268"/>
                <a:gd name="connsiteY2" fmla="*/ 197167 h 3079878"/>
                <a:gd name="connsiteX3" fmla="*/ 766542 w 1169268"/>
                <a:gd name="connsiteY3" fmla="*/ 122699 h 3079878"/>
                <a:gd name="connsiteX4" fmla="*/ 943889 w 1169268"/>
                <a:gd name="connsiteY4" fmla="*/ 81328 h 3079878"/>
                <a:gd name="connsiteX5" fmla="*/ 1095906 w 1169268"/>
                <a:gd name="connsiteY5" fmla="*/ 27247 h 3079878"/>
                <a:gd name="connsiteX6" fmla="*/ 1112367 w 1169268"/>
                <a:gd name="connsiteY6" fmla="*/ 114425 h 3079878"/>
                <a:gd name="connsiteX7" fmla="*/ 1113487 w 1169268"/>
                <a:gd name="connsiteY7" fmla="*/ 147107 h 3079878"/>
                <a:gd name="connsiteX8" fmla="*/ 1140090 w 1169268"/>
                <a:gd name="connsiteY8" fmla="*/ 478076 h 3079878"/>
                <a:gd name="connsiteX9" fmla="*/ 1131222 w 1169268"/>
                <a:gd name="connsiteY9" fmla="*/ 1280675 h 3079878"/>
                <a:gd name="connsiteX10" fmla="*/ 1140089 w 1169268"/>
                <a:gd name="connsiteY10" fmla="*/ 1735757 h 3079878"/>
                <a:gd name="connsiteX11" fmla="*/ 1113641 w 1169268"/>
                <a:gd name="connsiteY11" fmla="*/ 3045722 h 3079878"/>
                <a:gd name="connsiteX12" fmla="*/ 855214 w 1169268"/>
                <a:gd name="connsiteY12" fmla="*/ 3002127 h 3079878"/>
                <a:gd name="connsiteX13" fmla="*/ 686736 w 1169268"/>
                <a:gd name="connsiteY13" fmla="*/ 2935932 h 3079878"/>
                <a:gd name="connsiteX14" fmla="*/ 509390 w 1169268"/>
                <a:gd name="connsiteY14" fmla="*/ 2844916 h 3079878"/>
                <a:gd name="connsiteX15" fmla="*/ 411092 w 1169268"/>
                <a:gd name="connsiteY15" fmla="*/ 2764399 h 3079878"/>
                <a:gd name="connsiteX16" fmla="*/ 705354 w 1169268"/>
                <a:gd name="connsiteY16" fmla="*/ 2456763 h 3079878"/>
                <a:gd name="connsiteX17" fmla="*/ 421600 w 1169268"/>
                <a:gd name="connsiteY17" fmla="*/ 1918939 h 3079878"/>
                <a:gd name="connsiteX18" fmla="*/ 563950 w 1169268"/>
                <a:gd name="connsiteY18" fmla="*/ 1679854 h 3079878"/>
                <a:gd name="connsiteX19" fmla="*/ 377263 w 1169268"/>
                <a:gd name="connsiteY19" fmla="*/ 1141163 h 3079878"/>
                <a:gd name="connsiteX20" fmla="*/ 128979 w 1169268"/>
                <a:gd name="connsiteY20" fmla="*/ 909485 h 3079878"/>
                <a:gd name="connsiteX21" fmla="*/ 120112 w 1169268"/>
                <a:gd name="connsiteY21" fmla="*/ 793646 h 3079878"/>
                <a:gd name="connsiteX22" fmla="*/ 0 w 1169268"/>
                <a:gd name="connsiteY22" fmla="*/ 0 h 3079878"/>
                <a:gd name="connsiteX0" fmla="*/ 0 w 1169268"/>
                <a:gd name="connsiteY0" fmla="*/ 0 h 3079878"/>
                <a:gd name="connsiteX1" fmla="*/ 235627 w 1169268"/>
                <a:gd name="connsiteY1" fmla="*/ 6446 h 3079878"/>
                <a:gd name="connsiteX2" fmla="*/ 500523 w 1169268"/>
                <a:gd name="connsiteY2" fmla="*/ 197167 h 3079878"/>
                <a:gd name="connsiteX3" fmla="*/ 837480 w 1169268"/>
                <a:gd name="connsiteY3" fmla="*/ 296458 h 3079878"/>
                <a:gd name="connsiteX4" fmla="*/ 943889 w 1169268"/>
                <a:gd name="connsiteY4" fmla="*/ 81328 h 3079878"/>
                <a:gd name="connsiteX5" fmla="*/ 1095906 w 1169268"/>
                <a:gd name="connsiteY5" fmla="*/ 27247 h 3079878"/>
                <a:gd name="connsiteX6" fmla="*/ 1112367 w 1169268"/>
                <a:gd name="connsiteY6" fmla="*/ 114425 h 3079878"/>
                <a:gd name="connsiteX7" fmla="*/ 1113487 w 1169268"/>
                <a:gd name="connsiteY7" fmla="*/ 147107 h 3079878"/>
                <a:gd name="connsiteX8" fmla="*/ 1140090 w 1169268"/>
                <a:gd name="connsiteY8" fmla="*/ 478076 h 3079878"/>
                <a:gd name="connsiteX9" fmla="*/ 1131222 w 1169268"/>
                <a:gd name="connsiteY9" fmla="*/ 1280675 h 3079878"/>
                <a:gd name="connsiteX10" fmla="*/ 1140089 w 1169268"/>
                <a:gd name="connsiteY10" fmla="*/ 1735757 h 3079878"/>
                <a:gd name="connsiteX11" fmla="*/ 1113641 w 1169268"/>
                <a:gd name="connsiteY11" fmla="*/ 3045722 h 3079878"/>
                <a:gd name="connsiteX12" fmla="*/ 855214 w 1169268"/>
                <a:gd name="connsiteY12" fmla="*/ 3002127 h 3079878"/>
                <a:gd name="connsiteX13" fmla="*/ 686736 w 1169268"/>
                <a:gd name="connsiteY13" fmla="*/ 2935932 h 3079878"/>
                <a:gd name="connsiteX14" fmla="*/ 509390 w 1169268"/>
                <a:gd name="connsiteY14" fmla="*/ 2844916 h 3079878"/>
                <a:gd name="connsiteX15" fmla="*/ 411092 w 1169268"/>
                <a:gd name="connsiteY15" fmla="*/ 2764399 h 3079878"/>
                <a:gd name="connsiteX16" fmla="*/ 705354 w 1169268"/>
                <a:gd name="connsiteY16" fmla="*/ 2456763 h 3079878"/>
                <a:gd name="connsiteX17" fmla="*/ 421600 w 1169268"/>
                <a:gd name="connsiteY17" fmla="*/ 1918939 h 3079878"/>
                <a:gd name="connsiteX18" fmla="*/ 563950 w 1169268"/>
                <a:gd name="connsiteY18" fmla="*/ 1679854 h 3079878"/>
                <a:gd name="connsiteX19" fmla="*/ 377263 w 1169268"/>
                <a:gd name="connsiteY19" fmla="*/ 1141163 h 3079878"/>
                <a:gd name="connsiteX20" fmla="*/ 128979 w 1169268"/>
                <a:gd name="connsiteY20" fmla="*/ 909485 h 3079878"/>
                <a:gd name="connsiteX21" fmla="*/ 120112 w 1169268"/>
                <a:gd name="connsiteY21" fmla="*/ 793646 h 3079878"/>
                <a:gd name="connsiteX22" fmla="*/ 0 w 1169268"/>
                <a:gd name="connsiteY22" fmla="*/ 0 h 3079878"/>
                <a:gd name="connsiteX0" fmla="*/ 0 w 1169268"/>
                <a:gd name="connsiteY0" fmla="*/ 0 h 3079878"/>
                <a:gd name="connsiteX1" fmla="*/ 235627 w 1169268"/>
                <a:gd name="connsiteY1" fmla="*/ 6446 h 3079878"/>
                <a:gd name="connsiteX2" fmla="*/ 420717 w 1169268"/>
                <a:gd name="connsiteY2" fmla="*/ 279910 h 3079878"/>
                <a:gd name="connsiteX3" fmla="*/ 837480 w 1169268"/>
                <a:gd name="connsiteY3" fmla="*/ 296458 h 3079878"/>
                <a:gd name="connsiteX4" fmla="*/ 943889 w 1169268"/>
                <a:gd name="connsiteY4" fmla="*/ 81328 h 3079878"/>
                <a:gd name="connsiteX5" fmla="*/ 1095906 w 1169268"/>
                <a:gd name="connsiteY5" fmla="*/ 27247 h 3079878"/>
                <a:gd name="connsiteX6" fmla="*/ 1112367 w 1169268"/>
                <a:gd name="connsiteY6" fmla="*/ 114425 h 3079878"/>
                <a:gd name="connsiteX7" fmla="*/ 1113487 w 1169268"/>
                <a:gd name="connsiteY7" fmla="*/ 147107 h 3079878"/>
                <a:gd name="connsiteX8" fmla="*/ 1140090 w 1169268"/>
                <a:gd name="connsiteY8" fmla="*/ 478076 h 3079878"/>
                <a:gd name="connsiteX9" fmla="*/ 1131222 w 1169268"/>
                <a:gd name="connsiteY9" fmla="*/ 1280675 h 3079878"/>
                <a:gd name="connsiteX10" fmla="*/ 1140089 w 1169268"/>
                <a:gd name="connsiteY10" fmla="*/ 1735757 h 3079878"/>
                <a:gd name="connsiteX11" fmla="*/ 1113641 w 1169268"/>
                <a:gd name="connsiteY11" fmla="*/ 3045722 h 3079878"/>
                <a:gd name="connsiteX12" fmla="*/ 855214 w 1169268"/>
                <a:gd name="connsiteY12" fmla="*/ 3002127 h 3079878"/>
                <a:gd name="connsiteX13" fmla="*/ 686736 w 1169268"/>
                <a:gd name="connsiteY13" fmla="*/ 2935932 h 3079878"/>
                <a:gd name="connsiteX14" fmla="*/ 509390 w 1169268"/>
                <a:gd name="connsiteY14" fmla="*/ 2844916 h 3079878"/>
                <a:gd name="connsiteX15" fmla="*/ 411092 w 1169268"/>
                <a:gd name="connsiteY15" fmla="*/ 2764399 h 3079878"/>
                <a:gd name="connsiteX16" fmla="*/ 705354 w 1169268"/>
                <a:gd name="connsiteY16" fmla="*/ 2456763 h 3079878"/>
                <a:gd name="connsiteX17" fmla="*/ 421600 w 1169268"/>
                <a:gd name="connsiteY17" fmla="*/ 1918939 h 3079878"/>
                <a:gd name="connsiteX18" fmla="*/ 563950 w 1169268"/>
                <a:gd name="connsiteY18" fmla="*/ 1679854 h 3079878"/>
                <a:gd name="connsiteX19" fmla="*/ 377263 w 1169268"/>
                <a:gd name="connsiteY19" fmla="*/ 1141163 h 3079878"/>
                <a:gd name="connsiteX20" fmla="*/ 128979 w 1169268"/>
                <a:gd name="connsiteY20" fmla="*/ 909485 h 3079878"/>
                <a:gd name="connsiteX21" fmla="*/ 120112 w 1169268"/>
                <a:gd name="connsiteY21" fmla="*/ 793646 h 3079878"/>
                <a:gd name="connsiteX22" fmla="*/ 0 w 1169268"/>
                <a:gd name="connsiteY22" fmla="*/ 0 h 3079878"/>
                <a:gd name="connsiteX0" fmla="*/ 0 w 1169268"/>
                <a:gd name="connsiteY0" fmla="*/ 0 h 3079878"/>
                <a:gd name="connsiteX1" fmla="*/ 235627 w 1169268"/>
                <a:gd name="connsiteY1" fmla="*/ 6446 h 3079878"/>
                <a:gd name="connsiteX2" fmla="*/ 376381 w 1169268"/>
                <a:gd name="connsiteY2" fmla="*/ 354377 h 3079878"/>
                <a:gd name="connsiteX3" fmla="*/ 837480 w 1169268"/>
                <a:gd name="connsiteY3" fmla="*/ 296458 h 3079878"/>
                <a:gd name="connsiteX4" fmla="*/ 943889 w 1169268"/>
                <a:gd name="connsiteY4" fmla="*/ 81328 h 3079878"/>
                <a:gd name="connsiteX5" fmla="*/ 1095906 w 1169268"/>
                <a:gd name="connsiteY5" fmla="*/ 27247 h 3079878"/>
                <a:gd name="connsiteX6" fmla="*/ 1112367 w 1169268"/>
                <a:gd name="connsiteY6" fmla="*/ 114425 h 3079878"/>
                <a:gd name="connsiteX7" fmla="*/ 1113487 w 1169268"/>
                <a:gd name="connsiteY7" fmla="*/ 147107 h 3079878"/>
                <a:gd name="connsiteX8" fmla="*/ 1140090 w 1169268"/>
                <a:gd name="connsiteY8" fmla="*/ 478076 h 3079878"/>
                <a:gd name="connsiteX9" fmla="*/ 1131222 w 1169268"/>
                <a:gd name="connsiteY9" fmla="*/ 1280675 h 3079878"/>
                <a:gd name="connsiteX10" fmla="*/ 1140089 w 1169268"/>
                <a:gd name="connsiteY10" fmla="*/ 1735757 h 3079878"/>
                <a:gd name="connsiteX11" fmla="*/ 1113641 w 1169268"/>
                <a:gd name="connsiteY11" fmla="*/ 3045722 h 3079878"/>
                <a:gd name="connsiteX12" fmla="*/ 855214 w 1169268"/>
                <a:gd name="connsiteY12" fmla="*/ 3002127 h 3079878"/>
                <a:gd name="connsiteX13" fmla="*/ 686736 w 1169268"/>
                <a:gd name="connsiteY13" fmla="*/ 2935932 h 3079878"/>
                <a:gd name="connsiteX14" fmla="*/ 509390 w 1169268"/>
                <a:gd name="connsiteY14" fmla="*/ 2844916 h 3079878"/>
                <a:gd name="connsiteX15" fmla="*/ 411092 w 1169268"/>
                <a:gd name="connsiteY15" fmla="*/ 2764399 h 3079878"/>
                <a:gd name="connsiteX16" fmla="*/ 705354 w 1169268"/>
                <a:gd name="connsiteY16" fmla="*/ 2456763 h 3079878"/>
                <a:gd name="connsiteX17" fmla="*/ 421600 w 1169268"/>
                <a:gd name="connsiteY17" fmla="*/ 1918939 h 3079878"/>
                <a:gd name="connsiteX18" fmla="*/ 563950 w 1169268"/>
                <a:gd name="connsiteY18" fmla="*/ 1679854 h 3079878"/>
                <a:gd name="connsiteX19" fmla="*/ 377263 w 1169268"/>
                <a:gd name="connsiteY19" fmla="*/ 1141163 h 3079878"/>
                <a:gd name="connsiteX20" fmla="*/ 128979 w 1169268"/>
                <a:gd name="connsiteY20" fmla="*/ 909485 h 3079878"/>
                <a:gd name="connsiteX21" fmla="*/ 120112 w 1169268"/>
                <a:gd name="connsiteY21" fmla="*/ 793646 h 3079878"/>
                <a:gd name="connsiteX22" fmla="*/ 0 w 1169268"/>
                <a:gd name="connsiteY22" fmla="*/ 0 h 3079878"/>
                <a:gd name="connsiteX0" fmla="*/ 0 w 1169268"/>
                <a:gd name="connsiteY0" fmla="*/ 0 h 3079878"/>
                <a:gd name="connsiteX1" fmla="*/ 235627 w 1169268"/>
                <a:gd name="connsiteY1" fmla="*/ 6446 h 3079878"/>
                <a:gd name="connsiteX2" fmla="*/ 358646 w 1169268"/>
                <a:gd name="connsiteY2" fmla="*/ 478491 h 3079878"/>
                <a:gd name="connsiteX3" fmla="*/ 837480 w 1169268"/>
                <a:gd name="connsiteY3" fmla="*/ 296458 h 3079878"/>
                <a:gd name="connsiteX4" fmla="*/ 943889 w 1169268"/>
                <a:gd name="connsiteY4" fmla="*/ 81328 h 3079878"/>
                <a:gd name="connsiteX5" fmla="*/ 1095906 w 1169268"/>
                <a:gd name="connsiteY5" fmla="*/ 27247 h 3079878"/>
                <a:gd name="connsiteX6" fmla="*/ 1112367 w 1169268"/>
                <a:gd name="connsiteY6" fmla="*/ 114425 h 3079878"/>
                <a:gd name="connsiteX7" fmla="*/ 1113487 w 1169268"/>
                <a:gd name="connsiteY7" fmla="*/ 147107 h 3079878"/>
                <a:gd name="connsiteX8" fmla="*/ 1140090 w 1169268"/>
                <a:gd name="connsiteY8" fmla="*/ 478076 h 3079878"/>
                <a:gd name="connsiteX9" fmla="*/ 1131222 w 1169268"/>
                <a:gd name="connsiteY9" fmla="*/ 1280675 h 3079878"/>
                <a:gd name="connsiteX10" fmla="*/ 1140089 w 1169268"/>
                <a:gd name="connsiteY10" fmla="*/ 1735757 h 3079878"/>
                <a:gd name="connsiteX11" fmla="*/ 1113641 w 1169268"/>
                <a:gd name="connsiteY11" fmla="*/ 3045722 h 3079878"/>
                <a:gd name="connsiteX12" fmla="*/ 855214 w 1169268"/>
                <a:gd name="connsiteY12" fmla="*/ 3002127 h 3079878"/>
                <a:gd name="connsiteX13" fmla="*/ 686736 w 1169268"/>
                <a:gd name="connsiteY13" fmla="*/ 2935932 h 3079878"/>
                <a:gd name="connsiteX14" fmla="*/ 509390 w 1169268"/>
                <a:gd name="connsiteY14" fmla="*/ 2844916 h 3079878"/>
                <a:gd name="connsiteX15" fmla="*/ 411092 w 1169268"/>
                <a:gd name="connsiteY15" fmla="*/ 2764399 h 3079878"/>
                <a:gd name="connsiteX16" fmla="*/ 705354 w 1169268"/>
                <a:gd name="connsiteY16" fmla="*/ 2456763 h 3079878"/>
                <a:gd name="connsiteX17" fmla="*/ 421600 w 1169268"/>
                <a:gd name="connsiteY17" fmla="*/ 1918939 h 3079878"/>
                <a:gd name="connsiteX18" fmla="*/ 563950 w 1169268"/>
                <a:gd name="connsiteY18" fmla="*/ 1679854 h 3079878"/>
                <a:gd name="connsiteX19" fmla="*/ 377263 w 1169268"/>
                <a:gd name="connsiteY19" fmla="*/ 1141163 h 3079878"/>
                <a:gd name="connsiteX20" fmla="*/ 128979 w 1169268"/>
                <a:gd name="connsiteY20" fmla="*/ 909485 h 3079878"/>
                <a:gd name="connsiteX21" fmla="*/ 120112 w 1169268"/>
                <a:gd name="connsiteY21" fmla="*/ 793646 h 3079878"/>
                <a:gd name="connsiteX22" fmla="*/ 0 w 1169268"/>
                <a:gd name="connsiteY22" fmla="*/ 0 h 3079878"/>
                <a:gd name="connsiteX0" fmla="*/ 0 w 1169268"/>
                <a:gd name="connsiteY0" fmla="*/ 0 h 3079878"/>
                <a:gd name="connsiteX1" fmla="*/ 235627 w 1169268"/>
                <a:gd name="connsiteY1" fmla="*/ 6446 h 3079878"/>
                <a:gd name="connsiteX2" fmla="*/ 358646 w 1169268"/>
                <a:gd name="connsiteY2" fmla="*/ 478491 h 3079878"/>
                <a:gd name="connsiteX3" fmla="*/ 624665 w 1169268"/>
                <a:gd name="connsiteY3" fmla="*/ 395749 h 3079878"/>
                <a:gd name="connsiteX4" fmla="*/ 837480 w 1169268"/>
                <a:gd name="connsiteY4" fmla="*/ 296458 h 3079878"/>
                <a:gd name="connsiteX5" fmla="*/ 943889 w 1169268"/>
                <a:gd name="connsiteY5" fmla="*/ 81328 h 3079878"/>
                <a:gd name="connsiteX6" fmla="*/ 1095906 w 1169268"/>
                <a:gd name="connsiteY6" fmla="*/ 27247 h 3079878"/>
                <a:gd name="connsiteX7" fmla="*/ 1112367 w 1169268"/>
                <a:gd name="connsiteY7" fmla="*/ 114425 h 3079878"/>
                <a:gd name="connsiteX8" fmla="*/ 1113487 w 1169268"/>
                <a:gd name="connsiteY8" fmla="*/ 147107 h 3079878"/>
                <a:gd name="connsiteX9" fmla="*/ 1140090 w 1169268"/>
                <a:gd name="connsiteY9" fmla="*/ 478076 h 3079878"/>
                <a:gd name="connsiteX10" fmla="*/ 1131222 w 1169268"/>
                <a:gd name="connsiteY10" fmla="*/ 1280675 h 3079878"/>
                <a:gd name="connsiteX11" fmla="*/ 1140089 w 1169268"/>
                <a:gd name="connsiteY11" fmla="*/ 1735757 h 3079878"/>
                <a:gd name="connsiteX12" fmla="*/ 1113641 w 1169268"/>
                <a:gd name="connsiteY12" fmla="*/ 3045722 h 3079878"/>
                <a:gd name="connsiteX13" fmla="*/ 855214 w 1169268"/>
                <a:gd name="connsiteY13" fmla="*/ 3002127 h 3079878"/>
                <a:gd name="connsiteX14" fmla="*/ 686736 w 1169268"/>
                <a:gd name="connsiteY14" fmla="*/ 2935932 h 3079878"/>
                <a:gd name="connsiteX15" fmla="*/ 509390 w 1169268"/>
                <a:gd name="connsiteY15" fmla="*/ 2844916 h 3079878"/>
                <a:gd name="connsiteX16" fmla="*/ 411092 w 1169268"/>
                <a:gd name="connsiteY16" fmla="*/ 2764399 h 3079878"/>
                <a:gd name="connsiteX17" fmla="*/ 705354 w 1169268"/>
                <a:gd name="connsiteY17" fmla="*/ 2456763 h 3079878"/>
                <a:gd name="connsiteX18" fmla="*/ 421600 w 1169268"/>
                <a:gd name="connsiteY18" fmla="*/ 1918939 h 3079878"/>
                <a:gd name="connsiteX19" fmla="*/ 563950 w 1169268"/>
                <a:gd name="connsiteY19" fmla="*/ 1679854 h 3079878"/>
                <a:gd name="connsiteX20" fmla="*/ 377263 w 1169268"/>
                <a:gd name="connsiteY20" fmla="*/ 1141163 h 3079878"/>
                <a:gd name="connsiteX21" fmla="*/ 128979 w 1169268"/>
                <a:gd name="connsiteY21" fmla="*/ 909485 h 3079878"/>
                <a:gd name="connsiteX22" fmla="*/ 120112 w 1169268"/>
                <a:gd name="connsiteY22" fmla="*/ 793646 h 3079878"/>
                <a:gd name="connsiteX23" fmla="*/ 0 w 1169268"/>
                <a:gd name="connsiteY23" fmla="*/ 0 h 3079878"/>
                <a:gd name="connsiteX0" fmla="*/ 0 w 1169268"/>
                <a:gd name="connsiteY0" fmla="*/ 0 h 3079878"/>
                <a:gd name="connsiteX1" fmla="*/ 235627 w 1169268"/>
                <a:gd name="connsiteY1" fmla="*/ 6446 h 3079878"/>
                <a:gd name="connsiteX2" fmla="*/ 358646 w 1169268"/>
                <a:gd name="connsiteY2" fmla="*/ 478491 h 3079878"/>
                <a:gd name="connsiteX3" fmla="*/ 660134 w 1169268"/>
                <a:gd name="connsiteY3" fmla="*/ 486765 h 3079878"/>
                <a:gd name="connsiteX4" fmla="*/ 837480 w 1169268"/>
                <a:gd name="connsiteY4" fmla="*/ 296458 h 3079878"/>
                <a:gd name="connsiteX5" fmla="*/ 943889 w 1169268"/>
                <a:gd name="connsiteY5" fmla="*/ 81328 h 3079878"/>
                <a:gd name="connsiteX6" fmla="*/ 1095906 w 1169268"/>
                <a:gd name="connsiteY6" fmla="*/ 27247 h 3079878"/>
                <a:gd name="connsiteX7" fmla="*/ 1112367 w 1169268"/>
                <a:gd name="connsiteY7" fmla="*/ 114425 h 3079878"/>
                <a:gd name="connsiteX8" fmla="*/ 1113487 w 1169268"/>
                <a:gd name="connsiteY8" fmla="*/ 147107 h 3079878"/>
                <a:gd name="connsiteX9" fmla="*/ 1140090 w 1169268"/>
                <a:gd name="connsiteY9" fmla="*/ 478076 h 3079878"/>
                <a:gd name="connsiteX10" fmla="*/ 1131222 w 1169268"/>
                <a:gd name="connsiteY10" fmla="*/ 1280675 h 3079878"/>
                <a:gd name="connsiteX11" fmla="*/ 1140089 w 1169268"/>
                <a:gd name="connsiteY11" fmla="*/ 1735757 h 3079878"/>
                <a:gd name="connsiteX12" fmla="*/ 1113641 w 1169268"/>
                <a:gd name="connsiteY12" fmla="*/ 3045722 h 3079878"/>
                <a:gd name="connsiteX13" fmla="*/ 855214 w 1169268"/>
                <a:gd name="connsiteY13" fmla="*/ 3002127 h 3079878"/>
                <a:gd name="connsiteX14" fmla="*/ 686736 w 1169268"/>
                <a:gd name="connsiteY14" fmla="*/ 2935932 h 3079878"/>
                <a:gd name="connsiteX15" fmla="*/ 509390 w 1169268"/>
                <a:gd name="connsiteY15" fmla="*/ 2844916 h 3079878"/>
                <a:gd name="connsiteX16" fmla="*/ 411092 w 1169268"/>
                <a:gd name="connsiteY16" fmla="*/ 2764399 h 3079878"/>
                <a:gd name="connsiteX17" fmla="*/ 705354 w 1169268"/>
                <a:gd name="connsiteY17" fmla="*/ 2456763 h 3079878"/>
                <a:gd name="connsiteX18" fmla="*/ 421600 w 1169268"/>
                <a:gd name="connsiteY18" fmla="*/ 1918939 h 3079878"/>
                <a:gd name="connsiteX19" fmla="*/ 563950 w 1169268"/>
                <a:gd name="connsiteY19" fmla="*/ 1679854 h 3079878"/>
                <a:gd name="connsiteX20" fmla="*/ 377263 w 1169268"/>
                <a:gd name="connsiteY20" fmla="*/ 1141163 h 3079878"/>
                <a:gd name="connsiteX21" fmla="*/ 128979 w 1169268"/>
                <a:gd name="connsiteY21" fmla="*/ 909485 h 3079878"/>
                <a:gd name="connsiteX22" fmla="*/ 120112 w 1169268"/>
                <a:gd name="connsiteY22" fmla="*/ 793646 h 3079878"/>
                <a:gd name="connsiteX23" fmla="*/ 0 w 1169268"/>
                <a:gd name="connsiteY23" fmla="*/ 0 h 3079878"/>
                <a:gd name="connsiteX0" fmla="*/ 0 w 1156837"/>
                <a:gd name="connsiteY0" fmla="*/ 0 h 3079878"/>
                <a:gd name="connsiteX1" fmla="*/ 235627 w 1156837"/>
                <a:gd name="connsiteY1" fmla="*/ 6446 h 3079878"/>
                <a:gd name="connsiteX2" fmla="*/ 358646 w 1156837"/>
                <a:gd name="connsiteY2" fmla="*/ 478491 h 3079878"/>
                <a:gd name="connsiteX3" fmla="*/ 660134 w 1156837"/>
                <a:gd name="connsiteY3" fmla="*/ 486765 h 3079878"/>
                <a:gd name="connsiteX4" fmla="*/ 837480 w 1156837"/>
                <a:gd name="connsiteY4" fmla="*/ 296458 h 3079878"/>
                <a:gd name="connsiteX5" fmla="*/ 943889 w 1156837"/>
                <a:gd name="connsiteY5" fmla="*/ 81328 h 3079878"/>
                <a:gd name="connsiteX6" fmla="*/ 1095906 w 1156837"/>
                <a:gd name="connsiteY6" fmla="*/ 27247 h 3079878"/>
                <a:gd name="connsiteX7" fmla="*/ 1156703 w 1156837"/>
                <a:gd name="connsiteY7" fmla="*/ 48232 h 3079878"/>
                <a:gd name="connsiteX8" fmla="*/ 1112367 w 1156837"/>
                <a:gd name="connsiteY8" fmla="*/ 114425 h 3079878"/>
                <a:gd name="connsiteX9" fmla="*/ 1113487 w 1156837"/>
                <a:gd name="connsiteY9" fmla="*/ 147107 h 3079878"/>
                <a:gd name="connsiteX10" fmla="*/ 1140090 w 1156837"/>
                <a:gd name="connsiteY10" fmla="*/ 478076 h 3079878"/>
                <a:gd name="connsiteX11" fmla="*/ 1131222 w 1156837"/>
                <a:gd name="connsiteY11" fmla="*/ 1280675 h 3079878"/>
                <a:gd name="connsiteX12" fmla="*/ 1140089 w 1156837"/>
                <a:gd name="connsiteY12" fmla="*/ 1735757 h 3079878"/>
                <a:gd name="connsiteX13" fmla="*/ 1113641 w 1156837"/>
                <a:gd name="connsiteY13" fmla="*/ 3045722 h 3079878"/>
                <a:gd name="connsiteX14" fmla="*/ 855214 w 1156837"/>
                <a:gd name="connsiteY14" fmla="*/ 3002127 h 3079878"/>
                <a:gd name="connsiteX15" fmla="*/ 686736 w 1156837"/>
                <a:gd name="connsiteY15" fmla="*/ 2935932 h 3079878"/>
                <a:gd name="connsiteX16" fmla="*/ 509390 w 1156837"/>
                <a:gd name="connsiteY16" fmla="*/ 2844916 h 3079878"/>
                <a:gd name="connsiteX17" fmla="*/ 411092 w 1156837"/>
                <a:gd name="connsiteY17" fmla="*/ 2764399 h 3079878"/>
                <a:gd name="connsiteX18" fmla="*/ 705354 w 1156837"/>
                <a:gd name="connsiteY18" fmla="*/ 2456763 h 3079878"/>
                <a:gd name="connsiteX19" fmla="*/ 421600 w 1156837"/>
                <a:gd name="connsiteY19" fmla="*/ 1918939 h 3079878"/>
                <a:gd name="connsiteX20" fmla="*/ 563950 w 1156837"/>
                <a:gd name="connsiteY20" fmla="*/ 1679854 h 3079878"/>
                <a:gd name="connsiteX21" fmla="*/ 377263 w 1156837"/>
                <a:gd name="connsiteY21" fmla="*/ 1141163 h 3079878"/>
                <a:gd name="connsiteX22" fmla="*/ 128979 w 1156837"/>
                <a:gd name="connsiteY22" fmla="*/ 909485 h 3079878"/>
                <a:gd name="connsiteX23" fmla="*/ 120112 w 1156837"/>
                <a:gd name="connsiteY23" fmla="*/ 793646 h 3079878"/>
                <a:gd name="connsiteX24" fmla="*/ 0 w 1156837"/>
                <a:gd name="connsiteY24" fmla="*/ 0 h 3079878"/>
                <a:gd name="connsiteX0" fmla="*/ 0 w 1156768"/>
                <a:gd name="connsiteY0" fmla="*/ 0 h 3079878"/>
                <a:gd name="connsiteX1" fmla="*/ 235627 w 1156768"/>
                <a:gd name="connsiteY1" fmla="*/ 6446 h 3079878"/>
                <a:gd name="connsiteX2" fmla="*/ 358646 w 1156768"/>
                <a:gd name="connsiteY2" fmla="*/ 478491 h 3079878"/>
                <a:gd name="connsiteX3" fmla="*/ 660134 w 1156768"/>
                <a:gd name="connsiteY3" fmla="*/ 486765 h 3079878"/>
                <a:gd name="connsiteX4" fmla="*/ 837480 w 1156768"/>
                <a:gd name="connsiteY4" fmla="*/ 296458 h 3079878"/>
                <a:gd name="connsiteX5" fmla="*/ 943889 w 1156768"/>
                <a:gd name="connsiteY5" fmla="*/ 81328 h 3079878"/>
                <a:gd name="connsiteX6" fmla="*/ 1095906 w 1156768"/>
                <a:gd name="connsiteY6" fmla="*/ 27247 h 3079878"/>
                <a:gd name="connsiteX7" fmla="*/ 1156703 w 1156768"/>
                <a:gd name="connsiteY7" fmla="*/ 48232 h 3079878"/>
                <a:gd name="connsiteX8" fmla="*/ 1068030 w 1156768"/>
                <a:gd name="connsiteY8" fmla="*/ 106151 h 3079878"/>
                <a:gd name="connsiteX9" fmla="*/ 1113487 w 1156768"/>
                <a:gd name="connsiteY9" fmla="*/ 147107 h 3079878"/>
                <a:gd name="connsiteX10" fmla="*/ 1140090 w 1156768"/>
                <a:gd name="connsiteY10" fmla="*/ 478076 h 3079878"/>
                <a:gd name="connsiteX11" fmla="*/ 1131222 w 1156768"/>
                <a:gd name="connsiteY11" fmla="*/ 1280675 h 3079878"/>
                <a:gd name="connsiteX12" fmla="*/ 1140089 w 1156768"/>
                <a:gd name="connsiteY12" fmla="*/ 1735757 h 3079878"/>
                <a:gd name="connsiteX13" fmla="*/ 1113641 w 1156768"/>
                <a:gd name="connsiteY13" fmla="*/ 3045722 h 3079878"/>
                <a:gd name="connsiteX14" fmla="*/ 855214 w 1156768"/>
                <a:gd name="connsiteY14" fmla="*/ 3002127 h 3079878"/>
                <a:gd name="connsiteX15" fmla="*/ 686736 w 1156768"/>
                <a:gd name="connsiteY15" fmla="*/ 2935932 h 3079878"/>
                <a:gd name="connsiteX16" fmla="*/ 509390 w 1156768"/>
                <a:gd name="connsiteY16" fmla="*/ 2844916 h 3079878"/>
                <a:gd name="connsiteX17" fmla="*/ 411092 w 1156768"/>
                <a:gd name="connsiteY17" fmla="*/ 2764399 h 3079878"/>
                <a:gd name="connsiteX18" fmla="*/ 705354 w 1156768"/>
                <a:gd name="connsiteY18" fmla="*/ 2456763 h 3079878"/>
                <a:gd name="connsiteX19" fmla="*/ 421600 w 1156768"/>
                <a:gd name="connsiteY19" fmla="*/ 1918939 h 3079878"/>
                <a:gd name="connsiteX20" fmla="*/ 563950 w 1156768"/>
                <a:gd name="connsiteY20" fmla="*/ 1679854 h 3079878"/>
                <a:gd name="connsiteX21" fmla="*/ 377263 w 1156768"/>
                <a:gd name="connsiteY21" fmla="*/ 1141163 h 3079878"/>
                <a:gd name="connsiteX22" fmla="*/ 128979 w 1156768"/>
                <a:gd name="connsiteY22" fmla="*/ 909485 h 3079878"/>
                <a:gd name="connsiteX23" fmla="*/ 120112 w 1156768"/>
                <a:gd name="connsiteY23" fmla="*/ 793646 h 3079878"/>
                <a:gd name="connsiteX24" fmla="*/ 0 w 1156768"/>
                <a:gd name="connsiteY24" fmla="*/ 0 h 3079878"/>
                <a:gd name="connsiteX0" fmla="*/ 0 w 1156768"/>
                <a:gd name="connsiteY0" fmla="*/ 0 h 3079878"/>
                <a:gd name="connsiteX1" fmla="*/ 235627 w 1156768"/>
                <a:gd name="connsiteY1" fmla="*/ 6446 h 3079878"/>
                <a:gd name="connsiteX2" fmla="*/ 358646 w 1156768"/>
                <a:gd name="connsiteY2" fmla="*/ 478491 h 3079878"/>
                <a:gd name="connsiteX3" fmla="*/ 660134 w 1156768"/>
                <a:gd name="connsiteY3" fmla="*/ 486765 h 3079878"/>
                <a:gd name="connsiteX4" fmla="*/ 837480 w 1156768"/>
                <a:gd name="connsiteY4" fmla="*/ 296458 h 3079878"/>
                <a:gd name="connsiteX5" fmla="*/ 943889 w 1156768"/>
                <a:gd name="connsiteY5" fmla="*/ 81328 h 3079878"/>
                <a:gd name="connsiteX6" fmla="*/ 989499 w 1156768"/>
                <a:gd name="connsiteY6" fmla="*/ 68618 h 3079878"/>
                <a:gd name="connsiteX7" fmla="*/ 1156703 w 1156768"/>
                <a:gd name="connsiteY7" fmla="*/ 48232 h 3079878"/>
                <a:gd name="connsiteX8" fmla="*/ 1068030 w 1156768"/>
                <a:gd name="connsiteY8" fmla="*/ 106151 h 3079878"/>
                <a:gd name="connsiteX9" fmla="*/ 1113487 w 1156768"/>
                <a:gd name="connsiteY9" fmla="*/ 147107 h 3079878"/>
                <a:gd name="connsiteX10" fmla="*/ 1140090 w 1156768"/>
                <a:gd name="connsiteY10" fmla="*/ 478076 h 3079878"/>
                <a:gd name="connsiteX11" fmla="*/ 1131222 w 1156768"/>
                <a:gd name="connsiteY11" fmla="*/ 1280675 h 3079878"/>
                <a:gd name="connsiteX12" fmla="*/ 1140089 w 1156768"/>
                <a:gd name="connsiteY12" fmla="*/ 1735757 h 3079878"/>
                <a:gd name="connsiteX13" fmla="*/ 1113641 w 1156768"/>
                <a:gd name="connsiteY13" fmla="*/ 3045722 h 3079878"/>
                <a:gd name="connsiteX14" fmla="*/ 855214 w 1156768"/>
                <a:gd name="connsiteY14" fmla="*/ 3002127 h 3079878"/>
                <a:gd name="connsiteX15" fmla="*/ 686736 w 1156768"/>
                <a:gd name="connsiteY15" fmla="*/ 2935932 h 3079878"/>
                <a:gd name="connsiteX16" fmla="*/ 509390 w 1156768"/>
                <a:gd name="connsiteY16" fmla="*/ 2844916 h 3079878"/>
                <a:gd name="connsiteX17" fmla="*/ 411092 w 1156768"/>
                <a:gd name="connsiteY17" fmla="*/ 2764399 h 3079878"/>
                <a:gd name="connsiteX18" fmla="*/ 705354 w 1156768"/>
                <a:gd name="connsiteY18" fmla="*/ 2456763 h 3079878"/>
                <a:gd name="connsiteX19" fmla="*/ 421600 w 1156768"/>
                <a:gd name="connsiteY19" fmla="*/ 1918939 h 3079878"/>
                <a:gd name="connsiteX20" fmla="*/ 563950 w 1156768"/>
                <a:gd name="connsiteY20" fmla="*/ 1679854 h 3079878"/>
                <a:gd name="connsiteX21" fmla="*/ 377263 w 1156768"/>
                <a:gd name="connsiteY21" fmla="*/ 1141163 h 3079878"/>
                <a:gd name="connsiteX22" fmla="*/ 128979 w 1156768"/>
                <a:gd name="connsiteY22" fmla="*/ 909485 h 3079878"/>
                <a:gd name="connsiteX23" fmla="*/ 120112 w 1156768"/>
                <a:gd name="connsiteY23" fmla="*/ 793646 h 3079878"/>
                <a:gd name="connsiteX24" fmla="*/ 0 w 1156768"/>
                <a:gd name="connsiteY24" fmla="*/ 0 h 3079878"/>
                <a:gd name="connsiteX0" fmla="*/ 0 w 1141011"/>
                <a:gd name="connsiteY0" fmla="*/ 0 h 3079878"/>
                <a:gd name="connsiteX1" fmla="*/ 235627 w 1141011"/>
                <a:gd name="connsiteY1" fmla="*/ 6446 h 3079878"/>
                <a:gd name="connsiteX2" fmla="*/ 358646 w 1141011"/>
                <a:gd name="connsiteY2" fmla="*/ 478491 h 3079878"/>
                <a:gd name="connsiteX3" fmla="*/ 660134 w 1141011"/>
                <a:gd name="connsiteY3" fmla="*/ 486765 h 3079878"/>
                <a:gd name="connsiteX4" fmla="*/ 837480 w 1141011"/>
                <a:gd name="connsiteY4" fmla="*/ 296458 h 3079878"/>
                <a:gd name="connsiteX5" fmla="*/ 943889 w 1141011"/>
                <a:gd name="connsiteY5" fmla="*/ 81328 h 3079878"/>
                <a:gd name="connsiteX6" fmla="*/ 989499 w 1141011"/>
                <a:gd name="connsiteY6" fmla="*/ 68618 h 3079878"/>
                <a:gd name="connsiteX7" fmla="*/ 1085765 w 1141011"/>
                <a:gd name="connsiteY7" fmla="*/ 197167 h 3079878"/>
                <a:gd name="connsiteX8" fmla="*/ 1068030 w 1141011"/>
                <a:gd name="connsiteY8" fmla="*/ 106151 h 3079878"/>
                <a:gd name="connsiteX9" fmla="*/ 1113487 w 1141011"/>
                <a:gd name="connsiteY9" fmla="*/ 147107 h 3079878"/>
                <a:gd name="connsiteX10" fmla="*/ 1140090 w 1141011"/>
                <a:gd name="connsiteY10" fmla="*/ 478076 h 3079878"/>
                <a:gd name="connsiteX11" fmla="*/ 1131222 w 1141011"/>
                <a:gd name="connsiteY11" fmla="*/ 1280675 h 3079878"/>
                <a:gd name="connsiteX12" fmla="*/ 1140089 w 1141011"/>
                <a:gd name="connsiteY12" fmla="*/ 1735757 h 3079878"/>
                <a:gd name="connsiteX13" fmla="*/ 1113641 w 1141011"/>
                <a:gd name="connsiteY13" fmla="*/ 3045722 h 3079878"/>
                <a:gd name="connsiteX14" fmla="*/ 855214 w 1141011"/>
                <a:gd name="connsiteY14" fmla="*/ 3002127 h 3079878"/>
                <a:gd name="connsiteX15" fmla="*/ 686736 w 1141011"/>
                <a:gd name="connsiteY15" fmla="*/ 2935932 h 3079878"/>
                <a:gd name="connsiteX16" fmla="*/ 509390 w 1141011"/>
                <a:gd name="connsiteY16" fmla="*/ 2844916 h 3079878"/>
                <a:gd name="connsiteX17" fmla="*/ 411092 w 1141011"/>
                <a:gd name="connsiteY17" fmla="*/ 2764399 h 3079878"/>
                <a:gd name="connsiteX18" fmla="*/ 705354 w 1141011"/>
                <a:gd name="connsiteY18" fmla="*/ 2456763 h 3079878"/>
                <a:gd name="connsiteX19" fmla="*/ 421600 w 1141011"/>
                <a:gd name="connsiteY19" fmla="*/ 1918939 h 3079878"/>
                <a:gd name="connsiteX20" fmla="*/ 563950 w 1141011"/>
                <a:gd name="connsiteY20" fmla="*/ 1679854 h 3079878"/>
                <a:gd name="connsiteX21" fmla="*/ 377263 w 1141011"/>
                <a:gd name="connsiteY21" fmla="*/ 1141163 h 3079878"/>
                <a:gd name="connsiteX22" fmla="*/ 128979 w 1141011"/>
                <a:gd name="connsiteY22" fmla="*/ 909485 h 3079878"/>
                <a:gd name="connsiteX23" fmla="*/ 120112 w 1141011"/>
                <a:gd name="connsiteY23" fmla="*/ 793646 h 3079878"/>
                <a:gd name="connsiteX24" fmla="*/ 0 w 1141011"/>
                <a:gd name="connsiteY24" fmla="*/ 0 h 3079878"/>
                <a:gd name="connsiteX0" fmla="*/ 0 w 1141010"/>
                <a:gd name="connsiteY0" fmla="*/ 0 h 3079878"/>
                <a:gd name="connsiteX1" fmla="*/ 235627 w 1141010"/>
                <a:gd name="connsiteY1" fmla="*/ 6446 h 3079878"/>
                <a:gd name="connsiteX2" fmla="*/ 358646 w 1141010"/>
                <a:gd name="connsiteY2" fmla="*/ 478491 h 3079878"/>
                <a:gd name="connsiteX3" fmla="*/ 660134 w 1141010"/>
                <a:gd name="connsiteY3" fmla="*/ 486765 h 3079878"/>
                <a:gd name="connsiteX4" fmla="*/ 837480 w 1141010"/>
                <a:gd name="connsiteY4" fmla="*/ 296458 h 3079878"/>
                <a:gd name="connsiteX5" fmla="*/ 943889 w 1141010"/>
                <a:gd name="connsiteY5" fmla="*/ 81328 h 3079878"/>
                <a:gd name="connsiteX6" fmla="*/ 989499 w 1141010"/>
                <a:gd name="connsiteY6" fmla="*/ 68618 h 3079878"/>
                <a:gd name="connsiteX7" fmla="*/ 1085765 w 1141010"/>
                <a:gd name="connsiteY7" fmla="*/ 197167 h 3079878"/>
                <a:gd name="connsiteX8" fmla="*/ 1130101 w 1141010"/>
                <a:gd name="connsiteY8" fmla="*/ 39957 h 3079878"/>
                <a:gd name="connsiteX9" fmla="*/ 1113487 w 1141010"/>
                <a:gd name="connsiteY9" fmla="*/ 147107 h 3079878"/>
                <a:gd name="connsiteX10" fmla="*/ 1140090 w 1141010"/>
                <a:gd name="connsiteY10" fmla="*/ 478076 h 3079878"/>
                <a:gd name="connsiteX11" fmla="*/ 1131222 w 1141010"/>
                <a:gd name="connsiteY11" fmla="*/ 1280675 h 3079878"/>
                <a:gd name="connsiteX12" fmla="*/ 1140089 w 1141010"/>
                <a:gd name="connsiteY12" fmla="*/ 1735757 h 3079878"/>
                <a:gd name="connsiteX13" fmla="*/ 1113641 w 1141010"/>
                <a:gd name="connsiteY13" fmla="*/ 3045722 h 3079878"/>
                <a:gd name="connsiteX14" fmla="*/ 855214 w 1141010"/>
                <a:gd name="connsiteY14" fmla="*/ 3002127 h 3079878"/>
                <a:gd name="connsiteX15" fmla="*/ 686736 w 1141010"/>
                <a:gd name="connsiteY15" fmla="*/ 2935932 h 3079878"/>
                <a:gd name="connsiteX16" fmla="*/ 509390 w 1141010"/>
                <a:gd name="connsiteY16" fmla="*/ 2844916 h 3079878"/>
                <a:gd name="connsiteX17" fmla="*/ 411092 w 1141010"/>
                <a:gd name="connsiteY17" fmla="*/ 2764399 h 3079878"/>
                <a:gd name="connsiteX18" fmla="*/ 705354 w 1141010"/>
                <a:gd name="connsiteY18" fmla="*/ 2456763 h 3079878"/>
                <a:gd name="connsiteX19" fmla="*/ 421600 w 1141010"/>
                <a:gd name="connsiteY19" fmla="*/ 1918939 h 3079878"/>
                <a:gd name="connsiteX20" fmla="*/ 563950 w 1141010"/>
                <a:gd name="connsiteY20" fmla="*/ 1679854 h 3079878"/>
                <a:gd name="connsiteX21" fmla="*/ 377263 w 1141010"/>
                <a:gd name="connsiteY21" fmla="*/ 1141163 h 3079878"/>
                <a:gd name="connsiteX22" fmla="*/ 128979 w 1141010"/>
                <a:gd name="connsiteY22" fmla="*/ 909485 h 3079878"/>
                <a:gd name="connsiteX23" fmla="*/ 120112 w 1141010"/>
                <a:gd name="connsiteY23" fmla="*/ 793646 h 3079878"/>
                <a:gd name="connsiteX24" fmla="*/ 0 w 1141010"/>
                <a:gd name="connsiteY24" fmla="*/ 0 h 3079878"/>
                <a:gd name="connsiteX0" fmla="*/ 0 w 1141010"/>
                <a:gd name="connsiteY0" fmla="*/ 0 h 3079878"/>
                <a:gd name="connsiteX1" fmla="*/ 235627 w 1141010"/>
                <a:gd name="connsiteY1" fmla="*/ 6446 h 3079878"/>
                <a:gd name="connsiteX2" fmla="*/ 358646 w 1141010"/>
                <a:gd name="connsiteY2" fmla="*/ 478491 h 3079878"/>
                <a:gd name="connsiteX3" fmla="*/ 660134 w 1141010"/>
                <a:gd name="connsiteY3" fmla="*/ 486765 h 3079878"/>
                <a:gd name="connsiteX4" fmla="*/ 837480 w 1141010"/>
                <a:gd name="connsiteY4" fmla="*/ 296458 h 3079878"/>
                <a:gd name="connsiteX5" fmla="*/ 943889 w 1141010"/>
                <a:gd name="connsiteY5" fmla="*/ 81328 h 3079878"/>
                <a:gd name="connsiteX6" fmla="*/ 989499 w 1141010"/>
                <a:gd name="connsiteY6" fmla="*/ 68618 h 3079878"/>
                <a:gd name="connsiteX7" fmla="*/ 1068031 w 1141010"/>
                <a:gd name="connsiteY7" fmla="*/ 81328 h 3079878"/>
                <a:gd name="connsiteX8" fmla="*/ 1130101 w 1141010"/>
                <a:gd name="connsiteY8" fmla="*/ 39957 h 3079878"/>
                <a:gd name="connsiteX9" fmla="*/ 1113487 w 1141010"/>
                <a:gd name="connsiteY9" fmla="*/ 147107 h 3079878"/>
                <a:gd name="connsiteX10" fmla="*/ 1140090 w 1141010"/>
                <a:gd name="connsiteY10" fmla="*/ 478076 h 3079878"/>
                <a:gd name="connsiteX11" fmla="*/ 1131222 w 1141010"/>
                <a:gd name="connsiteY11" fmla="*/ 1280675 h 3079878"/>
                <a:gd name="connsiteX12" fmla="*/ 1140089 w 1141010"/>
                <a:gd name="connsiteY12" fmla="*/ 1735757 h 3079878"/>
                <a:gd name="connsiteX13" fmla="*/ 1113641 w 1141010"/>
                <a:gd name="connsiteY13" fmla="*/ 3045722 h 3079878"/>
                <a:gd name="connsiteX14" fmla="*/ 855214 w 1141010"/>
                <a:gd name="connsiteY14" fmla="*/ 3002127 h 3079878"/>
                <a:gd name="connsiteX15" fmla="*/ 686736 w 1141010"/>
                <a:gd name="connsiteY15" fmla="*/ 2935932 h 3079878"/>
                <a:gd name="connsiteX16" fmla="*/ 509390 w 1141010"/>
                <a:gd name="connsiteY16" fmla="*/ 2844916 h 3079878"/>
                <a:gd name="connsiteX17" fmla="*/ 411092 w 1141010"/>
                <a:gd name="connsiteY17" fmla="*/ 2764399 h 3079878"/>
                <a:gd name="connsiteX18" fmla="*/ 705354 w 1141010"/>
                <a:gd name="connsiteY18" fmla="*/ 2456763 h 3079878"/>
                <a:gd name="connsiteX19" fmla="*/ 421600 w 1141010"/>
                <a:gd name="connsiteY19" fmla="*/ 1918939 h 3079878"/>
                <a:gd name="connsiteX20" fmla="*/ 563950 w 1141010"/>
                <a:gd name="connsiteY20" fmla="*/ 1679854 h 3079878"/>
                <a:gd name="connsiteX21" fmla="*/ 377263 w 1141010"/>
                <a:gd name="connsiteY21" fmla="*/ 1141163 h 3079878"/>
                <a:gd name="connsiteX22" fmla="*/ 128979 w 1141010"/>
                <a:gd name="connsiteY22" fmla="*/ 909485 h 3079878"/>
                <a:gd name="connsiteX23" fmla="*/ 120112 w 1141010"/>
                <a:gd name="connsiteY23" fmla="*/ 793646 h 3079878"/>
                <a:gd name="connsiteX24" fmla="*/ 0 w 1141010"/>
                <a:gd name="connsiteY24" fmla="*/ 0 h 3079878"/>
                <a:gd name="connsiteX0" fmla="*/ 0 w 1141010"/>
                <a:gd name="connsiteY0" fmla="*/ 146613 h 3226491"/>
                <a:gd name="connsiteX1" fmla="*/ 235627 w 1141010"/>
                <a:gd name="connsiteY1" fmla="*/ 153059 h 3226491"/>
                <a:gd name="connsiteX2" fmla="*/ 358646 w 1141010"/>
                <a:gd name="connsiteY2" fmla="*/ 625104 h 3226491"/>
                <a:gd name="connsiteX3" fmla="*/ 660134 w 1141010"/>
                <a:gd name="connsiteY3" fmla="*/ 633378 h 3226491"/>
                <a:gd name="connsiteX4" fmla="*/ 837480 w 1141010"/>
                <a:gd name="connsiteY4" fmla="*/ 443071 h 3226491"/>
                <a:gd name="connsiteX5" fmla="*/ 943889 w 1141010"/>
                <a:gd name="connsiteY5" fmla="*/ 227941 h 3226491"/>
                <a:gd name="connsiteX6" fmla="*/ 900826 w 1141010"/>
                <a:gd name="connsiteY6" fmla="*/ 102 h 3226491"/>
                <a:gd name="connsiteX7" fmla="*/ 1068031 w 1141010"/>
                <a:gd name="connsiteY7" fmla="*/ 227941 h 3226491"/>
                <a:gd name="connsiteX8" fmla="*/ 1130101 w 1141010"/>
                <a:gd name="connsiteY8" fmla="*/ 186570 h 3226491"/>
                <a:gd name="connsiteX9" fmla="*/ 1113487 w 1141010"/>
                <a:gd name="connsiteY9" fmla="*/ 293720 h 3226491"/>
                <a:gd name="connsiteX10" fmla="*/ 1140090 w 1141010"/>
                <a:gd name="connsiteY10" fmla="*/ 624689 h 3226491"/>
                <a:gd name="connsiteX11" fmla="*/ 1131222 w 1141010"/>
                <a:gd name="connsiteY11" fmla="*/ 1427288 h 3226491"/>
                <a:gd name="connsiteX12" fmla="*/ 1140089 w 1141010"/>
                <a:gd name="connsiteY12" fmla="*/ 1882370 h 3226491"/>
                <a:gd name="connsiteX13" fmla="*/ 1113641 w 1141010"/>
                <a:gd name="connsiteY13" fmla="*/ 3192335 h 3226491"/>
                <a:gd name="connsiteX14" fmla="*/ 855214 w 1141010"/>
                <a:gd name="connsiteY14" fmla="*/ 3148740 h 3226491"/>
                <a:gd name="connsiteX15" fmla="*/ 686736 w 1141010"/>
                <a:gd name="connsiteY15" fmla="*/ 3082545 h 3226491"/>
                <a:gd name="connsiteX16" fmla="*/ 509390 w 1141010"/>
                <a:gd name="connsiteY16" fmla="*/ 2991529 h 3226491"/>
                <a:gd name="connsiteX17" fmla="*/ 411092 w 1141010"/>
                <a:gd name="connsiteY17" fmla="*/ 2911012 h 3226491"/>
                <a:gd name="connsiteX18" fmla="*/ 705354 w 1141010"/>
                <a:gd name="connsiteY18" fmla="*/ 2603376 h 3226491"/>
                <a:gd name="connsiteX19" fmla="*/ 421600 w 1141010"/>
                <a:gd name="connsiteY19" fmla="*/ 2065552 h 3226491"/>
                <a:gd name="connsiteX20" fmla="*/ 563950 w 1141010"/>
                <a:gd name="connsiteY20" fmla="*/ 1826467 h 3226491"/>
                <a:gd name="connsiteX21" fmla="*/ 377263 w 1141010"/>
                <a:gd name="connsiteY21" fmla="*/ 1287776 h 3226491"/>
                <a:gd name="connsiteX22" fmla="*/ 128979 w 1141010"/>
                <a:gd name="connsiteY22" fmla="*/ 1056098 h 3226491"/>
                <a:gd name="connsiteX23" fmla="*/ 120112 w 1141010"/>
                <a:gd name="connsiteY23" fmla="*/ 940259 h 3226491"/>
                <a:gd name="connsiteX24" fmla="*/ 0 w 1141010"/>
                <a:gd name="connsiteY24" fmla="*/ 146613 h 3226491"/>
                <a:gd name="connsiteX0" fmla="*/ 0 w 1141010"/>
                <a:gd name="connsiteY0" fmla="*/ 146626 h 3226504"/>
                <a:gd name="connsiteX1" fmla="*/ 235627 w 1141010"/>
                <a:gd name="connsiteY1" fmla="*/ 153072 h 3226504"/>
                <a:gd name="connsiteX2" fmla="*/ 358646 w 1141010"/>
                <a:gd name="connsiteY2" fmla="*/ 625117 h 3226504"/>
                <a:gd name="connsiteX3" fmla="*/ 660134 w 1141010"/>
                <a:gd name="connsiteY3" fmla="*/ 633391 h 3226504"/>
                <a:gd name="connsiteX4" fmla="*/ 837480 w 1141010"/>
                <a:gd name="connsiteY4" fmla="*/ 443084 h 3226504"/>
                <a:gd name="connsiteX5" fmla="*/ 943889 w 1141010"/>
                <a:gd name="connsiteY5" fmla="*/ 227954 h 3226504"/>
                <a:gd name="connsiteX6" fmla="*/ 900826 w 1141010"/>
                <a:gd name="connsiteY6" fmla="*/ 115 h 3226504"/>
                <a:gd name="connsiteX7" fmla="*/ 1076898 w 1141010"/>
                <a:gd name="connsiteY7" fmla="*/ 203131 h 3226504"/>
                <a:gd name="connsiteX8" fmla="*/ 1130101 w 1141010"/>
                <a:gd name="connsiteY8" fmla="*/ 186583 h 3226504"/>
                <a:gd name="connsiteX9" fmla="*/ 1113487 w 1141010"/>
                <a:gd name="connsiteY9" fmla="*/ 293733 h 3226504"/>
                <a:gd name="connsiteX10" fmla="*/ 1140090 w 1141010"/>
                <a:gd name="connsiteY10" fmla="*/ 624702 h 3226504"/>
                <a:gd name="connsiteX11" fmla="*/ 1131222 w 1141010"/>
                <a:gd name="connsiteY11" fmla="*/ 1427301 h 3226504"/>
                <a:gd name="connsiteX12" fmla="*/ 1140089 w 1141010"/>
                <a:gd name="connsiteY12" fmla="*/ 1882383 h 3226504"/>
                <a:gd name="connsiteX13" fmla="*/ 1113641 w 1141010"/>
                <a:gd name="connsiteY13" fmla="*/ 3192348 h 3226504"/>
                <a:gd name="connsiteX14" fmla="*/ 855214 w 1141010"/>
                <a:gd name="connsiteY14" fmla="*/ 3148753 h 3226504"/>
                <a:gd name="connsiteX15" fmla="*/ 686736 w 1141010"/>
                <a:gd name="connsiteY15" fmla="*/ 3082558 h 3226504"/>
                <a:gd name="connsiteX16" fmla="*/ 509390 w 1141010"/>
                <a:gd name="connsiteY16" fmla="*/ 2991542 h 3226504"/>
                <a:gd name="connsiteX17" fmla="*/ 411092 w 1141010"/>
                <a:gd name="connsiteY17" fmla="*/ 2911025 h 3226504"/>
                <a:gd name="connsiteX18" fmla="*/ 705354 w 1141010"/>
                <a:gd name="connsiteY18" fmla="*/ 2603389 h 3226504"/>
                <a:gd name="connsiteX19" fmla="*/ 421600 w 1141010"/>
                <a:gd name="connsiteY19" fmla="*/ 2065565 h 3226504"/>
                <a:gd name="connsiteX20" fmla="*/ 563950 w 1141010"/>
                <a:gd name="connsiteY20" fmla="*/ 1826480 h 3226504"/>
                <a:gd name="connsiteX21" fmla="*/ 377263 w 1141010"/>
                <a:gd name="connsiteY21" fmla="*/ 1287789 h 3226504"/>
                <a:gd name="connsiteX22" fmla="*/ 128979 w 1141010"/>
                <a:gd name="connsiteY22" fmla="*/ 1056111 h 3226504"/>
                <a:gd name="connsiteX23" fmla="*/ 120112 w 1141010"/>
                <a:gd name="connsiteY23" fmla="*/ 940272 h 3226504"/>
                <a:gd name="connsiteX24" fmla="*/ 0 w 1141010"/>
                <a:gd name="connsiteY24" fmla="*/ 146626 h 3226504"/>
                <a:gd name="connsiteX0" fmla="*/ 0 w 1141507"/>
                <a:gd name="connsiteY0" fmla="*/ 146626 h 3226504"/>
                <a:gd name="connsiteX1" fmla="*/ 235627 w 1141507"/>
                <a:gd name="connsiteY1" fmla="*/ 153072 h 3226504"/>
                <a:gd name="connsiteX2" fmla="*/ 358646 w 1141507"/>
                <a:gd name="connsiteY2" fmla="*/ 625117 h 3226504"/>
                <a:gd name="connsiteX3" fmla="*/ 660134 w 1141507"/>
                <a:gd name="connsiteY3" fmla="*/ 633391 h 3226504"/>
                <a:gd name="connsiteX4" fmla="*/ 837480 w 1141507"/>
                <a:gd name="connsiteY4" fmla="*/ 443084 h 3226504"/>
                <a:gd name="connsiteX5" fmla="*/ 943889 w 1141507"/>
                <a:gd name="connsiteY5" fmla="*/ 227954 h 3226504"/>
                <a:gd name="connsiteX6" fmla="*/ 900826 w 1141507"/>
                <a:gd name="connsiteY6" fmla="*/ 115 h 3226504"/>
                <a:gd name="connsiteX7" fmla="*/ 1076898 w 1141507"/>
                <a:gd name="connsiteY7" fmla="*/ 203131 h 3226504"/>
                <a:gd name="connsiteX8" fmla="*/ 1130101 w 1141507"/>
                <a:gd name="connsiteY8" fmla="*/ 186583 h 3226504"/>
                <a:gd name="connsiteX9" fmla="*/ 1129021 w 1141507"/>
                <a:gd name="connsiteY9" fmla="*/ 293734 h 3226504"/>
                <a:gd name="connsiteX10" fmla="*/ 1140090 w 1141507"/>
                <a:gd name="connsiteY10" fmla="*/ 624702 h 3226504"/>
                <a:gd name="connsiteX11" fmla="*/ 1131222 w 1141507"/>
                <a:gd name="connsiteY11" fmla="*/ 1427301 h 3226504"/>
                <a:gd name="connsiteX12" fmla="*/ 1140089 w 1141507"/>
                <a:gd name="connsiteY12" fmla="*/ 1882383 h 3226504"/>
                <a:gd name="connsiteX13" fmla="*/ 1113641 w 1141507"/>
                <a:gd name="connsiteY13" fmla="*/ 3192348 h 3226504"/>
                <a:gd name="connsiteX14" fmla="*/ 855214 w 1141507"/>
                <a:gd name="connsiteY14" fmla="*/ 3148753 h 3226504"/>
                <a:gd name="connsiteX15" fmla="*/ 686736 w 1141507"/>
                <a:gd name="connsiteY15" fmla="*/ 3082558 h 3226504"/>
                <a:gd name="connsiteX16" fmla="*/ 509390 w 1141507"/>
                <a:gd name="connsiteY16" fmla="*/ 2991542 h 3226504"/>
                <a:gd name="connsiteX17" fmla="*/ 411092 w 1141507"/>
                <a:gd name="connsiteY17" fmla="*/ 2911025 h 3226504"/>
                <a:gd name="connsiteX18" fmla="*/ 705354 w 1141507"/>
                <a:gd name="connsiteY18" fmla="*/ 2603389 h 3226504"/>
                <a:gd name="connsiteX19" fmla="*/ 421600 w 1141507"/>
                <a:gd name="connsiteY19" fmla="*/ 2065565 h 3226504"/>
                <a:gd name="connsiteX20" fmla="*/ 563950 w 1141507"/>
                <a:gd name="connsiteY20" fmla="*/ 1826480 h 3226504"/>
                <a:gd name="connsiteX21" fmla="*/ 377263 w 1141507"/>
                <a:gd name="connsiteY21" fmla="*/ 1287789 h 3226504"/>
                <a:gd name="connsiteX22" fmla="*/ 128979 w 1141507"/>
                <a:gd name="connsiteY22" fmla="*/ 1056111 h 3226504"/>
                <a:gd name="connsiteX23" fmla="*/ 120112 w 1141507"/>
                <a:gd name="connsiteY23" fmla="*/ 940272 h 3226504"/>
                <a:gd name="connsiteX24" fmla="*/ 0 w 1141507"/>
                <a:gd name="connsiteY24" fmla="*/ 146626 h 3226504"/>
                <a:gd name="connsiteX0" fmla="*/ 0 w 1141507"/>
                <a:gd name="connsiteY0" fmla="*/ 146628 h 3226506"/>
                <a:gd name="connsiteX1" fmla="*/ 235627 w 1141507"/>
                <a:gd name="connsiteY1" fmla="*/ 153074 h 3226506"/>
                <a:gd name="connsiteX2" fmla="*/ 358646 w 1141507"/>
                <a:gd name="connsiteY2" fmla="*/ 625119 h 3226506"/>
                <a:gd name="connsiteX3" fmla="*/ 660134 w 1141507"/>
                <a:gd name="connsiteY3" fmla="*/ 633393 h 3226506"/>
                <a:gd name="connsiteX4" fmla="*/ 837480 w 1141507"/>
                <a:gd name="connsiteY4" fmla="*/ 443086 h 3226506"/>
                <a:gd name="connsiteX5" fmla="*/ 943889 w 1141507"/>
                <a:gd name="connsiteY5" fmla="*/ 227956 h 3226506"/>
                <a:gd name="connsiteX6" fmla="*/ 900826 w 1141507"/>
                <a:gd name="connsiteY6" fmla="*/ 117 h 3226506"/>
                <a:gd name="connsiteX7" fmla="*/ 1034179 w 1141507"/>
                <a:gd name="connsiteY7" fmla="*/ 199509 h 3226506"/>
                <a:gd name="connsiteX8" fmla="*/ 1130101 w 1141507"/>
                <a:gd name="connsiteY8" fmla="*/ 186585 h 3226506"/>
                <a:gd name="connsiteX9" fmla="*/ 1129021 w 1141507"/>
                <a:gd name="connsiteY9" fmla="*/ 293736 h 3226506"/>
                <a:gd name="connsiteX10" fmla="*/ 1140090 w 1141507"/>
                <a:gd name="connsiteY10" fmla="*/ 624704 h 3226506"/>
                <a:gd name="connsiteX11" fmla="*/ 1131222 w 1141507"/>
                <a:gd name="connsiteY11" fmla="*/ 1427303 h 3226506"/>
                <a:gd name="connsiteX12" fmla="*/ 1140089 w 1141507"/>
                <a:gd name="connsiteY12" fmla="*/ 1882385 h 3226506"/>
                <a:gd name="connsiteX13" fmla="*/ 1113641 w 1141507"/>
                <a:gd name="connsiteY13" fmla="*/ 3192350 h 3226506"/>
                <a:gd name="connsiteX14" fmla="*/ 855214 w 1141507"/>
                <a:gd name="connsiteY14" fmla="*/ 3148755 h 3226506"/>
                <a:gd name="connsiteX15" fmla="*/ 686736 w 1141507"/>
                <a:gd name="connsiteY15" fmla="*/ 3082560 h 3226506"/>
                <a:gd name="connsiteX16" fmla="*/ 509390 w 1141507"/>
                <a:gd name="connsiteY16" fmla="*/ 2991544 h 3226506"/>
                <a:gd name="connsiteX17" fmla="*/ 411092 w 1141507"/>
                <a:gd name="connsiteY17" fmla="*/ 2911027 h 3226506"/>
                <a:gd name="connsiteX18" fmla="*/ 705354 w 1141507"/>
                <a:gd name="connsiteY18" fmla="*/ 2603391 h 3226506"/>
                <a:gd name="connsiteX19" fmla="*/ 421600 w 1141507"/>
                <a:gd name="connsiteY19" fmla="*/ 2065567 h 3226506"/>
                <a:gd name="connsiteX20" fmla="*/ 563950 w 1141507"/>
                <a:gd name="connsiteY20" fmla="*/ 1826482 h 3226506"/>
                <a:gd name="connsiteX21" fmla="*/ 377263 w 1141507"/>
                <a:gd name="connsiteY21" fmla="*/ 1287791 h 3226506"/>
                <a:gd name="connsiteX22" fmla="*/ 128979 w 1141507"/>
                <a:gd name="connsiteY22" fmla="*/ 1056113 h 3226506"/>
                <a:gd name="connsiteX23" fmla="*/ 120112 w 1141507"/>
                <a:gd name="connsiteY23" fmla="*/ 940274 h 3226506"/>
                <a:gd name="connsiteX24" fmla="*/ 0 w 1141507"/>
                <a:gd name="connsiteY24" fmla="*/ 146628 h 3226506"/>
                <a:gd name="connsiteX0" fmla="*/ 0 w 1141507"/>
                <a:gd name="connsiteY0" fmla="*/ 146628 h 3226506"/>
                <a:gd name="connsiteX1" fmla="*/ 235627 w 1141507"/>
                <a:gd name="connsiteY1" fmla="*/ 153074 h 3226506"/>
                <a:gd name="connsiteX2" fmla="*/ 358646 w 1141507"/>
                <a:gd name="connsiteY2" fmla="*/ 625119 h 3226506"/>
                <a:gd name="connsiteX3" fmla="*/ 660134 w 1141507"/>
                <a:gd name="connsiteY3" fmla="*/ 633393 h 3226506"/>
                <a:gd name="connsiteX4" fmla="*/ 837480 w 1141507"/>
                <a:gd name="connsiteY4" fmla="*/ 443086 h 3226506"/>
                <a:gd name="connsiteX5" fmla="*/ 943889 w 1141507"/>
                <a:gd name="connsiteY5" fmla="*/ 227956 h 3226506"/>
                <a:gd name="connsiteX6" fmla="*/ 900826 w 1141507"/>
                <a:gd name="connsiteY6" fmla="*/ 117 h 3226506"/>
                <a:gd name="connsiteX7" fmla="*/ 1034179 w 1141507"/>
                <a:gd name="connsiteY7" fmla="*/ 199509 h 3226506"/>
                <a:gd name="connsiteX8" fmla="*/ 1081364 w 1141507"/>
                <a:gd name="connsiteY8" fmla="*/ 183869 h 3226506"/>
                <a:gd name="connsiteX9" fmla="*/ 1130101 w 1141507"/>
                <a:gd name="connsiteY9" fmla="*/ 186585 h 3226506"/>
                <a:gd name="connsiteX10" fmla="*/ 1129021 w 1141507"/>
                <a:gd name="connsiteY10" fmla="*/ 293736 h 3226506"/>
                <a:gd name="connsiteX11" fmla="*/ 1140090 w 1141507"/>
                <a:gd name="connsiteY11" fmla="*/ 624704 h 3226506"/>
                <a:gd name="connsiteX12" fmla="*/ 1131222 w 1141507"/>
                <a:gd name="connsiteY12" fmla="*/ 1427303 h 3226506"/>
                <a:gd name="connsiteX13" fmla="*/ 1140089 w 1141507"/>
                <a:gd name="connsiteY13" fmla="*/ 1882385 h 3226506"/>
                <a:gd name="connsiteX14" fmla="*/ 1113641 w 1141507"/>
                <a:gd name="connsiteY14" fmla="*/ 3192350 h 3226506"/>
                <a:gd name="connsiteX15" fmla="*/ 855214 w 1141507"/>
                <a:gd name="connsiteY15" fmla="*/ 3148755 h 3226506"/>
                <a:gd name="connsiteX16" fmla="*/ 686736 w 1141507"/>
                <a:gd name="connsiteY16" fmla="*/ 3082560 h 3226506"/>
                <a:gd name="connsiteX17" fmla="*/ 509390 w 1141507"/>
                <a:gd name="connsiteY17" fmla="*/ 2991544 h 3226506"/>
                <a:gd name="connsiteX18" fmla="*/ 411092 w 1141507"/>
                <a:gd name="connsiteY18" fmla="*/ 2911027 h 3226506"/>
                <a:gd name="connsiteX19" fmla="*/ 705354 w 1141507"/>
                <a:gd name="connsiteY19" fmla="*/ 2603391 h 3226506"/>
                <a:gd name="connsiteX20" fmla="*/ 421600 w 1141507"/>
                <a:gd name="connsiteY20" fmla="*/ 2065567 h 3226506"/>
                <a:gd name="connsiteX21" fmla="*/ 563950 w 1141507"/>
                <a:gd name="connsiteY21" fmla="*/ 1826482 h 3226506"/>
                <a:gd name="connsiteX22" fmla="*/ 377263 w 1141507"/>
                <a:gd name="connsiteY22" fmla="*/ 1287791 h 3226506"/>
                <a:gd name="connsiteX23" fmla="*/ 128979 w 1141507"/>
                <a:gd name="connsiteY23" fmla="*/ 1056113 h 3226506"/>
                <a:gd name="connsiteX24" fmla="*/ 120112 w 1141507"/>
                <a:gd name="connsiteY24" fmla="*/ 940274 h 3226506"/>
                <a:gd name="connsiteX25" fmla="*/ 0 w 1141507"/>
                <a:gd name="connsiteY25" fmla="*/ 146628 h 3226506"/>
                <a:gd name="connsiteX0" fmla="*/ 0 w 1141507"/>
                <a:gd name="connsiteY0" fmla="*/ 146628 h 3226506"/>
                <a:gd name="connsiteX1" fmla="*/ 235627 w 1141507"/>
                <a:gd name="connsiteY1" fmla="*/ 153074 h 3226506"/>
                <a:gd name="connsiteX2" fmla="*/ 358646 w 1141507"/>
                <a:gd name="connsiteY2" fmla="*/ 625119 h 3226506"/>
                <a:gd name="connsiteX3" fmla="*/ 660134 w 1141507"/>
                <a:gd name="connsiteY3" fmla="*/ 633393 h 3226506"/>
                <a:gd name="connsiteX4" fmla="*/ 837480 w 1141507"/>
                <a:gd name="connsiteY4" fmla="*/ 443086 h 3226506"/>
                <a:gd name="connsiteX5" fmla="*/ 943889 w 1141507"/>
                <a:gd name="connsiteY5" fmla="*/ 227956 h 3226506"/>
                <a:gd name="connsiteX6" fmla="*/ 900826 w 1141507"/>
                <a:gd name="connsiteY6" fmla="*/ 117 h 3226506"/>
                <a:gd name="connsiteX7" fmla="*/ 1034179 w 1141507"/>
                <a:gd name="connsiteY7" fmla="*/ 199509 h 3226506"/>
                <a:gd name="connsiteX8" fmla="*/ 1081364 w 1141507"/>
                <a:gd name="connsiteY8" fmla="*/ 176621 h 3226506"/>
                <a:gd name="connsiteX9" fmla="*/ 1130101 w 1141507"/>
                <a:gd name="connsiteY9" fmla="*/ 186585 h 3226506"/>
                <a:gd name="connsiteX10" fmla="*/ 1129021 w 1141507"/>
                <a:gd name="connsiteY10" fmla="*/ 293736 h 3226506"/>
                <a:gd name="connsiteX11" fmla="*/ 1140090 w 1141507"/>
                <a:gd name="connsiteY11" fmla="*/ 624704 h 3226506"/>
                <a:gd name="connsiteX12" fmla="*/ 1131222 w 1141507"/>
                <a:gd name="connsiteY12" fmla="*/ 1427303 h 3226506"/>
                <a:gd name="connsiteX13" fmla="*/ 1140089 w 1141507"/>
                <a:gd name="connsiteY13" fmla="*/ 1882385 h 3226506"/>
                <a:gd name="connsiteX14" fmla="*/ 1113641 w 1141507"/>
                <a:gd name="connsiteY14" fmla="*/ 3192350 h 3226506"/>
                <a:gd name="connsiteX15" fmla="*/ 855214 w 1141507"/>
                <a:gd name="connsiteY15" fmla="*/ 3148755 h 3226506"/>
                <a:gd name="connsiteX16" fmla="*/ 686736 w 1141507"/>
                <a:gd name="connsiteY16" fmla="*/ 3082560 h 3226506"/>
                <a:gd name="connsiteX17" fmla="*/ 509390 w 1141507"/>
                <a:gd name="connsiteY17" fmla="*/ 2991544 h 3226506"/>
                <a:gd name="connsiteX18" fmla="*/ 411092 w 1141507"/>
                <a:gd name="connsiteY18" fmla="*/ 2911027 h 3226506"/>
                <a:gd name="connsiteX19" fmla="*/ 705354 w 1141507"/>
                <a:gd name="connsiteY19" fmla="*/ 2603391 h 3226506"/>
                <a:gd name="connsiteX20" fmla="*/ 421600 w 1141507"/>
                <a:gd name="connsiteY20" fmla="*/ 2065567 h 3226506"/>
                <a:gd name="connsiteX21" fmla="*/ 563950 w 1141507"/>
                <a:gd name="connsiteY21" fmla="*/ 1826482 h 3226506"/>
                <a:gd name="connsiteX22" fmla="*/ 377263 w 1141507"/>
                <a:gd name="connsiteY22" fmla="*/ 1287791 h 3226506"/>
                <a:gd name="connsiteX23" fmla="*/ 128979 w 1141507"/>
                <a:gd name="connsiteY23" fmla="*/ 1056113 h 3226506"/>
                <a:gd name="connsiteX24" fmla="*/ 120112 w 1141507"/>
                <a:gd name="connsiteY24" fmla="*/ 940274 h 3226506"/>
                <a:gd name="connsiteX25" fmla="*/ 0 w 1141507"/>
                <a:gd name="connsiteY25" fmla="*/ 146628 h 3226506"/>
                <a:gd name="connsiteX0" fmla="*/ 0 w 1141507"/>
                <a:gd name="connsiteY0" fmla="*/ 146628 h 3226506"/>
                <a:gd name="connsiteX1" fmla="*/ 235627 w 1141507"/>
                <a:gd name="connsiteY1" fmla="*/ 153074 h 3226506"/>
                <a:gd name="connsiteX2" fmla="*/ 358646 w 1141507"/>
                <a:gd name="connsiteY2" fmla="*/ 625119 h 3226506"/>
                <a:gd name="connsiteX3" fmla="*/ 660134 w 1141507"/>
                <a:gd name="connsiteY3" fmla="*/ 633393 h 3226506"/>
                <a:gd name="connsiteX4" fmla="*/ 837480 w 1141507"/>
                <a:gd name="connsiteY4" fmla="*/ 443086 h 3226506"/>
                <a:gd name="connsiteX5" fmla="*/ 943889 w 1141507"/>
                <a:gd name="connsiteY5" fmla="*/ 227956 h 3226506"/>
                <a:gd name="connsiteX6" fmla="*/ 900826 w 1141507"/>
                <a:gd name="connsiteY6" fmla="*/ 117 h 3226506"/>
                <a:gd name="connsiteX7" fmla="*/ 1034179 w 1141507"/>
                <a:gd name="connsiteY7" fmla="*/ 199509 h 3226506"/>
                <a:gd name="connsiteX8" fmla="*/ 1081364 w 1141507"/>
                <a:gd name="connsiteY8" fmla="*/ 176621 h 3226506"/>
                <a:gd name="connsiteX9" fmla="*/ 1133984 w 1141507"/>
                <a:gd name="connsiteY9" fmla="*/ 182961 h 3226506"/>
                <a:gd name="connsiteX10" fmla="*/ 1129021 w 1141507"/>
                <a:gd name="connsiteY10" fmla="*/ 293736 h 3226506"/>
                <a:gd name="connsiteX11" fmla="*/ 1140090 w 1141507"/>
                <a:gd name="connsiteY11" fmla="*/ 624704 h 3226506"/>
                <a:gd name="connsiteX12" fmla="*/ 1131222 w 1141507"/>
                <a:gd name="connsiteY12" fmla="*/ 1427303 h 3226506"/>
                <a:gd name="connsiteX13" fmla="*/ 1140089 w 1141507"/>
                <a:gd name="connsiteY13" fmla="*/ 1882385 h 3226506"/>
                <a:gd name="connsiteX14" fmla="*/ 1113641 w 1141507"/>
                <a:gd name="connsiteY14" fmla="*/ 3192350 h 3226506"/>
                <a:gd name="connsiteX15" fmla="*/ 855214 w 1141507"/>
                <a:gd name="connsiteY15" fmla="*/ 3148755 h 3226506"/>
                <a:gd name="connsiteX16" fmla="*/ 686736 w 1141507"/>
                <a:gd name="connsiteY16" fmla="*/ 3082560 h 3226506"/>
                <a:gd name="connsiteX17" fmla="*/ 509390 w 1141507"/>
                <a:gd name="connsiteY17" fmla="*/ 2991544 h 3226506"/>
                <a:gd name="connsiteX18" fmla="*/ 411092 w 1141507"/>
                <a:gd name="connsiteY18" fmla="*/ 2911027 h 3226506"/>
                <a:gd name="connsiteX19" fmla="*/ 705354 w 1141507"/>
                <a:gd name="connsiteY19" fmla="*/ 2603391 h 3226506"/>
                <a:gd name="connsiteX20" fmla="*/ 421600 w 1141507"/>
                <a:gd name="connsiteY20" fmla="*/ 2065567 h 3226506"/>
                <a:gd name="connsiteX21" fmla="*/ 563950 w 1141507"/>
                <a:gd name="connsiteY21" fmla="*/ 1826482 h 3226506"/>
                <a:gd name="connsiteX22" fmla="*/ 377263 w 1141507"/>
                <a:gd name="connsiteY22" fmla="*/ 1287791 h 3226506"/>
                <a:gd name="connsiteX23" fmla="*/ 128979 w 1141507"/>
                <a:gd name="connsiteY23" fmla="*/ 1056113 h 3226506"/>
                <a:gd name="connsiteX24" fmla="*/ 120112 w 1141507"/>
                <a:gd name="connsiteY24" fmla="*/ 940274 h 3226506"/>
                <a:gd name="connsiteX25" fmla="*/ 0 w 1141507"/>
                <a:gd name="connsiteY25" fmla="*/ 146628 h 3226506"/>
                <a:gd name="connsiteX0" fmla="*/ 0 w 1141507"/>
                <a:gd name="connsiteY0" fmla="*/ 146649 h 3226527"/>
                <a:gd name="connsiteX1" fmla="*/ 235627 w 1141507"/>
                <a:gd name="connsiteY1" fmla="*/ 153095 h 3226527"/>
                <a:gd name="connsiteX2" fmla="*/ 358646 w 1141507"/>
                <a:gd name="connsiteY2" fmla="*/ 625140 h 3226527"/>
                <a:gd name="connsiteX3" fmla="*/ 660134 w 1141507"/>
                <a:gd name="connsiteY3" fmla="*/ 633414 h 3226527"/>
                <a:gd name="connsiteX4" fmla="*/ 837480 w 1141507"/>
                <a:gd name="connsiteY4" fmla="*/ 443107 h 3226527"/>
                <a:gd name="connsiteX5" fmla="*/ 943889 w 1141507"/>
                <a:gd name="connsiteY5" fmla="*/ 227977 h 3226527"/>
                <a:gd name="connsiteX6" fmla="*/ 900826 w 1141507"/>
                <a:gd name="connsiteY6" fmla="*/ 138 h 3226527"/>
                <a:gd name="connsiteX7" fmla="*/ 1045830 w 1141507"/>
                <a:gd name="connsiteY7" fmla="*/ 170540 h 3226527"/>
                <a:gd name="connsiteX8" fmla="*/ 1081364 w 1141507"/>
                <a:gd name="connsiteY8" fmla="*/ 176642 h 3226527"/>
                <a:gd name="connsiteX9" fmla="*/ 1133984 w 1141507"/>
                <a:gd name="connsiteY9" fmla="*/ 182982 h 3226527"/>
                <a:gd name="connsiteX10" fmla="*/ 1129021 w 1141507"/>
                <a:gd name="connsiteY10" fmla="*/ 293757 h 3226527"/>
                <a:gd name="connsiteX11" fmla="*/ 1140090 w 1141507"/>
                <a:gd name="connsiteY11" fmla="*/ 624725 h 3226527"/>
                <a:gd name="connsiteX12" fmla="*/ 1131222 w 1141507"/>
                <a:gd name="connsiteY12" fmla="*/ 1427324 h 3226527"/>
                <a:gd name="connsiteX13" fmla="*/ 1140089 w 1141507"/>
                <a:gd name="connsiteY13" fmla="*/ 1882406 h 3226527"/>
                <a:gd name="connsiteX14" fmla="*/ 1113641 w 1141507"/>
                <a:gd name="connsiteY14" fmla="*/ 3192371 h 3226527"/>
                <a:gd name="connsiteX15" fmla="*/ 855214 w 1141507"/>
                <a:gd name="connsiteY15" fmla="*/ 3148776 h 3226527"/>
                <a:gd name="connsiteX16" fmla="*/ 686736 w 1141507"/>
                <a:gd name="connsiteY16" fmla="*/ 3082581 h 3226527"/>
                <a:gd name="connsiteX17" fmla="*/ 509390 w 1141507"/>
                <a:gd name="connsiteY17" fmla="*/ 2991565 h 3226527"/>
                <a:gd name="connsiteX18" fmla="*/ 411092 w 1141507"/>
                <a:gd name="connsiteY18" fmla="*/ 2911048 h 3226527"/>
                <a:gd name="connsiteX19" fmla="*/ 705354 w 1141507"/>
                <a:gd name="connsiteY19" fmla="*/ 2603412 h 3226527"/>
                <a:gd name="connsiteX20" fmla="*/ 421600 w 1141507"/>
                <a:gd name="connsiteY20" fmla="*/ 2065588 h 3226527"/>
                <a:gd name="connsiteX21" fmla="*/ 563950 w 1141507"/>
                <a:gd name="connsiteY21" fmla="*/ 1826503 h 3226527"/>
                <a:gd name="connsiteX22" fmla="*/ 377263 w 1141507"/>
                <a:gd name="connsiteY22" fmla="*/ 1287812 h 3226527"/>
                <a:gd name="connsiteX23" fmla="*/ 128979 w 1141507"/>
                <a:gd name="connsiteY23" fmla="*/ 1056134 h 3226527"/>
                <a:gd name="connsiteX24" fmla="*/ 120112 w 1141507"/>
                <a:gd name="connsiteY24" fmla="*/ 940295 h 3226527"/>
                <a:gd name="connsiteX25" fmla="*/ 0 w 1141507"/>
                <a:gd name="connsiteY25" fmla="*/ 146649 h 3226527"/>
                <a:gd name="connsiteX0" fmla="*/ 0 w 1141507"/>
                <a:gd name="connsiteY0" fmla="*/ 159530 h 3239408"/>
                <a:gd name="connsiteX1" fmla="*/ 235627 w 1141507"/>
                <a:gd name="connsiteY1" fmla="*/ 165976 h 3239408"/>
                <a:gd name="connsiteX2" fmla="*/ 358646 w 1141507"/>
                <a:gd name="connsiteY2" fmla="*/ 638021 h 3239408"/>
                <a:gd name="connsiteX3" fmla="*/ 660134 w 1141507"/>
                <a:gd name="connsiteY3" fmla="*/ 646295 h 3239408"/>
                <a:gd name="connsiteX4" fmla="*/ 837480 w 1141507"/>
                <a:gd name="connsiteY4" fmla="*/ 455988 h 3239408"/>
                <a:gd name="connsiteX5" fmla="*/ 943889 w 1141507"/>
                <a:gd name="connsiteY5" fmla="*/ 240858 h 3239408"/>
                <a:gd name="connsiteX6" fmla="*/ 900826 w 1141507"/>
                <a:gd name="connsiteY6" fmla="*/ 13019 h 3239408"/>
                <a:gd name="connsiteX7" fmla="*/ 949325 w 1141507"/>
                <a:gd name="connsiteY7" fmla="*/ 44574 h 3239408"/>
                <a:gd name="connsiteX8" fmla="*/ 1045830 w 1141507"/>
                <a:gd name="connsiteY8" fmla="*/ 183421 h 3239408"/>
                <a:gd name="connsiteX9" fmla="*/ 1081364 w 1141507"/>
                <a:gd name="connsiteY9" fmla="*/ 189523 h 3239408"/>
                <a:gd name="connsiteX10" fmla="*/ 1133984 w 1141507"/>
                <a:gd name="connsiteY10" fmla="*/ 195863 h 3239408"/>
                <a:gd name="connsiteX11" fmla="*/ 1129021 w 1141507"/>
                <a:gd name="connsiteY11" fmla="*/ 306638 h 3239408"/>
                <a:gd name="connsiteX12" fmla="*/ 1140090 w 1141507"/>
                <a:gd name="connsiteY12" fmla="*/ 637606 h 3239408"/>
                <a:gd name="connsiteX13" fmla="*/ 1131222 w 1141507"/>
                <a:gd name="connsiteY13" fmla="*/ 1440205 h 3239408"/>
                <a:gd name="connsiteX14" fmla="*/ 1140089 w 1141507"/>
                <a:gd name="connsiteY14" fmla="*/ 1895287 h 3239408"/>
                <a:gd name="connsiteX15" fmla="*/ 1113641 w 1141507"/>
                <a:gd name="connsiteY15" fmla="*/ 3205252 h 3239408"/>
                <a:gd name="connsiteX16" fmla="*/ 855214 w 1141507"/>
                <a:gd name="connsiteY16" fmla="*/ 3161657 h 3239408"/>
                <a:gd name="connsiteX17" fmla="*/ 686736 w 1141507"/>
                <a:gd name="connsiteY17" fmla="*/ 3095462 h 3239408"/>
                <a:gd name="connsiteX18" fmla="*/ 509390 w 1141507"/>
                <a:gd name="connsiteY18" fmla="*/ 3004446 h 3239408"/>
                <a:gd name="connsiteX19" fmla="*/ 411092 w 1141507"/>
                <a:gd name="connsiteY19" fmla="*/ 2923929 h 3239408"/>
                <a:gd name="connsiteX20" fmla="*/ 705354 w 1141507"/>
                <a:gd name="connsiteY20" fmla="*/ 2616293 h 3239408"/>
                <a:gd name="connsiteX21" fmla="*/ 421600 w 1141507"/>
                <a:gd name="connsiteY21" fmla="*/ 2078469 h 3239408"/>
                <a:gd name="connsiteX22" fmla="*/ 563950 w 1141507"/>
                <a:gd name="connsiteY22" fmla="*/ 1839384 h 3239408"/>
                <a:gd name="connsiteX23" fmla="*/ 377263 w 1141507"/>
                <a:gd name="connsiteY23" fmla="*/ 1300693 h 3239408"/>
                <a:gd name="connsiteX24" fmla="*/ 128979 w 1141507"/>
                <a:gd name="connsiteY24" fmla="*/ 1069015 h 3239408"/>
                <a:gd name="connsiteX25" fmla="*/ 120112 w 1141507"/>
                <a:gd name="connsiteY25" fmla="*/ 953176 h 3239408"/>
                <a:gd name="connsiteX26" fmla="*/ 0 w 1141507"/>
                <a:gd name="connsiteY26" fmla="*/ 159530 h 3239408"/>
                <a:gd name="connsiteX0" fmla="*/ 0 w 1141507"/>
                <a:gd name="connsiteY0" fmla="*/ 162000 h 3241878"/>
                <a:gd name="connsiteX1" fmla="*/ 235627 w 1141507"/>
                <a:gd name="connsiteY1" fmla="*/ 168446 h 3241878"/>
                <a:gd name="connsiteX2" fmla="*/ 358646 w 1141507"/>
                <a:gd name="connsiteY2" fmla="*/ 640491 h 3241878"/>
                <a:gd name="connsiteX3" fmla="*/ 660134 w 1141507"/>
                <a:gd name="connsiteY3" fmla="*/ 648765 h 3241878"/>
                <a:gd name="connsiteX4" fmla="*/ 837480 w 1141507"/>
                <a:gd name="connsiteY4" fmla="*/ 458458 h 3241878"/>
                <a:gd name="connsiteX5" fmla="*/ 943889 w 1141507"/>
                <a:gd name="connsiteY5" fmla="*/ 243328 h 3241878"/>
                <a:gd name="connsiteX6" fmla="*/ 900826 w 1141507"/>
                <a:gd name="connsiteY6" fmla="*/ 15489 h 3241878"/>
                <a:gd name="connsiteX7" fmla="*/ 945442 w 1141507"/>
                <a:gd name="connsiteY7" fmla="*/ 36173 h 3241878"/>
                <a:gd name="connsiteX8" fmla="*/ 1045830 w 1141507"/>
                <a:gd name="connsiteY8" fmla="*/ 185891 h 3241878"/>
                <a:gd name="connsiteX9" fmla="*/ 1081364 w 1141507"/>
                <a:gd name="connsiteY9" fmla="*/ 191993 h 3241878"/>
                <a:gd name="connsiteX10" fmla="*/ 1133984 w 1141507"/>
                <a:gd name="connsiteY10" fmla="*/ 198333 h 3241878"/>
                <a:gd name="connsiteX11" fmla="*/ 1129021 w 1141507"/>
                <a:gd name="connsiteY11" fmla="*/ 309108 h 3241878"/>
                <a:gd name="connsiteX12" fmla="*/ 1140090 w 1141507"/>
                <a:gd name="connsiteY12" fmla="*/ 640076 h 3241878"/>
                <a:gd name="connsiteX13" fmla="*/ 1131222 w 1141507"/>
                <a:gd name="connsiteY13" fmla="*/ 1442675 h 3241878"/>
                <a:gd name="connsiteX14" fmla="*/ 1140089 w 1141507"/>
                <a:gd name="connsiteY14" fmla="*/ 1897757 h 3241878"/>
                <a:gd name="connsiteX15" fmla="*/ 1113641 w 1141507"/>
                <a:gd name="connsiteY15" fmla="*/ 3207722 h 3241878"/>
                <a:gd name="connsiteX16" fmla="*/ 855214 w 1141507"/>
                <a:gd name="connsiteY16" fmla="*/ 3164127 h 3241878"/>
                <a:gd name="connsiteX17" fmla="*/ 686736 w 1141507"/>
                <a:gd name="connsiteY17" fmla="*/ 3097932 h 3241878"/>
                <a:gd name="connsiteX18" fmla="*/ 509390 w 1141507"/>
                <a:gd name="connsiteY18" fmla="*/ 3006916 h 3241878"/>
                <a:gd name="connsiteX19" fmla="*/ 411092 w 1141507"/>
                <a:gd name="connsiteY19" fmla="*/ 2926399 h 3241878"/>
                <a:gd name="connsiteX20" fmla="*/ 705354 w 1141507"/>
                <a:gd name="connsiteY20" fmla="*/ 2618763 h 3241878"/>
                <a:gd name="connsiteX21" fmla="*/ 421600 w 1141507"/>
                <a:gd name="connsiteY21" fmla="*/ 2080939 h 3241878"/>
                <a:gd name="connsiteX22" fmla="*/ 563950 w 1141507"/>
                <a:gd name="connsiteY22" fmla="*/ 1841854 h 3241878"/>
                <a:gd name="connsiteX23" fmla="*/ 377263 w 1141507"/>
                <a:gd name="connsiteY23" fmla="*/ 1303163 h 3241878"/>
                <a:gd name="connsiteX24" fmla="*/ 128979 w 1141507"/>
                <a:gd name="connsiteY24" fmla="*/ 1071485 h 3241878"/>
                <a:gd name="connsiteX25" fmla="*/ 120112 w 1141507"/>
                <a:gd name="connsiteY25" fmla="*/ 955646 h 3241878"/>
                <a:gd name="connsiteX26" fmla="*/ 0 w 1141507"/>
                <a:gd name="connsiteY26" fmla="*/ 162000 h 3241878"/>
                <a:gd name="connsiteX0" fmla="*/ 0 w 1141507"/>
                <a:gd name="connsiteY0" fmla="*/ 162000 h 3241878"/>
                <a:gd name="connsiteX1" fmla="*/ 235627 w 1141507"/>
                <a:gd name="connsiteY1" fmla="*/ 168446 h 3241878"/>
                <a:gd name="connsiteX2" fmla="*/ 358646 w 1141507"/>
                <a:gd name="connsiteY2" fmla="*/ 640491 h 3241878"/>
                <a:gd name="connsiteX3" fmla="*/ 660134 w 1141507"/>
                <a:gd name="connsiteY3" fmla="*/ 648765 h 3241878"/>
                <a:gd name="connsiteX4" fmla="*/ 837480 w 1141507"/>
                <a:gd name="connsiteY4" fmla="*/ 458458 h 3241878"/>
                <a:gd name="connsiteX5" fmla="*/ 943889 w 1141507"/>
                <a:gd name="connsiteY5" fmla="*/ 243328 h 3241878"/>
                <a:gd name="connsiteX6" fmla="*/ 900826 w 1141507"/>
                <a:gd name="connsiteY6" fmla="*/ 15489 h 3241878"/>
                <a:gd name="connsiteX7" fmla="*/ 945442 w 1141507"/>
                <a:gd name="connsiteY7" fmla="*/ 36173 h 3241878"/>
                <a:gd name="connsiteX8" fmla="*/ 1045830 w 1141507"/>
                <a:gd name="connsiteY8" fmla="*/ 185891 h 3241878"/>
                <a:gd name="connsiteX9" fmla="*/ 1081364 w 1141507"/>
                <a:gd name="connsiteY9" fmla="*/ 191993 h 3241878"/>
                <a:gd name="connsiteX10" fmla="*/ 1133984 w 1141507"/>
                <a:gd name="connsiteY10" fmla="*/ 198333 h 3241878"/>
                <a:gd name="connsiteX11" fmla="*/ 1129021 w 1141507"/>
                <a:gd name="connsiteY11" fmla="*/ 309108 h 3241878"/>
                <a:gd name="connsiteX12" fmla="*/ 1140090 w 1141507"/>
                <a:gd name="connsiteY12" fmla="*/ 640076 h 3241878"/>
                <a:gd name="connsiteX13" fmla="*/ 1131222 w 1141507"/>
                <a:gd name="connsiteY13" fmla="*/ 1442675 h 3241878"/>
                <a:gd name="connsiteX14" fmla="*/ 1140089 w 1141507"/>
                <a:gd name="connsiteY14" fmla="*/ 1897757 h 3241878"/>
                <a:gd name="connsiteX15" fmla="*/ 1113641 w 1141507"/>
                <a:gd name="connsiteY15" fmla="*/ 3207722 h 3241878"/>
                <a:gd name="connsiteX16" fmla="*/ 855214 w 1141507"/>
                <a:gd name="connsiteY16" fmla="*/ 3164127 h 3241878"/>
                <a:gd name="connsiteX17" fmla="*/ 686736 w 1141507"/>
                <a:gd name="connsiteY17" fmla="*/ 3097932 h 3241878"/>
                <a:gd name="connsiteX18" fmla="*/ 509390 w 1141507"/>
                <a:gd name="connsiteY18" fmla="*/ 3006916 h 3241878"/>
                <a:gd name="connsiteX19" fmla="*/ 411092 w 1141507"/>
                <a:gd name="connsiteY19" fmla="*/ 2926399 h 3241878"/>
                <a:gd name="connsiteX20" fmla="*/ 705354 w 1141507"/>
                <a:gd name="connsiteY20" fmla="*/ 2618763 h 3241878"/>
                <a:gd name="connsiteX21" fmla="*/ 421600 w 1141507"/>
                <a:gd name="connsiteY21" fmla="*/ 2080939 h 3241878"/>
                <a:gd name="connsiteX22" fmla="*/ 563950 w 1141507"/>
                <a:gd name="connsiteY22" fmla="*/ 1841854 h 3241878"/>
                <a:gd name="connsiteX23" fmla="*/ 377263 w 1141507"/>
                <a:gd name="connsiteY23" fmla="*/ 1303163 h 3241878"/>
                <a:gd name="connsiteX24" fmla="*/ 128979 w 1141507"/>
                <a:gd name="connsiteY24" fmla="*/ 1071485 h 3241878"/>
                <a:gd name="connsiteX25" fmla="*/ 120112 w 1141507"/>
                <a:gd name="connsiteY25" fmla="*/ 955646 h 3241878"/>
                <a:gd name="connsiteX26" fmla="*/ 0 w 1141507"/>
                <a:gd name="connsiteY26" fmla="*/ 162000 h 3241878"/>
                <a:gd name="connsiteX0" fmla="*/ 0 w 1141507"/>
                <a:gd name="connsiteY0" fmla="*/ 162000 h 3241878"/>
                <a:gd name="connsiteX1" fmla="*/ 235627 w 1141507"/>
                <a:gd name="connsiteY1" fmla="*/ 168446 h 3241878"/>
                <a:gd name="connsiteX2" fmla="*/ 358646 w 1141507"/>
                <a:gd name="connsiteY2" fmla="*/ 640491 h 3241878"/>
                <a:gd name="connsiteX3" fmla="*/ 660134 w 1141507"/>
                <a:gd name="connsiteY3" fmla="*/ 648765 h 3241878"/>
                <a:gd name="connsiteX4" fmla="*/ 837480 w 1141507"/>
                <a:gd name="connsiteY4" fmla="*/ 458458 h 3241878"/>
                <a:gd name="connsiteX5" fmla="*/ 943889 w 1141507"/>
                <a:gd name="connsiteY5" fmla="*/ 243328 h 3241878"/>
                <a:gd name="connsiteX6" fmla="*/ 900826 w 1141507"/>
                <a:gd name="connsiteY6" fmla="*/ 15489 h 3241878"/>
                <a:gd name="connsiteX7" fmla="*/ 945442 w 1141507"/>
                <a:gd name="connsiteY7" fmla="*/ 36173 h 3241878"/>
                <a:gd name="connsiteX8" fmla="*/ 1026996 w 1141507"/>
                <a:gd name="connsiteY8" fmla="*/ 86906 h 3241878"/>
                <a:gd name="connsiteX9" fmla="*/ 1045830 w 1141507"/>
                <a:gd name="connsiteY9" fmla="*/ 185891 h 3241878"/>
                <a:gd name="connsiteX10" fmla="*/ 1081364 w 1141507"/>
                <a:gd name="connsiteY10" fmla="*/ 191993 h 3241878"/>
                <a:gd name="connsiteX11" fmla="*/ 1133984 w 1141507"/>
                <a:gd name="connsiteY11" fmla="*/ 198333 h 3241878"/>
                <a:gd name="connsiteX12" fmla="*/ 1129021 w 1141507"/>
                <a:gd name="connsiteY12" fmla="*/ 309108 h 3241878"/>
                <a:gd name="connsiteX13" fmla="*/ 1140090 w 1141507"/>
                <a:gd name="connsiteY13" fmla="*/ 640076 h 3241878"/>
                <a:gd name="connsiteX14" fmla="*/ 1131222 w 1141507"/>
                <a:gd name="connsiteY14" fmla="*/ 1442675 h 3241878"/>
                <a:gd name="connsiteX15" fmla="*/ 1140089 w 1141507"/>
                <a:gd name="connsiteY15" fmla="*/ 1897757 h 3241878"/>
                <a:gd name="connsiteX16" fmla="*/ 1113641 w 1141507"/>
                <a:gd name="connsiteY16" fmla="*/ 3207722 h 3241878"/>
                <a:gd name="connsiteX17" fmla="*/ 855214 w 1141507"/>
                <a:gd name="connsiteY17" fmla="*/ 3164127 h 3241878"/>
                <a:gd name="connsiteX18" fmla="*/ 686736 w 1141507"/>
                <a:gd name="connsiteY18" fmla="*/ 3097932 h 3241878"/>
                <a:gd name="connsiteX19" fmla="*/ 509390 w 1141507"/>
                <a:gd name="connsiteY19" fmla="*/ 3006916 h 3241878"/>
                <a:gd name="connsiteX20" fmla="*/ 411092 w 1141507"/>
                <a:gd name="connsiteY20" fmla="*/ 2926399 h 3241878"/>
                <a:gd name="connsiteX21" fmla="*/ 705354 w 1141507"/>
                <a:gd name="connsiteY21" fmla="*/ 2618763 h 3241878"/>
                <a:gd name="connsiteX22" fmla="*/ 421600 w 1141507"/>
                <a:gd name="connsiteY22" fmla="*/ 2080939 h 3241878"/>
                <a:gd name="connsiteX23" fmla="*/ 563950 w 1141507"/>
                <a:gd name="connsiteY23" fmla="*/ 1841854 h 3241878"/>
                <a:gd name="connsiteX24" fmla="*/ 377263 w 1141507"/>
                <a:gd name="connsiteY24" fmla="*/ 1303163 h 3241878"/>
                <a:gd name="connsiteX25" fmla="*/ 128979 w 1141507"/>
                <a:gd name="connsiteY25" fmla="*/ 1071485 h 3241878"/>
                <a:gd name="connsiteX26" fmla="*/ 120112 w 1141507"/>
                <a:gd name="connsiteY26" fmla="*/ 955646 h 3241878"/>
                <a:gd name="connsiteX27" fmla="*/ 0 w 1141507"/>
                <a:gd name="connsiteY27" fmla="*/ 162000 h 3241878"/>
                <a:gd name="connsiteX0" fmla="*/ 0 w 1141507"/>
                <a:gd name="connsiteY0" fmla="*/ 162000 h 3241878"/>
                <a:gd name="connsiteX1" fmla="*/ 235627 w 1141507"/>
                <a:gd name="connsiteY1" fmla="*/ 168446 h 3241878"/>
                <a:gd name="connsiteX2" fmla="*/ 358646 w 1141507"/>
                <a:gd name="connsiteY2" fmla="*/ 640491 h 3241878"/>
                <a:gd name="connsiteX3" fmla="*/ 660134 w 1141507"/>
                <a:gd name="connsiteY3" fmla="*/ 648765 h 3241878"/>
                <a:gd name="connsiteX4" fmla="*/ 837480 w 1141507"/>
                <a:gd name="connsiteY4" fmla="*/ 458458 h 3241878"/>
                <a:gd name="connsiteX5" fmla="*/ 943889 w 1141507"/>
                <a:gd name="connsiteY5" fmla="*/ 243328 h 3241878"/>
                <a:gd name="connsiteX6" fmla="*/ 900826 w 1141507"/>
                <a:gd name="connsiteY6" fmla="*/ 15489 h 3241878"/>
                <a:gd name="connsiteX7" fmla="*/ 945442 w 1141507"/>
                <a:gd name="connsiteY7" fmla="*/ 36173 h 3241878"/>
                <a:gd name="connsiteX8" fmla="*/ 988160 w 1141507"/>
                <a:gd name="connsiteY8" fmla="*/ 101401 h 3241878"/>
                <a:gd name="connsiteX9" fmla="*/ 1045830 w 1141507"/>
                <a:gd name="connsiteY9" fmla="*/ 185891 h 3241878"/>
                <a:gd name="connsiteX10" fmla="*/ 1081364 w 1141507"/>
                <a:gd name="connsiteY10" fmla="*/ 191993 h 3241878"/>
                <a:gd name="connsiteX11" fmla="*/ 1133984 w 1141507"/>
                <a:gd name="connsiteY11" fmla="*/ 198333 h 3241878"/>
                <a:gd name="connsiteX12" fmla="*/ 1129021 w 1141507"/>
                <a:gd name="connsiteY12" fmla="*/ 309108 h 3241878"/>
                <a:gd name="connsiteX13" fmla="*/ 1140090 w 1141507"/>
                <a:gd name="connsiteY13" fmla="*/ 640076 h 3241878"/>
                <a:gd name="connsiteX14" fmla="*/ 1131222 w 1141507"/>
                <a:gd name="connsiteY14" fmla="*/ 1442675 h 3241878"/>
                <a:gd name="connsiteX15" fmla="*/ 1140089 w 1141507"/>
                <a:gd name="connsiteY15" fmla="*/ 1897757 h 3241878"/>
                <a:gd name="connsiteX16" fmla="*/ 1113641 w 1141507"/>
                <a:gd name="connsiteY16" fmla="*/ 3207722 h 3241878"/>
                <a:gd name="connsiteX17" fmla="*/ 855214 w 1141507"/>
                <a:gd name="connsiteY17" fmla="*/ 3164127 h 3241878"/>
                <a:gd name="connsiteX18" fmla="*/ 686736 w 1141507"/>
                <a:gd name="connsiteY18" fmla="*/ 3097932 h 3241878"/>
                <a:gd name="connsiteX19" fmla="*/ 509390 w 1141507"/>
                <a:gd name="connsiteY19" fmla="*/ 3006916 h 3241878"/>
                <a:gd name="connsiteX20" fmla="*/ 411092 w 1141507"/>
                <a:gd name="connsiteY20" fmla="*/ 2926399 h 3241878"/>
                <a:gd name="connsiteX21" fmla="*/ 705354 w 1141507"/>
                <a:gd name="connsiteY21" fmla="*/ 2618763 h 3241878"/>
                <a:gd name="connsiteX22" fmla="*/ 421600 w 1141507"/>
                <a:gd name="connsiteY22" fmla="*/ 2080939 h 3241878"/>
                <a:gd name="connsiteX23" fmla="*/ 563950 w 1141507"/>
                <a:gd name="connsiteY23" fmla="*/ 1841854 h 3241878"/>
                <a:gd name="connsiteX24" fmla="*/ 377263 w 1141507"/>
                <a:gd name="connsiteY24" fmla="*/ 1303163 h 3241878"/>
                <a:gd name="connsiteX25" fmla="*/ 128979 w 1141507"/>
                <a:gd name="connsiteY25" fmla="*/ 1071485 h 3241878"/>
                <a:gd name="connsiteX26" fmla="*/ 120112 w 1141507"/>
                <a:gd name="connsiteY26" fmla="*/ 955646 h 3241878"/>
                <a:gd name="connsiteX27" fmla="*/ 0 w 1141507"/>
                <a:gd name="connsiteY27" fmla="*/ 162000 h 3241878"/>
                <a:gd name="connsiteX0" fmla="*/ 0 w 1141507"/>
                <a:gd name="connsiteY0" fmla="*/ 169965 h 3249843"/>
                <a:gd name="connsiteX1" fmla="*/ 235627 w 1141507"/>
                <a:gd name="connsiteY1" fmla="*/ 176411 h 3249843"/>
                <a:gd name="connsiteX2" fmla="*/ 358646 w 1141507"/>
                <a:gd name="connsiteY2" fmla="*/ 648456 h 3249843"/>
                <a:gd name="connsiteX3" fmla="*/ 660134 w 1141507"/>
                <a:gd name="connsiteY3" fmla="*/ 656730 h 3249843"/>
                <a:gd name="connsiteX4" fmla="*/ 837480 w 1141507"/>
                <a:gd name="connsiteY4" fmla="*/ 466423 h 3249843"/>
                <a:gd name="connsiteX5" fmla="*/ 943889 w 1141507"/>
                <a:gd name="connsiteY5" fmla="*/ 251293 h 3249843"/>
                <a:gd name="connsiteX6" fmla="*/ 900826 w 1141507"/>
                <a:gd name="connsiteY6" fmla="*/ 23454 h 3249843"/>
                <a:gd name="connsiteX7" fmla="*/ 1089132 w 1141507"/>
                <a:gd name="connsiteY7" fmla="*/ 22395 h 3249843"/>
                <a:gd name="connsiteX8" fmla="*/ 988160 w 1141507"/>
                <a:gd name="connsiteY8" fmla="*/ 109366 h 3249843"/>
                <a:gd name="connsiteX9" fmla="*/ 1045830 w 1141507"/>
                <a:gd name="connsiteY9" fmla="*/ 193856 h 3249843"/>
                <a:gd name="connsiteX10" fmla="*/ 1081364 w 1141507"/>
                <a:gd name="connsiteY10" fmla="*/ 199958 h 3249843"/>
                <a:gd name="connsiteX11" fmla="*/ 1133984 w 1141507"/>
                <a:gd name="connsiteY11" fmla="*/ 206298 h 3249843"/>
                <a:gd name="connsiteX12" fmla="*/ 1129021 w 1141507"/>
                <a:gd name="connsiteY12" fmla="*/ 317073 h 3249843"/>
                <a:gd name="connsiteX13" fmla="*/ 1140090 w 1141507"/>
                <a:gd name="connsiteY13" fmla="*/ 648041 h 3249843"/>
                <a:gd name="connsiteX14" fmla="*/ 1131222 w 1141507"/>
                <a:gd name="connsiteY14" fmla="*/ 1450640 h 3249843"/>
                <a:gd name="connsiteX15" fmla="*/ 1140089 w 1141507"/>
                <a:gd name="connsiteY15" fmla="*/ 1905722 h 3249843"/>
                <a:gd name="connsiteX16" fmla="*/ 1113641 w 1141507"/>
                <a:gd name="connsiteY16" fmla="*/ 3215687 h 3249843"/>
                <a:gd name="connsiteX17" fmla="*/ 855214 w 1141507"/>
                <a:gd name="connsiteY17" fmla="*/ 3172092 h 3249843"/>
                <a:gd name="connsiteX18" fmla="*/ 686736 w 1141507"/>
                <a:gd name="connsiteY18" fmla="*/ 3105897 h 3249843"/>
                <a:gd name="connsiteX19" fmla="*/ 509390 w 1141507"/>
                <a:gd name="connsiteY19" fmla="*/ 3014881 h 3249843"/>
                <a:gd name="connsiteX20" fmla="*/ 411092 w 1141507"/>
                <a:gd name="connsiteY20" fmla="*/ 2934364 h 3249843"/>
                <a:gd name="connsiteX21" fmla="*/ 705354 w 1141507"/>
                <a:gd name="connsiteY21" fmla="*/ 2626728 h 3249843"/>
                <a:gd name="connsiteX22" fmla="*/ 421600 w 1141507"/>
                <a:gd name="connsiteY22" fmla="*/ 2088904 h 3249843"/>
                <a:gd name="connsiteX23" fmla="*/ 563950 w 1141507"/>
                <a:gd name="connsiteY23" fmla="*/ 1849819 h 3249843"/>
                <a:gd name="connsiteX24" fmla="*/ 377263 w 1141507"/>
                <a:gd name="connsiteY24" fmla="*/ 1311128 h 3249843"/>
                <a:gd name="connsiteX25" fmla="*/ 128979 w 1141507"/>
                <a:gd name="connsiteY25" fmla="*/ 1079450 h 3249843"/>
                <a:gd name="connsiteX26" fmla="*/ 120112 w 1141507"/>
                <a:gd name="connsiteY26" fmla="*/ 963611 h 3249843"/>
                <a:gd name="connsiteX27" fmla="*/ 0 w 1141507"/>
                <a:gd name="connsiteY27" fmla="*/ 169965 h 3249843"/>
                <a:gd name="connsiteX0" fmla="*/ 0 w 1141507"/>
                <a:gd name="connsiteY0" fmla="*/ 169965 h 3249843"/>
                <a:gd name="connsiteX1" fmla="*/ 235627 w 1141507"/>
                <a:gd name="connsiteY1" fmla="*/ 176411 h 3249843"/>
                <a:gd name="connsiteX2" fmla="*/ 358646 w 1141507"/>
                <a:gd name="connsiteY2" fmla="*/ 648456 h 3249843"/>
                <a:gd name="connsiteX3" fmla="*/ 660134 w 1141507"/>
                <a:gd name="connsiteY3" fmla="*/ 656730 h 3249843"/>
                <a:gd name="connsiteX4" fmla="*/ 837480 w 1141507"/>
                <a:gd name="connsiteY4" fmla="*/ 466423 h 3249843"/>
                <a:gd name="connsiteX5" fmla="*/ 943889 w 1141507"/>
                <a:gd name="connsiteY5" fmla="*/ 251293 h 3249843"/>
                <a:gd name="connsiteX6" fmla="*/ 900826 w 1141507"/>
                <a:gd name="connsiteY6" fmla="*/ 23454 h 3249843"/>
                <a:gd name="connsiteX7" fmla="*/ 1089132 w 1141507"/>
                <a:gd name="connsiteY7" fmla="*/ 22395 h 3249843"/>
                <a:gd name="connsiteX8" fmla="*/ 1015345 w 1141507"/>
                <a:gd name="connsiteY8" fmla="*/ 73130 h 3249843"/>
                <a:gd name="connsiteX9" fmla="*/ 988160 w 1141507"/>
                <a:gd name="connsiteY9" fmla="*/ 109366 h 3249843"/>
                <a:gd name="connsiteX10" fmla="*/ 1045830 w 1141507"/>
                <a:gd name="connsiteY10" fmla="*/ 193856 h 3249843"/>
                <a:gd name="connsiteX11" fmla="*/ 1081364 w 1141507"/>
                <a:gd name="connsiteY11" fmla="*/ 199958 h 3249843"/>
                <a:gd name="connsiteX12" fmla="*/ 1133984 w 1141507"/>
                <a:gd name="connsiteY12" fmla="*/ 206298 h 3249843"/>
                <a:gd name="connsiteX13" fmla="*/ 1129021 w 1141507"/>
                <a:gd name="connsiteY13" fmla="*/ 317073 h 3249843"/>
                <a:gd name="connsiteX14" fmla="*/ 1140090 w 1141507"/>
                <a:gd name="connsiteY14" fmla="*/ 648041 h 3249843"/>
                <a:gd name="connsiteX15" fmla="*/ 1131222 w 1141507"/>
                <a:gd name="connsiteY15" fmla="*/ 1450640 h 3249843"/>
                <a:gd name="connsiteX16" fmla="*/ 1140089 w 1141507"/>
                <a:gd name="connsiteY16" fmla="*/ 1905722 h 3249843"/>
                <a:gd name="connsiteX17" fmla="*/ 1113641 w 1141507"/>
                <a:gd name="connsiteY17" fmla="*/ 3215687 h 3249843"/>
                <a:gd name="connsiteX18" fmla="*/ 855214 w 1141507"/>
                <a:gd name="connsiteY18" fmla="*/ 3172092 h 3249843"/>
                <a:gd name="connsiteX19" fmla="*/ 686736 w 1141507"/>
                <a:gd name="connsiteY19" fmla="*/ 3105897 h 3249843"/>
                <a:gd name="connsiteX20" fmla="*/ 509390 w 1141507"/>
                <a:gd name="connsiteY20" fmla="*/ 3014881 h 3249843"/>
                <a:gd name="connsiteX21" fmla="*/ 411092 w 1141507"/>
                <a:gd name="connsiteY21" fmla="*/ 2934364 h 3249843"/>
                <a:gd name="connsiteX22" fmla="*/ 705354 w 1141507"/>
                <a:gd name="connsiteY22" fmla="*/ 2626728 h 3249843"/>
                <a:gd name="connsiteX23" fmla="*/ 421600 w 1141507"/>
                <a:gd name="connsiteY23" fmla="*/ 2088904 h 3249843"/>
                <a:gd name="connsiteX24" fmla="*/ 563950 w 1141507"/>
                <a:gd name="connsiteY24" fmla="*/ 1849819 h 3249843"/>
                <a:gd name="connsiteX25" fmla="*/ 377263 w 1141507"/>
                <a:gd name="connsiteY25" fmla="*/ 1311128 h 3249843"/>
                <a:gd name="connsiteX26" fmla="*/ 128979 w 1141507"/>
                <a:gd name="connsiteY26" fmla="*/ 1079450 h 3249843"/>
                <a:gd name="connsiteX27" fmla="*/ 120112 w 1141507"/>
                <a:gd name="connsiteY27" fmla="*/ 963611 h 3249843"/>
                <a:gd name="connsiteX28" fmla="*/ 0 w 1141507"/>
                <a:gd name="connsiteY28" fmla="*/ 169965 h 3249843"/>
                <a:gd name="connsiteX0" fmla="*/ 0 w 1141507"/>
                <a:gd name="connsiteY0" fmla="*/ 169965 h 3249843"/>
                <a:gd name="connsiteX1" fmla="*/ 235627 w 1141507"/>
                <a:gd name="connsiteY1" fmla="*/ 176411 h 3249843"/>
                <a:gd name="connsiteX2" fmla="*/ 358646 w 1141507"/>
                <a:gd name="connsiteY2" fmla="*/ 648456 h 3249843"/>
                <a:gd name="connsiteX3" fmla="*/ 660134 w 1141507"/>
                <a:gd name="connsiteY3" fmla="*/ 656730 h 3249843"/>
                <a:gd name="connsiteX4" fmla="*/ 837480 w 1141507"/>
                <a:gd name="connsiteY4" fmla="*/ 466423 h 3249843"/>
                <a:gd name="connsiteX5" fmla="*/ 943889 w 1141507"/>
                <a:gd name="connsiteY5" fmla="*/ 251293 h 3249843"/>
                <a:gd name="connsiteX6" fmla="*/ 900826 w 1141507"/>
                <a:gd name="connsiteY6" fmla="*/ 23454 h 3249843"/>
                <a:gd name="connsiteX7" fmla="*/ 1089132 w 1141507"/>
                <a:gd name="connsiteY7" fmla="*/ 22395 h 3249843"/>
                <a:gd name="connsiteX8" fmla="*/ 1003694 w 1141507"/>
                <a:gd name="connsiteY8" fmla="*/ 62259 h 3249843"/>
                <a:gd name="connsiteX9" fmla="*/ 988160 w 1141507"/>
                <a:gd name="connsiteY9" fmla="*/ 109366 h 3249843"/>
                <a:gd name="connsiteX10" fmla="*/ 1045830 w 1141507"/>
                <a:gd name="connsiteY10" fmla="*/ 193856 h 3249843"/>
                <a:gd name="connsiteX11" fmla="*/ 1081364 w 1141507"/>
                <a:gd name="connsiteY11" fmla="*/ 199958 h 3249843"/>
                <a:gd name="connsiteX12" fmla="*/ 1133984 w 1141507"/>
                <a:gd name="connsiteY12" fmla="*/ 206298 h 3249843"/>
                <a:gd name="connsiteX13" fmla="*/ 1129021 w 1141507"/>
                <a:gd name="connsiteY13" fmla="*/ 317073 h 3249843"/>
                <a:gd name="connsiteX14" fmla="*/ 1140090 w 1141507"/>
                <a:gd name="connsiteY14" fmla="*/ 648041 h 3249843"/>
                <a:gd name="connsiteX15" fmla="*/ 1131222 w 1141507"/>
                <a:gd name="connsiteY15" fmla="*/ 1450640 h 3249843"/>
                <a:gd name="connsiteX16" fmla="*/ 1140089 w 1141507"/>
                <a:gd name="connsiteY16" fmla="*/ 1905722 h 3249843"/>
                <a:gd name="connsiteX17" fmla="*/ 1113641 w 1141507"/>
                <a:gd name="connsiteY17" fmla="*/ 3215687 h 3249843"/>
                <a:gd name="connsiteX18" fmla="*/ 855214 w 1141507"/>
                <a:gd name="connsiteY18" fmla="*/ 3172092 h 3249843"/>
                <a:gd name="connsiteX19" fmla="*/ 686736 w 1141507"/>
                <a:gd name="connsiteY19" fmla="*/ 3105897 h 3249843"/>
                <a:gd name="connsiteX20" fmla="*/ 509390 w 1141507"/>
                <a:gd name="connsiteY20" fmla="*/ 3014881 h 3249843"/>
                <a:gd name="connsiteX21" fmla="*/ 411092 w 1141507"/>
                <a:gd name="connsiteY21" fmla="*/ 2934364 h 3249843"/>
                <a:gd name="connsiteX22" fmla="*/ 705354 w 1141507"/>
                <a:gd name="connsiteY22" fmla="*/ 2626728 h 3249843"/>
                <a:gd name="connsiteX23" fmla="*/ 421600 w 1141507"/>
                <a:gd name="connsiteY23" fmla="*/ 2088904 h 3249843"/>
                <a:gd name="connsiteX24" fmla="*/ 563950 w 1141507"/>
                <a:gd name="connsiteY24" fmla="*/ 1849819 h 3249843"/>
                <a:gd name="connsiteX25" fmla="*/ 377263 w 1141507"/>
                <a:gd name="connsiteY25" fmla="*/ 1311128 h 3249843"/>
                <a:gd name="connsiteX26" fmla="*/ 128979 w 1141507"/>
                <a:gd name="connsiteY26" fmla="*/ 1079450 h 3249843"/>
                <a:gd name="connsiteX27" fmla="*/ 120112 w 1141507"/>
                <a:gd name="connsiteY27" fmla="*/ 963611 h 3249843"/>
                <a:gd name="connsiteX28" fmla="*/ 0 w 1141507"/>
                <a:gd name="connsiteY28" fmla="*/ 169965 h 3249843"/>
                <a:gd name="connsiteX0" fmla="*/ 0 w 1141507"/>
                <a:gd name="connsiteY0" fmla="*/ 165374 h 3245252"/>
                <a:gd name="connsiteX1" fmla="*/ 235627 w 1141507"/>
                <a:gd name="connsiteY1" fmla="*/ 171820 h 3245252"/>
                <a:gd name="connsiteX2" fmla="*/ 358646 w 1141507"/>
                <a:gd name="connsiteY2" fmla="*/ 643865 h 3245252"/>
                <a:gd name="connsiteX3" fmla="*/ 660134 w 1141507"/>
                <a:gd name="connsiteY3" fmla="*/ 652139 h 3245252"/>
                <a:gd name="connsiteX4" fmla="*/ 837480 w 1141507"/>
                <a:gd name="connsiteY4" fmla="*/ 461832 h 3245252"/>
                <a:gd name="connsiteX5" fmla="*/ 943889 w 1141507"/>
                <a:gd name="connsiteY5" fmla="*/ 246702 h 3245252"/>
                <a:gd name="connsiteX6" fmla="*/ 900826 w 1141507"/>
                <a:gd name="connsiteY6" fmla="*/ 18863 h 3245252"/>
                <a:gd name="connsiteX7" fmla="*/ 1104665 w 1141507"/>
                <a:gd name="connsiteY7" fmla="*/ 28674 h 3245252"/>
                <a:gd name="connsiteX8" fmla="*/ 1003694 w 1141507"/>
                <a:gd name="connsiteY8" fmla="*/ 57668 h 3245252"/>
                <a:gd name="connsiteX9" fmla="*/ 988160 w 1141507"/>
                <a:gd name="connsiteY9" fmla="*/ 104775 h 3245252"/>
                <a:gd name="connsiteX10" fmla="*/ 1045830 w 1141507"/>
                <a:gd name="connsiteY10" fmla="*/ 189265 h 3245252"/>
                <a:gd name="connsiteX11" fmla="*/ 1081364 w 1141507"/>
                <a:gd name="connsiteY11" fmla="*/ 195367 h 3245252"/>
                <a:gd name="connsiteX12" fmla="*/ 1133984 w 1141507"/>
                <a:gd name="connsiteY12" fmla="*/ 201707 h 3245252"/>
                <a:gd name="connsiteX13" fmla="*/ 1129021 w 1141507"/>
                <a:gd name="connsiteY13" fmla="*/ 312482 h 3245252"/>
                <a:gd name="connsiteX14" fmla="*/ 1140090 w 1141507"/>
                <a:gd name="connsiteY14" fmla="*/ 643450 h 3245252"/>
                <a:gd name="connsiteX15" fmla="*/ 1131222 w 1141507"/>
                <a:gd name="connsiteY15" fmla="*/ 1446049 h 3245252"/>
                <a:gd name="connsiteX16" fmla="*/ 1140089 w 1141507"/>
                <a:gd name="connsiteY16" fmla="*/ 1901131 h 3245252"/>
                <a:gd name="connsiteX17" fmla="*/ 1113641 w 1141507"/>
                <a:gd name="connsiteY17" fmla="*/ 3211096 h 3245252"/>
                <a:gd name="connsiteX18" fmla="*/ 855214 w 1141507"/>
                <a:gd name="connsiteY18" fmla="*/ 3167501 h 3245252"/>
                <a:gd name="connsiteX19" fmla="*/ 686736 w 1141507"/>
                <a:gd name="connsiteY19" fmla="*/ 3101306 h 3245252"/>
                <a:gd name="connsiteX20" fmla="*/ 509390 w 1141507"/>
                <a:gd name="connsiteY20" fmla="*/ 3010290 h 3245252"/>
                <a:gd name="connsiteX21" fmla="*/ 411092 w 1141507"/>
                <a:gd name="connsiteY21" fmla="*/ 2929773 h 3245252"/>
                <a:gd name="connsiteX22" fmla="*/ 705354 w 1141507"/>
                <a:gd name="connsiteY22" fmla="*/ 2622137 h 3245252"/>
                <a:gd name="connsiteX23" fmla="*/ 421600 w 1141507"/>
                <a:gd name="connsiteY23" fmla="*/ 2084313 h 3245252"/>
                <a:gd name="connsiteX24" fmla="*/ 563950 w 1141507"/>
                <a:gd name="connsiteY24" fmla="*/ 1845228 h 3245252"/>
                <a:gd name="connsiteX25" fmla="*/ 377263 w 1141507"/>
                <a:gd name="connsiteY25" fmla="*/ 1306537 h 3245252"/>
                <a:gd name="connsiteX26" fmla="*/ 128979 w 1141507"/>
                <a:gd name="connsiteY26" fmla="*/ 1074859 h 3245252"/>
                <a:gd name="connsiteX27" fmla="*/ 120112 w 1141507"/>
                <a:gd name="connsiteY27" fmla="*/ 959020 h 3245252"/>
                <a:gd name="connsiteX28" fmla="*/ 0 w 1141507"/>
                <a:gd name="connsiteY28" fmla="*/ 165374 h 3245252"/>
                <a:gd name="connsiteX0" fmla="*/ 0 w 1141507"/>
                <a:gd name="connsiteY0" fmla="*/ 170240 h 3250118"/>
                <a:gd name="connsiteX1" fmla="*/ 235627 w 1141507"/>
                <a:gd name="connsiteY1" fmla="*/ 176686 h 3250118"/>
                <a:gd name="connsiteX2" fmla="*/ 358646 w 1141507"/>
                <a:gd name="connsiteY2" fmla="*/ 648731 h 3250118"/>
                <a:gd name="connsiteX3" fmla="*/ 660134 w 1141507"/>
                <a:gd name="connsiteY3" fmla="*/ 657005 h 3250118"/>
                <a:gd name="connsiteX4" fmla="*/ 837480 w 1141507"/>
                <a:gd name="connsiteY4" fmla="*/ 466698 h 3250118"/>
                <a:gd name="connsiteX5" fmla="*/ 943889 w 1141507"/>
                <a:gd name="connsiteY5" fmla="*/ 251568 h 3250118"/>
                <a:gd name="connsiteX6" fmla="*/ 900826 w 1141507"/>
                <a:gd name="connsiteY6" fmla="*/ 23729 h 3250118"/>
                <a:gd name="connsiteX7" fmla="*/ 976510 w 1141507"/>
                <a:gd name="connsiteY7" fmla="*/ 8178 h 3250118"/>
                <a:gd name="connsiteX8" fmla="*/ 1104665 w 1141507"/>
                <a:gd name="connsiteY8" fmla="*/ 33540 h 3250118"/>
                <a:gd name="connsiteX9" fmla="*/ 1003694 w 1141507"/>
                <a:gd name="connsiteY9" fmla="*/ 62534 h 3250118"/>
                <a:gd name="connsiteX10" fmla="*/ 988160 w 1141507"/>
                <a:gd name="connsiteY10" fmla="*/ 109641 h 3250118"/>
                <a:gd name="connsiteX11" fmla="*/ 1045830 w 1141507"/>
                <a:gd name="connsiteY11" fmla="*/ 194131 h 3250118"/>
                <a:gd name="connsiteX12" fmla="*/ 1081364 w 1141507"/>
                <a:gd name="connsiteY12" fmla="*/ 200233 h 3250118"/>
                <a:gd name="connsiteX13" fmla="*/ 1133984 w 1141507"/>
                <a:gd name="connsiteY13" fmla="*/ 206573 h 3250118"/>
                <a:gd name="connsiteX14" fmla="*/ 1129021 w 1141507"/>
                <a:gd name="connsiteY14" fmla="*/ 317348 h 3250118"/>
                <a:gd name="connsiteX15" fmla="*/ 1140090 w 1141507"/>
                <a:gd name="connsiteY15" fmla="*/ 648316 h 3250118"/>
                <a:gd name="connsiteX16" fmla="*/ 1131222 w 1141507"/>
                <a:gd name="connsiteY16" fmla="*/ 1450915 h 3250118"/>
                <a:gd name="connsiteX17" fmla="*/ 1140089 w 1141507"/>
                <a:gd name="connsiteY17" fmla="*/ 1905997 h 3250118"/>
                <a:gd name="connsiteX18" fmla="*/ 1113641 w 1141507"/>
                <a:gd name="connsiteY18" fmla="*/ 3215962 h 3250118"/>
                <a:gd name="connsiteX19" fmla="*/ 855214 w 1141507"/>
                <a:gd name="connsiteY19" fmla="*/ 3172367 h 3250118"/>
                <a:gd name="connsiteX20" fmla="*/ 686736 w 1141507"/>
                <a:gd name="connsiteY20" fmla="*/ 3106172 h 3250118"/>
                <a:gd name="connsiteX21" fmla="*/ 509390 w 1141507"/>
                <a:gd name="connsiteY21" fmla="*/ 3015156 h 3250118"/>
                <a:gd name="connsiteX22" fmla="*/ 411092 w 1141507"/>
                <a:gd name="connsiteY22" fmla="*/ 2934639 h 3250118"/>
                <a:gd name="connsiteX23" fmla="*/ 705354 w 1141507"/>
                <a:gd name="connsiteY23" fmla="*/ 2627003 h 3250118"/>
                <a:gd name="connsiteX24" fmla="*/ 421600 w 1141507"/>
                <a:gd name="connsiteY24" fmla="*/ 2089179 h 3250118"/>
                <a:gd name="connsiteX25" fmla="*/ 563950 w 1141507"/>
                <a:gd name="connsiteY25" fmla="*/ 1850094 h 3250118"/>
                <a:gd name="connsiteX26" fmla="*/ 377263 w 1141507"/>
                <a:gd name="connsiteY26" fmla="*/ 1311403 h 3250118"/>
                <a:gd name="connsiteX27" fmla="*/ 128979 w 1141507"/>
                <a:gd name="connsiteY27" fmla="*/ 1079725 h 3250118"/>
                <a:gd name="connsiteX28" fmla="*/ 120112 w 1141507"/>
                <a:gd name="connsiteY28" fmla="*/ 963886 h 3250118"/>
                <a:gd name="connsiteX29" fmla="*/ 0 w 1141507"/>
                <a:gd name="connsiteY29" fmla="*/ 170240 h 3250118"/>
                <a:gd name="connsiteX0" fmla="*/ 0 w 1141507"/>
                <a:gd name="connsiteY0" fmla="*/ 252685 h 3332563"/>
                <a:gd name="connsiteX1" fmla="*/ 235627 w 1141507"/>
                <a:gd name="connsiteY1" fmla="*/ 259131 h 3332563"/>
                <a:gd name="connsiteX2" fmla="*/ 358646 w 1141507"/>
                <a:gd name="connsiteY2" fmla="*/ 731176 h 3332563"/>
                <a:gd name="connsiteX3" fmla="*/ 660134 w 1141507"/>
                <a:gd name="connsiteY3" fmla="*/ 739450 h 3332563"/>
                <a:gd name="connsiteX4" fmla="*/ 837480 w 1141507"/>
                <a:gd name="connsiteY4" fmla="*/ 549143 h 3332563"/>
                <a:gd name="connsiteX5" fmla="*/ 943889 w 1141507"/>
                <a:gd name="connsiteY5" fmla="*/ 334013 h 3332563"/>
                <a:gd name="connsiteX6" fmla="*/ 900826 w 1141507"/>
                <a:gd name="connsiteY6" fmla="*/ 106174 h 3332563"/>
                <a:gd name="connsiteX7" fmla="*/ 984278 w 1141507"/>
                <a:gd name="connsiteY7" fmla="*/ 29 h 3332563"/>
                <a:gd name="connsiteX8" fmla="*/ 1104665 w 1141507"/>
                <a:gd name="connsiteY8" fmla="*/ 115985 h 3332563"/>
                <a:gd name="connsiteX9" fmla="*/ 1003694 w 1141507"/>
                <a:gd name="connsiteY9" fmla="*/ 144979 h 3332563"/>
                <a:gd name="connsiteX10" fmla="*/ 988160 w 1141507"/>
                <a:gd name="connsiteY10" fmla="*/ 192086 h 3332563"/>
                <a:gd name="connsiteX11" fmla="*/ 1045830 w 1141507"/>
                <a:gd name="connsiteY11" fmla="*/ 276576 h 3332563"/>
                <a:gd name="connsiteX12" fmla="*/ 1081364 w 1141507"/>
                <a:gd name="connsiteY12" fmla="*/ 282678 h 3332563"/>
                <a:gd name="connsiteX13" fmla="*/ 1133984 w 1141507"/>
                <a:gd name="connsiteY13" fmla="*/ 289018 h 3332563"/>
                <a:gd name="connsiteX14" fmla="*/ 1129021 w 1141507"/>
                <a:gd name="connsiteY14" fmla="*/ 399793 h 3332563"/>
                <a:gd name="connsiteX15" fmla="*/ 1140090 w 1141507"/>
                <a:gd name="connsiteY15" fmla="*/ 730761 h 3332563"/>
                <a:gd name="connsiteX16" fmla="*/ 1131222 w 1141507"/>
                <a:gd name="connsiteY16" fmla="*/ 1533360 h 3332563"/>
                <a:gd name="connsiteX17" fmla="*/ 1140089 w 1141507"/>
                <a:gd name="connsiteY17" fmla="*/ 1988442 h 3332563"/>
                <a:gd name="connsiteX18" fmla="*/ 1113641 w 1141507"/>
                <a:gd name="connsiteY18" fmla="*/ 3298407 h 3332563"/>
                <a:gd name="connsiteX19" fmla="*/ 855214 w 1141507"/>
                <a:gd name="connsiteY19" fmla="*/ 3254812 h 3332563"/>
                <a:gd name="connsiteX20" fmla="*/ 686736 w 1141507"/>
                <a:gd name="connsiteY20" fmla="*/ 3188617 h 3332563"/>
                <a:gd name="connsiteX21" fmla="*/ 509390 w 1141507"/>
                <a:gd name="connsiteY21" fmla="*/ 3097601 h 3332563"/>
                <a:gd name="connsiteX22" fmla="*/ 411092 w 1141507"/>
                <a:gd name="connsiteY22" fmla="*/ 3017084 h 3332563"/>
                <a:gd name="connsiteX23" fmla="*/ 705354 w 1141507"/>
                <a:gd name="connsiteY23" fmla="*/ 2709448 h 3332563"/>
                <a:gd name="connsiteX24" fmla="*/ 421600 w 1141507"/>
                <a:gd name="connsiteY24" fmla="*/ 2171624 h 3332563"/>
                <a:gd name="connsiteX25" fmla="*/ 563950 w 1141507"/>
                <a:gd name="connsiteY25" fmla="*/ 1932539 h 3332563"/>
                <a:gd name="connsiteX26" fmla="*/ 377263 w 1141507"/>
                <a:gd name="connsiteY26" fmla="*/ 1393848 h 3332563"/>
                <a:gd name="connsiteX27" fmla="*/ 128979 w 1141507"/>
                <a:gd name="connsiteY27" fmla="*/ 1162170 h 3332563"/>
                <a:gd name="connsiteX28" fmla="*/ 120112 w 1141507"/>
                <a:gd name="connsiteY28" fmla="*/ 1046331 h 3332563"/>
                <a:gd name="connsiteX29" fmla="*/ 0 w 1141507"/>
                <a:gd name="connsiteY29" fmla="*/ 252685 h 3332563"/>
                <a:gd name="connsiteX0" fmla="*/ 0 w 1141507"/>
                <a:gd name="connsiteY0" fmla="*/ 267175 h 3347053"/>
                <a:gd name="connsiteX1" fmla="*/ 235627 w 1141507"/>
                <a:gd name="connsiteY1" fmla="*/ 273621 h 3347053"/>
                <a:gd name="connsiteX2" fmla="*/ 358646 w 1141507"/>
                <a:gd name="connsiteY2" fmla="*/ 745666 h 3347053"/>
                <a:gd name="connsiteX3" fmla="*/ 660134 w 1141507"/>
                <a:gd name="connsiteY3" fmla="*/ 753940 h 3347053"/>
                <a:gd name="connsiteX4" fmla="*/ 837480 w 1141507"/>
                <a:gd name="connsiteY4" fmla="*/ 563633 h 3347053"/>
                <a:gd name="connsiteX5" fmla="*/ 943889 w 1141507"/>
                <a:gd name="connsiteY5" fmla="*/ 348503 h 3347053"/>
                <a:gd name="connsiteX6" fmla="*/ 900826 w 1141507"/>
                <a:gd name="connsiteY6" fmla="*/ 120664 h 3347053"/>
                <a:gd name="connsiteX7" fmla="*/ 972628 w 1141507"/>
                <a:gd name="connsiteY7" fmla="*/ 24 h 3347053"/>
                <a:gd name="connsiteX8" fmla="*/ 1104665 w 1141507"/>
                <a:gd name="connsiteY8" fmla="*/ 130475 h 3347053"/>
                <a:gd name="connsiteX9" fmla="*/ 1003694 w 1141507"/>
                <a:gd name="connsiteY9" fmla="*/ 159469 h 3347053"/>
                <a:gd name="connsiteX10" fmla="*/ 988160 w 1141507"/>
                <a:gd name="connsiteY10" fmla="*/ 206576 h 3347053"/>
                <a:gd name="connsiteX11" fmla="*/ 1045830 w 1141507"/>
                <a:gd name="connsiteY11" fmla="*/ 291066 h 3347053"/>
                <a:gd name="connsiteX12" fmla="*/ 1081364 w 1141507"/>
                <a:gd name="connsiteY12" fmla="*/ 297168 h 3347053"/>
                <a:gd name="connsiteX13" fmla="*/ 1133984 w 1141507"/>
                <a:gd name="connsiteY13" fmla="*/ 303508 h 3347053"/>
                <a:gd name="connsiteX14" fmla="*/ 1129021 w 1141507"/>
                <a:gd name="connsiteY14" fmla="*/ 414283 h 3347053"/>
                <a:gd name="connsiteX15" fmla="*/ 1140090 w 1141507"/>
                <a:gd name="connsiteY15" fmla="*/ 745251 h 3347053"/>
                <a:gd name="connsiteX16" fmla="*/ 1131222 w 1141507"/>
                <a:gd name="connsiteY16" fmla="*/ 1547850 h 3347053"/>
                <a:gd name="connsiteX17" fmla="*/ 1140089 w 1141507"/>
                <a:gd name="connsiteY17" fmla="*/ 2002932 h 3347053"/>
                <a:gd name="connsiteX18" fmla="*/ 1113641 w 1141507"/>
                <a:gd name="connsiteY18" fmla="*/ 3312897 h 3347053"/>
                <a:gd name="connsiteX19" fmla="*/ 855214 w 1141507"/>
                <a:gd name="connsiteY19" fmla="*/ 3269302 h 3347053"/>
                <a:gd name="connsiteX20" fmla="*/ 686736 w 1141507"/>
                <a:gd name="connsiteY20" fmla="*/ 3203107 h 3347053"/>
                <a:gd name="connsiteX21" fmla="*/ 509390 w 1141507"/>
                <a:gd name="connsiteY21" fmla="*/ 3112091 h 3347053"/>
                <a:gd name="connsiteX22" fmla="*/ 411092 w 1141507"/>
                <a:gd name="connsiteY22" fmla="*/ 3031574 h 3347053"/>
                <a:gd name="connsiteX23" fmla="*/ 705354 w 1141507"/>
                <a:gd name="connsiteY23" fmla="*/ 2723938 h 3347053"/>
                <a:gd name="connsiteX24" fmla="*/ 421600 w 1141507"/>
                <a:gd name="connsiteY24" fmla="*/ 2186114 h 3347053"/>
                <a:gd name="connsiteX25" fmla="*/ 563950 w 1141507"/>
                <a:gd name="connsiteY25" fmla="*/ 1947029 h 3347053"/>
                <a:gd name="connsiteX26" fmla="*/ 377263 w 1141507"/>
                <a:gd name="connsiteY26" fmla="*/ 1408338 h 3347053"/>
                <a:gd name="connsiteX27" fmla="*/ 128979 w 1141507"/>
                <a:gd name="connsiteY27" fmla="*/ 1176660 h 3347053"/>
                <a:gd name="connsiteX28" fmla="*/ 120112 w 1141507"/>
                <a:gd name="connsiteY28" fmla="*/ 1060821 h 3347053"/>
                <a:gd name="connsiteX29" fmla="*/ 0 w 1141507"/>
                <a:gd name="connsiteY29" fmla="*/ 267175 h 3347053"/>
                <a:gd name="connsiteX0" fmla="*/ 0 w 1141507"/>
                <a:gd name="connsiteY0" fmla="*/ 268912 h 3348790"/>
                <a:gd name="connsiteX1" fmla="*/ 235627 w 1141507"/>
                <a:gd name="connsiteY1" fmla="*/ 275358 h 3348790"/>
                <a:gd name="connsiteX2" fmla="*/ 358646 w 1141507"/>
                <a:gd name="connsiteY2" fmla="*/ 747403 h 3348790"/>
                <a:gd name="connsiteX3" fmla="*/ 660134 w 1141507"/>
                <a:gd name="connsiteY3" fmla="*/ 755677 h 3348790"/>
                <a:gd name="connsiteX4" fmla="*/ 837480 w 1141507"/>
                <a:gd name="connsiteY4" fmla="*/ 565370 h 3348790"/>
                <a:gd name="connsiteX5" fmla="*/ 943889 w 1141507"/>
                <a:gd name="connsiteY5" fmla="*/ 350240 h 3348790"/>
                <a:gd name="connsiteX6" fmla="*/ 900826 w 1141507"/>
                <a:gd name="connsiteY6" fmla="*/ 122401 h 3348790"/>
                <a:gd name="connsiteX7" fmla="*/ 972628 w 1141507"/>
                <a:gd name="connsiteY7" fmla="*/ 1761 h 3348790"/>
                <a:gd name="connsiteX8" fmla="*/ 1042530 w 1141507"/>
                <a:gd name="connsiteY8" fmla="*/ 56116 h 3348790"/>
                <a:gd name="connsiteX9" fmla="*/ 1104665 w 1141507"/>
                <a:gd name="connsiteY9" fmla="*/ 132212 h 3348790"/>
                <a:gd name="connsiteX10" fmla="*/ 1003694 w 1141507"/>
                <a:gd name="connsiteY10" fmla="*/ 161206 h 3348790"/>
                <a:gd name="connsiteX11" fmla="*/ 988160 w 1141507"/>
                <a:gd name="connsiteY11" fmla="*/ 208313 h 3348790"/>
                <a:gd name="connsiteX12" fmla="*/ 1045830 w 1141507"/>
                <a:gd name="connsiteY12" fmla="*/ 292803 h 3348790"/>
                <a:gd name="connsiteX13" fmla="*/ 1081364 w 1141507"/>
                <a:gd name="connsiteY13" fmla="*/ 298905 h 3348790"/>
                <a:gd name="connsiteX14" fmla="*/ 1133984 w 1141507"/>
                <a:gd name="connsiteY14" fmla="*/ 305245 h 3348790"/>
                <a:gd name="connsiteX15" fmla="*/ 1129021 w 1141507"/>
                <a:gd name="connsiteY15" fmla="*/ 416020 h 3348790"/>
                <a:gd name="connsiteX16" fmla="*/ 1140090 w 1141507"/>
                <a:gd name="connsiteY16" fmla="*/ 746988 h 3348790"/>
                <a:gd name="connsiteX17" fmla="*/ 1131222 w 1141507"/>
                <a:gd name="connsiteY17" fmla="*/ 1549587 h 3348790"/>
                <a:gd name="connsiteX18" fmla="*/ 1140089 w 1141507"/>
                <a:gd name="connsiteY18" fmla="*/ 2004669 h 3348790"/>
                <a:gd name="connsiteX19" fmla="*/ 1113641 w 1141507"/>
                <a:gd name="connsiteY19" fmla="*/ 3314634 h 3348790"/>
                <a:gd name="connsiteX20" fmla="*/ 855214 w 1141507"/>
                <a:gd name="connsiteY20" fmla="*/ 3271039 h 3348790"/>
                <a:gd name="connsiteX21" fmla="*/ 686736 w 1141507"/>
                <a:gd name="connsiteY21" fmla="*/ 3204844 h 3348790"/>
                <a:gd name="connsiteX22" fmla="*/ 509390 w 1141507"/>
                <a:gd name="connsiteY22" fmla="*/ 3113828 h 3348790"/>
                <a:gd name="connsiteX23" fmla="*/ 411092 w 1141507"/>
                <a:gd name="connsiteY23" fmla="*/ 3033311 h 3348790"/>
                <a:gd name="connsiteX24" fmla="*/ 705354 w 1141507"/>
                <a:gd name="connsiteY24" fmla="*/ 2725675 h 3348790"/>
                <a:gd name="connsiteX25" fmla="*/ 421600 w 1141507"/>
                <a:gd name="connsiteY25" fmla="*/ 2187851 h 3348790"/>
                <a:gd name="connsiteX26" fmla="*/ 563950 w 1141507"/>
                <a:gd name="connsiteY26" fmla="*/ 1948766 h 3348790"/>
                <a:gd name="connsiteX27" fmla="*/ 377263 w 1141507"/>
                <a:gd name="connsiteY27" fmla="*/ 1410075 h 3348790"/>
                <a:gd name="connsiteX28" fmla="*/ 128979 w 1141507"/>
                <a:gd name="connsiteY28" fmla="*/ 1178397 h 3348790"/>
                <a:gd name="connsiteX29" fmla="*/ 120112 w 1141507"/>
                <a:gd name="connsiteY29" fmla="*/ 1062558 h 3348790"/>
                <a:gd name="connsiteX30" fmla="*/ 0 w 1141507"/>
                <a:gd name="connsiteY30" fmla="*/ 268912 h 3348790"/>
                <a:gd name="connsiteX0" fmla="*/ 0 w 1141507"/>
                <a:gd name="connsiteY0" fmla="*/ 268912 h 3348790"/>
                <a:gd name="connsiteX1" fmla="*/ 235627 w 1141507"/>
                <a:gd name="connsiteY1" fmla="*/ 275358 h 3348790"/>
                <a:gd name="connsiteX2" fmla="*/ 358646 w 1141507"/>
                <a:gd name="connsiteY2" fmla="*/ 747403 h 3348790"/>
                <a:gd name="connsiteX3" fmla="*/ 660134 w 1141507"/>
                <a:gd name="connsiteY3" fmla="*/ 755677 h 3348790"/>
                <a:gd name="connsiteX4" fmla="*/ 837480 w 1141507"/>
                <a:gd name="connsiteY4" fmla="*/ 565370 h 3348790"/>
                <a:gd name="connsiteX5" fmla="*/ 943889 w 1141507"/>
                <a:gd name="connsiteY5" fmla="*/ 350240 h 3348790"/>
                <a:gd name="connsiteX6" fmla="*/ 900826 w 1141507"/>
                <a:gd name="connsiteY6" fmla="*/ 122401 h 3348790"/>
                <a:gd name="connsiteX7" fmla="*/ 972628 w 1141507"/>
                <a:gd name="connsiteY7" fmla="*/ 1761 h 3348790"/>
                <a:gd name="connsiteX8" fmla="*/ 1042530 w 1141507"/>
                <a:gd name="connsiteY8" fmla="*/ 56116 h 3348790"/>
                <a:gd name="connsiteX9" fmla="*/ 1104665 w 1141507"/>
                <a:gd name="connsiteY9" fmla="*/ 132212 h 3348790"/>
                <a:gd name="connsiteX10" fmla="*/ 1003694 w 1141507"/>
                <a:gd name="connsiteY10" fmla="*/ 161206 h 3348790"/>
                <a:gd name="connsiteX11" fmla="*/ 988160 w 1141507"/>
                <a:gd name="connsiteY11" fmla="*/ 208313 h 3348790"/>
                <a:gd name="connsiteX12" fmla="*/ 1045830 w 1141507"/>
                <a:gd name="connsiteY12" fmla="*/ 292803 h 3348790"/>
                <a:gd name="connsiteX13" fmla="*/ 1081364 w 1141507"/>
                <a:gd name="connsiteY13" fmla="*/ 298905 h 3348790"/>
                <a:gd name="connsiteX14" fmla="*/ 1133984 w 1141507"/>
                <a:gd name="connsiteY14" fmla="*/ 305245 h 3348790"/>
                <a:gd name="connsiteX15" fmla="*/ 1129021 w 1141507"/>
                <a:gd name="connsiteY15" fmla="*/ 416020 h 3348790"/>
                <a:gd name="connsiteX16" fmla="*/ 1140090 w 1141507"/>
                <a:gd name="connsiteY16" fmla="*/ 746988 h 3348790"/>
                <a:gd name="connsiteX17" fmla="*/ 1131222 w 1141507"/>
                <a:gd name="connsiteY17" fmla="*/ 1549587 h 3348790"/>
                <a:gd name="connsiteX18" fmla="*/ 1140089 w 1141507"/>
                <a:gd name="connsiteY18" fmla="*/ 2004669 h 3348790"/>
                <a:gd name="connsiteX19" fmla="*/ 1113641 w 1141507"/>
                <a:gd name="connsiteY19" fmla="*/ 3314634 h 3348790"/>
                <a:gd name="connsiteX20" fmla="*/ 855214 w 1141507"/>
                <a:gd name="connsiteY20" fmla="*/ 3271039 h 3348790"/>
                <a:gd name="connsiteX21" fmla="*/ 686736 w 1141507"/>
                <a:gd name="connsiteY21" fmla="*/ 3204844 h 3348790"/>
                <a:gd name="connsiteX22" fmla="*/ 509390 w 1141507"/>
                <a:gd name="connsiteY22" fmla="*/ 3113828 h 3348790"/>
                <a:gd name="connsiteX23" fmla="*/ 411092 w 1141507"/>
                <a:gd name="connsiteY23" fmla="*/ 3033311 h 3348790"/>
                <a:gd name="connsiteX24" fmla="*/ 705354 w 1141507"/>
                <a:gd name="connsiteY24" fmla="*/ 2725675 h 3348790"/>
                <a:gd name="connsiteX25" fmla="*/ 421600 w 1141507"/>
                <a:gd name="connsiteY25" fmla="*/ 2187851 h 3348790"/>
                <a:gd name="connsiteX26" fmla="*/ 563950 w 1141507"/>
                <a:gd name="connsiteY26" fmla="*/ 1948766 h 3348790"/>
                <a:gd name="connsiteX27" fmla="*/ 377263 w 1141507"/>
                <a:gd name="connsiteY27" fmla="*/ 1410075 h 3348790"/>
                <a:gd name="connsiteX28" fmla="*/ 128979 w 1141507"/>
                <a:gd name="connsiteY28" fmla="*/ 1178397 h 3348790"/>
                <a:gd name="connsiteX29" fmla="*/ 120112 w 1141507"/>
                <a:gd name="connsiteY29" fmla="*/ 1062558 h 3348790"/>
                <a:gd name="connsiteX30" fmla="*/ 0 w 1141507"/>
                <a:gd name="connsiteY30" fmla="*/ 268912 h 3348790"/>
                <a:gd name="connsiteX0" fmla="*/ 0 w 1141507"/>
                <a:gd name="connsiteY0" fmla="*/ 269035 h 3348913"/>
                <a:gd name="connsiteX1" fmla="*/ 235627 w 1141507"/>
                <a:gd name="connsiteY1" fmla="*/ 275481 h 3348913"/>
                <a:gd name="connsiteX2" fmla="*/ 358646 w 1141507"/>
                <a:gd name="connsiteY2" fmla="*/ 747526 h 3348913"/>
                <a:gd name="connsiteX3" fmla="*/ 660134 w 1141507"/>
                <a:gd name="connsiteY3" fmla="*/ 755800 h 3348913"/>
                <a:gd name="connsiteX4" fmla="*/ 837480 w 1141507"/>
                <a:gd name="connsiteY4" fmla="*/ 565493 h 3348913"/>
                <a:gd name="connsiteX5" fmla="*/ 943889 w 1141507"/>
                <a:gd name="connsiteY5" fmla="*/ 350363 h 3348913"/>
                <a:gd name="connsiteX6" fmla="*/ 900826 w 1141507"/>
                <a:gd name="connsiteY6" fmla="*/ 122524 h 3348913"/>
                <a:gd name="connsiteX7" fmla="*/ 972628 w 1141507"/>
                <a:gd name="connsiteY7" fmla="*/ 1884 h 3348913"/>
                <a:gd name="connsiteX8" fmla="*/ 1042530 w 1141507"/>
                <a:gd name="connsiteY8" fmla="*/ 56239 h 3348913"/>
                <a:gd name="connsiteX9" fmla="*/ 1104665 w 1141507"/>
                <a:gd name="connsiteY9" fmla="*/ 132335 h 3348913"/>
                <a:gd name="connsiteX10" fmla="*/ 1003694 w 1141507"/>
                <a:gd name="connsiteY10" fmla="*/ 161329 h 3348913"/>
                <a:gd name="connsiteX11" fmla="*/ 988160 w 1141507"/>
                <a:gd name="connsiteY11" fmla="*/ 208436 h 3348913"/>
                <a:gd name="connsiteX12" fmla="*/ 1045830 w 1141507"/>
                <a:gd name="connsiteY12" fmla="*/ 292926 h 3348913"/>
                <a:gd name="connsiteX13" fmla="*/ 1081364 w 1141507"/>
                <a:gd name="connsiteY13" fmla="*/ 299028 h 3348913"/>
                <a:gd name="connsiteX14" fmla="*/ 1133984 w 1141507"/>
                <a:gd name="connsiteY14" fmla="*/ 305368 h 3348913"/>
                <a:gd name="connsiteX15" fmla="*/ 1129021 w 1141507"/>
                <a:gd name="connsiteY15" fmla="*/ 416143 h 3348913"/>
                <a:gd name="connsiteX16" fmla="*/ 1140090 w 1141507"/>
                <a:gd name="connsiteY16" fmla="*/ 747111 h 3348913"/>
                <a:gd name="connsiteX17" fmla="*/ 1131222 w 1141507"/>
                <a:gd name="connsiteY17" fmla="*/ 1549710 h 3348913"/>
                <a:gd name="connsiteX18" fmla="*/ 1140089 w 1141507"/>
                <a:gd name="connsiteY18" fmla="*/ 2004792 h 3348913"/>
                <a:gd name="connsiteX19" fmla="*/ 1113641 w 1141507"/>
                <a:gd name="connsiteY19" fmla="*/ 3314757 h 3348913"/>
                <a:gd name="connsiteX20" fmla="*/ 855214 w 1141507"/>
                <a:gd name="connsiteY20" fmla="*/ 3271162 h 3348913"/>
                <a:gd name="connsiteX21" fmla="*/ 686736 w 1141507"/>
                <a:gd name="connsiteY21" fmla="*/ 3204967 h 3348913"/>
                <a:gd name="connsiteX22" fmla="*/ 509390 w 1141507"/>
                <a:gd name="connsiteY22" fmla="*/ 3113951 h 3348913"/>
                <a:gd name="connsiteX23" fmla="*/ 411092 w 1141507"/>
                <a:gd name="connsiteY23" fmla="*/ 3033434 h 3348913"/>
                <a:gd name="connsiteX24" fmla="*/ 705354 w 1141507"/>
                <a:gd name="connsiteY24" fmla="*/ 2725798 h 3348913"/>
                <a:gd name="connsiteX25" fmla="*/ 421600 w 1141507"/>
                <a:gd name="connsiteY25" fmla="*/ 2187974 h 3348913"/>
                <a:gd name="connsiteX26" fmla="*/ 563950 w 1141507"/>
                <a:gd name="connsiteY26" fmla="*/ 1948889 h 3348913"/>
                <a:gd name="connsiteX27" fmla="*/ 377263 w 1141507"/>
                <a:gd name="connsiteY27" fmla="*/ 1410198 h 3348913"/>
                <a:gd name="connsiteX28" fmla="*/ 128979 w 1141507"/>
                <a:gd name="connsiteY28" fmla="*/ 1178520 h 3348913"/>
                <a:gd name="connsiteX29" fmla="*/ 120112 w 1141507"/>
                <a:gd name="connsiteY29" fmla="*/ 1062681 h 3348913"/>
                <a:gd name="connsiteX30" fmla="*/ 0 w 1141507"/>
                <a:gd name="connsiteY30" fmla="*/ 269035 h 3348913"/>
                <a:gd name="connsiteX0" fmla="*/ 0 w 1141507"/>
                <a:gd name="connsiteY0" fmla="*/ 269035 h 3348913"/>
                <a:gd name="connsiteX1" fmla="*/ 235627 w 1141507"/>
                <a:gd name="connsiteY1" fmla="*/ 275481 h 3348913"/>
                <a:gd name="connsiteX2" fmla="*/ 358646 w 1141507"/>
                <a:gd name="connsiteY2" fmla="*/ 747526 h 3348913"/>
                <a:gd name="connsiteX3" fmla="*/ 660134 w 1141507"/>
                <a:gd name="connsiteY3" fmla="*/ 755800 h 3348913"/>
                <a:gd name="connsiteX4" fmla="*/ 837480 w 1141507"/>
                <a:gd name="connsiteY4" fmla="*/ 565493 h 3348913"/>
                <a:gd name="connsiteX5" fmla="*/ 943889 w 1141507"/>
                <a:gd name="connsiteY5" fmla="*/ 350363 h 3348913"/>
                <a:gd name="connsiteX6" fmla="*/ 900826 w 1141507"/>
                <a:gd name="connsiteY6" fmla="*/ 122524 h 3348913"/>
                <a:gd name="connsiteX7" fmla="*/ 937674 w 1141507"/>
                <a:gd name="connsiteY7" fmla="*/ 23626 h 3348913"/>
                <a:gd name="connsiteX8" fmla="*/ 972628 w 1141507"/>
                <a:gd name="connsiteY8" fmla="*/ 1884 h 3348913"/>
                <a:gd name="connsiteX9" fmla="*/ 1042530 w 1141507"/>
                <a:gd name="connsiteY9" fmla="*/ 56239 h 3348913"/>
                <a:gd name="connsiteX10" fmla="*/ 1104665 w 1141507"/>
                <a:gd name="connsiteY10" fmla="*/ 132335 h 3348913"/>
                <a:gd name="connsiteX11" fmla="*/ 1003694 w 1141507"/>
                <a:gd name="connsiteY11" fmla="*/ 161329 h 3348913"/>
                <a:gd name="connsiteX12" fmla="*/ 988160 w 1141507"/>
                <a:gd name="connsiteY12" fmla="*/ 208436 h 3348913"/>
                <a:gd name="connsiteX13" fmla="*/ 1045830 w 1141507"/>
                <a:gd name="connsiteY13" fmla="*/ 292926 h 3348913"/>
                <a:gd name="connsiteX14" fmla="*/ 1081364 w 1141507"/>
                <a:gd name="connsiteY14" fmla="*/ 299028 h 3348913"/>
                <a:gd name="connsiteX15" fmla="*/ 1133984 w 1141507"/>
                <a:gd name="connsiteY15" fmla="*/ 305368 h 3348913"/>
                <a:gd name="connsiteX16" fmla="*/ 1129021 w 1141507"/>
                <a:gd name="connsiteY16" fmla="*/ 416143 h 3348913"/>
                <a:gd name="connsiteX17" fmla="*/ 1140090 w 1141507"/>
                <a:gd name="connsiteY17" fmla="*/ 747111 h 3348913"/>
                <a:gd name="connsiteX18" fmla="*/ 1131222 w 1141507"/>
                <a:gd name="connsiteY18" fmla="*/ 1549710 h 3348913"/>
                <a:gd name="connsiteX19" fmla="*/ 1140089 w 1141507"/>
                <a:gd name="connsiteY19" fmla="*/ 2004792 h 3348913"/>
                <a:gd name="connsiteX20" fmla="*/ 1113641 w 1141507"/>
                <a:gd name="connsiteY20" fmla="*/ 3314757 h 3348913"/>
                <a:gd name="connsiteX21" fmla="*/ 855214 w 1141507"/>
                <a:gd name="connsiteY21" fmla="*/ 3271162 h 3348913"/>
                <a:gd name="connsiteX22" fmla="*/ 686736 w 1141507"/>
                <a:gd name="connsiteY22" fmla="*/ 3204967 h 3348913"/>
                <a:gd name="connsiteX23" fmla="*/ 509390 w 1141507"/>
                <a:gd name="connsiteY23" fmla="*/ 3113951 h 3348913"/>
                <a:gd name="connsiteX24" fmla="*/ 411092 w 1141507"/>
                <a:gd name="connsiteY24" fmla="*/ 3033434 h 3348913"/>
                <a:gd name="connsiteX25" fmla="*/ 705354 w 1141507"/>
                <a:gd name="connsiteY25" fmla="*/ 2725798 h 3348913"/>
                <a:gd name="connsiteX26" fmla="*/ 421600 w 1141507"/>
                <a:gd name="connsiteY26" fmla="*/ 2187974 h 3348913"/>
                <a:gd name="connsiteX27" fmla="*/ 563950 w 1141507"/>
                <a:gd name="connsiteY27" fmla="*/ 1948889 h 3348913"/>
                <a:gd name="connsiteX28" fmla="*/ 377263 w 1141507"/>
                <a:gd name="connsiteY28" fmla="*/ 1410198 h 3348913"/>
                <a:gd name="connsiteX29" fmla="*/ 128979 w 1141507"/>
                <a:gd name="connsiteY29" fmla="*/ 1178520 h 3348913"/>
                <a:gd name="connsiteX30" fmla="*/ 120112 w 1141507"/>
                <a:gd name="connsiteY30" fmla="*/ 1062681 h 3348913"/>
                <a:gd name="connsiteX31" fmla="*/ 0 w 1141507"/>
                <a:gd name="connsiteY31" fmla="*/ 269035 h 3348913"/>
                <a:gd name="connsiteX0" fmla="*/ 0 w 1141507"/>
                <a:gd name="connsiteY0" fmla="*/ 277422 h 3357300"/>
                <a:gd name="connsiteX1" fmla="*/ 235627 w 1141507"/>
                <a:gd name="connsiteY1" fmla="*/ 283868 h 3357300"/>
                <a:gd name="connsiteX2" fmla="*/ 358646 w 1141507"/>
                <a:gd name="connsiteY2" fmla="*/ 755913 h 3357300"/>
                <a:gd name="connsiteX3" fmla="*/ 660134 w 1141507"/>
                <a:gd name="connsiteY3" fmla="*/ 764187 h 3357300"/>
                <a:gd name="connsiteX4" fmla="*/ 837480 w 1141507"/>
                <a:gd name="connsiteY4" fmla="*/ 573880 h 3357300"/>
                <a:gd name="connsiteX5" fmla="*/ 943889 w 1141507"/>
                <a:gd name="connsiteY5" fmla="*/ 358750 h 3357300"/>
                <a:gd name="connsiteX6" fmla="*/ 900826 w 1141507"/>
                <a:gd name="connsiteY6" fmla="*/ 130911 h 3357300"/>
                <a:gd name="connsiteX7" fmla="*/ 902723 w 1141507"/>
                <a:gd name="connsiteY7" fmla="*/ 10271 h 3357300"/>
                <a:gd name="connsiteX8" fmla="*/ 972628 w 1141507"/>
                <a:gd name="connsiteY8" fmla="*/ 10271 h 3357300"/>
                <a:gd name="connsiteX9" fmla="*/ 1042530 w 1141507"/>
                <a:gd name="connsiteY9" fmla="*/ 64626 h 3357300"/>
                <a:gd name="connsiteX10" fmla="*/ 1104665 w 1141507"/>
                <a:gd name="connsiteY10" fmla="*/ 140722 h 3357300"/>
                <a:gd name="connsiteX11" fmla="*/ 1003694 w 1141507"/>
                <a:gd name="connsiteY11" fmla="*/ 169716 h 3357300"/>
                <a:gd name="connsiteX12" fmla="*/ 988160 w 1141507"/>
                <a:gd name="connsiteY12" fmla="*/ 216823 h 3357300"/>
                <a:gd name="connsiteX13" fmla="*/ 1045830 w 1141507"/>
                <a:gd name="connsiteY13" fmla="*/ 301313 h 3357300"/>
                <a:gd name="connsiteX14" fmla="*/ 1081364 w 1141507"/>
                <a:gd name="connsiteY14" fmla="*/ 307415 h 3357300"/>
                <a:gd name="connsiteX15" fmla="*/ 1133984 w 1141507"/>
                <a:gd name="connsiteY15" fmla="*/ 313755 h 3357300"/>
                <a:gd name="connsiteX16" fmla="*/ 1129021 w 1141507"/>
                <a:gd name="connsiteY16" fmla="*/ 424530 h 3357300"/>
                <a:gd name="connsiteX17" fmla="*/ 1140090 w 1141507"/>
                <a:gd name="connsiteY17" fmla="*/ 755498 h 3357300"/>
                <a:gd name="connsiteX18" fmla="*/ 1131222 w 1141507"/>
                <a:gd name="connsiteY18" fmla="*/ 1558097 h 3357300"/>
                <a:gd name="connsiteX19" fmla="*/ 1140089 w 1141507"/>
                <a:gd name="connsiteY19" fmla="*/ 2013179 h 3357300"/>
                <a:gd name="connsiteX20" fmla="*/ 1113641 w 1141507"/>
                <a:gd name="connsiteY20" fmla="*/ 3323144 h 3357300"/>
                <a:gd name="connsiteX21" fmla="*/ 855214 w 1141507"/>
                <a:gd name="connsiteY21" fmla="*/ 3279549 h 3357300"/>
                <a:gd name="connsiteX22" fmla="*/ 686736 w 1141507"/>
                <a:gd name="connsiteY22" fmla="*/ 3213354 h 3357300"/>
                <a:gd name="connsiteX23" fmla="*/ 509390 w 1141507"/>
                <a:gd name="connsiteY23" fmla="*/ 3122338 h 3357300"/>
                <a:gd name="connsiteX24" fmla="*/ 411092 w 1141507"/>
                <a:gd name="connsiteY24" fmla="*/ 3041821 h 3357300"/>
                <a:gd name="connsiteX25" fmla="*/ 705354 w 1141507"/>
                <a:gd name="connsiteY25" fmla="*/ 2734185 h 3357300"/>
                <a:gd name="connsiteX26" fmla="*/ 421600 w 1141507"/>
                <a:gd name="connsiteY26" fmla="*/ 2196361 h 3357300"/>
                <a:gd name="connsiteX27" fmla="*/ 563950 w 1141507"/>
                <a:gd name="connsiteY27" fmla="*/ 1957276 h 3357300"/>
                <a:gd name="connsiteX28" fmla="*/ 377263 w 1141507"/>
                <a:gd name="connsiteY28" fmla="*/ 1418585 h 3357300"/>
                <a:gd name="connsiteX29" fmla="*/ 128979 w 1141507"/>
                <a:gd name="connsiteY29" fmla="*/ 1186907 h 3357300"/>
                <a:gd name="connsiteX30" fmla="*/ 120112 w 1141507"/>
                <a:gd name="connsiteY30" fmla="*/ 1071068 h 3357300"/>
                <a:gd name="connsiteX31" fmla="*/ 0 w 1141507"/>
                <a:gd name="connsiteY31" fmla="*/ 277422 h 3357300"/>
                <a:gd name="connsiteX0" fmla="*/ 0 w 1141507"/>
                <a:gd name="connsiteY0" fmla="*/ 280353 h 3360231"/>
                <a:gd name="connsiteX1" fmla="*/ 235627 w 1141507"/>
                <a:gd name="connsiteY1" fmla="*/ 286799 h 3360231"/>
                <a:gd name="connsiteX2" fmla="*/ 358646 w 1141507"/>
                <a:gd name="connsiteY2" fmla="*/ 758844 h 3360231"/>
                <a:gd name="connsiteX3" fmla="*/ 660134 w 1141507"/>
                <a:gd name="connsiteY3" fmla="*/ 767118 h 3360231"/>
                <a:gd name="connsiteX4" fmla="*/ 837480 w 1141507"/>
                <a:gd name="connsiteY4" fmla="*/ 576811 h 3360231"/>
                <a:gd name="connsiteX5" fmla="*/ 943889 w 1141507"/>
                <a:gd name="connsiteY5" fmla="*/ 361681 h 3360231"/>
                <a:gd name="connsiteX6" fmla="*/ 900826 w 1141507"/>
                <a:gd name="connsiteY6" fmla="*/ 133842 h 3360231"/>
                <a:gd name="connsiteX7" fmla="*/ 902723 w 1141507"/>
                <a:gd name="connsiteY7" fmla="*/ 13202 h 3360231"/>
                <a:gd name="connsiteX8" fmla="*/ 960977 w 1141507"/>
                <a:gd name="connsiteY8" fmla="*/ 5954 h 3360231"/>
                <a:gd name="connsiteX9" fmla="*/ 1042530 w 1141507"/>
                <a:gd name="connsiteY9" fmla="*/ 67557 h 3360231"/>
                <a:gd name="connsiteX10" fmla="*/ 1104665 w 1141507"/>
                <a:gd name="connsiteY10" fmla="*/ 143653 h 3360231"/>
                <a:gd name="connsiteX11" fmla="*/ 1003694 w 1141507"/>
                <a:gd name="connsiteY11" fmla="*/ 172647 h 3360231"/>
                <a:gd name="connsiteX12" fmla="*/ 988160 w 1141507"/>
                <a:gd name="connsiteY12" fmla="*/ 219754 h 3360231"/>
                <a:gd name="connsiteX13" fmla="*/ 1045830 w 1141507"/>
                <a:gd name="connsiteY13" fmla="*/ 304244 h 3360231"/>
                <a:gd name="connsiteX14" fmla="*/ 1081364 w 1141507"/>
                <a:gd name="connsiteY14" fmla="*/ 310346 h 3360231"/>
                <a:gd name="connsiteX15" fmla="*/ 1133984 w 1141507"/>
                <a:gd name="connsiteY15" fmla="*/ 316686 h 3360231"/>
                <a:gd name="connsiteX16" fmla="*/ 1129021 w 1141507"/>
                <a:gd name="connsiteY16" fmla="*/ 427461 h 3360231"/>
                <a:gd name="connsiteX17" fmla="*/ 1140090 w 1141507"/>
                <a:gd name="connsiteY17" fmla="*/ 758429 h 3360231"/>
                <a:gd name="connsiteX18" fmla="*/ 1131222 w 1141507"/>
                <a:gd name="connsiteY18" fmla="*/ 1561028 h 3360231"/>
                <a:gd name="connsiteX19" fmla="*/ 1140089 w 1141507"/>
                <a:gd name="connsiteY19" fmla="*/ 2016110 h 3360231"/>
                <a:gd name="connsiteX20" fmla="*/ 1113641 w 1141507"/>
                <a:gd name="connsiteY20" fmla="*/ 3326075 h 3360231"/>
                <a:gd name="connsiteX21" fmla="*/ 855214 w 1141507"/>
                <a:gd name="connsiteY21" fmla="*/ 3282480 h 3360231"/>
                <a:gd name="connsiteX22" fmla="*/ 686736 w 1141507"/>
                <a:gd name="connsiteY22" fmla="*/ 3216285 h 3360231"/>
                <a:gd name="connsiteX23" fmla="*/ 509390 w 1141507"/>
                <a:gd name="connsiteY23" fmla="*/ 3125269 h 3360231"/>
                <a:gd name="connsiteX24" fmla="*/ 411092 w 1141507"/>
                <a:gd name="connsiteY24" fmla="*/ 3044752 h 3360231"/>
                <a:gd name="connsiteX25" fmla="*/ 705354 w 1141507"/>
                <a:gd name="connsiteY25" fmla="*/ 2737116 h 3360231"/>
                <a:gd name="connsiteX26" fmla="*/ 421600 w 1141507"/>
                <a:gd name="connsiteY26" fmla="*/ 2199292 h 3360231"/>
                <a:gd name="connsiteX27" fmla="*/ 563950 w 1141507"/>
                <a:gd name="connsiteY27" fmla="*/ 1960207 h 3360231"/>
                <a:gd name="connsiteX28" fmla="*/ 377263 w 1141507"/>
                <a:gd name="connsiteY28" fmla="*/ 1421516 h 3360231"/>
                <a:gd name="connsiteX29" fmla="*/ 128979 w 1141507"/>
                <a:gd name="connsiteY29" fmla="*/ 1189838 h 3360231"/>
                <a:gd name="connsiteX30" fmla="*/ 120112 w 1141507"/>
                <a:gd name="connsiteY30" fmla="*/ 1073999 h 3360231"/>
                <a:gd name="connsiteX31" fmla="*/ 0 w 1141507"/>
                <a:gd name="connsiteY31" fmla="*/ 280353 h 3360231"/>
                <a:gd name="connsiteX0" fmla="*/ 0 w 1141507"/>
                <a:gd name="connsiteY0" fmla="*/ 289976 h 3369854"/>
                <a:gd name="connsiteX1" fmla="*/ 235627 w 1141507"/>
                <a:gd name="connsiteY1" fmla="*/ 296422 h 3369854"/>
                <a:gd name="connsiteX2" fmla="*/ 358646 w 1141507"/>
                <a:gd name="connsiteY2" fmla="*/ 768467 h 3369854"/>
                <a:gd name="connsiteX3" fmla="*/ 660134 w 1141507"/>
                <a:gd name="connsiteY3" fmla="*/ 776741 h 3369854"/>
                <a:gd name="connsiteX4" fmla="*/ 837480 w 1141507"/>
                <a:gd name="connsiteY4" fmla="*/ 586434 h 3369854"/>
                <a:gd name="connsiteX5" fmla="*/ 943889 w 1141507"/>
                <a:gd name="connsiteY5" fmla="*/ 371304 h 3369854"/>
                <a:gd name="connsiteX6" fmla="*/ 900826 w 1141507"/>
                <a:gd name="connsiteY6" fmla="*/ 143465 h 3369854"/>
                <a:gd name="connsiteX7" fmla="*/ 774567 w 1141507"/>
                <a:gd name="connsiteY7" fmla="*/ 8330 h 3369854"/>
                <a:gd name="connsiteX8" fmla="*/ 960977 w 1141507"/>
                <a:gd name="connsiteY8" fmla="*/ 15577 h 3369854"/>
                <a:gd name="connsiteX9" fmla="*/ 1042530 w 1141507"/>
                <a:gd name="connsiteY9" fmla="*/ 77180 h 3369854"/>
                <a:gd name="connsiteX10" fmla="*/ 1104665 w 1141507"/>
                <a:gd name="connsiteY10" fmla="*/ 153276 h 3369854"/>
                <a:gd name="connsiteX11" fmla="*/ 1003694 w 1141507"/>
                <a:gd name="connsiteY11" fmla="*/ 182270 h 3369854"/>
                <a:gd name="connsiteX12" fmla="*/ 988160 w 1141507"/>
                <a:gd name="connsiteY12" fmla="*/ 229377 h 3369854"/>
                <a:gd name="connsiteX13" fmla="*/ 1045830 w 1141507"/>
                <a:gd name="connsiteY13" fmla="*/ 313867 h 3369854"/>
                <a:gd name="connsiteX14" fmla="*/ 1081364 w 1141507"/>
                <a:gd name="connsiteY14" fmla="*/ 319969 h 3369854"/>
                <a:gd name="connsiteX15" fmla="*/ 1133984 w 1141507"/>
                <a:gd name="connsiteY15" fmla="*/ 326309 h 3369854"/>
                <a:gd name="connsiteX16" fmla="*/ 1129021 w 1141507"/>
                <a:gd name="connsiteY16" fmla="*/ 437084 h 3369854"/>
                <a:gd name="connsiteX17" fmla="*/ 1140090 w 1141507"/>
                <a:gd name="connsiteY17" fmla="*/ 768052 h 3369854"/>
                <a:gd name="connsiteX18" fmla="*/ 1131222 w 1141507"/>
                <a:gd name="connsiteY18" fmla="*/ 1570651 h 3369854"/>
                <a:gd name="connsiteX19" fmla="*/ 1140089 w 1141507"/>
                <a:gd name="connsiteY19" fmla="*/ 2025733 h 3369854"/>
                <a:gd name="connsiteX20" fmla="*/ 1113641 w 1141507"/>
                <a:gd name="connsiteY20" fmla="*/ 3335698 h 3369854"/>
                <a:gd name="connsiteX21" fmla="*/ 855214 w 1141507"/>
                <a:gd name="connsiteY21" fmla="*/ 3292103 h 3369854"/>
                <a:gd name="connsiteX22" fmla="*/ 686736 w 1141507"/>
                <a:gd name="connsiteY22" fmla="*/ 3225908 h 3369854"/>
                <a:gd name="connsiteX23" fmla="*/ 509390 w 1141507"/>
                <a:gd name="connsiteY23" fmla="*/ 3134892 h 3369854"/>
                <a:gd name="connsiteX24" fmla="*/ 411092 w 1141507"/>
                <a:gd name="connsiteY24" fmla="*/ 3054375 h 3369854"/>
                <a:gd name="connsiteX25" fmla="*/ 705354 w 1141507"/>
                <a:gd name="connsiteY25" fmla="*/ 2746739 h 3369854"/>
                <a:gd name="connsiteX26" fmla="*/ 421600 w 1141507"/>
                <a:gd name="connsiteY26" fmla="*/ 2208915 h 3369854"/>
                <a:gd name="connsiteX27" fmla="*/ 563950 w 1141507"/>
                <a:gd name="connsiteY27" fmla="*/ 1969830 h 3369854"/>
                <a:gd name="connsiteX28" fmla="*/ 377263 w 1141507"/>
                <a:gd name="connsiteY28" fmla="*/ 1431139 h 3369854"/>
                <a:gd name="connsiteX29" fmla="*/ 128979 w 1141507"/>
                <a:gd name="connsiteY29" fmla="*/ 1199461 h 3369854"/>
                <a:gd name="connsiteX30" fmla="*/ 120112 w 1141507"/>
                <a:gd name="connsiteY30" fmla="*/ 1083622 h 3369854"/>
                <a:gd name="connsiteX31" fmla="*/ 0 w 1141507"/>
                <a:gd name="connsiteY31" fmla="*/ 289976 h 3369854"/>
                <a:gd name="connsiteX0" fmla="*/ 0 w 1141507"/>
                <a:gd name="connsiteY0" fmla="*/ 294841 h 3374719"/>
                <a:gd name="connsiteX1" fmla="*/ 235627 w 1141507"/>
                <a:gd name="connsiteY1" fmla="*/ 301287 h 3374719"/>
                <a:gd name="connsiteX2" fmla="*/ 358646 w 1141507"/>
                <a:gd name="connsiteY2" fmla="*/ 773332 h 3374719"/>
                <a:gd name="connsiteX3" fmla="*/ 660134 w 1141507"/>
                <a:gd name="connsiteY3" fmla="*/ 781606 h 3374719"/>
                <a:gd name="connsiteX4" fmla="*/ 837480 w 1141507"/>
                <a:gd name="connsiteY4" fmla="*/ 591299 h 3374719"/>
                <a:gd name="connsiteX5" fmla="*/ 943889 w 1141507"/>
                <a:gd name="connsiteY5" fmla="*/ 376169 h 3374719"/>
                <a:gd name="connsiteX6" fmla="*/ 900826 w 1141507"/>
                <a:gd name="connsiteY6" fmla="*/ 148330 h 3374719"/>
                <a:gd name="connsiteX7" fmla="*/ 774567 w 1141507"/>
                <a:gd name="connsiteY7" fmla="*/ 13195 h 3374719"/>
                <a:gd name="connsiteX8" fmla="*/ 879423 w 1141507"/>
                <a:gd name="connsiteY8" fmla="*/ 5948 h 3374719"/>
                <a:gd name="connsiteX9" fmla="*/ 960977 w 1141507"/>
                <a:gd name="connsiteY9" fmla="*/ 20442 h 3374719"/>
                <a:gd name="connsiteX10" fmla="*/ 1042530 w 1141507"/>
                <a:gd name="connsiteY10" fmla="*/ 82045 h 3374719"/>
                <a:gd name="connsiteX11" fmla="*/ 1104665 w 1141507"/>
                <a:gd name="connsiteY11" fmla="*/ 158141 h 3374719"/>
                <a:gd name="connsiteX12" fmla="*/ 1003694 w 1141507"/>
                <a:gd name="connsiteY12" fmla="*/ 187135 h 3374719"/>
                <a:gd name="connsiteX13" fmla="*/ 988160 w 1141507"/>
                <a:gd name="connsiteY13" fmla="*/ 234242 h 3374719"/>
                <a:gd name="connsiteX14" fmla="*/ 1045830 w 1141507"/>
                <a:gd name="connsiteY14" fmla="*/ 318732 h 3374719"/>
                <a:gd name="connsiteX15" fmla="*/ 1081364 w 1141507"/>
                <a:gd name="connsiteY15" fmla="*/ 324834 h 3374719"/>
                <a:gd name="connsiteX16" fmla="*/ 1133984 w 1141507"/>
                <a:gd name="connsiteY16" fmla="*/ 331174 h 3374719"/>
                <a:gd name="connsiteX17" fmla="*/ 1129021 w 1141507"/>
                <a:gd name="connsiteY17" fmla="*/ 441949 h 3374719"/>
                <a:gd name="connsiteX18" fmla="*/ 1140090 w 1141507"/>
                <a:gd name="connsiteY18" fmla="*/ 772917 h 3374719"/>
                <a:gd name="connsiteX19" fmla="*/ 1131222 w 1141507"/>
                <a:gd name="connsiteY19" fmla="*/ 1575516 h 3374719"/>
                <a:gd name="connsiteX20" fmla="*/ 1140089 w 1141507"/>
                <a:gd name="connsiteY20" fmla="*/ 2030598 h 3374719"/>
                <a:gd name="connsiteX21" fmla="*/ 1113641 w 1141507"/>
                <a:gd name="connsiteY21" fmla="*/ 3340563 h 3374719"/>
                <a:gd name="connsiteX22" fmla="*/ 855214 w 1141507"/>
                <a:gd name="connsiteY22" fmla="*/ 3296968 h 3374719"/>
                <a:gd name="connsiteX23" fmla="*/ 686736 w 1141507"/>
                <a:gd name="connsiteY23" fmla="*/ 3230773 h 3374719"/>
                <a:gd name="connsiteX24" fmla="*/ 509390 w 1141507"/>
                <a:gd name="connsiteY24" fmla="*/ 3139757 h 3374719"/>
                <a:gd name="connsiteX25" fmla="*/ 411092 w 1141507"/>
                <a:gd name="connsiteY25" fmla="*/ 3059240 h 3374719"/>
                <a:gd name="connsiteX26" fmla="*/ 705354 w 1141507"/>
                <a:gd name="connsiteY26" fmla="*/ 2751604 h 3374719"/>
                <a:gd name="connsiteX27" fmla="*/ 421600 w 1141507"/>
                <a:gd name="connsiteY27" fmla="*/ 2213780 h 3374719"/>
                <a:gd name="connsiteX28" fmla="*/ 563950 w 1141507"/>
                <a:gd name="connsiteY28" fmla="*/ 1974695 h 3374719"/>
                <a:gd name="connsiteX29" fmla="*/ 377263 w 1141507"/>
                <a:gd name="connsiteY29" fmla="*/ 1436004 h 3374719"/>
                <a:gd name="connsiteX30" fmla="*/ 128979 w 1141507"/>
                <a:gd name="connsiteY30" fmla="*/ 1204326 h 3374719"/>
                <a:gd name="connsiteX31" fmla="*/ 120112 w 1141507"/>
                <a:gd name="connsiteY31" fmla="*/ 1088487 h 3374719"/>
                <a:gd name="connsiteX32" fmla="*/ 0 w 1141507"/>
                <a:gd name="connsiteY32" fmla="*/ 294841 h 3374719"/>
                <a:gd name="connsiteX0" fmla="*/ 0 w 1141507"/>
                <a:gd name="connsiteY0" fmla="*/ 294841 h 3374719"/>
                <a:gd name="connsiteX1" fmla="*/ 235627 w 1141507"/>
                <a:gd name="connsiteY1" fmla="*/ 301287 h 3374719"/>
                <a:gd name="connsiteX2" fmla="*/ 358646 w 1141507"/>
                <a:gd name="connsiteY2" fmla="*/ 773332 h 3374719"/>
                <a:gd name="connsiteX3" fmla="*/ 660134 w 1141507"/>
                <a:gd name="connsiteY3" fmla="*/ 781606 h 3374719"/>
                <a:gd name="connsiteX4" fmla="*/ 837480 w 1141507"/>
                <a:gd name="connsiteY4" fmla="*/ 591299 h 3374719"/>
                <a:gd name="connsiteX5" fmla="*/ 943889 w 1141507"/>
                <a:gd name="connsiteY5" fmla="*/ 376169 h 3374719"/>
                <a:gd name="connsiteX6" fmla="*/ 900826 w 1141507"/>
                <a:gd name="connsiteY6" fmla="*/ 148330 h 3374719"/>
                <a:gd name="connsiteX7" fmla="*/ 774567 w 1141507"/>
                <a:gd name="connsiteY7" fmla="*/ 13195 h 3374719"/>
                <a:gd name="connsiteX8" fmla="*/ 879423 w 1141507"/>
                <a:gd name="connsiteY8" fmla="*/ 5948 h 3374719"/>
                <a:gd name="connsiteX9" fmla="*/ 958207 w 1141507"/>
                <a:gd name="connsiteY9" fmla="*/ 12686 h 3374719"/>
                <a:gd name="connsiteX10" fmla="*/ 1042530 w 1141507"/>
                <a:gd name="connsiteY10" fmla="*/ 82045 h 3374719"/>
                <a:gd name="connsiteX11" fmla="*/ 1104665 w 1141507"/>
                <a:gd name="connsiteY11" fmla="*/ 158141 h 3374719"/>
                <a:gd name="connsiteX12" fmla="*/ 1003694 w 1141507"/>
                <a:gd name="connsiteY12" fmla="*/ 187135 h 3374719"/>
                <a:gd name="connsiteX13" fmla="*/ 988160 w 1141507"/>
                <a:gd name="connsiteY13" fmla="*/ 234242 h 3374719"/>
                <a:gd name="connsiteX14" fmla="*/ 1045830 w 1141507"/>
                <a:gd name="connsiteY14" fmla="*/ 318732 h 3374719"/>
                <a:gd name="connsiteX15" fmla="*/ 1081364 w 1141507"/>
                <a:gd name="connsiteY15" fmla="*/ 324834 h 3374719"/>
                <a:gd name="connsiteX16" fmla="*/ 1133984 w 1141507"/>
                <a:gd name="connsiteY16" fmla="*/ 331174 h 3374719"/>
                <a:gd name="connsiteX17" fmla="*/ 1129021 w 1141507"/>
                <a:gd name="connsiteY17" fmla="*/ 441949 h 3374719"/>
                <a:gd name="connsiteX18" fmla="*/ 1140090 w 1141507"/>
                <a:gd name="connsiteY18" fmla="*/ 772917 h 3374719"/>
                <a:gd name="connsiteX19" fmla="*/ 1131222 w 1141507"/>
                <a:gd name="connsiteY19" fmla="*/ 1575516 h 3374719"/>
                <a:gd name="connsiteX20" fmla="*/ 1140089 w 1141507"/>
                <a:gd name="connsiteY20" fmla="*/ 2030598 h 3374719"/>
                <a:gd name="connsiteX21" fmla="*/ 1113641 w 1141507"/>
                <a:gd name="connsiteY21" fmla="*/ 3340563 h 3374719"/>
                <a:gd name="connsiteX22" fmla="*/ 855214 w 1141507"/>
                <a:gd name="connsiteY22" fmla="*/ 3296968 h 3374719"/>
                <a:gd name="connsiteX23" fmla="*/ 686736 w 1141507"/>
                <a:gd name="connsiteY23" fmla="*/ 3230773 h 3374719"/>
                <a:gd name="connsiteX24" fmla="*/ 509390 w 1141507"/>
                <a:gd name="connsiteY24" fmla="*/ 3139757 h 3374719"/>
                <a:gd name="connsiteX25" fmla="*/ 411092 w 1141507"/>
                <a:gd name="connsiteY25" fmla="*/ 3059240 h 3374719"/>
                <a:gd name="connsiteX26" fmla="*/ 705354 w 1141507"/>
                <a:gd name="connsiteY26" fmla="*/ 2751604 h 3374719"/>
                <a:gd name="connsiteX27" fmla="*/ 421600 w 1141507"/>
                <a:gd name="connsiteY27" fmla="*/ 2213780 h 3374719"/>
                <a:gd name="connsiteX28" fmla="*/ 563950 w 1141507"/>
                <a:gd name="connsiteY28" fmla="*/ 1974695 h 3374719"/>
                <a:gd name="connsiteX29" fmla="*/ 377263 w 1141507"/>
                <a:gd name="connsiteY29" fmla="*/ 1436004 h 3374719"/>
                <a:gd name="connsiteX30" fmla="*/ 128979 w 1141507"/>
                <a:gd name="connsiteY30" fmla="*/ 1204326 h 3374719"/>
                <a:gd name="connsiteX31" fmla="*/ 120112 w 1141507"/>
                <a:gd name="connsiteY31" fmla="*/ 1088487 h 3374719"/>
                <a:gd name="connsiteX32" fmla="*/ 0 w 1141507"/>
                <a:gd name="connsiteY32" fmla="*/ 294841 h 3374719"/>
                <a:gd name="connsiteX0" fmla="*/ 0 w 1141507"/>
                <a:gd name="connsiteY0" fmla="*/ 295064 h 3374942"/>
                <a:gd name="connsiteX1" fmla="*/ 235627 w 1141507"/>
                <a:gd name="connsiteY1" fmla="*/ 301510 h 3374942"/>
                <a:gd name="connsiteX2" fmla="*/ 358646 w 1141507"/>
                <a:gd name="connsiteY2" fmla="*/ 773555 h 3374942"/>
                <a:gd name="connsiteX3" fmla="*/ 660134 w 1141507"/>
                <a:gd name="connsiteY3" fmla="*/ 781829 h 3374942"/>
                <a:gd name="connsiteX4" fmla="*/ 837480 w 1141507"/>
                <a:gd name="connsiteY4" fmla="*/ 591522 h 3374942"/>
                <a:gd name="connsiteX5" fmla="*/ 943889 w 1141507"/>
                <a:gd name="connsiteY5" fmla="*/ 376392 h 3374942"/>
                <a:gd name="connsiteX6" fmla="*/ 900826 w 1141507"/>
                <a:gd name="connsiteY6" fmla="*/ 148553 h 3374942"/>
                <a:gd name="connsiteX7" fmla="*/ 774567 w 1141507"/>
                <a:gd name="connsiteY7" fmla="*/ 13418 h 3374942"/>
                <a:gd name="connsiteX8" fmla="*/ 828614 w 1141507"/>
                <a:gd name="connsiteY8" fmla="*/ 4056 h 3374942"/>
                <a:gd name="connsiteX9" fmla="*/ 879423 w 1141507"/>
                <a:gd name="connsiteY9" fmla="*/ 6171 h 3374942"/>
                <a:gd name="connsiteX10" fmla="*/ 958207 w 1141507"/>
                <a:gd name="connsiteY10" fmla="*/ 12909 h 3374942"/>
                <a:gd name="connsiteX11" fmla="*/ 1042530 w 1141507"/>
                <a:gd name="connsiteY11" fmla="*/ 82268 h 3374942"/>
                <a:gd name="connsiteX12" fmla="*/ 1104665 w 1141507"/>
                <a:gd name="connsiteY12" fmla="*/ 158364 h 3374942"/>
                <a:gd name="connsiteX13" fmla="*/ 1003694 w 1141507"/>
                <a:gd name="connsiteY13" fmla="*/ 187358 h 3374942"/>
                <a:gd name="connsiteX14" fmla="*/ 988160 w 1141507"/>
                <a:gd name="connsiteY14" fmla="*/ 234465 h 3374942"/>
                <a:gd name="connsiteX15" fmla="*/ 1045830 w 1141507"/>
                <a:gd name="connsiteY15" fmla="*/ 318955 h 3374942"/>
                <a:gd name="connsiteX16" fmla="*/ 1081364 w 1141507"/>
                <a:gd name="connsiteY16" fmla="*/ 325057 h 3374942"/>
                <a:gd name="connsiteX17" fmla="*/ 1133984 w 1141507"/>
                <a:gd name="connsiteY17" fmla="*/ 331397 h 3374942"/>
                <a:gd name="connsiteX18" fmla="*/ 1129021 w 1141507"/>
                <a:gd name="connsiteY18" fmla="*/ 442172 h 3374942"/>
                <a:gd name="connsiteX19" fmla="*/ 1140090 w 1141507"/>
                <a:gd name="connsiteY19" fmla="*/ 773140 h 3374942"/>
                <a:gd name="connsiteX20" fmla="*/ 1131222 w 1141507"/>
                <a:gd name="connsiteY20" fmla="*/ 1575739 h 3374942"/>
                <a:gd name="connsiteX21" fmla="*/ 1140089 w 1141507"/>
                <a:gd name="connsiteY21" fmla="*/ 2030821 h 3374942"/>
                <a:gd name="connsiteX22" fmla="*/ 1113641 w 1141507"/>
                <a:gd name="connsiteY22" fmla="*/ 3340786 h 3374942"/>
                <a:gd name="connsiteX23" fmla="*/ 855214 w 1141507"/>
                <a:gd name="connsiteY23" fmla="*/ 3297191 h 3374942"/>
                <a:gd name="connsiteX24" fmla="*/ 686736 w 1141507"/>
                <a:gd name="connsiteY24" fmla="*/ 3230996 h 3374942"/>
                <a:gd name="connsiteX25" fmla="*/ 509390 w 1141507"/>
                <a:gd name="connsiteY25" fmla="*/ 3139980 h 3374942"/>
                <a:gd name="connsiteX26" fmla="*/ 411092 w 1141507"/>
                <a:gd name="connsiteY26" fmla="*/ 3059463 h 3374942"/>
                <a:gd name="connsiteX27" fmla="*/ 705354 w 1141507"/>
                <a:gd name="connsiteY27" fmla="*/ 2751827 h 3374942"/>
                <a:gd name="connsiteX28" fmla="*/ 421600 w 1141507"/>
                <a:gd name="connsiteY28" fmla="*/ 2214003 h 3374942"/>
                <a:gd name="connsiteX29" fmla="*/ 563950 w 1141507"/>
                <a:gd name="connsiteY29" fmla="*/ 1974918 h 3374942"/>
                <a:gd name="connsiteX30" fmla="*/ 377263 w 1141507"/>
                <a:gd name="connsiteY30" fmla="*/ 1436227 h 3374942"/>
                <a:gd name="connsiteX31" fmla="*/ 128979 w 1141507"/>
                <a:gd name="connsiteY31" fmla="*/ 1204549 h 3374942"/>
                <a:gd name="connsiteX32" fmla="*/ 120112 w 1141507"/>
                <a:gd name="connsiteY32" fmla="*/ 1088710 h 3374942"/>
                <a:gd name="connsiteX33" fmla="*/ 0 w 1141507"/>
                <a:gd name="connsiteY33" fmla="*/ 295064 h 3374942"/>
                <a:gd name="connsiteX0" fmla="*/ 0 w 1141507"/>
                <a:gd name="connsiteY0" fmla="*/ 304007 h 3383885"/>
                <a:gd name="connsiteX1" fmla="*/ 235627 w 1141507"/>
                <a:gd name="connsiteY1" fmla="*/ 310453 h 3383885"/>
                <a:gd name="connsiteX2" fmla="*/ 358646 w 1141507"/>
                <a:gd name="connsiteY2" fmla="*/ 782498 h 3383885"/>
                <a:gd name="connsiteX3" fmla="*/ 660134 w 1141507"/>
                <a:gd name="connsiteY3" fmla="*/ 790772 h 3383885"/>
                <a:gd name="connsiteX4" fmla="*/ 837480 w 1141507"/>
                <a:gd name="connsiteY4" fmla="*/ 600465 h 3383885"/>
                <a:gd name="connsiteX5" fmla="*/ 943889 w 1141507"/>
                <a:gd name="connsiteY5" fmla="*/ 385335 h 3383885"/>
                <a:gd name="connsiteX6" fmla="*/ 900826 w 1141507"/>
                <a:gd name="connsiteY6" fmla="*/ 157496 h 3383885"/>
                <a:gd name="connsiteX7" fmla="*/ 774567 w 1141507"/>
                <a:gd name="connsiteY7" fmla="*/ 22361 h 3383885"/>
                <a:gd name="connsiteX8" fmla="*/ 825843 w 1141507"/>
                <a:gd name="connsiteY8" fmla="*/ 70 h 3383885"/>
                <a:gd name="connsiteX9" fmla="*/ 879423 w 1141507"/>
                <a:gd name="connsiteY9" fmla="*/ 15114 h 3383885"/>
                <a:gd name="connsiteX10" fmla="*/ 958207 w 1141507"/>
                <a:gd name="connsiteY10" fmla="*/ 21852 h 3383885"/>
                <a:gd name="connsiteX11" fmla="*/ 1042530 w 1141507"/>
                <a:gd name="connsiteY11" fmla="*/ 91211 h 3383885"/>
                <a:gd name="connsiteX12" fmla="*/ 1104665 w 1141507"/>
                <a:gd name="connsiteY12" fmla="*/ 167307 h 3383885"/>
                <a:gd name="connsiteX13" fmla="*/ 1003694 w 1141507"/>
                <a:gd name="connsiteY13" fmla="*/ 196301 h 3383885"/>
                <a:gd name="connsiteX14" fmla="*/ 988160 w 1141507"/>
                <a:gd name="connsiteY14" fmla="*/ 243408 h 3383885"/>
                <a:gd name="connsiteX15" fmla="*/ 1045830 w 1141507"/>
                <a:gd name="connsiteY15" fmla="*/ 327898 h 3383885"/>
                <a:gd name="connsiteX16" fmla="*/ 1081364 w 1141507"/>
                <a:gd name="connsiteY16" fmla="*/ 334000 h 3383885"/>
                <a:gd name="connsiteX17" fmla="*/ 1133984 w 1141507"/>
                <a:gd name="connsiteY17" fmla="*/ 340340 h 3383885"/>
                <a:gd name="connsiteX18" fmla="*/ 1129021 w 1141507"/>
                <a:gd name="connsiteY18" fmla="*/ 451115 h 3383885"/>
                <a:gd name="connsiteX19" fmla="*/ 1140090 w 1141507"/>
                <a:gd name="connsiteY19" fmla="*/ 782083 h 3383885"/>
                <a:gd name="connsiteX20" fmla="*/ 1131222 w 1141507"/>
                <a:gd name="connsiteY20" fmla="*/ 1584682 h 3383885"/>
                <a:gd name="connsiteX21" fmla="*/ 1140089 w 1141507"/>
                <a:gd name="connsiteY21" fmla="*/ 2039764 h 3383885"/>
                <a:gd name="connsiteX22" fmla="*/ 1113641 w 1141507"/>
                <a:gd name="connsiteY22" fmla="*/ 3349729 h 3383885"/>
                <a:gd name="connsiteX23" fmla="*/ 855214 w 1141507"/>
                <a:gd name="connsiteY23" fmla="*/ 3306134 h 3383885"/>
                <a:gd name="connsiteX24" fmla="*/ 686736 w 1141507"/>
                <a:gd name="connsiteY24" fmla="*/ 3239939 h 3383885"/>
                <a:gd name="connsiteX25" fmla="*/ 509390 w 1141507"/>
                <a:gd name="connsiteY25" fmla="*/ 3148923 h 3383885"/>
                <a:gd name="connsiteX26" fmla="*/ 411092 w 1141507"/>
                <a:gd name="connsiteY26" fmla="*/ 3068406 h 3383885"/>
                <a:gd name="connsiteX27" fmla="*/ 705354 w 1141507"/>
                <a:gd name="connsiteY27" fmla="*/ 2760770 h 3383885"/>
                <a:gd name="connsiteX28" fmla="*/ 421600 w 1141507"/>
                <a:gd name="connsiteY28" fmla="*/ 2222946 h 3383885"/>
                <a:gd name="connsiteX29" fmla="*/ 563950 w 1141507"/>
                <a:gd name="connsiteY29" fmla="*/ 1983861 h 3383885"/>
                <a:gd name="connsiteX30" fmla="*/ 377263 w 1141507"/>
                <a:gd name="connsiteY30" fmla="*/ 1445170 h 3383885"/>
                <a:gd name="connsiteX31" fmla="*/ 128979 w 1141507"/>
                <a:gd name="connsiteY31" fmla="*/ 1213492 h 3383885"/>
                <a:gd name="connsiteX32" fmla="*/ 120112 w 1141507"/>
                <a:gd name="connsiteY32" fmla="*/ 1097653 h 3383885"/>
                <a:gd name="connsiteX33" fmla="*/ 0 w 1141507"/>
                <a:gd name="connsiteY33" fmla="*/ 304007 h 3383885"/>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774567 w 1141507"/>
                <a:gd name="connsiteY7" fmla="*/ 22395 h 3383919"/>
                <a:gd name="connsiteX8" fmla="*/ 825843 w 1141507"/>
                <a:gd name="connsiteY8" fmla="*/ 104 h 3383919"/>
                <a:gd name="connsiteX9" fmla="*/ 879423 w 1141507"/>
                <a:gd name="connsiteY9" fmla="*/ 9976 h 3383919"/>
                <a:gd name="connsiteX10" fmla="*/ 958207 w 1141507"/>
                <a:gd name="connsiteY10" fmla="*/ 21886 h 3383919"/>
                <a:gd name="connsiteX11" fmla="*/ 1042530 w 1141507"/>
                <a:gd name="connsiteY11" fmla="*/ 91245 h 3383919"/>
                <a:gd name="connsiteX12" fmla="*/ 1104665 w 1141507"/>
                <a:gd name="connsiteY12" fmla="*/ 167341 h 3383919"/>
                <a:gd name="connsiteX13" fmla="*/ 1003694 w 1141507"/>
                <a:gd name="connsiteY13" fmla="*/ 196335 h 3383919"/>
                <a:gd name="connsiteX14" fmla="*/ 988160 w 1141507"/>
                <a:gd name="connsiteY14" fmla="*/ 243442 h 3383919"/>
                <a:gd name="connsiteX15" fmla="*/ 1045830 w 1141507"/>
                <a:gd name="connsiteY15" fmla="*/ 327932 h 3383919"/>
                <a:gd name="connsiteX16" fmla="*/ 1081364 w 1141507"/>
                <a:gd name="connsiteY16" fmla="*/ 334034 h 3383919"/>
                <a:gd name="connsiteX17" fmla="*/ 1133984 w 1141507"/>
                <a:gd name="connsiteY17" fmla="*/ 340374 h 3383919"/>
                <a:gd name="connsiteX18" fmla="*/ 1129021 w 1141507"/>
                <a:gd name="connsiteY18" fmla="*/ 451149 h 3383919"/>
                <a:gd name="connsiteX19" fmla="*/ 1140090 w 1141507"/>
                <a:gd name="connsiteY19" fmla="*/ 782117 h 3383919"/>
                <a:gd name="connsiteX20" fmla="*/ 1131222 w 1141507"/>
                <a:gd name="connsiteY20" fmla="*/ 1584716 h 3383919"/>
                <a:gd name="connsiteX21" fmla="*/ 1140089 w 1141507"/>
                <a:gd name="connsiteY21" fmla="*/ 2039798 h 3383919"/>
                <a:gd name="connsiteX22" fmla="*/ 1113641 w 1141507"/>
                <a:gd name="connsiteY22" fmla="*/ 3349763 h 3383919"/>
                <a:gd name="connsiteX23" fmla="*/ 855214 w 1141507"/>
                <a:gd name="connsiteY23" fmla="*/ 3306168 h 3383919"/>
                <a:gd name="connsiteX24" fmla="*/ 686736 w 1141507"/>
                <a:gd name="connsiteY24" fmla="*/ 3239973 h 3383919"/>
                <a:gd name="connsiteX25" fmla="*/ 509390 w 1141507"/>
                <a:gd name="connsiteY25" fmla="*/ 3148957 h 3383919"/>
                <a:gd name="connsiteX26" fmla="*/ 411092 w 1141507"/>
                <a:gd name="connsiteY26" fmla="*/ 3068440 h 3383919"/>
                <a:gd name="connsiteX27" fmla="*/ 705354 w 1141507"/>
                <a:gd name="connsiteY27" fmla="*/ 2760804 h 3383919"/>
                <a:gd name="connsiteX28" fmla="*/ 421600 w 1141507"/>
                <a:gd name="connsiteY28" fmla="*/ 2222980 h 3383919"/>
                <a:gd name="connsiteX29" fmla="*/ 563950 w 1141507"/>
                <a:gd name="connsiteY29" fmla="*/ 1983895 h 3383919"/>
                <a:gd name="connsiteX30" fmla="*/ 377263 w 1141507"/>
                <a:gd name="connsiteY30" fmla="*/ 1445204 h 3383919"/>
                <a:gd name="connsiteX31" fmla="*/ 128979 w 1141507"/>
                <a:gd name="connsiteY31" fmla="*/ 1213526 h 3383919"/>
                <a:gd name="connsiteX32" fmla="*/ 120112 w 1141507"/>
                <a:gd name="connsiteY32" fmla="*/ 1097687 h 3383919"/>
                <a:gd name="connsiteX33" fmla="*/ 0 w 1141507"/>
                <a:gd name="connsiteY33"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850782 w 1141507"/>
                <a:gd name="connsiteY7" fmla="*/ 90605 h 3383919"/>
                <a:gd name="connsiteX8" fmla="*/ 774567 w 1141507"/>
                <a:gd name="connsiteY8" fmla="*/ 22395 h 3383919"/>
                <a:gd name="connsiteX9" fmla="*/ 825843 w 1141507"/>
                <a:gd name="connsiteY9" fmla="*/ 104 h 3383919"/>
                <a:gd name="connsiteX10" fmla="*/ 879423 w 1141507"/>
                <a:gd name="connsiteY10" fmla="*/ 9976 h 3383919"/>
                <a:gd name="connsiteX11" fmla="*/ 958207 w 1141507"/>
                <a:gd name="connsiteY11" fmla="*/ 21886 h 3383919"/>
                <a:gd name="connsiteX12" fmla="*/ 1042530 w 1141507"/>
                <a:gd name="connsiteY12" fmla="*/ 91245 h 3383919"/>
                <a:gd name="connsiteX13" fmla="*/ 1104665 w 1141507"/>
                <a:gd name="connsiteY13" fmla="*/ 167341 h 3383919"/>
                <a:gd name="connsiteX14" fmla="*/ 1003694 w 1141507"/>
                <a:gd name="connsiteY14" fmla="*/ 196335 h 3383919"/>
                <a:gd name="connsiteX15" fmla="*/ 988160 w 1141507"/>
                <a:gd name="connsiteY15" fmla="*/ 243442 h 3383919"/>
                <a:gd name="connsiteX16" fmla="*/ 1045830 w 1141507"/>
                <a:gd name="connsiteY16" fmla="*/ 327932 h 3383919"/>
                <a:gd name="connsiteX17" fmla="*/ 1081364 w 1141507"/>
                <a:gd name="connsiteY17" fmla="*/ 334034 h 3383919"/>
                <a:gd name="connsiteX18" fmla="*/ 1133984 w 1141507"/>
                <a:gd name="connsiteY18" fmla="*/ 340374 h 3383919"/>
                <a:gd name="connsiteX19" fmla="*/ 1129021 w 1141507"/>
                <a:gd name="connsiteY19" fmla="*/ 451149 h 3383919"/>
                <a:gd name="connsiteX20" fmla="*/ 1140090 w 1141507"/>
                <a:gd name="connsiteY20" fmla="*/ 782117 h 3383919"/>
                <a:gd name="connsiteX21" fmla="*/ 1131222 w 1141507"/>
                <a:gd name="connsiteY21" fmla="*/ 1584716 h 3383919"/>
                <a:gd name="connsiteX22" fmla="*/ 1140089 w 1141507"/>
                <a:gd name="connsiteY22" fmla="*/ 2039798 h 3383919"/>
                <a:gd name="connsiteX23" fmla="*/ 1113641 w 1141507"/>
                <a:gd name="connsiteY23" fmla="*/ 3349763 h 3383919"/>
                <a:gd name="connsiteX24" fmla="*/ 855214 w 1141507"/>
                <a:gd name="connsiteY24" fmla="*/ 3306168 h 3383919"/>
                <a:gd name="connsiteX25" fmla="*/ 686736 w 1141507"/>
                <a:gd name="connsiteY25" fmla="*/ 3239973 h 3383919"/>
                <a:gd name="connsiteX26" fmla="*/ 509390 w 1141507"/>
                <a:gd name="connsiteY26" fmla="*/ 3148957 h 3383919"/>
                <a:gd name="connsiteX27" fmla="*/ 411092 w 1141507"/>
                <a:gd name="connsiteY27" fmla="*/ 3068440 h 3383919"/>
                <a:gd name="connsiteX28" fmla="*/ 705354 w 1141507"/>
                <a:gd name="connsiteY28" fmla="*/ 2760804 h 3383919"/>
                <a:gd name="connsiteX29" fmla="*/ 421600 w 1141507"/>
                <a:gd name="connsiteY29" fmla="*/ 2222980 h 3383919"/>
                <a:gd name="connsiteX30" fmla="*/ 563950 w 1141507"/>
                <a:gd name="connsiteY30" fmla="*/ 1983895 h 3383919"/>
                <a:gd name="connsiteX31" fmla="*/ 377263 w 1141507"/>
                <a:gd name="connsiteY31" fmla="*/ 1445204 h 3383919"/>
                <a:gd name="connsiteX32" fmla="*/ 128979 w 1141507"/>
                <a:gd name="connsiteY32" fmla="*/ 1213526 h 3383919"/>
                <a:gd name="connsiteX33" fmla="*/ 120112 w 1141507"/>
                <a:gd name="connsiteY33" fmla="*/ 1097687 h 3383919"/>
                <a:gd name="connsiteX34" fmla="*/ 0 w 1141507"/>
                <a:gd name="connsiteY34"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850782 w 1141507"/>
                <a:gd name="connsiteY7" fmla="*/ 90605 h 3383919"/>
                <a:gd name="connsiteX8" fmla="*/ 792591 w 1141507"/>
                <a:gd name="connsiteY8" fmla="*/ 41476 h 3383919"/>
                <a:gd name="connsiteX9" fmla="*/ 774567 w 1141507"/>
                <a:gd name="connsiteY9" fmla="*/ 22395 h 3383919"/>
                <a:gd name="connsiteX10" fmla="*/ 825843 w 1141507"/>
                <a:gd name="connsiteY10" fmla="*/ 104 h 3383919"/>
                <a:gd name="connsiteX11" fmla="*/ 879423 w 1141507"/>
                <a:gd name="connsiteY11" fmla="*/ 9976 h 3383919"/>
                <a:gd name="connsiteX12" fmla="*/ 958207 w 1141507"/>
                <a:gd name="connsiteY12" fmla="*/ 21886 h 3383919"/>
                <a:gd name="connsiteX13" fmla="*/ 1042530 w 1141507"/>
                <a:gd name="connsiteY13" fmla="*/ 91245 h 3383919"/>
                <a:gd name="connsiteX14" fmla="*/ 1104665 w 1141507"/>
                <a:gd name="connsiteY14" fmla="*/ 167341 h 3383919"/>
                <a:gd name="connsiteX15" fmla="*/ 1003694 w 1141507"/>
                <a:gd name="connsiteY15" fmla="*/ 196335 h 3383919"/>
                <a:gd name="connsiteX16" fmla="*/ 988160 w 1141507"/>
                <a:gd name="connsiteY16" fmla="*/ 243442 h 3383919"/>
                <a:gd name="connsiteX17" fmla="*/ 1045830 w 1141507"/>
                <a:gd name="connsiteY17" fmla="*/ 327932 h 3383919"/>
                <a:gd name="connsiteX18" fmla="*/ 1081364 w 1141507"/>
                <a:gd name="connsiteY18" fmla="*/ 334034 h 3383919"/>
                <a:gd name="connsiteX19" fmla="*/ 1133984 w 1141507"/>
                <a:gd name="connsiteY19" fmla="*/ 340374 h 3383919"/>
                <a:gd name="connsiteX20" fmla="*/ 1129021 w 1141507"/>
                <a:gd name="connsiteY20" fmla="*/ 451149 h 3383919"/>
                <a:gd name="connsiteX21" fmla="*/ 1140090 w 1141507"/>
                <a:gd name="connsiteY21" fmla="*/ 782117 h 3383919"/>
                <a:gd name="connsiteX22" fmla="*/ 1131222 w 1141507"/>
                <a:gd name="connsiteY22" fmla="*/ 1584716 h 3383919"/>
                <a:gd name="connsiteX23" fmla="*/ 1140089 w 1141507"/>
                <a:gd name="connsiteY23" fmla="*/ 2039798 h 3383919"/>
                <a:gd name="connsiteX24" fmla="*/ 1113641 w 1141507"/>
                <a:gd name="connsiteY24" fmla="*/ 3349763 h 3383919"/>
                <a:gd name="connsiteX25" fmla="*/ 855214 w 1141507"/>
                <a:gd name="connsiteY25" fmla="*/ 3306168 h 3383919"/>
                <a:gd name="connsiteX26" fmla="*/ 686736 w 1141507"/>
                <a:gd name="connsiteY26" fmla="*/ 3239973 h 3383919"/>
                <a:gd name="connsiteX27" fmla="*/ 509390 w 1141507"/>
                <a:gd name="connsiteY27" fmla="*/ 3148957 h 3383919"/>
                <a:gd name="connsiteX28" fmla="*/ 411092 w 1141507"/>
                <a:gd name="connsiteY28" fmla="*/ 3068440 h 3383919"/>
                <a:gd name="connsiteX29" fmla="*/ 705354 w 1141507"/>
                <a:gd name="connsiteY29" fmla="*/ 2760804 h 3383919"/>
                <a:gd name="connsiteX30" fmla="*/ 421600 w 1141507"/>
                <a:gd name="connsiteY30" fmla="*/ 2222980 h 3383919"/>
                <a:gd name="connsiteX31" fmla="*/ 563950 w 1141507"/>
                <a:gd name="connsiteY31" fmla="*/ 1983895 h 3383919"/>
                <a:gd name="connsiteX32" fmla="*/ 377263 w 1141507"/>
                <a:gd name="connsiteY32" fmla="*/ 1445204 h 3383919"/>
                <a:gd name="connsiteX33" fmla="*/ 128979 w 1141507"/>
                <a:gd name="connsiteY33" fmla="*/ 1213526 h 3383919"/>
                <a:gd name="connsiteX34" fmla="*/ 120112 w 1141507"/>
                <a:gd name="connsiteY34" fmla="*/ 1097687 h 3383919"/>
                <a:gd name="connsiteX35" fmla="*/ 0 w 1141507"/>
                <a:gd name="connsiteY35"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850782 w 1141507"/>
                <a:gd name="connsiteY7" fmla="*/ 90605 h 3383919"/>
                <a:gd name="connsiteX8" fmla="*/ 792591 w 1141507"/>
                <a:gd name="connsiteY8" fmla="*/ 41476 h 3383919"/>
                <a:gd name="connsiteX9" fmla="*/ 774567 w 1141507"/>
                <a:gd name="connsiteY9" fmla="*/ 22395 h 3383919"/>
                <a:gd name="connsiteX10" fmla="*/ 825843 w 1141507"/>
                <a:gd name="connsiteY10" fmla="*/ 104 h 3383919"/>
                <a:gd name="connsiteX11" fmla="*/ 879423 w 1141507"/>
                <a:gd name="connsiteY11" fmla="*/ 9976 h 3383919"/>
                <a:gd name="connsiteX12" fmla="*/ 958207 w 1141507"/>
                <a:gd name="connsiteY12" fmla="*/ 21886 h 3383919"/>
                <a:gd name="connsiteX13" fmla="*/ 1042530 w 1141507"/>
                <a:gd name="connsiteY13" fmla="*/ 91245 h 3383919"/>
                <a:gd name="connsiteX14" fmla="*/ 1104665 w 1141507"/>
                <a:gd name="connsiteY14" fmla="*/ 167341 h 3383919"/>
                <a:gd name="connsiteX15" fmla="*/ 1003694 w 1141507"/>
                <a:gd name="connsiteY15" fmla="*/ 196335 h 3383919"/>
                <a:gd name="connsiteX16" fmla="*/ 988160 w 1141507"/>
                <a:gd name="connsiteY16" fmla="*/ 243442 h 3383919"/>
                <a:gd name="connsiteX17" fmla="*/ 1045830 w 1141507"/>
                <a:gd name="connsiteY17" fmla="*/ 327932 h 3383919"/>
                <a:gd name="connsiteX18" fmla="*/ 1081364 w 1141507"/>
                <a:gd name="connsiteY18" fmla="*/ 334034 h 3383919"/>
                <a:gd name="connsiteX19" fmla="*/ 1133984 w 1141507"/>
                <a:gd name="connsiteY19" fmla="*/ 340374 h 3383919"/>
                <a:gd name="connsiteX20" fmla="*/ 1129021 w 1141507"/>
                <a:gd name="connsiteY20" fmla="*/ 451149 h 3383919"/>
                <a:gd name="connsiteX21" fmla="*/ 1140090 w 1141507"/>
                <a:gd name="connsiteY21" fmla="*/ 782117 h 3383919"/>
                <a:gd name="connsiteX22" fmla="*/ 1131222 w 1141507"/>
                <a:gd name="connsiteY22" fmla="*/ 1584716 h 3383919"/>
                <a:gd name="connsiteX23" fmla="*/ 1140089 w 1141507"/>
                <a:gd name="connsiteY23" fmla="*/ 2039798 h 3383919"/>
                <a:gd name="connsiteX24" fmla="*/ 1113641 w 1141507"/>
                <a:gd name="connsiteY24" fmla="*/ 3349763 h 3383919"/>
                <a:gd name="connsiteX25" fmla="*/ 855214 w 1141507"/>
                <a:gd name="connsiteY25" fmla="*/ 3306168 h 3383919"/>
                <a:gd name="connsiteX26" fmla="*/ 686736 w 1141507"/>
                <a:gd name="connsiteY26" fmla="*/ 3239973 h 3383919"/>
                <a:gd name="connsiteX27" fmla="*/ 509390 w 1141507"/>
                <a:gd name="connsiteY27" fmla="*/ 3148957 h 3383919"/>
                <a:gd name="connsiteX28" fmla="*/ 411092 w 1141507"/>
                <a:gd name="connsiteY28" fmla="*/ 3068440 h 3383919"/>
                <a:gd name="connsiteX29" fmla="*/ 705354 w 1141507"/>
                <a:gd name="connsiteY29" fmla="*/ 2760804 h 3383919"/>
                <a:gd name="connsiteX30" fmla="*/ 421600 w 1141507"/>
                <a:gd name="connsiteY30" fmla="*/ 2222980 h 3383919"/>
                <a:gd name="connsiteX31" fmla="*/ 563950 w 1141507"/>
                <a:gd name="connsiteY31" fmla="*/ 1983895 h 3383919"/>
                <a:gd name="connsiteX32" fmla="*/ 377263 w 1141507"/>
                <a:gd name="connsiteY32" fmla="*/ 1445204 h 3383919"/>
                <a:gd name="connsiteX33" fmla="*/ 128979 w 1141507"/>
                <a:gd name="connsiteY33" fmla="*/ 1213526 h 3383919"/>
                <a:gd name="connsiteX34" fmla="*/ 120112 w 1141507"/>
                <a:gd name="connsiteY34" fmla="*/ 1097687 h 3383919"/>
                <a:gd name="connsiteX35" fmla="*/ 0 w 1141507"/>
                <a:gd name="connsiteY35"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850782 w 1141507"/>
                <a:gd name="connsiteY7" fmla="*/ 90605 h 3383919"/>
                <a:gd name="connsiteX8" fmla="*/ 778735 w 1141507"/>
                <a:gd name="connsiteY8" fmla="*/ 46648 h 3383919"/>
                <a:gd name="connsiteX9" fmla="*/ 774567 w 1141507"/>
                <a:gd name="connsiteY9" fmla="*/ 22395 h 3383919"/>
                <a:gd name="connsiteX10" fmla="*/ 825843 w 1141507"/>
                <a:gd name="connsiteY10" fmla="*/ 104 h 3383919"/>
                <a:gd name="connsiteX11" fmla="*/ 879423 w 1141507"/>
                <a:gd name="connsiteY11" fmla="*/ 9976 h 3383919"/>
                <a:gd name="connsiteX12" fmla="*/ 958207 w 1141507"/>
                <a:gd name="connsiteY12" fmla="*/ 21886 h 3383919"/>
                <a:gd name="connsiteX13" fmla="*/ 1042530 w 1141507"/>
                <a:gd name="connsiteY13" fmla="*/ 91245 h 3383919"/>
                <a:gd name="connsiteX14" fmla="*/ 1104665 w 1141507"/>
                <a:gd name="connsiteY14" fmla="*/ 167341 h 3383919"/>
                <a:gd name="connsiteX15" fmla="*/ 1003694 w 1141507"/>
                <a:gd name="connsiteY15" fmla="*/ 196335 h 3383919"/>
                <a:gd name="connsiteX16" fmla="*/ 988160 w 1141507"/>
                <a:gd name="connsiteY16" fmla="*/ 243442 h 3383919"/>
                <a:gd name="connsiteX17" fmla="*/ 1045830 w 1141507"/>
                <a:gd name="connsiteY17" fmla="*/ 327932 h 3383919"/>
                <a:gd name="connsiteX18" fmla="*/ 1081364 w 1141507"/>
                <a:gd name="connsiteY18" fmla="*/ 334034 h 3383919"/>
                <a:gd name="connsiteX19" fmla="*/ 1133984 w 1141507"/>
                <a:gd name="connsiteY19" fmla="*/ 340374 h 3383919"/>
                <a:gd name="connsiteX20" fmla="*/ 1129021 w 1141507"/>
                <a:gd name="connsiteY20" fmla="*/ 451149 h 3383919"/>
                <a:gd name="connsiteX21" fmla="*/ 1140090 w 1141507"/>
                <a:gd name="connsiteY21" fmla="*/ 782117 h 3383919"/>
                <a:gd name="connsiteX22" fmla="*/ 1131222 w 1141507"/>
                <a:gd name="connsiteY22" fmla="*/ 1584716 h 3383919"/>
                <a:gd name="connsiteX23" fmla="*/ 1140089 w 1141507"/>
                <a:gd name="connsiteY23" fmla="*/ 2039798 h 3383919"/>
                <a:gd name="connsiteX24" fmla="*/ 1113641 w 1141507"/>
                <a:gd name="connsiteY24" fmla="*/ 3349763 h 3383919"/>
                <a:gd name="connsiteX25" fmla="*/ 855214 w 1141507"/>
                <a:gd name="connsiteY25" fmla="*/ 3306168 h 3383919"/>
                <a:gd name="connsiteX26" fmla="*/ 686736 w 1141507"/>
                <a:gd name="connsiteY26" fmla="*/ 3239973 h 3383919"/>
                <a:gd name="connsiteX27" fmla="*/ 509390 w 1141507"/>
                <a:gd name="connsiteY27" fmla="*/ 3148957 h 3383919"/>
                <a:gd name="connsiteX28" fmla="*/ 411092 w 1141507"/>
                <a:gd name="connsiteY28" fmla="*/ 3068440 h 3383919"/>
                <a:gd name="connsiteX29" fmla="*/ 705354 w 1141507"/>
                <a:gd name="connsiteY29" fmla="*/ 2760804 h 3383919"/>
                <a:gd name="connsiteX30" fmla="*/ 421600 w 1141507"/>
                <a:gd name="connsiteY30" fmla="*/ 2222980 h 3383919"/>
                <a:gd name="connsiteX31" fmla="*/ 563950 w 1141507"/>
                <a:gd name="connsiteY31" fmla="*/ 1983895 h 3383919"/>
                <a:gd name="connsiteX32" fmla="*/ 377263 w 1141507"/>
                <a:gd name="connsiteY32" fmla="*/ 1445204 h 3383919"/>
                <a:gd name="connsiteX33" fmla="*/ 128979 w 1141507"/>
                <a:gd name="connsiteY33" fmla="*/ 1213526 h 3383919"/>
                <a:gd name="connsiteX34" fmla="*/ 120112 w 1141507"/>
                <a:gd name="connsiteY34" fmla="*/ 1097687 h 3383919"/>
                <a:gd name="connsiteX35" fmla="*/ 0 w 1141507"/>
                <a:gd name="connsiteY35"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850782 w 1141507"/>
                <a:gd name="connsiteY7" fmla="*/ 90605 h 3383919"/>
                <a:gd name="connsiteX8" fmla="*/ 817530 w 1141507"/>
                <a:gd name="connsiteY8" fmla="*/ 69919 h 3383919"/>
                <a:gd name="connsiteX9" fmla="*/ 778735 w 1141507"/>
                <a:gd name="connsiteY9" fmla="*/ 46648 h 3383919"/>
                <a:gd name="connsiteX10" fmla="*/ 774567 w 1141507"/>
                <a:gd name="connsiteY10" fmla="*/ 22395 h 3383919"/>
                <a:gd name="connsiteX11" fmla="*/ 825843 w 1141507"/>
                <a:gd name="connsiteY11" fmla="*/ 104 h 3383919"/>
                <a:gd name="connsiteX12" fmla="*/ 879423 w 1141507"/>
                <a:gd name="connsiteY12" fmla="*/ 9976 h 3383919"/>
                <a:gd name="connsiteX13" fmla="*/ 958207 w 1141507"/>
                <a:gd name="connsiteY13" fmla="*/ 21886 h 3383919"/>
                <a:gd name="connsiteX14" fmla="*/ 1042530 w 1141507"/>
                <a:gd name="connsiteY14" fmla="*/ 91245 h 3383919"/>
                <a:gd name="connsiteX15" fmla="*/ 1104665 w 1141507"/>
                <a:gd name="connsiteY15" fmla="*/ 167341 h 3383919"/>
                <a:gd name="connsiteX16" fmla="*/ 1003694 w 1141507"/>
                <a:gd name="connsiteY16" fmla="*/ 196335 h 3383919"/>
                <a:gd name="connsiteX17" fmla="*/ 988160 w 1141507"/>
                <a:gd name="connsiteY17" fmla="*/ 243442 h 3383919"/>
                <a:gd name="connsiteX18" fmla="*/ 1045830 w 1141507"/>
                <a:gd name="connsiteY18" fmla="*/ 327932 h 3383919"/>
                <a:gd name="connsiteX19" fmla="*/ 1081364 w 1141507"/>
                <a:gd name="connsiteY19" fmla="*/ 334034 h 3383919"/>
                <a:gd name="connsiteX20" fmla="*/ 1133984 w 1141507"/>
                <a:gd name="connsiteY20" fmla="*/ 340374 h 3383919"/>
                <a:gd name="connsiteX21" fmla="*/ 1129021 w 1141507"/>
                <a:gd name="connsiteY21" fmla="*/ 451149 h 3383919"/>
                <a:gd name="connsiteX22" fmla="*/ 1140090 w 1141507"/>
                <a:gd name="connsiteY22" fmla="*/ 782117 h 3383919"/>
                <a:gd name="connsiteX23" fmla="*/ 1131222 w 1141507"/>
                <a:gd name="connsiteY23" fmla="*/ 1584716 h 3383919"/>
                <a:gd name="connsiteX24" fmla="*/ 1140089 w 1141507"/>
                <a:gd name="connsiteY24" fmla="*/ 2039798 h 3383919"/>
                <a:gd name="connsiteX25" fmla="*/ 1113641 w 1141507"/>
                <a:gd name="connsiteY25" fmla="*/ 3349763 h 3383919"/>
                <a:gd name="connsiteX26" fmla="*/ 855214 w 1141507"/>
                <a:gd name="connsiteY26" fmla="*/ 3306168 h 3383919"/>
                <a:gd name="connsiteX27" fmla="*/ 686736 w 1141507"/>
                <a:gd name="connsiteY27" fmla="*/ 3239973 h 3383919"/>
                <a:gd name="connsiteX28" fmla="*/ 509390 w 1141507"/>
                <a:gd name="connsiteY28" fmla="*/ 3148957 h 3383919"/>
                <a:gd name="connsiteX29" fmla="*/ 411092 w 1141507"/>
                <a:gd name="connsiteY29" fmla="*/ 3068440 h 3383919"/>
                <a:gd name="connsiteX30" fmla="*/ 705354 w 1141507"/>
                <a:gd name="connsiteY30" fmla="*/ 2760804 h 3383919"/>
                <a:gd name="connsiteX31" fmla="*/ 421600 w 1141507"/>
                <a:gd name="connsiteY31" fmla="*/ 2222980 h 3383919"/>
                <a:gd name="connsiteX32" fmla="*/ 563950 w 1141507"/>
                <a:gd name="connsiteY32" fmla="*/ 1983895 h 3383919"/>
                <a:gd name="connsiteX33" fmla="*/ 377263 w 1141507"/>
                <a:gd name="connsiteY33" fmla="*/ 1445204 h 3383919"/>
                <a:gd name="connsiteX34" fmla="*/ 128979 w 1141507"/>
                <a:gd name="connsiteY34" fmla="*/ 1213526 h 3383919"/>
                <a:gd name="connsiteX35" fmla="*/ 120112 w 1141507"/>
                <a:gd name="connsiteY35" fmla="*/ 1097687 h 3383919"/>
                <a:gd name="connsiteX36" fmla="*/ 0 w 1141507"/>
                <a:gd name="connsiteY36"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850782 w 1141507"/>
                <a:gd name="connsiteY7" fmla="*/ 90605 h 3383919"/>
                <a:gd name="connsiteX8" fmla="*/ 820300 w 1141507"/>
                <a:gd name="connsiteY8" fmla="*/ 75091 h 3383919"/>
                <a:gd name="connsiteX9" fmla="*/ 778735 w 1141507"/>
                <a:gd name="connsiteY9" fmla="*/ 46648 h 3383919"/>
                <a:gd name="connsiteX10" fmla="*/ 774567 w 1141507"/>
                <a:gd name="connsiteY10" fmla="*/ 22395 h 3383919"/>
                <a:gd name="connsiteX11" fmla="*/ 825843 w 1141507"/>
                <a:gd name="connsiteY11" fmla="*/ 104 h 3383919"/>
                <a:gd name="connsiteX12" fmla="*/ 879423 w 1141507"/>
                <a:gd name="connsiteY12" fmla="*/ 9976 h 3383919"/>
                <a:gd name="connsiteX13" fmla="*/ 958207 w 1141507"/>
                <a:gd name="connsiteY13" fmla="*/ 21886 h 3383919"/>
                <a:gd name="connsiteX14" fmla="*/ 1042530 w 1141507"/>
                <a:gd name="connsiteY14" fmla="*/ 91245 h 3383919"/>
                <a:gd name="connsiteX15" fmla="*/ 1104665 w 1141507"/>
                <a:gd name="connsiteY15" fmla="*/ 167341 h 3383919"/>
                <a:gd name="connsiteX16" fmla="*/ 1003694 w 1141507"/>
                <a:gd name="connsiteY16" fmla="*/ 196335 h 3383919"/>
                <a:gd name="connsiteX17" fmla="*/ 988160 w 1141507"/>
                <a:gd name="connsiteY17" fmla="*/ 243442 h 3383919"/>
                <a:gd name="connsiteX18" fmla="*/ 1045830 w 1141507"/>
                <a:gd name="connsiteY18" fmla="*/ 327932 h 3383919"/>
                <a:gd name="connsiteX19" fmla="*/ 1081364 w 1141507"/>
                <a:gd name="connsiteY19" fmla="*/ 334034 h 3383919"/>
                <a:gd name="connsiteX20" fmla="*/ 1133984 w 1141507"/>
                <a:gd name="connsiteY20" fmla="*/ 340374 h 3383919"/>
                <a:gd name="connsiteX21" fmla="*/ 1129021 w 1141507"/>
                <a:gd name="connsiteY21" fmla="*/ 451149 h 3383919"/>
                <a:gd name="connsiteX22" fmla="*/ 1140090 w 1141507"/>
                <a:gd name="connsiteY22" fmla="*/ 782117 h 3383919"/>
                <a:gd name="connsiteX23" fmla="*/ 1131222 w 1141507"/>
                <a:gd name="connsiteY23" fmla="*/ 1584716 h 3383919"/>
                <a:gd name="connsiteX24" fmla="*/ 1140089 w 1141507"/>
                <a:gd name="connsiteY24" fmla="*/ 2039798 h 3383919"/>
                <a:gd name="connsiteX25" fmla="*/ 1113641 w 1141507"/>
                <a:gd name="connsiteY25" fmla="*/ 3349763 h 3383919"/>
                <a:gd name="connsiteX26" fmla="*/ 855214 w 1141507"/>
                <a:gd name="connsiteY26" fmla="*/ 3306168 h 3383919"/>
                <a:gd name="connsiteX27" fmla="*/ 686736 w 1141507"/>
                <a:gd name="connsiteY27" fmla="*/ 3239973 h 3383919"/>
                <a:gd name="connsiteX28" fmla="*/ 509390 w 1141507"/>
                <a:gd name="connsiteY28" fmla="*/ 3148957 h 3383919"/>
                <a:gd name="connsiteX29" fmla="*/ 411092 w 1141507"/>
                <a:gd name="connsiteY29" fmla="*/ 3068440 h 3383919"/>
                <a:gd name="connsiteX30" fmla="*/ 705354 w 1141507"/>
                <a:gd name="connsiteY30" fmla="*/ 2760804 h 3383919"/>
                <a:gd name="connsiteX31" fmla="*/ 421600 w 1141507"/>
                <a:gd name="connsiteY31" fmla="*/ 2222980 h 3383919"/>
                <a:gd name="connsiteX32" fmla="*/ 563950 w 1141507"/>
                <a:gd name="connsiteY32" fmla="*/ 1983895 h 3383919"/>
                <a:gd name="connsiteX33" fmla="*/ 377263 w 1141507"/>
                <a:gd name="connsiteY33" fmla="*/ 1445204 h 3383919"/>
                <a:gd name="connsiteX34" fmla="*/ 128979 w 1141507"/>
                <a:gd name="connsiteY34" fmla="*/ 1213526 h 3383919"/>
                <a:gd name="connsiteX35" fmla="*/ 120112 w 1141507"/>
                <a:gd name="connsiteY35" fmla="*/ 1097687 h 3383919"/>
                <a:gd name="connsiteX36" fmla="*/ 0 w 1141507"/>
                <a:gd name="connsiteY36"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875721 w 1141507"/>
                <a:gd name="connsiteY7" fmla="*/ 116461 h 3383919"/>
                <a:gd name="connsiteX8" fmla="*/ 850782 w 1141507"/>
                <a:gd name="connsiteY8" fmla="*/ 90605 h 3383919"/>
                <a:gd name="connsiteX9" fmla="*/ 820300 w 1141507"/>
                <a:gd name="connsiteY9" fmla="*/ 75091 h 3383919"/>
                <a:gd name="connsiteX10" fmla="*/ 778735 w 1141507"/>
                <a:gd name="connsiteY10" fmla="*/ 46648 h 3383919"/>
                <a:gd name="connsiteX11" fmla="*/ 774567 w 1141507"/>
                <a:gd name="connsiteY11" fmla="*/ 22395 h 3383919"/>
                <a:gd name="connsiteX12" fmla="*/ 825843 w 1141507"/>
                <a:gd name="connsiteY12" fmla="*/ 104 h 3383919"/>
                <a:gd name="connsiteX13" fmla="*/ 879423 w 1141507"/>
                <a:gd name="connsiteY13" fmla="*/ 9976 h 3383919"/>
                <a:gd name="connsiteX14" fmla="*/ 958207 w 1141507"/>
                <a:gd name="connsiteY14" fmla="*/ 21886 h 3383919"/>
                <a:gd name="connsiteX15" fmla="*/ 1042530 w 1141507"/>
                <a:gd name="connsiteY15" fmla="*/ 91245 h 3383919"/>
                <a:gd name="connsiteX16" fmla="*/ 1104665 w 1141507"/>
                <a:gd name="connsiteY16" fmla="*/ 167341 h 3383919"/>
                <a:gd name="connsiteX17" fmla="*/ 1003694 w 1141507"/>
                <a:gd name="connsiteY17" fmla="*/ 196335 h 3383919"/>
                <a:gd name="connsiteX18" fmla="*/ 988160 w 1141507"/>
                <a:gd name="connsiteY18" fmla="*/ 243442 h 3383919"/>
                <a:gd name="connsiteX19" fmla="*/ 1045830 w 1141507"/>
                <a:gd name="connsiteY19" fmla="*/ 327932 h 3383919"/>
                <a:gd name="connsiteX20" fmla="*/ 1081364 w 1141507"/>
                <a:gd name="connsiteY20" fmla="*/ 334034 h 3383919"/>
                <a:gd name="connsiteX21" fmla="*/ 1133984 w 1141507"/>
                <a:gd name="connsiteY21" fmla="*/ 340374 h 3383919"/>
                <a:gd name="connsiteX22" fmla="*/ 1129021 w 1141507"/>
                <a:gd name="connsiteY22" fmla="*/ 451149 h 3383919"/>
                <a:gd name="connsiteX23" fmla="*/ 1140090 w 1141507"/>
                <a:gd name="connsiteY23" fmla="*/ 782117 h 3383919"/>
                <a:gd name="connsiteX24" fmla="*/ 1131222 w 1141507"/>
                <a:gd name="connsiteY24" fmla="*/ 1584716 h 3383919"/>
                <a:gd name="connsiteX25" fmla="*/ 1140089 w 1141507"/>
                <a:gd name="connsiteY25" fmla="*/ 2039798 h 3383919"/>
                <a:gd name="connsiteX26" fmla="*/ 1113641 w 1141507"/>
                <a:gd name="connsiteY26" fmla="*/ 3349763 h 3383919"/>
                <a:gd name="connsiteX27" fmla="*/ 855214 w 1141507"/>
                <a:gd name="connsiteY27" fmla="*/ 3306168 h 3383919"/>
                <a:gd name="connsiteX28" fmla="*/ 686736 w 1141507"/>
                <a:gd name="connsiteY28" fmla="*/ 3239973 h 3383919"/>
                <a:gd name="connsiteX29" fmla="*/ 509390 w 1141507"/>
                <a:gd name="connsiteY29" fmla="*/ 3148957 h 3383919"/>
                <a:gd name="connsiteX30" fmla="*/ 411092 w 1141507"/>
                <a:gd name="connsiteY30" fmla="*/ 3068440 h 3383919"/>
                <a:gd name="connsiteX31" fmla="*/ 705354 w 1141507"/>
                <a:gd name="connsiteY31" fmla="*/ 2760804 h 3383919"/>
                <a:gd name="connsiteX32" fmla="*/ 421600 w 1141507"/>
                <a:gd name="connsiteY32" fmla="*/ 2222980 h 3383919"/>
                <a:gd name="connsiteX33" fmla="*/ 563950 w 1141507"/>
                <a:gd name="connsiteY33" fmla="*/ 1983895 h 3383919"/>
                <a:gd name="connsiteX34" fmla="*/ 377263 w 1141507"/>
                <a:gd name="connsiteY34" fmla="*/ 1445204 h 3383919"/>
                <a:gd name="connsiteX35" fmla="*/ 128979 w 1141507"/>
                <a:gd name="connsiteY35" fmla="*/ 1213526 h 3383919"/>
                <a:gd name="connsiteX36" fmla="*/ 120112 w 1141507"/>
                <a:gd name="connsiteY36" fmla="*/ 1097687 h 3383919"/>
                <a:gd name="connsiteX37" fmla="*/ 0 w 1141507"/>
                <a:gd name="connsiteY37"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834155 w 1141507"/>
                <a:gd name="connsiteY7" fmla="*/ 173346 h 3383919"/>
                <a:gd name="connsiteX8" fmla="*/ 850782 w 1141507"/>
                <a:gd name="connsiteY8" fmla="*/ 90605 h 3383919"/>
                <a:gd name="connsiteX9" fmla="*/ 820300 w 1141507"/>
                <a:gd name="connsiteY9" fmla="*/ 75091 h 3383919"/>
                <a:gd name="connsiteX10" fmla="*/ 778735 w 1141507"/>
                <a:gd name="connsiteY10" fmla="*/ 46648 h 3383919"/>
                <a:gd name="connsiteX11" fmla="*/ 774567 w 1141507"/>
                <a:gd name="connsiteY11" fmla="*/ 22395 h 3383919"/>
                <a:gd name="connsiteX12" fmla="*/ 825843 w 1141507"/>
                <a:gd name="connsiteY12" fmla="*/ 104 h 3383919"/>
                <a:gd name="connsiteX13" fmla="*/ 879423 w 1141507"/>
                <a:gd name="connsiteY13" fmla="*/ 9976 h 3383919"/>
                <a:gd name="connsiteX14" fmla="*/ 958207 w 1141507"/>
                <a:gd name="connsiteY14" fmla="*/ 21886 h 3383919"/>
                <a:gd name="connsiteX15" fmla="*/ 1042530 w 1141507"/>
                <a:gd name="connsiteY15" fmla="*/ 91245 h 3383919"/>
                <a:gd name="connsiteX16" fmla="*/ 1104665 w 1141507"/>
                <a:gd name="connsiteY16" fmla="*/ 167341 h 3383919"/>
                <a:gd name="connsiteX17" fmla="*/ 1003694 w 1141507"/>
                <a:gd name="connsiteY17" fmla="*/ 196335 h 3383919"/>
                <a:gd name="connsiteX18" fmla="*/ 988160 w 1141507"/>
                <a:gd name="connsiteY18" fmla="*/ 243442 h 3383919"/>
                <a:gd name="connsiteX19" fmla="*/ 1045830 w 1141507"/>
                <a:gd name="connsiteY19" fmla="*/ 327932 h 3383919"/>
                <a:gd name="connsiteX20" fmla="*/ 1081364 w 1141507"/>
                <a:gd name="connsiteY20" fmla="*/ 334034 h 3383919"/>
                <a:gd name="connsiteX21" fmla="*/ 1133984 w 1141507"/>
                <a:gd name="connsiteY21" fmla="*/ 340374 h 3383919"/>
                <a:gd name="connsiteX22" fmla="*/ 1129021 w 1141507"/>
                <a:gd name="connsiteY22" fmla="*/ 451149 h 3383919"/>
                <a:gd name="connsiteX23" fmla="*/ 1140090 w 1141507"/>
                <a:gd name="connsiteY23" fmla="*/ 782117 h 3383919"/>
                <a:gd name="connsiteX24" fmla="*/ 1131222 w 1141507"/>
                <a:gd name="connsiteY24" fmla="*/ 1584716 h 3383919"/>
                <a:gd name="connsiteX25" fmla="*/ 1140089 w 1141507"/>
                <a:gd name="connsiteY25" fmla="*/ 2039798 h 3383919"/>
                <a:gd name="connsiteX26" fmla="*/ 1113641 w 1141507"/>
                <a:gd name="connsiteY26" fmla="*/ 3349763 h 3383919"/>
                <a:gd name="connsiteX27" fmla="*/ 855214 w 1141507"/>
                <a:gd name="connsiteY27" fmla="*/ 3306168 h 3383919"/>
                <a:gd name="connsiteX28" fmla="*/ 686736 w 1141507"/>
                <a:gd name="connsiteY28" fmla="*/ 3239973 h 3383919"/>
                <a:gd name="connsiteX29" fmla="*/ 509390 w 1141507"/>
                <a:gd name="connsiteY29" fmla="*/ 3148957 h 3383919"/>
                <a:gd name="connsiteX30" fmla="*/ 411092 w 1141507"/>
                <a:gd name="connsiteY30" fmla="*/ 3068440 h 3383919"/>
                <a:gd name="connsiteX31" fmla="*/ 705354 w 1141507"/>
                <a:gd name="connsiteY31" fmla="*/ 2760804 h 3383919"/>
                <a:gd name="connsiteX32" fmla="*/ 421600 w 1141507"/>
                <a:gd name="connsiteY32" fmla="*/ 2222980 h 3383919"/>
                <a:gd name="connsiteX33" fmla="*/ 563950 w 1141507"/>
                <a:gd name="connsiteY33" fmla="*/ 1983895 h 3383919"/>
                <a:gd name="connsiteX34" fmla="*/ 377263 w 1141507"/>
                <a:gd name="connsiteY34" fmla="*/ 1445204 h 3383919"/>
                <a:gd name="connsiteX35" fmla="*/ 128979 w 1141507"/>
                <a:gd name="connsiteY35" fmla="*/ 1213526 h 3383919"/>
                <a:gd name="connsiteX36" fmla="*/ 120112 w 1141507"/>
                <a:gd name="connsiteY36" fmla="*/ 1097687 h 3383919"/>
                <a:gd name="connsiteX37" fmla="*/ 0 w 1141507"/>
                <a:gd name="connsiteY37"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834155 w 1141507"/>
                <a:gd name="connsiteY7" fmla="*/ 173346 h 3383919"/>
                <a:gd name="connsiteX8" fmla="*/ 842469 w 1141507"/>
                <a:gd name="connsiteY8" fmla="*/ 95776 h 3383919"/>
                <a:gd name="connsiteX9" fmla="*/ 820300 w 1141507"/>
                <a:gd name="connsiteY9" fmla="*/ 75091 h 3383919"/>
                <a:gd name="connsiteX10" fmla="*/ 778735 w 1141507"/>
                <a:gd name="connsiteY10" fmla="*/ 46648 h 3383919"/>
                <a:gd name="connsiteX11" fmla="*/ 774567 w 1141507"/>
                <a:gd name="connsiteY11" fmla="*/ 22395 h 3383919"/>
                <a:gd name="connsiteX12" fmla="*/ 825843 w 1141507"/>
                <a:gd name="connsiteY12" fmla="*/ 104 h 3383919"/>
                <a:gd name="connsiteX13" fmla="*/ 879423 w 1141507"/>
                <a:gd name="connsiteY13" fmla="*/ 9976 h 3383919"/>
                <a:gd name="connsiteX14" fmla="*/ 958207 w 1141507"/>
                <a:gd name="connsiteY14" fmla="*/ 21886 h 3383919"/>
                <a:gd name="connsiteX15" fmla="*/ 1042530 w 1141507"/>
                <a:gd name="connsiteY15" fmla="*/ 91245 h 3383919"/>
                <a:gd name="connsiteX16" fmla="*/ 1104665 w 1141507"/>
                <a:gd name="connsiteY16" fmla="*/ 167341 h 3383919"/>
                <a:gd name="connsiteX17" fmla="*/ 1003694 w 1141507"/>
                <a:gd name="connsiteY17" fmla="*/ 196335 h 3383919"/>
                <a:gd name="connsiteX18" fmla="*/ 988160 w 1141507"/>
                <a:gd name="connsiteY18" fmla="*/ 243442 h 3383919"/>
                <a:gd name="connsiteX19" fmla="*/ 1045830 w 1141507"/>
                <a:gd name="connsiteY19" fmla="*/ 327932 h 3383919"/>
                <a:gd name="connsiteX20" fmla="*/ 1081364 w 1141507"/>
                <a:gd name="connsiteY20" fmla="*/ 334034 h 3383919"/>
                <a:gd name="connsiteX21" fmla="*/ 1133984 w 1141507"/>
                <a:gd name="connsiteY21" fmla="*/ 340374 h 3383919"/>
                <a:gd name="connsiteX22" fmla="*/ 1129021 w 1141507"/>
                <a:gd name="connsiteY22" fmla="*/ 451149 h 3383919"/>
                <a:gd name="connsiteX23" fmla="*/ 1140090 w 1141507"/>
                <a:gd name="connsiteY23" fmla="*/ 782117 h 3383919"/>
                <a:gd name="connsiteX24" fmla="*/ 1131222 w 1141507"/>
                <a:gd name="connsiteY24" fmla="*/ 1584716 h 3383919"/>
                <a:gd name="connsiteX25" fmla="*/ 1140089 w 1141507"/>
                <a:gd name="connsiteY25" fmla="*/ 2039798 h 3383919"/>
                <a:gd name="connsiteX26" fmla="*/ 1113641 w 1141507"/>
                <a:gd name="connsiteY26" fmla="*/ 3349763 h 3383919"/>
                <a:gd name="connsiteX27" fmla="*/ 855214 w 1141507"/>
                <a:gd name="connsiteY27" fmla="*/ 3306168 h 3383919"/>
                <a:gd name="connsiteX28" fmla="*/ 686736 w 1141507"/>
                <a:gd name="connsiteY28" fmla="*/ 3239973 h 3383919"/>
                <a:gd name="connsiteX29" fmla="*/ 509390 w 1141507"/>
                <a:gd name="connsiteY29" fmla="*/ 3148957 h 3383919"/>
                <a:gd name="connsiteX30" fmla="*/ 411092 w 1141507"/>
                <a:gd name="connsiteY30" fmla="*/ 3068440 h 3383919"/>
                <a:gd name="connsiteX31" fmla="*/ 705354 w 1141507"/>
                <a:gd name="connsiteY31" fmla="*/ 2760804 h 3383919"/>
                <a:gd name="connsiteX32" fmla="*/ 421600 w 1141507"/>
                <a:gd name="connsiteY32" fmla="*/ 2222980 h 3383919"/>
                <a:gd name="connsiteX33" fmla="*/ 563950 w 1141507"/>
                <a:gd name="connsiteY33" fmla="*/ 1983895 h 3383919"/>
                <a:gd name="connsiteX34" fmla="*/ 377263 w 1141507"/>
                <a:gd name="connsiteY34" fmla="*/ 1445204 h 3383919"/>
                <a:gd name="connsiteX35" fmla="*/ 128979 w 1141507"/>
                <a:gd name="connsiteY35" fmla="*/ 1213526 h 3383919"/>
                <a:gd name="connsiteX36" fmla="*/ 120112 w 1141507"/>
                <a:gd name="connsiteY36" fmla="*/ 1097687 h 3383919"/>
                <a:gd name="connsiteX37" fmla="*/ 0 w 1141507"/>
                <a:gd name="connsiteY37"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834155 w 1141507"/>
                <a:gd name="connsiteY7" fmla="*/ 173346 h 3383919"/>
                <a:gd name="connsiteX8" fmla="*/ 836927 w 1141507"/>
                <a:gd name="connsiteY8" fmla="*/ 150075 h 3383919"/>
                <a:gd name="connsiteX9" fmla="*/ 842469 w 1141507"/>
                <a:gd name="connsiteY9" fmla="*/ 95776 h 3383919"/>
                <a:gd name="connsiteX10" fmla="*/ 820300 w 1141507"/>
                <a:gd name="connsiteY10" fmla="*/ 75091 h 3383919"/>
                <a:gd name="connsiteX11" fmla="*/ 778735 w 1141507"/>
                <a:gd name="connsiteY11" fmla="*/ 46648 h 3383919"/>
                <a:gd name="connsiteX12" fmla="*/ 774567 w 1141507"/>
                <a:gd name="connsiteY12" fmla="*/ 22395 h 3383919"/>
                <a:gd name="connsiteX13" fmla="*/ 825843 w 1141507"/>
                <a:gd name="connsiteY13" fmla="*/ 104 h 3383919"/>
                <a:gd name="connsiteX14" fmla="*/ 879423 w 1141507"/>
                <a:gd name="connsiteY14" fmla="*/ 9976 h 3383919"/>
                <a:gd name="connsiteX15" fmla="*/ 958207 w 1141507"/>
                <a:gd name="connsiteY15" fmla="*/ 21886 h 3383919"/>
                <a:gd name="connsiteX16" fmla="*/ 1042530 w 1141507"/>
                <a:gd name="connsiteY16" fmla="*/ 91245 h 3383919"/>
                <a:gd name="connsiteX17" fmla="*/ 1104665 w 1141507"/>
                <a:gd name="connsiteY17" fmla="*/ 167341 h 3383919"/>
                <a:gd name="connsiteX18" fmla="*/ 1003694 w 1141507"/>
                <a:gd name="connsiteY18" fmla="*/ 196335 h 3383919"/>
                <a:gd name="connsiteX19" fmla="*/ 988160 w 1141507"/>
                <a:gd name="connsiteY19" fmla="*/ 243442 h 3383919"/>
                <a:gd name="connsiteX20" fmla="*/ 1045830 w 1141507"/>
                <a:gd name="connsiteY20" fmla="*/ 327932 h 3383919"/>
                <a:gd name="connsiteX21" fmla="*/ 1081364 w 1141507"/>
                <a:gd name="connsiteY21" fmla="*/ 334034 h 3383919"/>
                <a:gd name="connsiteX22" fmla="*/ 1133984 w 1141507"/>
                <a:gd name="connsiteY22" fmla="*/ 340374 h 3383919"/>
                <a:gd name="connsiteX23" fmla="*/ 1129021 w 1141507"/>
                <a:gd name="connsiteY23" fmla="*/ 451149 h 3383919"/>
                <a:gd name="connsiteX24" fmla="*/ 1140090 w 1141507"/>
                <a:gd name="connsiteY24" fmla="*/ 782117 h 3383919"/>
                <a:gd name="connsiteX25" fmla="*/ 1131222 w 1141507"/>
                <a:gd name="connsiteY25" fmla="*/ 1584716 h 3383919"/>
                <a:gd name="connsiteX26" fmla="*/ 1140089 w 1141507"/>
                <a:gd name="connsiteY26" fmla="*/ 2039798 h 3383919"/>
                <a:gd name="connsiteX27" fmla="*/ 1113641 w 1141507"/>
                <a:gd name="connsiteY27" fmla="*/ 3349763 h 3383919"/>
                <a:gd name="connsiteX28" fmla="*/ 855214 w 1141507"/>
                <a:gd name="connsiteY28" fmla="*/ 3306168 h 3383919"/>
                <a:gd name="connsiteX29" fmla="*/ 686736 w 1141507"/>
                <a:gd name="connsiteY29" fmla="*/ 3239973 h 3383919"/>
                <a:gd name="connsiteX30" fmla="*/ 509390 w 1141507"/>
                <a:gd name="connsiteY30" fmla="*/ 3148957 h 3383919"/>
                <a:gd name="connsiteX31" fmla="*/ 411092 w 1141507"/>
                <a:gd name="connsiteY31" fmla="*/ 3068440 h 3383919"/>
                <a:gd name="connsiteX32" fmla="*/ 705354 w 1141507"/>
                <a:gd name="connsiteY32" fmla="*/ 2760804 h 3383919"/>
                <a:gd name="connsiteX33" fmla="*/ 421600 w 1141507"/>
                <a:gd name="connsiteY33" fmla="*/ 2222980 h 3383919"/>
                <a:gd name="connsiteX34" fmla="*/ 563950 w 1141507"/>
                <a:gd name="connsiteY34" fmla="*/ 1983895 h 3383919"/>
                <a:gd name="connsiteX35" fmla="*/ 377263 w 1141507"/>
                <a:gd name="connsiteY35" fmla="*/ 1445204 h 3383919"/>
                <a:gd name="connsiteX36" fmla="*/ 128979 w 1141507"/>
                <a:gd name="connsiteY36" fmla="*/ 1213526 h 3383919"/>
                <a:gd name="connsiteX37" fmla="*/ 120112 w 1141507"/>
                <a:gd name="connsiteY37" fmla="*/ 1097687 h 3383919"/>
                <a:gd name="connsiteX38" fmla="*/ 0 w 1141507"/>
                <a:gd name="connsiteY38"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834155 w 1141507"/>
                <a:gd name="connsiteY7" fmla="*/ 173346 h 3383919"/>
                <a:gd name="connsiteX8" fmla="*/ 828614 w 1141507"/>
                <a:gd name="connsiteY8" fmla="*/ 157832 h 3383919"/>
                <a:gd name="connsiteX9" fmla="*/ 842469 w 1141507"/>
                <a:gd name="connsiteY9" fmla="*/ 95776 h 3383919"/>
                <a:gd name="connsiteX10" fmla="*/ 820300 w 1141507"/>
                <a:gd name="connsiteY10" fmla="*/ 75091 h 3383919"/>
                <a:gd name="connsiteX11" fmla="*/ 778735 w 1141507"/>
                <a:gd name="connsiteY11" fmla="*/ 46648 h 3383919"/>
                <a:gd name="connsiteX12" fmla="*/ 774567 w 1141507"/>
                <a:gd name="connsiteY12" fmla="*/ 22395 h 3383919"/>
                <a:gd name="connsiteX13" fmla="*/ 825843 w 1141507"/>
                <a:gd name="connsiteY13" fmla="*/ 104 h 3383919"/>
                <a:gd name="connsiteX14" fmla="*/ 879423 w 1141507"/>
                <a:gd name="connsiteY14" fmla="*/ 9976 h 3383919"/>
                <a:gd name="connsiteX15" fmla="*/ 958207 w 1141507"/>
                <a:gd name="connsiteY15" fmla="*/ 21886 h 3383919"/>
                <a:gd name="connsiteX16" fmla="*/ 1042530 w 1141507"/>
                <a:gd name="connsiteY16" fmla="*/ 91245 h 3383919"/>
                <a:gd name="connsiteX17" fmla="*/ 1104665 w 1141507"/>
                <a:gd name="connsiteY17" fmla="*/ 167341 h 3383919"/>
                <a:gd name="connsiteX18" fmla="*/ 1003694 w 1141507"/>
                <a:gd name="connsiteY18" fmla="*/ 196335 h 3383919"/>
                <a:gd name="connsiteX19" fmla="*/ 988160 w 1141507"/>
                <a:gd name="connsiteY19" fmla="*/ 243442 h 3383919"/>
                <a:gd name="connsiteX20" fmla="*/ 1045830 w 1141507"/>
                <a:gd name="connsiteY20" fmla="*/ 327932 h 3383919"/>
                <a:gd name="connsiteX21" fmla="*/ 1081364 w 1141507"/>
                <a:gd name="connsiteY21" fmla="*/ 334034 h 3383919"/>
                <a:gd name="connsiteX22" fmla="*/ 1133984 w 1141507"/>
                <a:gd name="connsiteY22" fmla="*/ 340374 h 3383919"/>
                <a:gd name="connsiteX23" fmla="*/ 1129021 w 1141507"/>
                <a:gd name="connsiteY23" fmla="*/ 451149 h 3383919"/>
                <a:gd name="connsiteX24" fmla="*/ 1140090 w 1141507"/>
                <a:gd name="connsiteY24" fmla="*/ 782117 h 3383919"/>
                <a:gd name="connsiteX25" fmla="*/ 1131222 w 1141507"/>
                <a:gd name="connsiteY25" fmla="*/ 1584716 h 3383919"/>
                <a:gd name="connsiteX26" fmla="*/ 1140089 w 1141507"/>
                <a:gd name="connsiteY26" fmla="*/ 2039798 h 3383919"/>
                <a:gd name="connsiteX27" fmla="*/ 1113641 w 1141507"/>
                <a:gd name="connsiteY27" fmla="*/ 3349763 h 3383919"/>
                <a:gd name="connsiteX28" fmla="*/ 855214 w 1141507"/>
                <a:gd name="connsiteY28" fmla="*/ 3306168 h 3383919"/>
                <a:gd name="connsiteX29" fmla="*/ 686736 w 1141507"/>
                <a:gd name="connsiteY29" fmla="*/ 3239973 h 3383919"/>
                <a:gd name="connsiteX30" fmla="*/ 509390 w 1141507"/>
                <a:gd name="connsiteY30" fmla="*/ 3148957 h 3383919"/>
                <a:gd name="connsiteX31" fmla="*/ 411092 w 1141507"/>
                <a:gd name="connsiteY31" fmla="*/ 3068440 h 3383919"/>
                <a:gd name="connsiteX32" fmla="*/ 705354 w 1141507"/>
                <a:gd name="connsiteY32" fmla="*/ 2760804 h 3383919"/>
                <a:gd name="connsiteX33" fmla="*/ 421600 w 1141507"/>
                <a:gd name="connsiteY33" fmla="*/ 2222980 h 3383919"/>
                <a:gd name="connsiteX34" fmla="*/ 563950 w 1141507"/>
                <a:gd name="connsiteY34" fmla="*/ 1983895 h 3383919"/>
                <a:gd name="connsiteX35" fmla="*/ 377263 w 1141507"/>
                <a:gd name="connsiteY35" fmla="*/ 1445204 h 3383919"/>
                <a:gd name="connsiteX36" fmla="*/ 128979 w 1141507"/>
                <a:gd name="connsiteY36" fmla="*/ 1213526 h 3383919"/>
                <a:gd name="connsiteX37" fmla="*/ 120112 w 1141507"/>
                <a:gd name="connsiteY37" fmla="*/ 1097687 h 3383919"/>
                <a:gd name="connsiteX38" fmla="*/ 0 w 1141507"/>
                <a:gd name="connsiteY38"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828614 w 1141507"/>
                <a:gd name="connsiteY7" fmla="*/ 287118 h 3383919"/>
                <a:gd name="connsiteX8" fmla="*/ 834155 w 1141507"/>
                <a:gd name="connsiteY8" fmla="*/ 173346 h 3383919"/>
                <a:gd name="connsiteX9" fmla="*/ 828614 w 1141507"/>
                <a:gd name="connsiteY9" fmla="*/ 157832 h 3383919"/>
                <a:gd name="connsiteX10" fmla="*/ 842469 w 1141507"/>
                <a:gd name="connsiteY10" fmla="*/ 95776 h 3383919"/>
                <a:gd name="connsiteX11" fmla="*/ 820300 w 1141507"/>
                <a:gd name="connsiteY11" fmla="*/ 75091 h 3383919"/>
                <a:gd name="connsiteX12" fmla="*/ 778735 w 1141507"/>
                <a:gd name="connsiteY12" fmla="*/ 46648 h 3383919"/>
                <a:gd name="connsiteX13" fmla="*/ 774567 w 1141507"/>
                <a:gd name="connsiteY13" fmla="*/ 22395 h 3383919"/>
                <a:gd name="connsiteX14" fmla="*/ 825843 w 1141507"/>
                <a:gd name="connsiteY14" fmla="*/ 104 h 3383919"/>
                <a:gd name="connsiteX15" fmla="*/ 879423 w 1141507"/>
                <a:gd name="connsiteY15" fmla="*/ 9976 h 3383919"/>
                <a:gd name="connsiteX16" fmla="*/ 958207 w 1141507"/>
                <a:gd name="connsiteY16" fmla="*/ 21886 h 3383919"/>
                <a:gd name="connsiteX17" fmla="*/ 1042530 w 1141507"/>
                <a:gd name="connsiteY17" fmla="*/ 91245 h 3383919"/>
                <a:gd name="connsiteX18" fmla="*/ 1104665 w 1141507"/>
                <a:gd name="connsiteY18" fmla="*/ 167341 h 3383919"/>
                <a:gd name="connsiteX19" fmla="*/ 1003694 w 1141507"/>
                <a:gd name="connsiteY19" fmla="*/ 196335 h 3383919"/>
                <a:gd name="connsiteX20" fmla="*/ 988160 w 1141507"/>
                <a:gd name="connsiteY20" fmla="*/ 243442 h 3383919"/>
                <a:gd name="connsiteX21" fmla="*/ 1045830 w 1141507"/>
                <a:gd name="connsiteY21" fmla="*/ 327932 h 3383919"/>
                <a:gd name="connsiteX22" fmla="*/ 1081364 w 1141507"/>
                <a:gd name="connsiteY22" fmla="*/ 334034 h 3383919"/>
                <a:gd name="connsiteX23" fmla="*/ 1133984 w 1141507"/>
                <a:gd name="connsiteY23" fmla="*/ 340374 h 3383919"/>
                <a:gd name="connsiteX24" fmla="*/ 1129021 w 1141507"/>
                <a:gd name="connsiteY24" fmla="*/ 451149 h 3383919"/>
                <a:gd name="connsiteX25" fmla="*/ 1140090 w 1141507"/>
                <a:gd name="connsiteY25" fmla="*/ 782117 h 3383919"/>
                <a:gd name="connsiteX26" fmla="*/ 1131222 w 1141507"/>
                <a:gd name="connsiteY26" fmla="*/ 1584716 h 3383919"/>
                <a:gd name="connsiteX27" fmla="*/ 1140089 w 1141507"/>
                <a:gd name="connsiteY27" fmla="*/ 2039798 h 3383919"/>
                <a:gd name="connsiteX28" fmla="*/ 1113641 w 1141507"/>
                <a:gd name="connsiteY28" fmla="*/ 3349763 h 3383919"/>
                <a:gd name="connsiteX29" fmla="*/ 855214 w 1141507"/>
                <a:gd name="connsiteY29" fmla="*/ 3306168 h 3383919"/>
                <a:gd name="connsiteX30" fmla="*/ 686736 w 1141507"/>
                <a:gd name="connsiteY30" fmla="*/ 3239973 h 3383919"/>
                <a:gd name="connsiteX31" fmla="*/ 509390 w 1141507"/>
                <a:gd name="connsiteY31" fmla="*/ 3148957 h 3383919"/>
                <a:gd name="connsiteX32" fmla="*/ 411092 w 1141507"/>
                <a:gd name="connsiteY32" fmla="*/ 3068440 h 3383919"/>
                <a:gd name="connsiteX33" fmla="*/ 705354 w 1141507"/>
                <a:gd name="connsiteY33" fmla="*/ 2760804 h 3383919"/>
                <a:gd name="connsiteX34" fmla="*/ 421600 w 1141507"/>
                <a:gd name="connsiteY34" fmla="*/ 2222980 h 3383919"/>
                <a:gd name="connsiteX35" fmla="*/ 563950 w 1141507"/>
                <a:gd name="connsiteY35" fmla="*/ 1983895 h 3383919"/>
                <a:gd name="connsiteX36" fmla="*/ 377263 w 1141507"/>
                <a:gd name="connsiteY36" fmla="*/ 1445204 h 3383919"/>
                <a:gd name="connsiteX37" fmla="*/ 128979 w 1141507"/>
                <a:gd name="connsiteY37" fmla="*/ 1213526 h 3383919"/>
                <a:gd name="connsiteX38" fmla="*/ 120112 w 1141507"/>
                <a:gd name="connsiteY38" fmla="*/ 1097687 h 3383919"/>
                <a:gd name="connsiteX39" fmla="*/ 0 w 1141507"/>
                <a:gd name="connsiteY39"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828614 w 1141507"/>
                <a:gd name="connsiteY7" fmla="*/ 287118 h 3383919"/>
                <a:gd name="connsiteX8" fmla="*/ 825843 w 1141507"/>
                <a:gd name="connsiteY8" fmla="*/ 214718 h 3383919"/>
                <a:gd name="connsiteX9" fmla="*/ 834155 w 1141507"/>
                <a:gd name="connsiteY9" fmla="*/ 173346 h 3383919"/>
                <a:gd name="connsiteX10" fmla="*/ 828614 w 1141507"/>
                <a:gd name="connsiteY10" fmla="*/ 157832 h 3383919"/>
                <a:gd name="connsiteX11" fmla="*/ 842469 w 1141507"/>
                <a:gd name="connsiteY11" fmla="*/ 95776 h 3383919"/>
                <a:gd name="connsiteX12" fmla="*/ 820300 w 1141507"/>
                <a:gd name="connsiteY12" fmla="*/ 75091 h 3383919"/>
                <a:gd name="connsiteX13" fmla="*/ 778735 w 1141507"/>
                <a:gd name="connsiteY13" fmla="*/ 46648 h 3383919"/>
                <a:gd name="connsiteX14" fmla="*/ 774567 w 1141507"/>
                <a:gd name="connsiteY14" fmla="*/ 22395 h 3383919"/>
                <a:gd name="connsiteX15" fmla="*/ 825843 w 1141507"/>
                <a:gd name="connsiteY15" fmla="*/ 104 h 3383919"/>
                <a:gd name="connsiteX16" fmla="*/ 879423 w 1141507"/>
                <a:gd name="connsiteY16" fmla="*/ 9976 h 3383919"/>
                <a:gd name="connsiteX17" fmla="*/ 958207 w 1141507"/>
                <a:gd name="connsiteY17" fmla="*/ 21886 h 3383919"/>
                <a:gd name="connsiteX18" fmla="*/ 1042530 w 1141507"/>
                <a:gd name="connsiteY18" fmla="*/ 91245 h 3383919"/>
                <a:gd name="connsiteX19" fmla="*/ 1104665 w 1141507"/>
                <a:gd name="connsiteY19" fmla="*/ 167341 h 3383919"/>
                <a:gd name="connsiteX20" fmla="*/ 1003694 w 1141507"/>
                <a:gd name="connsiteY20" fmla="*/ 196335 h 3383919"/>
                <a:gd name="connsiteX21" fmla="*/ 988160 w 1141507"/>
                <a:gd name="connsiteY21" fmla="*/ 243442 h 3383919"/>
                <a:gd name="connsiteX22" fmla="*/ 1045830 w 1141507"/>
                <a:gd name="connsiteY22" fmla="*/ 327932 h 3383919"/>
                <a:gd name="connsiteX23" fmla="*/ 1081364 w 1141507"/>
                <a:gd name="connsiteY23" fmla="*/ 334034 h 3383919"/>
                <a:gd name="connsiteX24" fmla="*/ 1133984 w 1141507"/>
                <a:gd name="connsiteY24" fmla="*/ 340374 h 3383919"/>
                <a:gd name="connsiteX25" fmla="*/ 1129021 w 1141507"/>
                <a:gd name="connsiteY25" fmla="*/ 451149 h 3383919"/>
                <a:gd name="connsiteX26" fmla="*/ 1140090 w 1141507"/>
                <a:gd name="connsiteY26" fmla="*/ 782117 h 3383919"/>
                <a:gd name="connsiteX27" fmla="*/ 1131222 w 1141507"/>
                <a:gd name="connsiteY27" fmla="*/ 1584716 h 3383919"/>
                <a:gd name="connsiteX28" fmla="*/ 1140089 w 1141507"/>
                <a:gd name="connsiteY28" fmla="*/ 2039798 h 3383919"/>
                <a:gd name="connsiteX29" fmla="*/ 1113641 w 1141507"/>
                <a:gd name="connsiteY29" fmla="*/ 3349763 h 3383919"/>
                <a:gd name="connsiteX30" fmla="*/ 855214 w 1141507"/>
                <a:gd name="connsiteY30" fmla="*/ 3306168 h 3383919"/>
                <a:gd name="connsiteX31" fmla="*/ 686736 w 1141507"/>
                <a:gd name="connsiteY31" fmla="*/ 3239973 h 3383919"/>
                <a:gd name="connsiteX32" fmla="*/ 509390 w 1141507"/>
                <a:gd name="connsiteY32" fmla="*/ 3148957 h 3383919"/>
                <a:gd name="connsiteX33" fmla="*/ 411092 w 1141507"/>
                <a:gd name="connsiteY33" fmla="*/ 3068440 h 3383919"/>
                <a:gd name="connsiteX34" fmla="*/ 705354 w 1141507"/>
                <a:gd name="connsiteY34" fmla="*/ 2760804 h 3383919"/>
                <a:gd name="connsiteX35" fmla="*/ 421600 w 1141507"/>
                <a:gd name="connsiteY35" fmla="*/ 2222980 h 3383919"/>
                <a:gd name="connsiteX36" fmla="*/ 563950 w 1141507"/>
                <a:gd name="connsiteY36" fmla="*/ 1983895 h 3383919"/>
                <a:gd name="connsiteX37" fmla="*/ 377263 w 1141507"/>
                <a:gd name="connsiteY37" fmla="*/ 1445204 h 3383919"/>
                <a:gd name="connsiteX38" fmla="*/ 128979 w 1141507"/>
                <a:gd name="connsiteY38" fmla="*/ 1213526 h 3383919"/>
                <a:gd name="connsiteX39" fmla="*/ 120112 w 1141507"/>
                <a:gd name="connsiteY39" fmla="*/ 1097687 h 3383919"/>
                <a:gd name="connsiteX40" fmla="*/ 0 w 1141507"/>
                <a:gd name="connsiteY40"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828614 w 1141507"/>
                <a:gd name="connsiteY7" fmla="*/ 287118 h 3383919"/>
                <a:gd name="connsiteX8" fmla="*/ 814759 w 1141507"/>
                <a:gd name="connsiteY8" fmla="*/ 214718 h 3383919"/>
                <a:gd name="connsiteX9" fmla="*/ 834155 w 1141507"/>
                <a:gd name="connsiteY9" fmla="*/ 173346 h 3383919"/>
                <a:gd name="connsiteX10" fmla="*/ 828614 w 1141507"/>
                <a:gd name="connsiteY10" fmla="*/ 157832 h 3383919"/>
                <a:gd name="connsiteX11" fmla="*/ 842469 w 1141507"/>
                <a:gd name="connsiteY11" fmla="*/ 95776 h 3383919"/>
                <a:gd name="connsiteX12" fmla="*/ 820300 w 1141507"/>
                <a:gd name="connsiteY12" fmla="*/ 75091 h 3383919"/>
                <a:gd name="connsiteX13" fmla="*/ 778735 w 1141507"/>
                <a:gd name="connsiteY13" fmla="*/ 46648 h 3383919"/>
                <a:gd name="connsiteX14" fmla="*/ 774567 w 1141507"/>
                <a:gd name="connsiteY14" fmla="*/ 22395 h 3383919"/>
                <a:gd name="connsiteX15" fmla="*/ 825843 w 1141507"/>
                <a:gd name="connsiteY15" fmla="*/ 104 h 3383919"/>
                <a:gd name="connsiteX16" fmla="*/ 879423 w 1141507"/>
                <a:gd name="connsiteY16" fmla="*/ 9976 h 3383919"/>
                <a:gd name="connsiteX17" fmla="*/ 958207 w 1141507"/>
                <a:gd name="connsiteY17" fmla="*/ 21886 h 3383919"/>
                <a:gd name="connsiteX18" fmla="*/ 1042530 w 1141507"/>
                <a:gd name="connsiteY18" fmla="*/ 91245 h 3383919"/>
                <a:gd name="connsiteX19" fmla="*/ 1104665 w 1141507"/>
                <a:gd name="connsiteY19" fmla="*/ 167341 h 3383919"/>
                <a:gd name="connsiteX20" fmla="*/ 1003694 w 1141507"/>
                <a:gd name="connsiteY20" fmla="*/ 196335 h 3383919"/>
                <a:gd name="connsiteX21" fmla="*/ 988160 w 1141507"/>
                <a:gd name="connsiteY21" fmla="*/ 243442 h 3383919"/>
                <a:gd name="connsiteX22" fmla="*/ 1045830 w 1141507"/>
                <a:gd name="connsiteY22" fmla="*/ 327932 h 3383919"/>
                <a:gd name="connsiteX23" fmla="*/ 1081364 w 1141507"/>
                <a:gd name="connsiteY23" fmla="*/ 334034 h 3383919"/>
                <a:gd name="connsiteX24" fmla="*/ 1133984 w 1141507"/>
                <a:gd name="connsiteY24" fmla="*/ 340374 h 3383919"/>
                <a:gd name="connsiteX25" fmla="*/ 1129021 w 1141507"/>
                <a:gd name="connsiteY25" fmla="*/ 451149 h 3383919"/>
                <a:gd name="connsiteX26" fmla="*/ 1140090 w 1141507"/>
                <a:gd name="connsiteY26" fmla="*/ 782117 h 3383919"/>
                <a:gd name="connsiteX27" fmla="*/ 1131222 w 1141507"/>
                <a:gd name="connsiteY27" fmla="*/ 1584716 h 3383919"/>
                <a:gd name="connsiteX28" fmla="*/ 1140089 w 1141507"/>
                <a:gd name="connsiteY28" fmla="*/ 2039798 h 3383919"/>
                <a:gd name="connsiteX29" fmla="*/ 1113641 w 1141507"/>
                <a:gd name="connsiteY29" fmla="*/ 3349763 h 3383919"/>
                <a:gd name="connsiteX30" fmla="*/ 855214 w 1141507"/>
                <a:gd name="connsiteY30" fmla="*/ 3306168 h 3383919"/>
                <a:gd name="connsiteX31" fmla="*/ 686736 w 1141507"/>
                <a:gd name="connsiteY31" fmla="*/ 3239973 h 3383919"/>
                <a:gd name="connsiteX32" fmla="*/ 509390 w 1141507"/>
                <a:gd name="connsiteY32" fmla="*/ 3148957 h 3383919"/>
                <a:gd name="connsiteX33" fmla="*/ 411092 w 1141507"/>
                <a:gd name="connsiteY33" fmla="*/ 3068440 h 3383919"/>
                <a:gd name="connsiteX34" fmla="*/ 705354 w 1141507"/>
                <a:gd name="connsiteY34" fmla="*/ 2760804 h 3383919"/>
                <a:gd name="connsiteX35" fmla="*/ 421600 w 1141507"/>
                <a:gd name="connsiteY35" fmla="*/ 2222980 h 3383919"/>
                <a:gd name="connsiteX36" fmla="*/ 563950 w 1141507"/>
                <a:gd name="connsiteY36" fmla="*/ 1983895 h 3383919"/>
                <a:gd name="connsiteX37" fmla="*/ 377263 w 1141507"/>
                <a:gd name="connsiteY37" fmla="*/ 1445204 h 3383919"/>
                <a:gd name="connsiteX38" fmla="*/ 128979 w 1141507"/>
                <a:gd name="connsiteY38" fmla="*/ 1213526 h 3383919"/>
                <a:gd name="connsiteX39" fmla="*/ 120112 w 1141507"/>
                <a:gd name="connsiteY39" fmla="*/ 1097687 h 3383919"/>
                <a:gd name="connsiteX40" fmla="*/ 0 w 1141507"/>
                <a:gd name="connsiteY40"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828614 w 1141507"/>
                <a:gd name="connsiteY7" fmla="*/ 287118 h 3383919"/>
                <a:gd name="connsiteX8" fmla="*/ 814759 w 1141507"/>
                <a:gd name="connsiteY8" fmla="*/ 214718 h 3383919"/>
                <a:gd name="connsiteX9" fmla="*/ 825842 w 1141507"/>
                <a:gd name="connsiteY9" fmla="*/ 173346 h 3383919"/>
                <a:gd name="connsiteX10" fmla="*/ 828614 w 1141507"/>
                <a:gd name="connsiteY10" fmla="*/ 157832 h 3383919"/>
                <a:gd name="connsiteX11" fmla="*/ 842469 w 1141507"/>
                <a:gd name="connsiteY11" fmla="*/ 95776 h 3383919"/>
                <a:gd name="connsiteX12" fmla="*/ 820300 w 1141507"/>
                <a:gd name="connsiteY12" fmla="*/ 75091 h 3383919"/>
                <a:gd name="connsiteX13" fmla="*/ 778735 w 1141507"/>
                <a:gd name="connsiteY13" fmla="*/ 46648 h 3383919"/>
                <a:gd name="connsiteX14" fmla="*/ 774567 w 1141507"/>
                <a:gd name="connsiteY14" fmla="*/ 22395 h 3383919"/>
                <a:gd name="connsiteX15" fmla="*/ 825843 w 1141507"/>
                <a:gd name="connsiteY15" fmla="*/ 104 h 3383919"/>
                <a:gd name="connsiteX16" fmla="*/ 879423 w 1141507"/>
                <a:gd name="connsiteY16" fmla="*/ 9976 h 3383919"/>
                <a:gd name="connsiteX17" fmla="*/ 958207 w 1141507"/>
                <a:gd name="connsiteY17" fmla="*/ 21886 h 3383919"/>
                <a:gd name="connsiteX18" fmla="*/ 1042530 w 1141507"/>
                <a:gd name="connsiteY18" fmla="*/ 91245 h 3383919"/>
                <a:gd name="connsiteX19" fmla="*/ 1104665 w 1141507"/>
                <a:gd name="connsiteY19" fmla="*/ 167341 h 3383919"/>
                <a:gd name="connsiteX20" fmla="*/ 1003694 w 1141507"/>
                <a:gd name="connsiteY20" fmla="*/ 196335 h 3383919"/>
                <a:gd name="connsiteX21" fmla="*/ 988160 w 1141507"/>
                <a:gd name="connsiteY21" fmla="*/ 243442 h 3383919"/>
                <a:gd name="connsiteX22" fmla="*/ 1045830 w 1141507"/>
                <a:gd name="connsiteY22" fmla="*/ 327932 h 3383919"/>
                <a:gd name="connsiteX23" fmla="*/ 1081364 w 1141507"/>
                <a:gd name="connsiteY23" fmla="*/ 334034 h 3383919"/>
                <a:gd name="connsiteX24" fmla="*/ 1133984 w 1141507"/>
                <a:gd name="connsiteY24" fmla="*/ 340374 h 3383919"/>
                <a:gd name="connsiteX25" fmla="*/ 1129021 w 1141507"/>
                <a:gd name="connsiteY25" fmla="*/ 451149 h 3383919"/>
                <a:gd name="connsiteX26" fmla="*/ 1140090 w 1141507"/>
                <a:gd name="connsiteY26" fmla="*/ 782117 h 3383919"/>
                <a:gd name="connsiteX27" fmla="*/ 1131222 w 1141507"/>
                <a:gd name="connsiteY27" fmla="*/ 1584716 h 3383919"/>
                <a:gd name="connsiteX28" fmla="*/ 1140089 w 1141507"/>
                <a:gd name="connsiteY28" fmla="*/ 2039798 h 3383919"/>
                <a:gd name="connsiteX29" fmla="*/ 1113641 w 1141507"/>
                <a:gd name="connsiteY29" fmla="*/ 3349763 h 3383919"/>
                <a:gd name="connsiteX30" fmla="*/ 855214 w 1141507"/>
                <a:gd name="connsiteY30" fmla="*/ 3306168 h 3383919"/>
                <a:gd name="connsiteX31" fmla="*/ 686736 w 1141507"/>
                <a:gd name="connsiteY31" fmla="*/ 3239973 h 3383919"/>
                <a:gd name="connsiteX32" fmla="*/ 509390 w 1141507"/>
                <a:gd name="connsiteY32" fmla="*/ 3148957 h 3383919"/>
                <a:gd name="connsiteX33" fmla="*/ 411092 w 1141507"/>
                <a:gd name="connsiteY33" fmla="*/ 3068440 h 3383919"/>
                <a:gd name="connsiteX34" fmla="*/ 705354 w 1141507"/>
                <a:gd name="connsiteY34" fmla="*/ 2760804 h 3383919"/>
                <a:gd name="connsiteX35" fmla="*/ 421600 w 1141507"/>
                <a:gd name="connsiteY35" fmla="*/ 2222980 h 3383919"/>
                <a:gd name="connsiteX36" fmla="*/ 563950 w 1141507"/>
                <a:gd name="connsiteY36" fmla="*/ 1983895 h 3383919"/>
                <a:gd name="connsiteX37" fmla="*/ 377263 w 1141507"/>
                <a:gd name="connsiteY37" fmla="*/ 1445204 h 3383919"/>
                <a:gd name="connsiteX38" fmla="*/ 128979 w 1141507"/>
                <a:gd name="connsiteY38" fmla="*/ 1213526 h 3383919"/>
                <a:gd name="connsiteX39" fmla="*/ 120112 w 1141507"/>
                <a:gd name="connsiteY39" fmla="*/ 1097687 h 3383919"/>
                <a:gd name="connsiteX40" fmla="*/ 0 w 1141507"/>
                <a:gd name="connsiteY40"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00826 w 1141507"/>
                <a:gd name="connsiteY6" fmla="*/ 157530 h 3383919"/>
                <a:gd name="connsiteX7" fmla="*/ 828614 w 1141507"/>
                <a:gd name="connsiteY7" fmla="*/ 287118 h 3383919"/>
                <a:gd name="connsiteX8" fmla="*/ 814759 w 1141507"/>
                <a:gd name="connsiteY8" fmla="*/ 214718 h 3383919"/>
                <a:gd name="connsiteX9" fmla="*/ 814759 w 1141507"/>
                <a:gd name="connsiteY9" fmla="*/ 196618 h 3383919"/>
                <a:gd name="connsiteX10" fmla="*/ 825842 w 1141507"/>
                <a:gd name="connsiteY10" fmla="*/ 173346 h 3383919"/>
                <a:gd name="connsiteX11" fmla="*/ 828614 w 1141507"/>
                <a:gd name="connsiteY11" fmla="*/ 157832 h 3383919"/>
                <a:gd name="connsiteX12" fmla="*/ 842469 w 1141507"/>
                <a:gd name="connsiteY12" fmla="*/ 95776 h 3383919"/>
                <a:gd name="connsiteX13" fmla="*/ 820300 w 1141507"/>
                <a:gd name="connsiteY13" fmla="*/ 75091 h 3383919"/>
                <a:gd name="connsiteX14" fmla="*/ 778735 w 1141507"/>
                <a:gd name="connsiteY14" fmla="*/ 46648 h 3383919"/>
                <a:gd name="connsiteX15" fmla="*/ 774567 w 1141507"/>
                <a:gd name="connsiteY15" fmla="*/ 22395 h 3383919"/>
                <a:gd name="connsiteX16" fmla="*/ 825843 w 1141507"/>
                <a:gd name="connsiteY16" fmla="*/ 104 h 3383919"/>
                <a:gd name="connsiteX17" fmla="*/ 879423 w 1141507"/>
                <a:gd name="connsiteY17" fmla="*/ 9976 h 3383919"/>
                <a:gd name="connsiteX18" fmla="*/ 958207 w 1141507"/>
                <a:gd name="connsiteY18" fmla="*/ 21886 h 3383919"/>
                <a:gd name="connsiteX19" fmla="*/ 1042530 w 1141507"/>
                <a:gd name="connsiteY19" fmla="*/ 91245 h 3383919"/>
                <a:gd name="connsiteX20" fmla="*/ 1104665 w 1141507"/>
                <a:gd name="connsiteY20" fmla="*/ 167341 h 3383919"/>
                <a:gd name="connsiteX21" fmla="*/ 1003694 w 1141507"/>
                <a:gd name="connsiteY21" fmla="*/ 196335 h 3383919"/>
                <a:gd name="connsiteX22" fmla="*/ 988160 w 1141507"/>
                <a:gd name="connsiteY22" fmla="*/ 243442 h 3383919"/>
                <a:gd name="connsiteX23" fmla="*/ 1045830 w 1141507"/>
                <a:gd name="connsiteY23" fmla="*/ 327932 h 3383919"/>
                <a:gd name="connsiteX24" fmla="*/ 1081364 w 1141507"/>
                <a:gd name="connsiteY24" fmla="*/ 334034 h 3383919"/>
                <a:gd name="connsiteX25" fmla="*/ 1133984 w 1141507"/>
                <a:gd name="connsiteY25" fmla="*/ 340374 h 3383919"/>
                <a:gd name="connsiteX26" fmla="*/ 1129021 w 1141507"/>
                <a:gd name="connsiteY26" fmla="*/ 451149 h 3383919"/>
                <a:gd name="connsiteX27" fmla="*/ 1140090 w 1141507"/>
                <a:gd name="connsiteY27" fmla="*/ 782117 h 3383919"/>
                <a:gd name="connsiteX28" fmla="*/ 1131222 w 1141507"/>
                <a:gd name="connsiteY28" fmla="*/ 1584716 h 3383919"/>
                <a:gd name="connsiteX29" fmla="*/ 1140089 w 1141507"/>
                <a:gd name="connsiteY29" fmla="*/ 2039798 h 3383919"/>
                <a:gd name="connsiteX30" fmla="*/ 1113641 w 1141507"/>
                <a:gd name="connsiteY30" fmla="*/ 3349763 h 3383919"/>
                <a:gd name="connsiteX31" fmla="*/ 855214 w 1141507"/>
                <a:gd name="connsiteY31" fmla="*/ 3306168 h 3383919"/>
                <a:gd name="connsiteX32" fmla="*/ 686736 w 1141507"/>
                <a:gd name="connsiteY32" fmla="*/ 3239973 h 3383919"/>
                <a:gd name="connsiteX33" fmla="*/ 509390 w 1141507"/>
                <a:gd name="connsiteY33" fmla="*/ 3148957 h 3383919"/>
                <a:gd name="connsiteX34" fmla="*/ 411092 w 1141507"/>
                <a:gd name="connsiteY34" fmla="*/ 3068440 h 3383919"/>
                <a:gd name="connsiteX35" fmla="*/ 705354 w 1141507"/>
                <a:gd name="connsiteY35" fmla="*/ 2760804 h 3383919"/>
                <a:gd name="connsiteX36" fmla="*/ 421600 w 1141507"/>
                <a:gd name="connsiteY36" fmla="*/ 2222980 h 3383919"/>
                <a:gd name="connsiteX37" fmla="*/ 563950 w 1141507"/>
                <a:gd name="connsiteY37" fmla="*/ 1983895 h 3383919"/>
                <a:gd name="connsiteX38" fmla="*/ 377263 w 1141507"/>
                <a:gd name="connsiteY38" fmla="*/ 1445204 h 3383919"/>
                <a:gd name="connsiteX39" fmla="*/ 128979 w 1141507"/>
                <a:gd name="connsiteY39" fmla="*/ 1213526 h 3383919"/>
                <a:gd name="connsiteX40" fmla="*/ 120112 w 1141507"/>
                <a:gd name="connsiteY40" fmla="*/ 1097687 h 3383919"/>
                <a:gd name="connsiteX41" fmla="*/ 0 w 1141507"/>
                <a:gd name="connsiteY41"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20224 w 1141507"/>
                <a:gd name="connsiteY6" fmla="*/ 333358 h 3383919"/>
                <a:gd name="connsiteX7" fmla="*/ 828614 w 1141507"/>
                <a:gd name="connsiteY7" fmla="*/ 287118 h 3383919"/>
                <a:gd name="connsiteX8" fmla="*/ 814759 w 1141507"/>
                <a:gd name="connsiteY8" fmla="*/ 214718 h 3383919"/>
                <a:gd name="connsiteX9" fmla="*/ 814759 w 1141507"/>
                <a:gd name="connsiteY9" fmla="*/ 196618 h 3383919"/>
                <a:gd name="connsiteX10" fmla="*/ 825842 w 1141507"/>
                <a:gd name="connsiteY10" fmla="*/ 173346 h 3383919"/>
                <a:gd name="connsiteX11" fmla="*/ 828614 w 1141507"/>
                <a:gd name="connsiteY11" fmla="*/ 157832 h 3383919"/>
                <a:gd name="connsiteX12" fmla="*/ 842469 w 1141507"/>
                <a:gd name="connsiteY12" fmla="*/ 95776 h 3383919"/>
                <a:gd name="connsiteX13" fmla="*/ 820300 w 1141507"/>
                <a:gd name="connsiteY13" fmla="*/ 75091 h 3383919"/>
                <a:gd name="connsiteX14" fmla="*/ 778735 w 1141507"/>
                <a:gd name="connsiteY14" fmla="*/ 46648 h 3383919"/>
                <a:gd name="connsiteX15" fmla="*/ 774567 w 1141507"/>
                <a:gd name="connsiteY15" fmla="*/ 22395 h 3383919"/>
                <a:gd name="connsiteX16" fmla="*/ 825843 w 1141507"/>
                <a:gd name="connsiteY16" fmla="*/ 104 h 3383919"/>
                <a:gd name="connsiteX17" fmla="*/ 879423 w 1141507"/>
                <a:gd name="connsiteY17" fmla="*/ 9976 h 3383919"/>
                <a:gd name="connsiteX18" fmla="*/ 958207 w 1141507"/>
                <a:gd name="connsiteY18" fmla="*/ 21886 h 3383919"/>
                <a:gd name="connsiteX19" fmla="*/ 1042530 w 1141507"/>
                <a:gd name="connsiteY19" fmla="*/ 91245 h 3383919"/>
                <a:gd name="connsiteX20" fmla="*/ 1104665 w 1141507"/>
                <a:gd name="connsiteY20" fmla="*/ 167341 h 3383919"/>
                <a:gd name="connsiteX21" fmla="*/ 1003694 w 1141507"/>
                <a:gd name="connsiteY21" fmla="*/ 196335 h 3383919"/>
                <a:gd name="connsiteX22" fmla="*/ 988160 w 1141507"/>
                <a:gd name="connsiteY22" fmla="*/ 243442 h 3383919"/>
                <a:gd name="connsiteX23" fmla="*/ 1045830 w 1141507"/>
                <a:gd name="connsiteY23" fmla="*/ 327932 h 3383919"/>
                <a:gd name="connsiteX24" fmla="*/ 1081364 w 1141507"/>
                <a:gd name="connsiteY24" fmla="*/ 334034 h 3383919"/>
                <a:gd name="connsiteX25" fmla="*/ 1133984 w 1141507"/>
                <a:gd name="connsiteY25" fmla="*/ 340374 h 3383919"/>
                <a:gd name="connsiteX26" fmla="*/ 1129021 w 1141507"/>
                <a:gd name="connsiteY26" fmla="*/ 451149 h 3383919"/>
                <a:gd name="connsiteX27" fmla="*/ 1140090 w 1141507"/>
                <a:gd name="connsiteY27" fmla="*/ 782117 h 3383919"/>
                <a:gd name="connsiteX28" fmla="*/ 1131222 w 1141507"/>
                <a:gd name="connsiteY28" fmla="*/ 1584716 h 3383919"/>
                <a:gd name="connsiteX29" fmla="*/ 1140089 w 1141507"/>
                <a:gd name="connsiteY29" fmla="*/ 2039798 h 3383919"/>
                <a:gd name="connsiteX30" fmla="*/ 1113641 w 1141507"/>
                <a:gd name="connsiteY30" fmla="*/ 3349763 h 3383919"/>
                <a:gd name="connsiteX31" fmla="*/ 855214 w 1141507"/>
                <a:gd name="connsiteY31" fmla="*/ 3306168 h 3383919"/>
                <a:gd name="connsiteX32" fmla="*/ 686736 w 1141507"/>
                <a:gd name="connsiteY32" fmla="*/ 3239973 h 3383919"/>
                <a:gd name="connsiteX33" fmla="*/ 509390 w 1141507"/>
                <a:gd name="connsiteY33" fmla="*/ 3148957 h 3383919"/>
                <a:gd name="connsiteX34" fmla="*/ 411092 w 1141507"/>
                <a:gd name="connsiteY34" fmla="*/ 3068440 h 3383919"/>
                <a:gd name="connsiteX35" fmla="*/ 705354 w 1141507"/>
                <a:gd name="connsiteY35" fmla="*/ 2760804 h 3383919"/>
                <a:gd name="connsiteX36" fmla="*/ 421600 w 1141507"/>
                <a:gd name="connsiteY36" fmla="*/ 2222980 h 3383919"/>
                <a:gd name="connsiteX37" fmla="*/ 563950 w 1141507"/>
                <a:gd name="connsiteY37" fmla="*/ 1983895 h 3383919"/>
                <a:gd name="connsiteX38" fmla="*/ 377263 w 1141507"/>
                <a:gd name="connsiteY38" fmla="*/ 1445204 h 3383919"/>
                <a:gd name="connsiteX39" fmla="*/ 128979 w 1141507"/>
                <a:gd name="connsiteY39" fmla="*/ 1213526 h 3383919"/>
                <a:gd name="connsiteX40" fmla="*/ 120112 w 1141507"/>
                <a:gd name="connsiteY40" fmla="*/ 1097687 h 3383919"/>
                <a:gd name="connsiteX41" fmla="*/ 0 w 1141507"/>
                <a:gd name="connsiteY41"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94875 w 1141507"/>
                <a:gd name="connsiteY6" fmla="*/ 375031 h 3383919"/>
                <a:gd name="connsiteX7" fmla="*/ 920224 w 1141507"/>
                <a:gd name="connsiteY7" fmla="*/ 333358 h 3383919"/>
                <a:gd name="connsiteX8" fmla="*/ 828614 w 1141507"/>
                <a:gd name="connsiteY8" fmla="*/ 287118 h 3383919"/>
                <a:gd name="connsiteX9" fmla="*/ 814759 w 1141507"/>
                <a:gd name="connsiteY9" fmla="*/ 214718 h 3383919"/>
                <a:gd name="connsiteX10" fmla="*/ 814759 w 1141507"/>
                <a:gd name="connsiteY10" fmla="*/ 196618 h 3383919"/>
                <a:gd name="connsiteX11" fmla="*/ 825842 w 1141507"/>
                <a:gd name="connsiteY11" fmla="*/ 173346 h 3383919"/>
                <a:gd name="connsiteX12" fmla="*/ 828614 w 1141507"/>
                <a:gd name="connsiteY12" fmla="*/ 157832 h 3383919"/>
                <a:gd name="connsiteX13" fmla="*/ 842469 w 1141507"/>
                <a:gd name="connsiteY13" fmla="*/ 95776 h 3383919"/>
                <a:gd name="connsiteX14" fmla="*/ 820300 w 1141507"/>
                <a:gd name="connsiteY14" fmla="*/ 75091 h 3383919"/>
                <a:gd name="connsiteX15" fmla="*/ 778735 w 1141507"/>
                <a:gd name="connsiteY15" fmla="*/ 46648 h 3383919"/>
                <a:gd name="connsiteX16" fmla="*/ 774567 w 1141507"/>
                <a:gd name="connsiteY16" fmla="*/ 22395 h 3383919"/>
                <a:gd name="connsiteX17" fmla="*/ 825843 w 1141507"/>
                <a:gd name="connsiteY17" fmla="*/ 104 h 3383919"/>
                <a:gd name="connsiteX18" fmla="*/ 879423 w 1141507"/>
                <a:gd name="connsiteY18" fmla="*/ 9976 h 3383919"/>
                <a:gd name="connsiteX19" fmla="*/ 958207 w 1141507"/>
                <a:gd name="connsiteY19" fmla="*/ 21886 h 3383919"/>
                <a:gd name="connsiteX20" fmla="*/ 1042530 w 1141507"/>
                <a:gd name="connsiteY20" fmla="*/ 91245 h 3383919"/>
                <a:gd name="connsiteX21" fmla="*/ 1104665 w 1141507"/>
                <a:gd name="connsiteY21" fmla="*/ 167341 h 3383919"/>
                <a:gd name="connsiteX22" fmla="*/ 1003694 w 1141507"/>
                <a:gd name="connsiteY22" fmla="*/ 196335 h 3383919"/>
                <a:gd name="connsiteX23" fmla="*/ 988160 w 1141507"/>
                <a:gd name="connsiteY23" fmla="*/ 243442 h 3383919"/>
                <a:gd name="connsiteX24" fmla="*/ 1045830 w 1141507"/>
                <a:gd name="connsiteY24" fmla="*/ 327932 h 3383919"/>
                <a:gd name="connsiteX25" fmla="*/ 1081364 w 1141507"/>
                <a:gd name="connsiteY25" fmla="*/ 334034 h 3383919"/>
                <a:gd name="connsiteX26" fmla="*/ 1133984 w 1141507"/>
                <a:gd name="connsiteY26" fmla="*/ 340374 h 3383919"/>
                <a:gd name="connsiteX27" fmla="*/ 1129021 w 1141507"/>
                <a:gd name="connsiteY27" fmla="*/ 451149 h 3383919"/>
                <a:gd name="connsiteX28" fmla="*/ 1140090 w 1141507"/>
                <a:gd name="connsiteY28" fmla="*/ 782117 h 3383919"/>
                <a:gd name="connsiteX29" fmla="*/ 1131222 w 1141507"/>
                <a:gd name="connsiteY29" fmla="*/ 1584716 h 3383919"/>
                <a:gd name="connsiteX30" fmla="*/ 1140089 w 1141507"/>
                <a:gd name="connsiteY30" fmla="*/ 2039798 h 3383919"/>
                <a:gd name="connsiteX31" fmla="*/ 1113641 w 1141507"/>
                <a:gd name="connsiteY31" fmla="*/ 3349763 h 3383919"/>
                <a:gd name="connsiteX32" fmla="*/ 855214 w 1141507"/>
                <a:gd name="connsiteY32" fmla="*/ 3306168 h 3383919"/>
                <a:gd name="connsiteX33" fmla="*/ 686736 w 1141507"/>
                <a:gd name="connsiteY33" fmla="*/ 3239973 h 3383919"/>
                <a:gd name="connsiteX34" fmla="*/ 509390 w 1141507"/>
                <a:gd name="connsiteY34" fmla="*/ 3148957 h 3383919"/>
                <a:gd name="connsiteX35" fmla="*/ 411092 w 1141507"/>
                <a:gd name="connsiteY35" fmla="*/ 3068440 h 3383919"/>
                <a:gd name="connsiteX36" fmla="*/ 705354 w 1141507"/>
                <a:gd name="connsiteY36" fmla="*/ 2760804 h 3383919"/>
                <a:gd name="connsiteX37" fmla="*/ 421600 w 1141507"/>
                <a:gd name="connsiteY37" fmla="*/ 2222980 h 3383919"/>
                <a:gd name="connsiteX38" fmla="*/ 563950 w 1141507"/>
                <a:gd name="connsiteY38" fmla="*/ 1983895 h 3383919"/>
                <a:gd name="connsiteX39" fmla="*/ 377263 w 1141507"/>
                <a:gd name="connsiteY39" fmla="*/ 1445204 h 3383919"/>
                <a:gd name="connsiteX40" fmla="*/ 128979 w 1141507"/>
                <a:gd name="connsiteY40" fmla="*/ 1213526 h 3383919"/>
                <a:gd name="connsiteX41" fmla="*/ 120112 w 1141507"/>
                <a:gd name="connsiteY41" fmla="*/ 1097687 h 3383919"/>
                <a:gd name="connsiteX42" fmla="*/ 0 w 1141507"/>
                <a:gd name="connsiteY42"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43889 w 1141507"/>
                <a:gd name="connsiteY5" fmla="*/ 385369 h 3383919"/>
                <a:gd name="connsiteX6" fmla="*/ 917287 w 1141507"/>
                <a:gd name="connsiteY6" fmla="*/ 364688 h 3383919"/>
                <a:gd name="connsiteX7" fmla="*/ 920224 w 1141507"/>
                <a:gd name="connsiteY7" fmla="*/ 333358 h 3383919"/>
                <a:gd name="connsiteX8" fmla="*/ 828614 w 1141507"/>
                <a:gd name="connsiteY8" fmla="*/ 287118 h 3383919"/>
                <a:gd name="connsiteX9" fmla="*/ 814759 w 1141507"/>
                <a:gd name="connsiteY9" fmla="*/ 214718 h 3383919"/>
                <a:gd name="connsiteX10" fmla="*/ 814759 w 1141507"/>
                <a:gd name="connsiteY10" fmla="*/ 196618 h 3383919"/>
                <a:gd name="connsiteX11" fmla="*/ 825842 w 1141507"/>
                <a:gd name="connsiteY11" fmla="*/ 173346 h 3383919"/>
                <a:gd name="connsiteX12" fmla="*/ 828614 w 1141507"/>
                <a:gd name="connsiteY12" fmla="*/ 157832 h 3383919"/>
                <a:gd name="connsiteX13" fmla="*/ 842469 w 1141507"/>
                <a:gd name="connsiteY13" fmla="*/ 95776 h 3383919"/>
                <a:gd name="connsiteX14" fmla="*/ 820300 w 1141507"/>
                <a:gd name="connsiteY14" fmla="*/ 75091 h 3383919"/>
                <a:gd name="connsiteX15" fmla="*/ 778735 w 1141507"/>
                <a:gd name="connsiteY15" fmla="*/ 46648 h 3383919"/>
                <a:gd name="connsiteX16" fmla="*/ 774567 w 1141507"/>
                <a:gd name="connsiteY16" fmla="*/ 22395 h 3383919"/>
                <a:gd name="connsiteX17" fmla="*/ 825843 w 1141507"/>
                <a:gd name="connsiteY17" fmla="*/ 104 h 3383919"/>
                <a:gd name="connsiteX18" fmla="*/ 879423 w 1141507"/>
                <a:gd name="connsiteY18" fmla="*/ 9976 h 3383919"/>
                <a:gd name="connsiteX19" fmla="*/ 958207 w 1141507"/>
                <a:gd name="connsiteY19" fmla="*/ 21886 h 3383919"/>
                <a:gd name="connsiteX20" fmla="*/ 1042530 w 1141507"/>
                <a:gd name="connsiteY20" fmla="*/ 91245 h 3383919"/>
                <a:gd name="connsiteX21" fmla="*/ 1104665 w 1141507"/>
                <a:gd name="connsiteY21" fmla="*/ 167341 h 3383919"/>
                <a:gd name="connsiteX22" fmla="*/ 1003694 w 1141507"/>
                <a:gd name="connsiteY22" fmla="*/ 196335 h 3383919"/>
                <a:gd name="connsiteX23" fmla="*/ 988160 w 1141507"/>
                <a:gd name="connsiteY23" fmla="*/ 243442 h 3383919"/>
                <a:gd name="connsiteX24" fmla="*/ 1045830 w 1141507"/>
                <a:gd name="connsiteY24" fmla="*/ 327932 h 3383919"/>
                <a:gd name="connsiteX25" fmla="*/ 1081364 w 1141507"/>
                <a:gd name="connsiteY25" fmla="*/ 334034 h 3383919"/>
                <a:gd name="connsiteX26" fmla="*/ 1133984 w 1141507"/>
                <a:gd name="connsiteY26" fmla="*/ 340374 h 3383919"/>
                <a:gd name="connsiteX27" fmla="*/ 1129021 w 1141507"/>
                <a:gd name="connsiteY27" fmla="*/ 451149 h 3383919"/>
                <a:gd name="connsiteX28" fmla="*/ 1140090 w 1141507"/>
                <a:gd name="connsiteY28" fmla="*/ 782117 h 3383919"/>
                <a:gd name="connsiteX29" fmla="*/ 1131222 w 1141507"/>
                <a:gd name="connsiteY29" fmla="*/ 1584716 h 3383919"/>
                <a:gd name="connsiteX30" fmla="*/ 1140089 w 1141507"/>
                <a:gd name="connsiteY30" fmla="*/ 2039798 h 3383919"/>
                <a:gd name="connsiteX31" fmla="*/ 1113641 w 1141507"/>
                <a:gd name="connsiteY31" fmla="*/ 3349763 h 3383919"/>
                <a:gd name="connsiteX32" fmla="*/ 855214 w 1141507"/>
                <a:gd name="connsiteY32" fmla="*/ 3306168 h 3383919"/>
                <a:gd name="connsiteX33" fmla="*/ 686736 w 1141507"/>
                <a:gd name="connsiteY33" fmla="*/ 3239973 h 3383919"/>
                <a:gd name="connsiteX34" fmla="*/ 509390 w 1141507"/>
                <a:gd name="connsiteY34" fmla="*/ 3148957 h 3383919"/>
                <a:gd name="connsiteX35" fmla="*/ 411092 w 1141507"/>
                <a:gd name="connsiteY35" fmla="*/ 3068440 h 3383919"/>
                <a:gd name="connsiteX36" fmla="*/ 705354 w 1141507"/>
                <a:gd name="connsiteY36" fmla="*/ 2760804 h 3383919"/>
                <a:gd name="connsiteX37" fmla="*/ 421600 w 1141507"/>
                <a:gd name="connsiteY37" fmla="*/ 2222980 h 3383919"/>
                <a:gd name="connsiteX38" fmla="*/ 563950 w 1141507"/>
                <a:gd name="connsiteY38" fmla="*/ 1983895 h 3383919"/>
                <a:gd name="connsiteX39" fmla="*/ 377263 w 1141507"/>
                <a:gd name="connsiteY39" fmla="*/ 1445204 h 3383919"/>
                <a:gd name="connsiteX40" fmla="*/ 128979 w 1141507"/>
                <a:gd name="connsiteY40" fmla="*/ 1213526 h 3383919"/>
                <a:gd name="connsiteX41" fmla="*/ 120112 w 1141507"/>
                <a:gd name="connsiteY41" fmla="*/ 1097687 h 3383919"/>
                <a:gd name="connsiteX42" fmla="*/ 0 w 1141507"/>
                <a:gd name="connsiteY42"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28371 w 1141507"/>
                <a:gd name="connsiteY5" fmla="*/ 429330 h 3383919"/>
                <a:gd name="connsiteX6" fmla="*/ 943889 w 1141507"/>
                <a:gd name="connsiteY6" fmla="*/ 385369 h 3383919"/>
                <a:gd name="connsiteX7" fmla="*/ 917287 w 1141507"/>
                <a:gd name="connsiteY7" fmla="*/ 364688 h 3383919"/>
                <a:gd name="connsiteX8" fmla="*/ 920224 w 1141507"/>
                <a:gd name="connsiteY8" fmla="*/ 333358 h 3383919"/>
                <a:gd name="connsiteX9" fmla="*/ 828614 w 1141507"/>
                <a:gd name="connsiteY9" fmla="*/ 287118 h 3383919"/>
                <a:gd name="connsiteX10" fmla="*/ 814759 w 1141507"/>
                <a:gd name="connsiteY10" fmla="*/ 214718 h 3383919"/>
                <a:gd name="connsiteX11" fmla="*/ 814759 w 1141507"/>
                <a:gd name="connsiteY11" fmla="*/ 196618 h 3383919"/>
                <a:gd name="connsiteX12" fmla="*/ 825842 w 1141507"/>
                <a:gd name="connsiteY12" fmla="*/ 173346 h 3383919"/>
                <a:gd name="connsiteX13" fmla="*/ 828614 w 1141507"/>
                <a:gd name="connsiteY13" fmla="*/ 157832 h 3383919"/>
                <a:gd name="connsiteX14" fmla="*/ 842469 w 1141507"/>
                <a:gd name="connsiteY14" fmla="*/ 95776 h 3383919"/>
                <a:gd name="connsiteX15" fmla="*/ 820300 w 1141507"/>
                <a:gd name="connsiteY15" fmla="*/ 75091 h 3383919"/>
                <a:gd name="connsiteX16" fmla="*/ 778735 w 1141507"/>
                <a:gd name="connsiteY16" fmla="*/ 46648 h 3383919"/>
                <a:gd name="connsiteX17" fmla="*/ 774567 w 1141507"/>
                <a:gd name="connsiteY17" fmla="*/ 22395 h 3383919"/>
                <a:gd name="connsiteX18" fmla="*/ 825843 w 1141507"/>
                <a:gd name="connsiteY18" fmla="*/ 104 h 3383919"/>
                <a:gd name="connsiteX19" fmla="*/ 879423 w 1141507"/>
                <a:gd name="connsiteY19" fmla="*/ 9976 h 3383919"/>
                <a:gd name="connsiteX20" fmla="*/ 958207 w 1141507"/>
                <a:gd name="connsiteY20" fmla="*/ 21886 h 3383919"/>
                <a:gd name="connsiteX21" fmla="*/ 1042530 w 1141507"/>
                <a:gd name="connsiteY21" fmla="*/ 91245 h 3383919"/>
                <a:gd name="connsiteX22" fmla="*/ 1104665 w 1141507"/>
                <a:gd name="connsiteY22" fmla="*/ 167341 h 3383919"/>
                <a:gd name="connsiteX23" fmla="*/ 1003694 w 1141507"/>
                <a:gd name="connsiteY23" fmla="*/ 196335 h 3383919"/>
                <a:gd name="connsiteX24" fmla="*/ 988160 w 1141507"/>
                <a:gd name="connsiteY24" fmla="*/ 243442 h 3383919"/>
                <a:gd name="connsiteX25" fmla="*/ 1045830 w 1141507"/>
                <a:gd name="connsiteY25" fmla="*/ 327932 h 3383919"/>
                <a:gd name="connsiteX26" fmla="*/ 1081364 w 1141507"/>
                <a:gd name="connsiteY26" fmla="*/ 334034 h 3383919"/>
                <a:gd name="connsiteX27" fmla="*/ 1133984 w 1141507"/>
                <a:gd name="connsiteY27" fmla="*/ 340374 h 3383919"/>
                <a:gd name="connsiteX28" fmla="*/ 1129021 w 1141507"/>
                <a:gd name="connsiteY28" fmla="*/ 451149 h 3383919"/>
                <a:gd name="connsiteX29" fmla="*/ 1140090 w 1141507"/>
                <a:gd name="connsiteY29" fmla="*/ 782117 h 3383919"/>
                <a:gd name="connsiteX30" fmla="*/ 1131222 w 1141507"/>
                <a:gd name="connsiteY30" fmla="*/ 1584716 h 3383919"/>
                <a:gd name="connsiteX31" fmla="*/ 1140089 w 1141507"/>
                <a:gd name="connsiteY31" fmla="*/ 2039798 h 3383919"/>
                <a:gd name="connsiteX32" fmla="*/ 1113641 w 1141507"/>
                <a:gd name="connsiteY32" fmla="*/ 3349763 h 3383919"/>
                <a:gd name="connsiteX33" fmla="*/ 855214 w 1141507"/>
                <a:gd name="connsiteY33" fmla="*/ 3306168 h 3383919"/>
                <a:gd name="connsiteX34" fmla="*/ 686736 w 1141507"/>
                <a:gd name="connsiteY34" fmla="*/ 3239973 h 3383919"/>
                <a:gd name="connsiteX35" fmla="*/ 509390 w 1141507"/>
                <a:gd name="connsiteY35" fmla="*/ 3148957 h 3383919"/>
                <a:gd name="connsiteX36" fmla="*/ 411092 w 1141507"/>
                <a:gd name="connsiteY36" fmla="*/ 3068440 h 3383919"/>
                <a:gd name="connsiteX37" fmla="*/ 705354 w 1141507"/>
                <a:gd name="connsiteY37" fmla="*/ 2760804 h 3383919"/>
                <a:gd name="connsiteX38" fmla="*/ 421600 w 1141507"/>
                <a:gd name="connsiteY38" fmla="*/ 2222980 h 3383919"/>
                <a:gd name="connsiteX39" fmla="*/ 563950 w 1141507"/>
                <a:gd name="connsiteY39" fmla="*/ 1983895 h 3383919"/>
                <a:gd name="connsiteX40" fmla="*/ 377263 w 1141507"/>
                <a:gd name="connsiteY40" fmla="*/ 1445204 h 3383919"/>
                <a:gd name="connsiteX41" fmla="*/ 128979 w 1141507"/>
                <a:gd name="connsiteY41" fmla="*/ 1213526 h 3383919"/>
                <a:gd name="connsiteX42" fmla="*/ 120112 w 1141507"/>
                <a:gd name="connsiteY42" fmla="*/ 1097687 h 3383919"/>
                <a:gd name="connsiteX43" fmla="*/ 0 w 1141507"/>
                <a:gd name="connsiteY43"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28371 w 1141507"/>
                <a:gd name="connsiteY5" fmla="*/ 429330 h 3383919"/>
                <a:gd name="connsiteX6" fmla="*/ 889577 w 1141507"/>
                <a:gd name="connsiteY6" fmla="*/ 416402 h 3383919"/>
                <a:gd name="connsiteX7" fmla="*/ 943889 w 1141507"/>
                <a:gd name="connsiteY7" fmla="*/ 385369 h 3383919"/>
                <a:gd name="connsiteX8" fmla="*/ 917287 w 1141507"/>
                <a:gd name="connsiteY8" fmla="*/ 364688 h 3383919"/>
                <a:gd name="connsiteX9" fmla="*/ 920224 w 1141507"/>
                <a:gd name="connsiteY9" fmla="*/ 333358 h 3383919"/>
                <a:gd name="connsiteX10" fmla="*/ 828614 w 1141507"/>
                <a:gd name="connsiteY10" fmla="*/ 287118 h 3383919"/>
                <a:gd name="connsiteX11" fmla="*/ 814759 w 1141507"/>
                <a:gd name="connsiteY11" fmla="*/ 214718 h 3383919"/>
                <a:gd name="connsiteX12" fmla="*/ 814759 w 1141507"/>
                <a:gd name="connsiteY12" fmla="*/ 196618 h 3383919"/>
                <a:gd name="connsiteX13" fmla="*/ 825842 w 1141507"/>
                <a:gd name="connsiteY13" fmla="*/ 173346 h 3383919"/>
                <a:gd name="connsiteX14" fmla="*/ 828614 w 1141507"/>
                <a:gd name="connsiteY14" fmla="*/ 157832 h 3383919"/>
                <a:gd name="connsiteX15" fmla="*/ 842469 w 1141507"/>
                <a:gd name="connsiteY15" fmla="*/ 95776 h 3383919"/>
                <a:gd name="connsiteX16" fmla="*/ 820300 w 1141507"/>
                <a:gd name="connsiteY16" fmla="*/ 75091 h 3383919"/>
                <a:gd name="connsiteX17" fmla="*/ 778735 w 1141507"/>
                <a:gd name="connsiteY17" fmla="*/ 46648 h 3383919"/>
                <a:gd name="connsiteX18" fmla="*/ 774567 w 1141507"/>
                <a:gd name="connsiteY18" fmla="*/ 22395 h 3383919"/>
                <a:gd name="connsiteX19" fmla="*/ 825843 w 1141507"/>
                <a:gd name="connsiteY19" fmla="*/ 104 h 3383919"/>
                <a:gd name="connsiteX20" fmla="*/ 879423 w 1141507"/>
                <a:gd name="connsiteY20" fmla="*/ 9976 h 3383919"/>
                <a:gd name="connsiteX21" fmla="*/ 958207 w 1141507"/>
                <a:gd name="connsiteY21" fmla="*/ 21886 h 3383919"/>
                <a:gd name="connsiteX22" fmla="*/ 1042530 w 1141507"/>
                <a:gd name="connsiteY22" fmla="*/ 91245 h 3383919"/>
                <a:gd name="connsiteX23" fmla="*/ 1104665 w 1141507"/>
                <a:gd name="connsiteY23" fmla="*/ 167341 h 3383919"/>
                <a:gd name="connsiteX24" fmla="*/ 1003694 w 1141507"/>
                <a:gd name="connsiteY24" fmla="*/ 196335 h 3383919"/>
                <a:gd name="connsiteX25" fmla="*/ 988160 w 1141507"/>
                <a:gd name="connsiteY25" fmla="*/ 243442 h 3383919"/>
                <a:gd name="connsiteX26" fmla="*/ 1045830 w 1141507"/>
                <a:gd name="connsiteY26" fmla="*/ 327932 h 3383919"/>
                <a:gd name="connsiteX27" fmla="*/ 1081364 w 1141507"/>
                <a:gd name="connsiteY27" fmla="*/ 334034 h 3383919"/>
                <a:gd name="connsiteX28" fmla="*/ 1133984 w 1141507"/>
                <a:gd name="connsiteY28" fmla="*/ 340374 h 3383919"/>
                <a:gd name="connsiteX29" fmla="*/ 1129021 w 1141507"/>
                <a:gd name="connsiteY29" fmla="*/ 451149 h 3383919"/>
                <a:gd name="connsiteX30" fmla="*/ 1140090 w 1141507"/>
                <a:gd name="connsiteY30" fmla="*/ 782117 h 3383919"/>
                <a:gd name="connsiteX31" fmla="*/ 1131222 w 1141507"/>
                <a:gd name="connsiteY31" fmla="*/ 1584716 h 3383919"/>
                <a:gd name="connsiteX32" fmla="*/ 1140089 w 1141507"/>
                <a:gd name="connsiteY32" fmla="*/ 2039798 h 3383919"/>
                <a:gd name="connsiteX33" fmla="*/ 1113641 w 1141507"/>
                <a:gd name="connsiteY33" fmla="*/ 3349763 h 3383919"/>
                <a:gd name="connsiteX34" fmla="*/ 855214 w 1141507"/>
                <a:gd name="connsiteY34" fmla="*/ 3306168 h 3383919"/>
                <a:gd name="connsiteX35" fmla="*/ 686736 w 1141507"/>
                <a:gd name="connsiteY35" fmla="*/ 3239973 h 3383919"/>
                <a:gd name="connsiteX36" fmla="*/ 509390 w 1141507"/>
                <a:gd name="connsiteY36" fmla="*/ 3148957 h 3383919"/>
                <a:gd name="connsiteX37" fmla="*/ 411092 w 1141507"/>
                <a:gd name="connsiteY37" fmla="*/ 3068440 h 3383919"/>
                <a:gd name="connsiteX38" fmla="*/ 705354 w 1141507"/>
                <a:gd name="connsiteY38" fmla="*/ 2760804 h 3383919"/>
                <a:gd name="connsiteX39" fmla="*/ 421600 w 1141507"/>
                <a:gd name="connsiteY39" fmla="*/ 2222980 h 3383919"/>
                <a:gd name="connsiteX40" fmla="*/ 563950 w 1141507"/>
                <a:gd name="connsiteY40" fmla="*/ 1983895 h 3383919"/>
                <a:gd name="connsiteX41" fmla="*/ 377263 w 1141507"/>
                <a:gd name="connsiteY41" fmla="*/ 1445204 h 3383919"/>
                <a:gd name="connsiteX42" fmla="*/ 128979 w 1141507"/>
                <a:gd name="connsiteY42" fmla="*/ 1213526 h 3383919"/>
                <a:gd name="connsiteX43" fmla="*/ 120112 w 1141507"/>
                <a:gd name="connsiteY43" fmla="*/ 1097687 h 3383919"/>
                <a:gd name="connsiteX44" fmla="*/ 0 w 1141507"/>
                <a:gd name="connsiteY44"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28371 w 1141507"/>
                <a:gd name="connsiteY5" fmla="*/ 429330 h 3383919"/>
                <a:gd name="connsiteX6" fmla="*/ 889577 w 1141507"/>
                <a:gd name="connsiteY6" fmla="*/ 416402 h 3383919"/>
                <a:gd name="connsiteX7" fmla="*/ 899552 w 1141507"/>
                <a:gd name="connsiteY7" fmla="*/ 382784 h 3383919"/>
                <a:gd name="connsiteX8" fmla="*/ 917287 w 1141507"/>
                <a:gd name="connsiteY8" fmla="*/ 364688 h 3383919"/>
                <a:gd name="connsiteX9" fmla="*/ 920224 w 1141507"/>
                <a:gd name="connsiteY9" fmla="*/ 333358 h 3383919"/>
                <a:gd name="connsiteX10" fmla="*/ 828614 w 1141507"/>
                <a:gd name="connsiteY10" fmla="*/ 287118 h 3383919"/>
                <a:gd name="connsiteX11" fmla="*/ 814759 w 1141507"/>
                <a:gd name="connsiteY11" fmla="*/ 214718 h 3383919"/>
                <a:gd name="connsiteX12" fmla="*/ 814759 w 1141507"/>
                <a:gd name="connsiteY12" fmla="*/ 196618 h 3383919"/>
                <a:gd name="connsiteX13" fmla="*/ 825842 w 1141507"/>
                <a:gd name="connsiteY13" fmla="*/ 173346 h 3383919"/>
                <a:gd name="connsiteX14" fmla="*/ 828614 w 1141507"/>
                <a:gd name="connsiteY14" fmla="*/ 157832 h 3383919"/>
                <a:gd name="connsiteX15" fmla="*/ 842469 w 1141507"/>
                <a:gd name="connsiteY15" fmla="*/ 95776 h 3383919"/>
                <a:gd name="connsiteX16" fmla="*/ 820300 w 1141507"/>
                <a:gd name="connsiteY16" fmla="*/ 75091 h 3383919"/>
                <a:gd name="connsiteX17" fmla="*/ 778735 w 1141507"/>
                <a:gd name="connsiteY17" fmla="*/ 46648 h 3383919"/>
                <a:gd name="connsiteX18" fmla="*/ 774567 w 1141507"/>
                <a:gd name="connsiteY18" fmla="*/ 22395 h 3383919"/>
                <a:gd name="connsiteX19" fmla="*/ 825843 w 1141507"/>
                <a:gd name="connsiteY19" fmla="*/ 104 h 3383919"/>
                <a:gd name="connsiteX20" fmla="*/ 879423 w 1141507"/>
                <a:gd name="connsiteY20" fmla="*/ 9976 h 3383919"/>
                <a:gd name="connsiteX21" fmla="*/ 958207 w 1141507"/>
                <a:gd name="connsiteY21" fmla="*/ 21886 h 3383919"/>
                <a:gd name="connsiteX22" fmla="*/ 1042530 w 1141507"/>
                <a:gd name="connsiteY22" fmla="*/ 91245 h 3383919"/>
                <a:gd name="connsiteX23" fmla="*/ 1104665 w 1141507"/>
                <a:gd name="connsiteY23" fmla="*/ 167341 h 3383919"/>
                <a:gd name="connsiteX24" fmla="*/ 1003694 w 1141507"/>
                <a:gd name="connsiteY24" fmla="*/ 196335 h 3383919"/>
                <a:gd name="connsiteX25" fmla="*/ 988160 w 1141507"/>
                <a:gd name="connsiteY25" fmla="*/ 243442 h 3383919"/>
                <a:gd name="connsiteX26" fmla="*/ 1045830 w 1141507"/>
                <a:gd name="connsiteY26" fmla="*/ 327932 h 3383919"/>
                <a:gd name="connsiteX27" fmla="*/ 1081364 w 1141507"/>
                <a:gd name="connsiteY27" fmla="*/ 334034 h 3383919"/>
                <a:gd name="connsiteX28" fmla="*/ 1133984 w 1141507"/>
                <a:gd name="connsiteY28" fmla="*/ 340374 h 3383919"/>
                <a:gd name="connsiteX29" fmla="*/ 1129021 w 1141507"/>
                <a:gd name="connsiteY29" fmla="*/ 451149 h 3383919"/>
                <a:gd name="connsiteX30" fmla="*/ 1140090 w 1141507"/>
                <a:gd name="connsiteY30" fmla="*/ 782117 h 3383919"/>
                <a:gd name="connsiteX31" fmla="*/ 1131222 w 1141507"/>
                <a:gd name="connsiteY31" fmla="*/ 1584716 h 3383919"/>
                <a:gd name="connsiteX32" fmla="*/ 1140089 w 1141507"/>
                <a:gd name="connsiteY32" fmla="*/ 2039798 h 3383919"/>
                <a:gd name="connsiteX33" fmla="*/ 1113641 w 1141507"/>
                <a:gd name="connsiteY33" fmla="*/ 3349763 h 3383919"/>
                <a:gd name="connsiteX34" fmla="*/ 855214 w 1141507"/>
                <a:gd name="connsiteY34" fmla="*/ 3306168 h 3383919"/>
                <a:gd name="connsiteX35" fmla="*/ 686736 w 1141507"/>
                <a:gd name="connsiteY35" fmla="*/ 3239973 h 3383919"/>
                <a:gd name="connsiteX36" fmla="*/ 509390 w 1141507"/>
                <a:gd name="connsiteY36" fmla="*/ 3148957 h 3383919"/>
                <a:gd name="connsiteX37" fmla="*/ 411092 w 1141507"/>
                <a:gd name="connsiteY37" fmla="*/ 3068440 h 3383919"/>
                <a:gd name="connsiteX38" fmla="*/ 705354 w 1141507"/>
                <a:gd name="connsiteY38" fmla="*/ 2760804 h 3383919"/>
                <a:gd name="connsiteX39" fmla="*/ 421600 w 1141507"/>
                <a:gd name="connsiteY39" fmla="*/ 2222980 h 3383919"/>
                <a:gd name="connsiteX40" fmla="*/ 563950 w 1141507"/>
                <a:gd name="connsiteY40" fmla="*/ 1983895 h 3383919"/>
                <a:gd name="connsiteX41" fmla="*/ 377263 w 1141507"/>
                <a:gd name="connsiteY41" fmla="*/ 1445204 h 3383919"/>
                <a:gd name="connsiteX42" fmla="*/ 128979 w 1141507"/>
                <a:gd name="connsiteY42" fmla="*/ 1213526 h 3383919"/>
                <a:gd name="connsiteX43" fmla="*/ 120112 w 1141507"/>
                <a:gd name="connsiteY43" fmla="*/ 1097687 h 3383919"/>
                <a:gd name="connsiteX44" fmla="*/ 0 w 1141507"/>
                <a:gd name="connsiteY44"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28371 w 1141507"/>
                <a:gd name="connsiteY5" fmla="*/ 429330 h 3383919"/>
                <a:gd name="connsiteX6" fmla="*/ 889577 w 1141507"/>
                <a:gd name="connsiteY6" fmla="*/ 416402 h 3383919"/>
                <a:gd name="connsiteX7" fmla="*/ 899552 w 1141507"/>
                <a:gd name="connsiteY7" fmla="*/ 382784 h 3383919"/>
                <a:gd name="connsiteX8" fmla="*/ 906203 w 1141507"/>
                <a:gd name="connsiteY8" fmla="*/ 364688 h 3383919"/>
                <a:gd name="connsiteX9" fmla="*/ 920224 w 1141507"/>
                <a:gd name="connsiteY9" fmla="*/ 333358 h 3383919"/>
                <a:gd name="connsiteX10" fmla="*/ 828614 w 1141507"/>
                <a:gd name="connsiteY10" fmla="*/ 287118 h 3383919"/>
                <a:gd name="connsiteX11" fmla="*/ 814759 w 1141507"/>
                <a:gd name="connsiteY11" fmla="*/ 214718 h 3383919"/>
                <a:gd name="connsiteX12" fmla="*/ 814759 w 1141507"/>
                <a:gd name="connsiteY12" fmla="*/ 196618 h 3383919"/>
                <a:gd name="connsiteX13" fmla="*/ 825842 w 1141507"/>
                <a:gd name="connsiteY13" fmla="*/ 173346 h 3383919"/>
                <a:gd name="connsiteX14" fmla="*/ 828614 w 1141507"/>
                <a:gd name="connsiteY14" fmla="*/ 157832 h 3383919"/>
                <a:gd name="connsiteX15" fmla="*/ 842469 w 1141507"/>
                <a:gd name="connsiteY15" fmla="*/ 95776 h 3383919"/>
                <a:gd name="connsiteX16" fmla="*/ 820300 w 1141507"/>
                <a:gd name="connsiteY16" fmla="*/ 75091 h 3383919"/>
                <a:gd name="connsiteX17" fmla="*/ 778735 w 1141507"/>
                <a:gd name="connsiteY17" fmla="*/ 46648 h 3383919"/>
                <a:gd name="connsiteX18" fmla="*/ 774567 w 1141507"/>
                <a:gd name="connsiteY18" fmla="*/ 22395 h 3383919"/>
                <a:gd name="connsiteX19" fmla="*/ 825843 w 1141507"/>
                <a:gd name="connsiteY19" fmla="*/ 104 h 3383919"/>
                <a:gd name="connsiteX20" fmla="*/ 879423 w 1141507"/>
                <a:gd name="connsiteY20" fmla="*/ 9976 h 3383919"/>
                <a:gd name="connsiteX21" fmla="*/ 958207 w 1141507"/>
                <a:gd name="connsiteY21" fmla="*/ 21886 h 3383919"/>
                <a:gd name="connsiteX22" fmla="*/ 1042530 w 1141507"/>
                <a:gd name="connsiteY22" fmla="*/ 91245 h 3383919"/>
                <a:gd name="connsiteX23" fmla="*/ 1104665 w 1141507"/>
                <a:gd name="connsiteY23" fmla="*/ 167341 h 3383919"/>
                <a:gd name="connsiteX24" fmla="*/ 1003694 w 1141507"/>
                <a:gd name="connsiteY24" fmla="*/ 196335 h 3383919"/>
                <a:gd name="connsiteX25" fmla="*/ 988160 w 1141507"/>
                <a:gd name="connsiteY25" fmla="*/ 243442 h 3383919"/>
                <a:gd name="connsiteX26" fmla="*/ 1045830 w 1141507"/>
                <a:gd name="connsiteY26" fmla="*/ 327932 h 3383919"/>
                <a:gd name="connsiteX27" fmla="*/ 1081364 w 1141507"/>
                <a:gd name="connsiteY27" fmla="*/ 334034 h 3383919"/>
                <a:gd name="connsiteX28" fmla="*/ 1133984 w 1141507"/>
                <a:gd name="connsiteY28" fmla="*/ 340374 h 3383919"/>
                <a:gd name="connsiteX29" fmla="*/ 1129021 w 1141507"/>
                <a:gd name="connsiteY29" fmla="*/ 451149 h 3383919"/>
                <a:gd name="connsiteX30" fmla="*/ 1140090 w 1141507"/>
                <a:gd name="connsiteY30" fmla="*/ 782117 h 3383919"/>
                <a:gd name="connsiteX31" fmla="*/ 1131222 w 1141507"/>
                <a:gd name="connsiteY31" fmla="*/ 1584716 h 3383919"/>
                <a:gd name="connsiteX32" fmla="*/ 1140089 w 1141507"/>
                <a:gd name="connsiteY32" fmla="*/ 2039798 h 3383919"/>
                <a:gd name="connsiteX33" fmla="*/ 1113641 w 1141507"/>
                <a:gd name="connsiteY33" fmla="*/ 3349763 h 3383919"/>
                <a:gd name="connsiteX34" fmla="*/ 855214 w 1141507"/>
                <a:gd name="connsiteY34" fmla="*/ 3306168 h 3383919"/>
                <a:gd name="connsiteX35" fmla="*/ 686736 w 1141507"/>
                <a:gd name="connsiteY35" fmla="*/ 3239973 h 3383919"/>
                <a:gd name="connsiteX36" fmla="*/ 509390 w 1141507"/>
                <a:gd name="connsiteY36" fmla="*/ 3148957 h 3383919"/>
                <a:gd name="connsiteX37" fmla="*/ 411092 w 1141507"/>
                <a:gd name="connsiteY37" fmla="*/ 3068440 h 3383919"/>
                <a:gd name="connsiteX38" fmla="*/ 705354 w 1141507"/>
                <a:gd name="connsiteY38" fmla="*/ 2760804 h 3383919"/>
                <a:gd name="connsiteX39" fmla="*/ 421600 w 1141507"/>
                <a:gd name="connsiteY39" fmla="*/ 2222980 h 3383919"/>
                <a:gd name="connsiteX40" fmla="*/ 563950 w 1141507"/>
                <a:gd name="connsiteY40" fmla="*/ 1983895 h 3383919"/>
                <a:gd name="connsiteX41" fmla="*/ 377263 w 1141507"/>
                <a:gd name="connsiteY41" fmla="*/ 1445204 h 3383919"/>
                <a:gd name="connsiteX42" fmla="*/ 128979 w 1141507"/>
                <a:gd name="connsiteY42" fmla="*/ 1213526 h 3383919"/>
                <a:gd name="connsiteX43" fmla="*/ 120112 w 1141507"/>
                <a:gd name="connsiteY43" fmla="*/ 1097687 h 3383919"/>
                <a:gd name="connsiteX44" fmla="*/ 0 w 1141507"/>
                <a:gd name="connsiteY44"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28371 w 1141507"/>
                <a:gd name="connsiteY5" fmla="*/ 429330 h 3383919"/>
                <a:gd name="connsiteX6" fmla="*/ 889577 w 1141507"/>
                <a:gd name="connsiteY6" fmla="*/ 416402 h 3383919"/>
                <a:gd name="connsiteX7" fmla="*/ 899552 w 1141507"/>
                <a:gd name="connsiteY7" fmla="*/ 382784 h 3383919"/>
                <a:gd name="connsiteX8" fmla="*/ 906203 w 1141507"/>
                <a:gd name="connsiteY8" fmla="*/ 364688 h 3383919"/>
                <a:gd name="connsiteX9" fmla="*/ 909140 w 1141507"/>
                <a:gd name="connsiteY9" fmla="*/ 333358 h 3383919"/>
                <a:gd name="connsiteX10" fmla="*/ 828614 w 1141507"/>
                <a:gd name="connsiteY10" fmla="*/ 287118 h 3383919"/>
                <a:gd name="connsiteX11" fmla="*/ 814759 w 1141507"/>
                <a:gd name="connsiteY11" fmla="*/ 214718 h 3383919"/>
                <a:gd name="connsiteX12" fmla="*/ 814759 w 1141507"/>
                <a:gd name="connsiteY12" fmla="*/ 196618 h 3383919"/>
                <a:gd name="connsiteX13" fmla="*/ 825842 w 1141507"/>
                <a:gd name="connsiteY13" fmla="*/ 173346 h 3383919"/>
                <a:gd name="connsiteX14" fmla="*/ 828614 w 1141507"/>
                <a:gd name="connsiteY14" fmla="*/ 157832 h 3383919"/>
                <a:gd name="connsiteX15" fmla="*/ 842469 w 1141507"/>
                <a:gd name="connsiteY15" fmla="*/ 95776 h 3383919"/>
                <a:gd name="connsiteX16" fmla="*/ 820300 w 1141507"/>
                <a:gd name="connsiteY16" fmla="*/ 75091 h 3383919"/>
                <a:gd name="connsiteX17" fmla="*/ 778735 w 1141507"/>
                <a:gd name="connsiteY17" fmla="*/ 46648 h 3383919"/>
                <a:gd name="connsiteX18" fmla="*/ 774567 w 1141507"/>
                <a:gd name="connsiteY18" fmla="*/ 22395 h 3383919"/>
                <a:gd name="connsiteX19" fmla="*/ 825843 w 1141507"/>
                <a:gd name="connsiteY19" fmla="*/ 104 h 3383919"/>
                <a:gd name="connsiteX20" fmla="*/ 879423 w 1141507"/>
                <a:gd name="connsiteY20" fmla="*/ 9976 h 3383919"/>
                <a:gd name="connsiteX21" fmla="*/ 958207 w 1141507"/>
                <a:gd name="connsiteY21" fmla="*/ 21886 h 3383919"/>
                <a:gd name="connsiteX22" fmla="*/ 1042530 w 1141507"/>
                <a:gd name="connsiteY22" fmla="*/ 91245 h 3383919"/>
                <a:gd name="connsiteX23" fmla="*/ 1104665 w 1141507"/>
                <a:gd name="connsiteY23" fmla="*/ 167341 h 3383919"/>
                <a:gd name="connsiteX24" fmla="*/ 1003694 w 1141507"/>
                <a:gd name="connsiteY24" fmla="*/ 196335 h 3383919"/>
                <a:gd name="connsiteX25" fmla="*/ 988160 w 1141507"/>
                <a:gd name="connsiteY25" fmla="*/ 243442 h 3383919"/>
                <a:gd name="connsiteX26" fmla="*/ 1045830 w 1141507"/>
                <a:gd name="connsiteY26" fmla="*/ 327932 h 3383919"/>
                <a:gd name="connsiteX27" fmla="*/ 1081364 w 1141507"/>
                <a:gd name="connsiteY27" fmla="*/ 334034 h 3383919"/>
                <a:gd name="connsiteX28" fmla="*/ 1133984 w 1141507"/>
                <a:gd name="connsiteY28" fmla="*/ 340374 h 3383919"/>
                <a:gd name="connsiteX29" fmla="*/ 1129021 w 1141507"/>
                <a:gd name="connsiteY29" fmla="*/ 451149 h 3383919"/>
                <a:gd name="connsiteX30" fmla="*/ 1140090 w 1141507"/>
                <a:gd name="connsiteY30" fmla="*/ 782117 h 3383919"/>
                <a:gd name="connsiteX31" fmla="*/ 1131222 w 1141507"/>
                <a:gd name="connsiteY31" fmla="*/ 1584716 h 3383919"/>
                <a:gd name="connsiteX32" fmla="*/ 1140089 w 1141507"/>
                <a:gd name="connsiteY32" fmla="*/ 2039798 h 3383919"/>
                <a:gd name="connsiteX33" fmla="*/ 1113641 w 1141507"/>
                <a:gd name="connsiteY33" fmla="*/ 3349763 h 3383919"/>
                <a:gd name="connsiteX34" fmla="*/ 855214 w 1141507"/>
                <a:gd name="connsiteY34" fmla="*/ 3306168 h 3383919"/>
                <a:gd name="connsiteX35" fmla="*/ 686736 w 1141507"/>
                <a:gd name="connsiteY35" fmla="*/ 3239973 h 3383919"/>
                <a:gd name="connsiteX36" fmla="*/ 509390 w 1141507"/>
                <a:gd name="connsiteY36" fmla="*/ 3148957 h 3383919"/>
                <a:gd name="connsiteX37" fmla="*/ 411092 w 1141507"/>
                <a:gd name="connsiteY37" fmla="*/ 3068440 h 3383919"/>
                <a:gd name="connsiteX38" fmla="*/ 705354 w 1141507"/>
                <a:gd name="connsiteY38" fmla="*/ 2760804 h 3383919"/>
                <a:gd name="connsiteX39" fmla="*/ 421600 w 1141507"/>
                <a:gd name="connsiteY39" fmla="*/ 2222980 h 3383919"/>
                <a:gd name="connsiteX40" fmla="*/ 563950 w 1141507"/>
                <a:gd name="connsiteY40" fmla="*/ 1983895 h 3383919"/>
                <a:gd name="connsiteX41" fmla="*/ 377263 w 1141507"/>
                <a:gd name="connsiteY41" fmla="*/ 1445204 h 3383919"/>
                <a:gd name="connsiteX42" fmla="*/ 128979 w 1141507"/>
                <a:gd name="connsiteY42" fmla="*/ 1213526 h 3383919"/>
                <a:gd name="connsiteX43" fmla="*/ 120112 w 1141507"/>
                <a:gd name="connsiteY43" fmla="*/ 1097687 h 3383919"/>
                <a:gd name="connsiteX44" fmla="*/ 0 w 1141507"/>
                <a:gd name="connsiteY44"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928371 w 1141507"/>
                <a:gd name="connsiteY5" fmla="*/ 429330 h 3383919"/>
                <a:gd name="connsiteX6" fmla="*/ 889577 w 1141507"/>
                <a:gd name="connsiteY6" fmla="*/ 416402 h 3383919"/>
                <a:gd name="connsiteX7" fmla="*/ 899552 w 1141507"/>
                <a:gd name="connsiteY7" fmla="*/ 382784 h 3383919"/>
                <a:gd name="connsiteX8" fmla="*/ 906203 w 1141507"/>
                <a:gd name="connsiteY8" fmla="*/ 364688 h 3383919"/>
                <a:gd name="connsiteX9" fmla="*/ 909140 w 1141507"/>
                <a:gd name="connsiteY9" fmla="*/ 333358 h 3383919"/>
                <a:gd name="connsiteX10" fmla="*/ 828614 w 1141507"/>
                <a:gd name="connsiteY10" fmla="*/ 287118 h 3383919"/>
                <a:gd name="connsiteX11" fmla="*/ 814759 w 1141507"/>
                <a:gd name="connsiteY11" fmla="*/ 214718 h 3383919"/>
                <a:gd name="connsiteX12" fmla="*/ 814759 w 1141507"/>
                <a:gd name="connsiteY12" fmla="*/ 196618 h 3383919"/>
                <a:gd name="connsiteX13" fmla="*/ 825842 w 1141507"/>
                <a:gd name="connsiteY13" fmla="*/ 173346 h 3383919"/>
                <a:gd name="connsiteX14" fmla="*/ 828614 w 1141507"/>
                <a:gd name="connsiteY14" fmla="*/ 157832 h 3383919"/>
                <a:gd name="connsiteX15" fmla="*/ 842469 w 1141507"/>
                <a:gd name="connsiteY15" fmla="*/ 95776 h 3383919"/>
                <a:gd name="connsiteX16" fmla="*/ 820300 w 1141507"/>
                <a:gd name="connsiteY16" fmla="*/ 75091 h 3383919"/>
                <a:gd name="connsiteX17" fmla="*/ 778735 w 1141507"/>
                <a:gd name="connsiteY17" fmla="*/ 46648 h 3383919"/>
                <a:gd name="connsiteX18" fmla="*/ 774567 w 1141507"/>
                <a:gd name="connsiteY18" fmla="*/ 22395 h 3383919"/>
                <a:gd name="connsiteX19" fmla="*/ 825843 w 1141507"/>
                <a:gd name="connsiteY19" fmla="*/ 104 h 3383919"/>
                <a:gd name="connsiteX20" fmla="*/ 879423 w 1141507"/>
                <a:gd name="connsiteY20" fmla="*/ 9976 h 3383919"/>
                <a:gd name="connsiteX21" fmla="*/ 958207 w 1141507"/>
                <a:gd name="connsiteY21" fmla="*/ 21886 h 3383919"/>
                <a:gd name="connsiteX22" fmla="*/ 1042530 w 1141507"/>
                <a:gd name="connsiteY22" fmla="*/ 91245 h 3383919"/>
                <a:gd name="connsiteX23" fmla="*/ 1104665 w 1141507"/>
                <a:gd name="connsiteY23" fmla="*/ 167341 h 3383919"/>
                <a:gd name="connsiteX24" fmla="*/ 1003694 w 1141507"/>
                <a:gd name="connsiteY24" fmla="*/ 196335 h 3383919"/>
                <a:gd name="connsiteX25" fmla="*/ 988160 w 1141507"/>
                <a:gd name="connsiteY25" fmla="*/ 243442 h 3383919"/>
                <a:gd name="connsiteX26" fmla="*/ 1045830 w 1141507"/>
                <a:gd name="connsiteY26" fmla="*/ 327932 h 3383919"/>
                <a:gd name="connsiteX27" fmla="*/ 1081364 w 1141507"/>
                <a:gd name="connsiteY27" fmla="*/ 334034 h 3383919"/>
                <a:gd name="connsiteX28" fmla="*/ 1133984 w 1141507"/>
                <a:gd name="connsiteY28" fmla="*/ 340374 h 3383919"/>
                <a:gd name="connsiteX29" fmla="*/ 1129021 w 1141507"/>
                <a:gd name="connsiteY29" fmla="*/ 451149 h 3383919"/>
                <a:gd name="connsiteX30" fmla="*/ 1140090 w 1141507"/>
                <a:gd name="connsiteY30" fmla="*/ 782117 h 3383919"/>
                <a:gd name="connsiteX31" fmla="*/ 1131222 w 1141507"/>
                <a:gd name="connsiteY31" fmla="*/ 1584716 h 3383919"/>
                <a:gd name="connsiteX32" fmla="*/ 1140089 w 1141507"/>
                <a:gd name="connsiteY32" fmla="*/ 2039798 h 3383919"/>
                <a:gd name="connsiteX33" fmla="*/ 1113641 w 1141507"/>
                <a:gd name="connsiteY33" fmla="*/ 3349763 h 3383919"/>
                <a:gd name="connsiteX34" fmla="*/ 855214 w 1141507"/>
                <a:gd name="connsiteY34" fmla="*/ 3306168 h 3383919"/>
                <a:gd name="connsiteX35" fmla="*/ 686736 w 1141507"/>
                <a:gd name="connsiteY35" fmla="*/ 3239973 h 3383919"/>
                <a:gd name="connsiteX36" fmla="*/ 509390 w 1141507"/>
                <a:gd name="connsiteY36" fmla="*/ 3148957 h 3383919"/>
                <a:gd name="connsiteX37" fmla="*/ 411092 w 1141507"/>
                <a:gd name="connsiteY37" fmla="*/ 3068440 h 3383919"/>
                <a:gd name="connsiteX38" fmla="*/ 705354 w 1141507"/>
                <a:gd name="connsiteY38" fmla="*/ 2760804 h 3383919"/>
                <a:gd name="connsiteX39" fmla="*/ 421600 w 1141507"/>
                <a:gd name="connsiteY39" fmla="*/ 2222980 h 3383919"/>
                <a:gd name="connsiteX40" fmla="*/ 563950 w 1141507"/>
                <a:gd name="connsiteY40" fmla="*/ 1983895 h 3383919"/>
                <a:gd name="connsiteX41" fmla="*/ 377263 w 1141507"/>
                <a:gd name="connsiteY41" fmla="*/ 1445204 h 3383919"/>
                <a:gd name="connsiteX42" fmla="*/ 128979 w 1141507"/>
                <a:gd name="connsiteY42" fmla="*/ 1213526 h 3383919"/>
                <a:gd name="connsiteX43" fmla="*/ 120112 w 1141507"/>
                <a:gd name="connsiteY43" fmla="*/ 1097687 h 3383919"/>
                <a:gd name="connsiteX44" fmla="*/ 0 w 1141507"/>
                <a:gd name="connsiteY44"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853553 w 1141507"/>
                <a:gd name="connsiteY5" fmla="*/ 535344 h 3383919"/>
                <a:gd name="connsiteX6" fmla="*/ 889577 w 1141507"/>
                <a:gd name="connsiteY6" fmla="*/ 416402 h 3383919"/>
                <a:gd name="connsiteX7" fmla="*/ 899552 w 1141507"/>
                <a:gd name="connsiteY7" fmla="*/ 382784 h 3383919"/>
                <a:gd name="connsiteX8" fmla="*/ 906203 w 1141507"/>
                <a:gd name="connsiteY8" fmla="*/ 364688 h 3383919"/>
                <a:gd name="connsiteX9" fmla="*/ 909140 w 1141507"/>
                <a:gd name="connsiteY9" fmla="*/ 333358 h 3383919"/>
                <a:gd name="connsiteX10" fmla="*/ 828614 w 1141507"/>
                <a:gd name="connsiteY10" fmla="*/ 287118 h 3383919"/>
                <a:gd name="connsiteX11" fmla="*/ 814759 w 1141507"/>
                <a:gd name="connsiteY11" fmla="*/ 214718 h 3383919"/>
                <a:gd name="connsiteX12" fmla="*/ 814759 w 1141507"/>
                <a:gd name="connsiteY12" fmla="*/ 196618 h 3383919"/>
                <a:gd name="connsiteX13" fmla="*/ 825842 w 1141507"/>
                <a:gd name="connsiteY13" fmla="*/ 173346 h 3383919"/>
                <a:gd name="connsiteX14" fmla="*/ 828614 w 1141507"/>
                <a:gd name="connsiteY14" fmla="*/ 157832 h 3383919"/>
                <a:gd name="connsiteX15" fmla="*/ 842469 w 1141507"/>
                <a:gd name="connsiteY15" fmla="*/ 95776 h 3383919"/>
                <a:gd name="connsiteX16" fmla="*/ 820300 w 1141507"/>
                <a:gd name="connsiteY16" fmla="*/ 75091 h 3383919"/>
                <a:gd name="connsiteX17" fmla="*/ 778735 w 1141507"/>
                <a:gd name="connsiteY17" fmla="*/ 46648 h 3383919"/>
                <a:gd name="connsiteX18" fmla="*/ 774567 w 1141507"/>
                <a:gd name="connsiteY18" fmla="*/ 22395 h 3383919"/>
                <a:gd name="connsiteX19" fmla="*/ 825843 w 1141507"/>
                <a:gd name="connsiteY19" fmla="*/ 104 h 3383919"/>
                <a:gd name="connsiteX20" fmla="*/ 879423 w 1141507"/>
                <a:gd name="connsiteY20" fmla="*/ 9976 h 3383919"/>
                <a:gd name="connsiteX21" fmla="*/ 958207 w 1141507"/>
                <a:gd name="connsiteY21" fmla="*/ 21886 h 3383919"/>
                <a:gd name="connsiteX22" fmla="*/ 1042530 w 1141507"/>
                <a:gd name="connsiteY22" fmla="*/ 91245 h 3383919"/>
                <a:gd name="connsiteX23" fmla="*/ 1104665 w 1141507"/>
                <a:gd name="connsiteY23" fmla="*/ 167341 h 3383919"/>
                <a:gd name="connsiteX24" fmla="*/ 1003694 w 1141507"/>
                <a:gd name="connsiteY24" fmla="*/ 196335 h 3383919"/>
                <a:gd name="connsiteX25" fmla="*/ 988160 w 1141507"/>
                <a:gd name="connsiteY25" fmla="*/ 243442 h 3383919"/>
                <a:gd name="connsiteX26" fmla="*/ 1045830 w 1141507"/>
                <a:gd name="connsiteY26" fmla="*/ 327932 h 3383919"/>
                <a:gd name="connsiteX27" fmla="*/ 1081364 w 1141507"/>
                <a:gd name="connsiteY27" fmla="*/ 334034 h 3383919"/>
                <a:gd name="connsiteX28" fmla="*/ 1133984 w 1141507"/>
                <a:gd name="connsiteY28" fmla="*/ 340374 h 3383919"/>
                <a:gd name="connsiteX29" fmla="*/ 1129021 w 1141507"/>
                <a:gd name="connsiteY29" fmla="*/ 451149 h 3383919"/>
                <a:gd name="connsiteX30" fmla="*/ 1140090 w 1141507"/>
                <a:gd name="connsiteY30" fmla="*/ 782117 h 3383919"/>
                <a:gd name="connsiteX31" fmla="*/ 1131222 w 1141507"/>
                <a:gd name="connsiteY31" fmla="*/ 1584716 h 3383919"/>
                <a:gd name="connsiteX32" fmla="*/ 1140089 w 1141507"/>
                <a:gd name="connsiteY32" fmla="*/ 2039798 h 3383919"/>
                <a:gd name="connsiteX33" fmla="*/ 1113641 w 1141507"/>
                <a:gd name="connsiteY33" fmla="*/ 3349763 h 3383919"/>
                <a:gd name="connsiteX34" fmla="*/ 855214 w 1141507"/>
                <a:gd name="connsiteY34" fmla="*/ 3306168 h 3383919"/>
                <a:gd name="connsiteX35" fmla="*/ 686736 w 1141507"/>
                <a:gd name="connsiteY35" fmla="*/ 3239973 h 3383919"/>
                <a:gd name="connsiteX36" fmla="*/ 509390 w 1141507"/>
                <a:gd name="connsiteY36" fmla="*/ 3148957 h 3383919"/>
                <a:gd name="connsiteX37" fmla="*/ 411092 w 1141507"/>
                <a:gd name="connsiteY37" fmla="*/ 3068440 h 3383919"/>
                <a:gd name="connsiteX38" fmla="*/ 705354 w 1141507"/>
                <a:gd name="connsiteY38" fmla="*/ 2760804 h 3383919"/>
                <a:gd name="connsiteX39" fmla="*/ 421600 w 1141507"/>
                <a:gd name="connsiteY39" fmla="*/ 2222980 h 3383919"/>
                <a:gd name="connsiteX40" fmla="*/ 563950 w 1141507"/>
                <a:gd name="connsiteY40" fmla="*/ 1983895 h 3383919"/>
                <a:gd name="connsiteX41" fmla="*/ 377263 w 1141507"/>
                <a:gd name="connsiteY41" fmla="*/ 1445204 h 3383919"/>
                <a:gd name="connsiteX42" fmla="*/ 128979 w 1141507"/>
                <a:gd name="connsiteY42" fmla="*/ 1213526 h 3383919"/>
                <a:gd name="connsiteX43" fmla="*/ 120112 w 1141507"/>
                <a:gd name="connsiteY43" fmla="*/ 1097687 h 3383919"/>
                <a:gd name="connsiteX44" fmla="*/ 0 w 1141507"/>
                <a:gd name="connsiteY44"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853553 w 1141507"/>
                <a:gd name="connsiteY5" fmla="*/ 535344 h 3383919"/>
                <a:gd name="connsiteX6" fmla="*/ 889577 w 1141507"/>
                <a:gd name="connsiteY6" fmla="*/ 416402 h 3383919"/>
                <a:gd name="connsiteX7" fmla="*/ 899552 w 1141507"/>
                <a:gd name="connsiteY7" fmla="*/ 382784 h 3383919"/>
                <a:gd name="connsiteX8" fmla="*/ 906203 w 1141507"/>
                <a:gd name="connsiteY8" fmla="*/ 364688 h 3383919"/>
                <a:gd name="connsiteX9" fmla="*/ 909140 w 1141507"/>
                <a:gd name="connsiteY9" fmla="*/ 333358 h 3383919"/>
                <a:gd name="connsiteX10" fmla="*/ 828614 w 1141507"/>
                <a:gd name="connsiteY10" fmla="*/ 287118 h 3383919"/>
                <a:gd name="connsiteX11" fmla="*/ 814759 w 1141507"/>
                <a:gd name="connsiteY11" fmla="*/ 214718 h 3383919"/>
                <a:gd name="connsiteX12" fmla="*/ 814759 w 1141507"/>
                <a:gd name="connsiteY12" fmla="*/ 196618 h 3383919"/>
                <a:gd name="connsiteX13" fmla="*/ 825842 w 1141507"/>
                <a:gd name="connsiteY13" fmla="*/ 173346 h 3383919"/>
                <a:gd name="connsiteX14" fmla="*/ 828614 w 1141507"/>
                <a:gd name="connsiteY14" fmla="*/ 157832 h 3383919"/>
                <a:gd name="connsiteX15" fmla="*/ 842469 w 1141507"/>
                <a:gd name="connsiteY15" fmla="*/ 95776 h 3383919"/>
                <a:gd name="connsiteX16" fmla="*/ 820300 w 1141507"/>
                <a:gd name="connsiteY16" fmla="*/ 75091 h 3383919"/>
                <a:gd name="connsiteX17" fmla="*/ 778735 w 1141507"/>
                <a:gd name="connsiteY17" fmla="*/ 46648 h 3383919"/>
                <a:gd name="connsiteX18" fmla="*/ 774567 w 1141507"/>
                <a:gd name="connsiteY18" fmla="*/ 22395 h 3383919"/>
                <a:gd name="connsiteX19" fmla="*/ 825843 w 1141507"/>
                <a:gd name="connsiteY19" fmla="*/ 104 h 3383919"/>
                <a:gd name="connsiteX20" fmla="*/ 879423 w 1141507"/>
                <a:gd name="connsiteY20" fmla="*/ 9976 h 3383919"/>
                <a:gd name="connsiteX21" fmla="*/ 958207 w 1141507"/>
                <a:gd name="connsiteY21" fmla="*/ 21886 h 3383919"/>
                <a:gd name="connsiteX22" fmla="*/ 1042530 w 1141507"/>
                <a:gd name="connsiteY22" fmla="*/ 91245 h 3383919"/>
                <a:gd name="connsiteX23" fmla="*/ 1104665 w 1141507"/>
                <a:gd name="connsiteY23" fmla="*/ 167341 h 3383919"/>
                <a:gd name="connsiteX24" fmla="*/ 1003694 w 1141507"/>
                <a:gd name="connsiteY24" fmla="*/ 196335 h 3383919"/>
                <a:gd name="connsiteX25" fmla="*/ 988160 w 1141507"/>
                <a:gd name="connsiteY25" fmla="*/ 243442 h 3383919"/>
                <a:gd name="connsiteX26" fmla="*/ 1045830 w 1141507"/>
                <a:gd name="connsiteY26" fmla="*/ 327932 h 3383919"/>
                <a:gd name="connsiteX27" fmla="*/ 1081364 w 1141507"/>
                <a:gd name="connsiteY27" fmla="*/ 334034 h 3383919"/>
                <a:gd name="connsiteX28" fmla="*/ 1133984 w 1141507"/>
                <a:gd name="connsiteY28" fmla="*/ 340374 h 3383919"/>
                <a:gd name="connsiteX29" fmla="*/ 1129021 w 1141507"/>
                <a:gd name="connsiteY29" fmla="*/ 451149 h 3383919"/>
                <a:gd name="connsiteX30" fmla="*/ 1140090 w 1141507"/>
                <a:gd name="connsiteY30" fmla="*/ 782117 h 3383919"/>
                <a:gd name="connsiteX31" fmla="*/ 1131222 w 1141507"/>
                <a:gd name="connsiteY31" fmla="*/ 1584716 h 3383919"/>
                <a:gd name="connsiteX32" fmla="*/ 1140089 w 1141507"/>
                <a:gd name="connsiteY32" fmla="*/ 2039798 h 3383919"/>
                <a:gd name="connsiteX33" fmla="*/ 1113641 w 1141507"/>
                <a:gd name="connsiteY33" fmla="*/ 3349763 h 3383919"/>
                <a:gd name="connsiteX34" fmla="*/ 855214 w 1141507"/>
                <a:gd name="connsiteY34" fmla="*/ 3306168 h 3383919"/>
                <a:gd name="connsiteX35" fmla="*/ 686736 w 1141507"/>
                <a:gd name="connsiteY35" fmla="*/ 3239973 h 3383919"/>
                <a:gd name="connsiteX36" fmla="*/ 509390 w 1141507"/>
                <a:gd name="connsiteY36" fmla="*/ 3148957 h 3383919"/>
                <a:gd name="connsiteX37" fmla="*/ 411092 w 1141507"/>
                <a:gd name="connsiteY37" fmla="*/ 3068440 h 3383919"/>
                <a:gd name="connsiteX38" fmla="*/ 705354 w 1141507"/>
                <a:gd name="connsiteY38" fmla="*/ 2760804 h 3383919"/>
                <a:gd name="connsiteX39" fmla="*/ 421600 w 1141507"/>
                <a:gd name="connsiteY39" fmla="*/ 2222980 h 3383919"/>
                <a:gd name="connsiteX40" fmla="*/ 563950 w 1141507"/>
                <a:gd name="connsiteY40" fmla="*/ 1983895 h 3383919"/>
                <a:gd name="connsiteX41" fmla="*/ 377263 w 1141507"/>
                <a:gd name="connsiteY41" fmla="*/ 1445204 h 3383919"/>
                <a:gd name="connsiteX42" fmla="*/ 128979 w 1141507"/>
                <a:gd name="connsiteY42" fmla="*/ 1213526 h 3383919"/>
                <a:gd name="connsiteX43" fmla="*/ 120112 w 1141507"/>
                <a:gd name="connsiteY43" fmla="*/ 1097687 h 3383919"/>
                <a:gd name="connsiteX44" fmla="*/ 0 w 1141507"/>
                <a:gd name="connsiteY44"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853553 w 1141507"/>
                <a:gd name="connsiteY5" fmla="*/ 535344 h 3383919"/>
                <a:gd name="connsiteX6" fmla="*/ 892348 w 1141507"/>
                <a:gd name="connsiteY6" fmla="*/ 483630 h 3383919"/>
                <a:gd name="connsiteX7" fmla="*/ 889577 w 1141507"/>
                <a:gd name="connsiteY7" fmla="*/ 416402 h 3383919"/>
                <a:gd name="connsiteX8" fmla="*/ 899552 w 1141507"/>
                <a:gd name="connsiteY8" fmla="*/ 382784 h 3383919"/>
                <a:gd name="connsiteX9" fmla="*/ 906203 w 1141507"/>
                <a:gd name="connsiteY9" fmla="*/ 364688 h 3383919"/>
                <a:gd name="connsiteX10" fmla="*/ 909140 w 1141507"/>
                <a:gd name="connsiteY10" fmla="*/ 333358 h 3383919"/>
                <a:gd name="connsiteX11" fmla="*/ 828614 w 1141507"/>
                <a:gd name="connsiteY11" fmla="*/ 287118 h 3383919"/>
                <a:gd name="connsiteX12" fmla="*/ 814759 w 1141507"/>
                <a:gd name="connsiteY12" fmla="*/ 214718 h 3383919"/>
                <a:gd name="connsiteX13" fmla="*/ 814759 w 1141507"/>
                <a:gd name="connsiteY13" fmla="*/ 196618 h 3383919"/>
                <a:gd name="connsiteX14" fmla="*/ 825842 w 1141507"/>
                <a:gd name="connsiteY14" fmla="*/ 173346 h 3383919"/>
                <a:gd name="connsiteX15" fmla="*/ 828614 w 1141507"/>
                <a:gd name="connsiteY15" fmla="*/ 157832 h 3383919"/>
                <a:gd name="connsiteX16" fmla="*/ 842469 w 1141507"/>
                <a:gd name="connsiteY16" fmla="*/ 95776 h 3383919"/>
                <a:gd name="connsiteX17" fmla="*/ 820300 w 1141507"/>
                <a:gd name="connsiteY17" fmla="*/ 75091 h 3383919"/>
                <a:gd name="connsiteX18" fmla="*/ 778735 w 1141507"/>
                <a:gd name="connsiteY18" fmla="*/ 46648 h 3383919"/>
                <a:gd name="connsiteX19" fmla="*/ 774567 w 1141507"/>
                <a:gd name="connsiteY19" fmla="*/ 22395 h 3383919"/>
                <a:gd name="connsiteX20" fmla="*/ 825843 w 1141507"/>
                <a:gd name="connsiteY20" fmla="*/ 104 h 3383919"/>
                <a:gd name="connsiteX21" fmla="*/ 879423 w 1141507"/>
                <a:gd name="connsiteY21" fmla="*/ 9976 h 3383919"/>
                <a:gd name="connsiteX22" fmla="*/ 958207 w 1141507"/>
                <a:gd name="connsiteY22" fmla="*/ 21886 h 3383919"/>
                <a:gd name="connsiteX23" fmla="*/ 1042530 w 1141507"/>
                <a:gd name="connsiteY23" fmla="*/ 91245 h 3383919"/>
                <a:gd name="connsiteX24" fmla="*/ 1104665 w 1141507"/>
                <a:gd name="connsiteY24" fmla="*/ 167341 h 3383919"/>
                <a:gd name="connsiteX25" fmla="*/ 1003694 w 1141507"/>
                <a:gd name="connsiteY25" fmla="*/ 196335 h 3383919"/>
                <a:gd name="connsiteX26" fmla="*/ 988160 w 1141507"/>
                <a:gd name="connsiteY26" fmla="*/ 243442 h 3383919"/>
                <a:gd name="connsiteX27" fmla="*/ 1045830 w 1141507"/>
                <a:gd name="connsiteY27" fmla="*/ 327932 h 3383919"/>
                <a:gd name="connsiteX28" fmla="*/ 1081364 w 1141507"/>
                <a:gd name="connsiteY28" fmla="*/ 334034 h 3383919"/>
                <a:gd name="connsiteX29" fmla="*/ 1133984 w 1141507"/>
                <a:gd name="connsiteY29" fmla="*/ 340374 h 3383919"/>
                <a:gd name="connsiteX30" fmla="*/ 1129021 w 1141507"/>
                <a:gd name="connsiteY30" fmla="*/ 451149 h 3383919"/>
                <a:gd name="connsiteX31" fmla="*/ 1140090 w 1141507"/>
                <a:gd name="connsiteY31" fmla="*/ 782117 h 3383919"/>
                <a:gd name="connsiteX32" fmla="*/ 1131222 w 1141507"/>
                <a:gd name="connsiteY32" fmla="*/ 1584716 h 3383919"/>
                <a:gd name="connsiteX33" fmla="*/ 1140089 w 1141507"/>
                <a:gd name="connsiteY33" fmla="*/ 2039798 h 3383919"/>
                <a:gd name="connsiteX34" fmla="*/ 1113641 w 1141507"/>
                <a:gd name="connsiteY34" fmla="*/ 3349763 h 3383919"/>
                <a:gd name="connsiteX35" fmla="*/ 855214 w 1141507"/>
                <a:gd name="connsiteY35" fmla="*/ 3306168 h 3383919"/>
                <a:gd name="connsiteX36" fmla="*/ 686736 w 1141507"/>
                <a:gd name="connsiteY36" fmla="*/ 3239973 h 3383919"/>
                <a:gd name="connsiteX37" fmla="*/ 509390 w 1141507"/>
                <a:gd name="connsiteY37" fmla="*/ 3148957 h 3383919"/>
                <a:gd name="connsiteX38" fmla="*/ 411092 w 1141507"/>
                <a:gd name="connsiteY38" fmla="*/ 3068440 h 3383919"/>
                <a:gd name="connsiteX39" fmla="*/ 705354 w 1141507"/>
                <a:gd name="connsiteY39" fmla="*/ 2760804 h 3383919"/>
                <a:gd name="connsiteX40" fmla="*/ 421600 w 1141507"/>
                <a:gd name="connsiteY40" fmla="*/ 2222980 h 3383919"/>
                <a:gd name="connsiteX41" fmla="*/ 563950 w 1141507"/>
                <a:gd name="connsiteY41" fmla="*/ 1983895 h 3383919"/>
                <a:gd name="connsiteX42" fmla="*/ 377263 w 1141507"/>
                <a:gd name="connsiteY42" fmla="*/ 1445204 h 3383919"/>
                <a:gd name="connsiteX43" fmla="*/ 128979 w 1141507"/>
                <a:gd name="connsiteY43" fmla="*/ 1213526 h 3383919"/>
                <a:gd name="connsiteX44" fmla="*/ 120112 w 1141507"/>
                <a:gd name="connsiteY44" fmla="*/ 1097687 h 3383919"/>
                <a:gd name="connsiteX45" fmla="*/ 0 w 1141507"/>
                <a:gd name="connsiteY45"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853553 w 1141507"/>
                <a:gd name="connsiteY5" fmla="*/ 535344 h 3383919"/>
                <a:gd name="connsiteX6" fmla="*/ 892348 w 1141507"/>
                <a:gd name="connsiteY6" fmla="*/ 483630 h 3383919"/>
                <a:gd name="connsiteX7" fmla="*/ 889577 w 1141507"/>
                <a:gd name="connsiteY7" fmla="*/ 416402 h 3383919"/>
                <a:gd name="connsiteX8" fmla="*/ 899552 w 1141507"/>
                <a:gd name="connsiteY8" fmla="*/ 382784 h 3383919"/>
                <a:gd name="connsiteX9" fmla="*/ 906203 w 1141507"/>
                <a:gd name="connsiteY9" fmla="*/ 364688 h 3383919"/>
                <a:gd name="connsiteX10" fmla="*/ 909140 w 1141507"/>
                <a:gd name="connsiteY10" fmla="*/ 333358 h 3383919"/>
                <a:gd name="connsiteX11" fmla="*/ 828614 w 1141507"/>
                <a:gd name="connsiteY11" fmla="*/ 287118 h 3383919"/>
                <a:gd name="connsiteX12" fmla="*/ 814759 w 1141507"/>
                <a:gd name="connsiteY12" fmla="*/ 214718 h 3383919"/>
                <a:gd name="connsiteX13" fmla="*/ 814759 w 1141507"/>
                <a:gd name="connsiteY13" fmla="*/ 196618 h 3383919"/>
                <a:gd name="connsiteX14" fmla="*/ 825842 w 1141507"/>
                <a:gd name="connsiteY14" fmla="*/ 173346 h 3383919"/>
                <a:gd name="connsiteX15" fmla="*/ 828614 w 1141507"/>
                <a:gd name="connsiteY15" fmla="*/ 157832 h 3383919"/>
                <a:gd name="connsiteX16" fmla="*/ 842469 w 1141507"/>
                <a:gd name="connsiteY16" fmla="*/ 95776 h 3383919"/>
                <a:gd name="connsiteX17" fmla="*/ 820300 w 1141507"/>
                <a:gd name="connsiteY17" fmla="*/ 75091 h 3383919"/>
                <a:gd name="connsiteX18" fmla="*/ 778735 w 1141507"/>
                <a:gd name="connsiteY18" fmla="*/ 46648 h 3383919"/>
                <a:gd name="connsiteX19" fmla="*/ 774567 w 1141507"/>
                <a:gd name="connsiteY19" fmla="*/ 22395 h 3383919"/>
                <a:gd name="connsiteX20" fmla="*/ 825843 w 1141507"/>
                <a:gd name="connsiteY20" fmla="*/ 104 h 3383919"/>
                <a:gd name="connsiteX21" fmla="*/ 879423 w 1141507"/>
                <a:gd name="connsiteY21" fmla="*/ 9976 h 3383919"/>
                <a:gd name="connsiteX22" fmla="*/ 958207 w 1141507"/>
                <a:gd name="connsiteY22" fmla="*/ 21886 h 3383919"/>
                <a:gd name="connsiteX23" fmla="*/ 1042530 w 1141507"/>
                <a:gd name="connsiteY23" fmla="*/ 91245 h 3383919"/>
                <a:gd name="connsiteX24" fmla="*/ 1104665 w 1141507"/>
                <a:gd name="connsiteY24" fmla="*/ 167341 h 3383919"/>
                <a:gd name="connsiteX25" fmla="*/ 1003694 w 1141507"/>
                <a:gd name="connsiteY25" fmla="*/ 196335 h 3383919"/>
                <a:gd name="connsiteX26" fmla="*/ 988160 w 1141507"/>
                <a:gd name="connsiteY26" fmla="*/ 243442 h 3383919"/>
                <a:gd name="connsiteX27" fmla="*/ 1045830 w 1141507"/>
                <a:gd name="connsiteY27" fmla="*/ 327932 h 3383919"/>
                <a:gd name="connsiteX28" fmla="*/ 1081364 w 1141507"/>
                <a:gd name="connsiteY28" fmla="*/ 334034 h 3383919"/>
                <a:gd name="connsiteX29" fmla="*/ 1133984 w 1141507"/>
                <a:gd name="connsiteY29" fmla="*/ 340374 h 3383919"/>
                <a:gd name="connsiteX30" fmla="*/ 1129021 w 1141507"/>
                <a:gd name="connsiteY30" fmla="*/ 451149 h 3383919"/>
                <a:gd name="connsiteX31" fmla="*/ 1140090 w 1141507"/>
                <a:gd name="connsiteY31" fmla="*/ 782117 h 3383919"/>
                <a:gd name="connsiteX32" fmla="*/ 1131222 w 1141507"/>
                <a:gd name="connsiteY32" fmla="*/ 1584716 h 3383919"/>
                <a:gd name="connsiteX33" fmla="*/ 1140089 w 1141507"/>
                <a:gd name="connsiteY33" fmla="*/ 2039798 h 3383919"/>
                <a:gd name="connsiteX34" fmla="*/ 1113641 w 1141507"/>
                <a:gd name="connsiteY34" fmla="*/ 3349763 h 3383919"/>
                <a:gd name="connsiteX35" fmla="*/ 855214 w 1141507"/>
                <a:gd name="connsiteY35" fmla="*/ 3306168 h 3383919"/>
                <a:gd name="connsiteX36" fmla="*/ 686736 w 1141507"/>
                <a:gd name="connsiteY36" fmla="*/ 3239973 h 3383919"/>
                <a:gd name="connsiteX37" fmla="*/ 509390 w 1141507"/>
                <a:gd name="connsiteY37" fmla="*/ 3148957 h 3383919"/>
                <a:gd name="connsiteX38" fmla="*/ 411092 w 1141507"/>
                <a:gd name="connsiteY38" fmla="*/ 3068440 h 3383919"/>
                <a:gd name="connsiteX39" fmla="*/ 705354 w 1141507"/>
                <a:gd name="connsiteY39" fmla="*/ 2760804 h 3383919"/>
                <a:gd name="connsiteX40" fmla="*/ 421600 w 1141507"/>
                <a:gd name="connsiteY40" fmla="*/ 2222980 h 3383919"/>
                <a:gd name="connsiteX41" fmla="*/ 563950 w 1141507"/>
                <a:gd name="connsiteY41" fmla="*/ 1983895 h 3383919"/>
                <a:gd name="connsiteX42" fmla="*/ 377263 w 1141507"/>
                <a:gd name="connsiteY42" fmla="*/ 1445204 h 3383919"/>
                <a:gd name="connsiteX43" fmla="*/ 128979 w 1141507"/>
                <a:gd name="connsiteY43" fmla="*/ 1213526 h 3383919"/>
                <a:gd name="connsiteX44" fmla="*/ 120112 w 1141507"/>
                <a:gd name="connsiteY44" fmla="*/ 1097687 h 3383919"/>
                <a:gd name="connsiteX45" fmla="*/ 0 w 1141507"/>
                <a:gd name="connsiteY45"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837480 w 1141507"/>
                <a:gd name="connsiteY4" fmla="*/ 600499 h 3383919"/>
                <a:gd name="connsiteX5" fmla="*/ 853553 w 1141507"/>
                <a:gd name="connsiteY5" fmla="*/ 535344 h 3383919"/>
                <a:gd name="connsiteX6" fmla="*/ 859095 w 1141507"/>
                <a:gd name="connsiteY6" fmla="*/ 501730 h 3383919"/>
                <a:gd name="connsiteX7" fmla="*/ 889577 w 1141507"/>
                <a:gd name="connsiteY7" fmla="*/ 416402 h 3383919"/>
                <a:gd name="connsiteX8" fmla="*/ 899552 w 1141507"/>
                <a:gd name="connsiteY8" fmla="*/ 382784 h 3383919"/>
                <a:gd name="connsiteX9" fmla="*/ 906203 w 1141507"/>
                <a:gd name="connsiteY9" fmla="*/ 364688 h 3383919"/>
                <a:gd name="connsiteX10" fmla="*/ 909140 w 1141507"/>
                <a:gd name="connsiteY10" fmla="*/ 333358 h 3383919"/>
                <a:gd name="connsiteX11" fmla="*/ 828614 w 1141507"/>
                <a:gd name="connsiteY11" fmla="*/ 287118 h 3383919"/>
                <a:gd name="connsiteX12" fmla="*/ 814759 w 1141507"/>
                <a:gd name="connsiteY12" fmla="*/ 214718 h 3383919"/>
                <a:gd name="connsiteX13" fmla="*/ 814759 w 1141507"/>
                <a:gd name="connsiteY13" fmla="*/ 196618 h 3383919"/>
                <a:gd name="connsiteX14" fmla="*/ 825842 w 1141507"/>
                <a:gd name="connsiteY14" fmla="*/ 173346 h 3383919"/>
                <a:gd name="connsiteX15" fmla="*/ 828614 w 1141507"/>
                <a:gd name="connsiteY15" fmla="*/ 157832 h 3383919"/>
                <a:gd name="connsiteX16" fmla="*/ 842469 w 1141507"/>
                <a:gd name="connsiteY16" fmla="*/ 95776 h 3383919"/>
                <a:gd name="connsiteX17" fmla="*/ 820300 w 1141507"/>
                <a:gd name="connsiteY17" fmla="*/ 75091 h 3383919"/>
                <a:gd name="connsiteX18" fmla="*/ 778735 w 1141507"/>
                <a:gd name="connsiteY18" fmla="*/ 46648 h 3383919"/>
                <a:gd name="connsiteX19" fmla="*/ 774567 w 1141507"/>
                <a:gd name="connsiteY19" fmla="*/ 22395 h 3383919"/>
                <a:gd name="connsiteX20" fmla="*/ 825843 w 1141507"/>
                <a:gd name="connsiteY20" fmla="*/ 104 h 3383919"/>
                <a:gd name="connsiteX21" fmla="*/ 879423 w 1141507"/>
                <a:gd name="connsiteY21" fmla="*/ 9976 h 3383919"/>
                <a:gd name="connsiteX22" fmla="*/ 958207 w 1141507"/>
                <a:gd name="connsiteY22" fmla="*/ 21886 h 3383919"/>
                <a:gd name="connsiteX23" fmla="*/ 1042530 w 1141507"/>
                <a:gd name="connsiteY23" fmla="*/ 91245 h 3383919"/>
                <a:gd name="connsiteX24" fmla="*/ 1104665 w 1141507"/>
                <a:gd name="connsiteY24" fmla="*/ 167341 h 3383919"/>
                <a:gd name="connsiteX25" fmla="*/ 1003694 w 1141507"/>
                <a:gd name="connsiteY25" fmla="*/ 196335 h 3383919"/>
                <a:gd name="connsiteX26" fmla="*/ 988160 w 1141507"/>
                <a:gd name="connsiteY26" fmla="*/ 243442 h 3383919"/>
                <a:gd name="connsiteX27" fmla="*/ 1045830 w 1141507"/>
                <a:gd name="connsiteY27" fmla="*/ 327932 h 3383919"/>
                <a:gd name="connsiteX28" fmla="*/ 1081364 w 1141507"/>
                <a:gd name="connsiteY28" fmla="*/ 334034 h 3383919"/>
                <a:gd name="connsiteX29" fmla="*/ 1133984 w 1141507"/>
                <a:gd name="connsiteY29" fmla="*/ 340374 h 3383919"/>
                <a:gd name="connsiteX30" fmla="*/ 1129021 w 1141507"/>
                <a:gd name="connsiteY30" fmla="*/ 451149 h 3383919"/>
                <a:gd name="connsiteX31" fmla="*/ 1140090 w 1141507"/>
                <a:gd name="connsiteY31" fmla="*/ 782117 h 3383919"/>
                <a:gd name="connsiteX32" fmla="*/ 1131222 w 1141507"/>
                <a:gd name="connsiteY32" fmla="*/ 1584716 h 3383919"/>
                <a:gd name="connsiteX33" fmla="*/ 1140089 w 1141507"/>
                <a:gd name="connsiteY33" fmla="*/ 2039798 h 3383919"/>
                <a:gd name="connsiteX34" fmla="*/ 1113641 w 1141507"/>
                <a:gd name="connsiteY34" fmla="*/ 3349763 h 3383919"/>
                <a:gd name="connsiteX35" fmla="*/ 855214 w 1141507"/>
                <a:gd name="connsiteY35" fmla="*/ 3306168 h 3383919"/>
                <a:gd name="connsiteX36" fmla="*/ 686736 w 1141507"/>
                <a:gd name="connsiteY36" fmla="*/ 3239973 h 3383919"/>
                <a:gd name="connsiteX37" fmla="*/ 509390 w 1141507"/>
                <a:gd name="connsiteY37" fmla="*/ 3148957 h 3383919"/>
                <a:gd name="connsiteX38" fmla="*/ 411092 w 1141507"/>
                <a:gd name="connsiteY38" fmla="*/ 3068440 h 3383919"/>
                <a:gd name="connsiteX39" fmla="*/ 705354 w 1141507"/>
                <a:gd name="connsiteY39" fmla="*/ 2760804 h 3383919"/>
                <a:gd name="connsiteX40" fmla="*/ 421600 w 1141507"/>
                <a:gd name="connsiteY40" fmla="*/ 2222980 h 3383919"/>
                <a:gd name="connsiteX41" fmla="*/ 563950 w 1141507"/>
                <a:gd name="connsiteY41" fmla="*/ 1983895 h 3383919"/>
                <a:gd name="connsiteX42" fmla="*/ 377263 w 1141507"/>
                <a:gd name="connsiteY42" fmla="*/ 1445204 h 3383919"/>
                <a:gd name="connsiteX43" fmla="*/ 128979 w 1141507"/>
                <a:gd name="connsiteY43" fmla="*/ 1213526 h 3383919"/>
                <a:gd name="connsiteX44" fmla="*/ 120112 w 1141507"/>
                <a:gd name="connsiteY44" fmla="*/ 1097687 h 3383919"/>
                <a:gd name="connsiteX45" fmla="*/ 0 w 1141507"/>
                <a:gd name="connsiteY45"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781507 w 1141507"/>
                <a:gd name="connsiteY4" fmla="*/ 669800 h 3383919"/>
                <a:gd name="connsiteX5" fmla="*/ 837480 w 1141507"/>
                <a:gd name="connsiteY5" fmla="*/ 600499 h 3383919"/>
                <a:gd name="connsiteX6" fmla="*/ 853553 w 1141507"/>
                <a:gd name="connsiteY6" fmla="*/ 535344 h 3383919"/>
                <a:gd name="connsiteX7" fmla="*/ 859095 w 1141507"/>
                <a:gd name="connsiteY7" fmla="*/ 501730 h 3383919"/>
                <a:gd name="connsiteX8" fmla="*/ 889577 w 1141507"/>
                <a:gd name="connsiteY8" fmla="*/ 416402 h 3383919"/>
                <a:gd name="connsiteX9" fmla="*/ 899552 w 1141507"/>
                <a:gd name="connsiteY9" fmla="*/ 382784 h 3383919"/>
                <a:gd name="connsiteX10" fmla="*/ 906203 w 1141507"/>
                <a:gd name="connsiteY10" fmla="*/ 364688 h 3383919"/>
                <a:gd name="connsiteX11" fmla="*/ 909140 w 1141507"/>
                <a:gd name="connsiteY11" fmla="*/ 333358 h 3383919"/>
                <a:gd name="connsiteX12" fmla="*/ 828614 w 1141507"/>
                <a:gd name="connsiteY12" fmla="*/ 287118 h 3383919"/>
                <a:gd name="connsiteX13" fmla="*/ 814759 w 1141507"/>
                <a:gd name="connsiteY13" fmla="*/ 214718 h 3383919"/>
                <a:gd name="connsiteX14" fmla="*/ 814759 w 1141507"/>
                <a:gd name="connsiteY14" fmla="*/ 196618 h 3383919"/>
                <a:gd name="connsiteX15" fmla="*/ 825842 w 1141507"/>
                <a:gd name="connsiteY15" fmla="*/ 173346 h 3383919"/>
                <a:gd name="connsiteX16" fmla="*/ 828614 w 1141507"/>
                <a:gd name="connsiteY16" fmla="*/ 157832 h 3383919"/>
                <a:gd name="connsiteX17" fmla="*/ 842469 w 1141507"/>
                <a:gd name="connsiteY17" fmla="*/ 95776 h 3383919"/>
                <a:gd name="connsiteX18" fmla="*/ 820300 w 1141507"/>
                <a:gd name="connsiteY18" fmla="*/ 75091 h 3383919"/>
                <a:gd name="connsiteX19" fmla="*/ 778735 w 1141507"/>
                <a:gd name="connsiteY19" fmla="*/ 46648 h 3383919"/>
                <a:gd name="connsiteX20" fmla="*/ 774567 w 1141507"/>
                <a:gd name="connsiteY20" fmla="*/ 22395 h 3383919"/>
                <a:gd name="connsiteX21" fmla="*/ 825843 w 1141507"/>
                <a:gd name="connsiteY21" fmla="*/ 104 h 3383919"/>
                <a:gd name="connsiteX22" fmla="*/ 879423 w 1141507"/>
                <a:gd name="connsiteY22" fmla="*/ 9976 h 3383919"/>
                <a:gd name="connsiteX23" fmla="*/ 958207 w 1141507"/>
                <a:gd name="connsiteY23" fmla="*/ 21886 h 3383919"/>
                <a:gd name="connsiteX24" fmla="*/ 1042530 w 1141507"/>
                <a:gd name="connsiteY24" fmla="*/ 91245 h 3383919"/>
                <a:gd name="connsiteX25" fmla="*/ 1104665 w 1141507"/>
                <a:gd name="connsiteY25" fmla="*/ 167341 h 3383919"/>
                <a:gd name="connsiteX26" fmla="*/ 1003694 w 1141507"/>
                <a:gd name="connsiteY26" fmla="*/ 196335 h 3383919"/>
                <a:gd name="connsiteX27" fmla="*/ 988160 w 1141507"/>
                <a:gd name="connsiteY27" fmla="*/ 243442 h 3383919"/>
                <a:gd name="connsiteX28" fmla="*/ 1045830 w 1141507"/>
                <a:gd name="connsiteY28" fmla="*/ 327932 h 3383919"/>
                <a:gd name="connsiteX29" fmla="*/ 1081364 w 1141507"/>
                <a:gd name="connsiteY29" fmla="*/ 334034 h 3383919"/>
                <a:gd name="connsiteX30" fmla="*/ 1133984 w 1141507"/>
                <a:gd name="connsiteY30" fmla="*/ 340374 h 3383919"/>
                <a:gd name="connsiteX31" fmla="*/ 1129021 w 1141507"/>
                <a:gd name="connsiteY31" fmla="*/ 451149 h 3383919"/>
                <a:gd name="connsiteX32" fmla="*/ 1140090 w 1141507"/>
                <a:gd name="connsiteY32" fmla="*/ 782117 h 3383919"/>
                <a:gd name="connsiteX33" fmla="*/ 1131222 w 1141507"/>
                <a:gd name="connsiteY33" fmla="*/ 1584716 h 3383919"/>
                <a:gd name="connsiteX34" fmla="*/ 1140089 w 1141507"/>
                <a:gd name="connsiteY34" fmla="*/ 2039798 h 3383919"/>
                <a:gd name="connsiteX35" fmla="*/ 1113641 w 1141507"/>
                <a:gd name="connsiteY35" fmla="*/ 3349763 h 3383919"/>
                <a:gd name="connsiteX36" fmla="*/ 855214 w 1141507"/>
                <a:gd name="connsiteY36" fmla="*/ 3306168 h 3383919"/>
                <a:gd name="connsiteX37" fmla="*/ 686736 w 1141507"/>
                <a:gd name="connsiteY37" fmla="*/ 3239973 h 3383919"/>
                <a:gd name="connsiteX38" fmla="*/ 509390 w 1141507"/>
                <a:gd name="connsiteY38" fmla="*/ 3148957 h 3383919"/>
                <a:gd name="connsiteX39" fmla="*/ 411092 w 1141507"/>
                <a:gd name="connsiteY39" fmla="*/ 3068440 h 3383919"/>
                <a:gd name="connsiteX40" fmla="*/ 705354 w 1141507"/>
                <a:gd name="connsiteY40" fmla="*/ 2760804 h 3383919"/>
                <a:gd name="connsiteX41" fmla="*/ 421600 w 1141507"/>
                <a:gd name="connsiteY41" fmla="*/ 2222980 h 3383919"/>
                <a:gd name="connsiteX42" fmla="*/ 563950 w 1141507"/>
                <a:gd name="connsiteY42" fmla="*/ 1983895 h 3383919"/>
                <a:gd name="connsiteX43" fmla="*/ 377263 w 1141507"/>
                <a:gd name="connsiteY43" fmla="*/ 1445204 h 3383919"/>
                <a:gd name="connsiteX44" fmla="*/ 128979 w 1141507"/>
                <a:gd name="connsiteY44" fmla="*/ 1213526 h 3383919"/>
                <a:gd name="connsiteX45" fmla="*/ 120112 w 1141507"/>
                <a:gd name="connsiteY45" fmla="*/ 1097687 h 3383919"/>
                <a:gd name="connsiteX46" fmla="*/ 0 w 1141507"/>
                <a:gd name="connsiteY46"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660134 w 1141507"/>
                <a:gd name="connsiteY3" fmla="*/ 790806 h 3383919"/>
                <a:gd name="connsiteX4" fmla="*/ 781507 w 1141507"/>
                <a:gd name="connsiteY4" fmla="*/ 669800 h 3383919"/>
                <a:gd name="connsiteX5" fmla="*/ 837480 w 1141507"/>
                <a:gd name="connsiteY5" fmla="*/ 600499 h 3383919"/>
                <a:gd name="connsiteX6" fmla="*/ 853553 w 1141507"/>
                <a:gd name="connsiteY6" fmla="*/ 535344 h 3383919"/>
                <a:gd name="connsiteX7" fmla="*/ 859095 w 1141507"/>
                <a:gd name="connsiteY7" fmla="*/ 501730 h 3383919"/>
                <a:gd name="connsiteX8" fmla="*/ 889577 w 1141507"/>
                <a:gd name="connsiteY8" fmla="*/ 416402 h 3383919"/>
                <a:gd name="connsiteX9" fmla="*/ 899552 w 1141507"/>
                <a:gd name="connsiteY9" fmla="*/ 382784 h 3383919"/>
                <a:gd name="connsiteX10" fmla="*/ 906203 w 1141507"/>
                <a:gd name="connsiteY10" fmla="*/ 364688 h 3383919"/>
                <a:gd name="connsiteX11" fmla="*/ 909140 w 1141507"/>
                <a:gd name="connsiteY11" fmla="*/ 333358 h 3383919"/>
                <a:gd name="connsiteX12" fmla="*/ 828614 w 1141507"/>
                <a:gd name="connsiteY12" fmla="*/ 287118 h 3383919"/>
                <a:gd name="connsiteX13" fmla="*/ 814759 w 1141507"/>
                <a:gd name="connsiteY13" fmla="*/ 214718 h 3383919"/>
                <a:gd name="connsiteX14" fmla="*/ 814759 w 1141507"/>
                <a:gd name="connsiteY14" fmla="*/ 196618 h 3383919"/>
                <a:gd name="connsiteX15" fmla="*/ 825842 w 1141507"/>
                <a:gd name="connsiteY15" fmla="*/ 173346 h 3383919"/>
                <a:gd name="connsiteX16" fmla="*/ 828614 w 1141507"/>
                <a:gd name="connsiteY16" fmla="*/ 157832 h 3383919"/>
                <a:gd name="connsiteX17" fmla="*/ 842469 w 1141507"/>
                <a:gd name="connsiteY17" fmla="*/ 95776 h 3383919"/>
                <a:gd name="connsiteX18" fmla="*/ 820300 w 1141507"/>
                <a:gd name="connsiteY18" fmla="*/ 75091 h 3383919"/>
                <a:gd name="connsiteX19" fmla="*/ 778735 w 1141507"/>
                <a:gd name="connsiteY19" fmla="*/ 46648 h 3383919"/>
                <a:gd name="connsiteX20" fmla="*/ 774567 w 1141507"/>
                <a:gd name="connsiteY20" fmla="*/ 22395 h 3383919"/>
                <a:gd name="connsiteX21" fmla="*/ 825843 w 1141507"/>
                <a:gd name="connsiteY21" fmla="*/ 104 h 3383919"/>
                <a:gd name="connsiteX22" fmla="*/ 879423 w 1141507"/>
                <a:gd name="connsiteY22" fmla="*/ 9976 h 3383919"/>
                <a:gd name="connsiteX23" fmla="*/ 958207 w 1141507"/>
                <a:gd name="connsiteY23" fmla="*/ 21886 h 3383919"/>
                <a:gd name="connsiteX24" fmla="*/ 1042530 w 1141507"/>
                <a:gd name="connsiteY24" fmla="*/ 91245 h 3383919"/>
                <a:gd name="connsiteX25" fmla="*/ 1104665 w 1141507"/>
                <a:gd name="connsiteY25" fmla="*/ 167341 h 3383919"/>
                <a:gd name="connsiteX26" fmla="*/ 1003694 w 1141507"/>
                <a:gd name="connsiteY26" fmla="*/ 196335 h 3383919"/>
                <a:gd name="connsiteX27" fmla="*/ 988160 w 1141507"/>
                <a:gd name="connsiteY27" fmla="*/ 243442 h 3383919"/>
                <a:gd name="connsiteX28" fmla="*/ 1045830 w 1141507"/>
                <a:gd name="connsiteY28" fmla="*/ 327932 h 3383919"/>
                <a:gd name="connsiteX29" fmla="*/ 1081364 w 1141507"/>
                <a:gd name="connsiteY29" fmla="*/ 334034 h 3383919"/>
                <a:gd name="connsiteX30" fmla="*/ 1133984 w 1141507"/>
                <a:gd name="connsiteY30" fmla="*/ 340374 h 3383919"/>
                <a:gd name="connsiteX31" fmla="*/ 1129021 w 1141507"/>
                <a:gd name="connsiteY31" fmla="*/ 451149 h 3383919"/>
                <a:gd name="connsiteX32" fmla="*/ 1140090 w 1141507"/>
                <a:gd name="connsiteY32" fmla="*/ 782117 h 3383919"/>
                <a:gd name="connsiteX33" fmla="*/ 1131222 w 1141507"/>
                <a:gd name="connsiteY33" fmla="*/ 1584716 h 3383919"/>
                <a:gd name="connsiteX34" fmla="*/ 1140089 w 1141507"/>
                <a:gd name="connsiteY34" fmla="*/ 2039798 h 3383919"/>
                <a:gd name="connsiteX35" fmla="*/ 1113641 w 1141507"/>
                <a:gd name="connsiteY35" fmla="*/ 3349763 h 3383919"/>
                <a:gd name="connsiteX36" fmla="*/ 855214 w 1141507"/>
                <a:gd name="connsiteY36" fmla="*/ 3306168 h 3383919"/>
                <a:gd name="connsiteX37" fmla="*/ 686736 w 1141507"/>
                <a:gd name="connsiteY37" fmla="*/ 3239973 h 3383919"/>
                <a:gd name="connsiteX38" fmla="*/ 509390 w 1141507"/>
                <a:gd name="connsiteY38" fmla="*/ 3148957 h 3383919"/>
                <a:gd name="connsiteX39" fmla="*/ 411092 w 1141507"/>
                <a:gd name="connsiteY39" fmla="*/ 3068440 h 3383919"/>
                <a:gd name="connsiteX40" fmla="*/ 705354 w 1141507"/>
                <a:gd name="connsiteY40" fmla="*/ 2760804 h 3383919"/>
                <a:gd name="connsiteX41" fmla="*/ 421600 w 1141507"/>
                <a:gd name="connsiteY41" fmla="*/ 2222980 h 3383919"/>
                <a:gd name="connsiteX42" fmla="*/ 563950 w 1141507"/>
                <a:gd name="connsiteY42" fmla="*/ 1983895 h 3383919"/>
                <a:gd name="connsiteX43" fmla="*/ 377263 w 1141507"/>
                <a:gd name="connsiteY43" fmla="*/ 1445204 h 3383919"/>
                <a:gd name="connsiteX44" fmla="*/ 128979 w 1141507"/>
                <a:gd name="connsiteY44" fmla="*/ 1213526 h 3383919"/>
                <a:gd name="connsiteX45" fmla="*/ 120112 w 1141507"/>
                <a:gd name="connsiteY45" fmla="*/ 1097687 h 3383919"/>
                <a:gd name="connsiteX46" fmla="*/ 0 w 1141507"/>
                <a:gd name="connsiteY46"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93629 w 1141507"/>
                <a:gd name="connsiteY3" fmla="*/ 733920 h 3383919"/>
                <a:gd name="connsiteX4" fmla="*/ 781507 w 1141507"/>
                <a:gd name="connsiteY4" fmla="*/ 669800 h 3383919"/>
                <a:gd name="connsiteX5" fmla="*/ 837480 w 1141507"/>
                <a:gd name="connsiteY5" fmla="*/ 600499 h 3383919"/>
                <a:gd name="connsiteX6" fmla="*/ 853553 w 1141507"/>
                <a:gd name="connsiteY6" fmla="*/ 535344 h 3383919"/>
                <a:gd name="connsiteX7" fmla="*/ 859095 w 1141507"/>
                <a:gd name="connsiteY7" fmla="*/ 501730 h 3383919"/>
                <a:gd name="connsiteX8" fmla="*/ 889577 w 1141507"/>
                <a:gd name="connsiteY8" fmla="*/ 416402 h 3383919"/>
                <a:gd name="connsiteX9" fmla="*/ 899552 w 1141507"/>
                <a:gd name="connsiteY9" fmla="*/ 382784 h 3383919"/>
                <a:gd name="connsiteX10" fmla="*/ 906203 w 1141507"/>
                <a:gd name="connsiteY10" fmla="*/ 364688 h 3383919"/>
                <a:gd name="connsiteX11" fmla="*/ 909140 w 1141507"/>
                <a:gd name="connsiteY11" fmla="*/ 333358 h 3383919"/>
                <a:gd name="connsiteX12" fmla="*/ 828614 w 1141507"/>
                <a:gd name="connsiteY12" fmla="*/ 287118 h 3383919"/>
                <a:gd name="connsiteX13" fmla="*/ 814759 w 1141507"/>
                <a:gd name="connsiteY13" fmla="*/ 214718 h 3383919"/>
                <a:gd name="connsiteX14" fmla="*/ 814759 w 1141507"/>
                <a:gd name="connsiteY14" fmla="*/ 196618 h 3383919"/>
                <a:gd name="connsiteX15" fmla="*/ 825842 w 1141507"/>
                <a:gd name="connsiteY15" fmla="*/ 173346 h 3383919"/>
                <a:gd name="connsiteX16" fmla="*/ 828614 w 1141507"/>
                <a:gd name="connsiteY16" fmla="*/ 157832 h 3383919"/>
                <a:gd name="connsiteX17" fmla="*/ 842469 w 1141507"/>
                <a:gd name="connsiteY17" fmla="*/ 95776 h 3383919"/>
                <a:gd name="connsiteX18" fmla="*/ 820300 w 1141507"/>
                <a:gd name="connsiteY18" fmla="*/ 75091 h 3383919"/>
                <a:gd name="connsiteX19" fmla="*/ 778735 w 1141507"/>
                <a:gd name="connsiteY19" fmla="*/ 46648 h 3383919"/>
                <a:gd name="connsiteX20" fmla="*/ 774567 w 1141507"/>
                <a:gd name="connsiteY20" fmla="*/ 22395 h 3383919"/>
                <a:gd name="connsiteX21" fmla="*/ 825843 w 1141507"/>
                <a:gd name="connsiteY21" fmla="*/ 104 h 3383919"/>
                <a:gd name="connsiteX22" fmla="*/ 879423 w 1141507"/>
                <a:gd name="connsiteY22" fmla="*/ 9976 h 3383919"/>
                <a:gd name="connsiteX23" fmla="*/ 958207 w 1141507"/>
                <a:gd name="connsiteY23" fmla="*/ 21886 h 3383919"/>
                <a:gd name="connsiteX24" fmla="*/ 1042530 w 1141507"/>
                <a:gd name="connsiteY24" fmla="*/ 91245 h 3383919"/>
                <a:gd name="connsiteX25" fmla="*/ 1104665 w 1141507"/>
                <a:gd name="connsiteY25" fmla="*/ 167341 h 3383919"/>
                <a:gd name="connsiteX26" fmla="*/ 1003694 w 1141507"/>
                <a:gd name="connsiteY26" fmla="*/ 196335 h 3383919"/>
                <a:gd name="connsiteX27" fmla="*/ 988160 w 1141507"/>
                <a:gd name="connsiteY27" fmla="*/ 243442 h 3383919"/>
                <a:gd name="connsiteX28" fmla="*/ 1045830 w 1141507"/>
                <a:gd name="connsiteY28" fmla="*/ 327932 h 3383919"/>
                <a:gd name="connsiteX29" fmla="*/ 1081364 w 1141507"/>
                <a:gd name="connsiteY29" fmla="*/ 334034 h 3383919"/>
                <a:gd name="connsiteX30" fmla="*/ 1133984 w 1141507"/>
                <a:gd name="connsiteY30" fmla="*/ 340374 h 3383919"/>
                <a:gd name="connsiteX31" fmla="*/ 1129021 w 1141507"/>
                <a:gd name="connsiteY31" fmla="*/ 451149 h 3383919"/>
                <a:gd name="connsiteX32" fmla="*/ 1140090 w 1141507"/>
                <a:gd name="connsiteY32" fmla="*/ 782117 h 3383919"/>
                <a:gd name="connsiteX33" fmla="*/ 1131222 w 1141507"/>
                <a:gd name="connsiteY33" fmla="*/ 1584716 h 3383919"/>
                <a:gd name="connsiteX34" fmla="*/ 1140089 w 1141507"/>
                <a:gd name="connsiteY34" fmla="*/ 2039798 h 3383919"/>
                <a:gd name="connsiteX35" fmla="*/ 1113641 w 1141507"/>
                <a:gd name="connsiteY35" fmla="*/ 3349763 h 3383919"/>
                <a:gd name="connsiteX36" fmla="*/ 855214 w 1141507"/>
                <a:gd name="connsiteY36" fmla="*/ 3306168 h 3383919"/>
                <a:gd name="connsiteX37" fmla="*/ 686736 w 1141507"/>
                <a:gd name="connsiteY37" fmla="*/ 3239973 h 3383919"/>
                <a:gd name="connsiteX38" fmla="*/ 509390 w 1141507"/>
                <a:gd name="connsiteY38" fmla="*/ 3148957 h 3383919"/>
                <a:gd name="connsiteX39" fmla="*/ 411092 w 1141507"/>
                <a:gd name="connsiteY39" fmla="*/ 3068440 h 3383919"/>
                <a:gd name="connsiteX40" fmla="*/ 705354 w 1141507"/>
                <a:gd name="connsiteY40" fmla="*/ 2760804 h 3383919"/>
                <a:gd name="connsiteX41" fmla="*/ 421600 w 1141507"/>
                <a:gd name="connsiteY41" fmla="*/ 2222980 h 3383919"/>
                <a:gd name="connsiteX42" fmla="*/ 563950 w 1141507"/>
                <a:gd name="connsiteY42" fmla="*/ 1983895 h 3383919"/>
                <a:gd name="connsiteX43" fmla="*/ 377263 w 1141507"/>
                <a:gd name="connsiteY43" fmla="*/ 1445204 h 3383919"/>
                <a:gd name="connsiteX44" fmla="*/ 128979 w 1141507"/>
                <a:gd name="connsiteY44" fmla="*/ 1213526 h 3383919"/>
                <a:gd name="connsiteX45" fmla="*/ 120112 w 1141507"/>
                <a:gd name="connsiteY45" fmla="*/ 1097687 h 3383919"/>
                <a:gd name="connsiteX46" fmla="*/ 0 w 1141507"/>
                <a:gd name="connsiteY46"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93629 w 1141507"/>
                <a:gd name="connsiteY3" fmla="*/ 733920 h 3383919"/>
                <a:gd name="connsiteX4" fmla="*/ 529343 w 1141507"/>
                <a:gd name="connsiteY4" fmla="*/ 566372 h 3383919"/>
                <a:gd name="connsiteX5" fmla="*/ 781507 w 1141507"/>
                <a:gd name="connsiteY5" fmla="*/ 669800 h 3383919"/>
                <a:gd name="connsiteX6" fmla="*/ 837480 w 1141507"/>
                <a:gd name="connsiteY6" fmla="*/ 600499 h 3383919"/>
                <a:gd name="connsiteX7" fmla="*/ 853553 w 1141507"/>
                <a:gd name="connsiteY7" fmla="*/ 535344 h 3383919"/>
                <a:gd name="connsiteX8" fmla="*/ 859095 w 1141507"/>
                <a:gd name="connsiteY8" fmla="*/ 501730 h 3383919"/>
                <a:gd name="connsiteX9" fmla="*/ 889577 w 1141507"/>
                <a:gd name="connsiteY9" fmla="*/ 416402 h 3383919"/>
                <a:gd name="connsiteX10" fmla="*/ 899552 w 1141507"/>
                <a:gd name="connsiteY10" fmla="*/ 382784 h 3383919"/>
                <a:gd name="connsiteX11" fmla="*/ 906203 w 1141507"/>
                <a:gd name="connsiteY11" fmla="*/ 364688 h 3383919"/>
                <a:gd name="connsiteX12" fmla="*/ 909140 w 1141507"/>
                <a:gd name="connsiteY12" fmla="*/ 333358 h 3383919"/>
                <a:gd name="connsiteX13" fmla="*/ 828614 w 1141507"/>
                <a:gd name="connsiteY13" fmla="*/ 287118 h 3383919"/>
                <a:gd name="connsiteX14" fmla="*/ 814759 w 1141507"/>
                <a:gd name="connsiteY14" fmla="*/ 214718 h 3383919"/>
                <a:gd name="connsiteX15" fmla="*/ 814759 w 1141507"/>
                <a:gd name="connsiteY15" fmla="*/ 196618 h 3383919"/>
                <a:gd name="connsiteX16" fmla="*/ 825842 w 1141507"/>
                <a:gd name="connsiteY16" fmla="*/ 173346 h 3383919"/>
                <a:gd name="connsiteX17" fmla="*/ 828614 w 1141507"/>
                <a:gd name="connsiteY17" fmla="*/ 157832 h 3383919"/>
                <a:gd name="connsiteX18" fmla="*/ 842469 w 1141507"/>
                <a:gd name="connsiteY18" fmla="*/ 95776 h 3383919"/>
                <a:gd name="connsiteX19" fmla="*/ 820300 w 1141507"/>
                <a:gd name="connsiteY19" fmla="*/ 75091 h 3383919"/>
                <a:gd name="connsiteX20" fmla="*/ 778735 w 1141507"/>
                <a:gd name="connsiteY20" fmla="*/ 46648 h 3383919"/>
                <a:gd name="connsiteX21" fmla="*/ 774567 w 1141507"/>
                <a:gd name="connsiteY21" fmla="*/ 22395 h 3383919"/>
                <a:gd name="connsiteX22" fmla="*/ 825843 w 1141507"/>
                <a:gd name="connsiteY22" fmla="*/ 104 h 3383919"/>
                <a:gd name="connsiteX23" fmla="*/ 879423 w 1141507"/>
                <a:gd name="connsiteY23" fmla="*/ 9976 h 3383919"/>
                <a:gd name="connsiteX24" fmla="*/ 958207 w 1141507"/>
                <a:gd name="connsiteY24" fmla="*/ 21886 h 3383919"/>
                <a:gd name="connsiteX25" fmla="*/ 1042530 w 1141507"/>
                <a:gd name="connsiteY25" fmla="*/ 91245 h 3383919"/>
                <a:gd name="connsiteX26" fmla="*/ 1104665 w 1141507"/>
                <a:gd name="connsiteY26" fmla="*/ 167341 h 3383919"/>
                <a:gd name="connsiteX27" fmla="*/ 1003694 w 1141507"/>
                <a:gd name="connsiteY27" fmla="*/ 196335 h 3383919"/>
                <a:gd name="connsiteX28" fmla="*/ 988160 w 1141507"/>
                <a:gd name="connsiteY28" fmla="*/ 243442 h 3383919"/>
                <a:gd name="connsiteX29" fmla="*/ 1045830 w 1141507"/>
                <a:gd name="connsiteY29" fmla="*/ 327932 h 3383919"/>
                <a:gd name="connsiteX30" fmla="*/ 1081364 w 1141507"/>
                <a:gd name="connsiteY30" fmla="*/ 334034 h 3383919"/>
                <a:gd name="connsiteX31" fmla="*/ 1133984 w 1141507"/>
                <a:gd name="connsiteY31" fmla="*/ 340374 h 3383919"/>
                <a:gd name="connsiteX32" fmla="*/ 1129021 w 1141507"/>
                <a:gd name="connsiteY32" fmla="*/ 451149 h 3383919"/>
                <a:gd name="connsiteX33" fmla="*/ 1140090 w 1141507"/>
                <a:gd name="connsiteY33" fmla="*/ 782117 h 3383919"/>
                <a:gd name="connsiteX34" fmla="*/ 1131222 w 1141507"/>
                <a:gd name="connsiteY34" fmla="*/ 1584716 h 3383919"/>
                <a:gd name="connsiteX35" fmla="*/ 1140089 w 1141507"/>
                <a:gd name="connsiteY35" fmla="*/ 2039798 h 3383919"/>
                <a:gd name="connsiteX36" fmla="*/ 1113641 w 1141507"/>
                <a:gd name="connsiteY36" fmla="*/ 3349763 h 3383919"/>
                <a:gd name="connsiteX37" fmla="*/ 855214 w 1141507"/>
                <a:gd name="connsiteY37" fmla="*/ 3306168 h 3383919"/>
                <a:gd name="connsiteX38" fmla="*/ 686736 w 1141507"/>
                <a:gd name="connsiteY38" fmla="*/ 3239973 h 3383919"/>
                <a:gd name="connsiteX39" fmla="*/ 509390 w 1141507"/>
                <a:gd name="connsiteY39" fmla="*/ 3148957 h 3383919"/>
                <a:gd name="connsiteX40" fmla="*/ 411092 w 1141507"/>
                <a:gd name="connsiteY40" fmla="*/ 3068440 h 3383919"/>
                <a:gd name="connsiteX41" fmla="*/ 705354 w 1141507"/>
                <a:gd name="connsiteY41" fmla="*/ 2760804 h 3383919"/>
                <a:gd name="connsiteX42" fmla="*/ 421600 w 1141507"/>
                <a:gd name="connsiteY42" fmla="*/ 2222980 h 3383919"/>
                <a:gd name="connsiteX43" fmla="*/ 563950 w 1141507"/>
                <a:gd name="connsiteY43" fmla="*/ 1983895 h 3383919"/>
                <a:gd name="connsiteX44" fmla="*/ 377263 w 1141507"/>
                <a:gd name="connsiteY44" fmla="*/ 1445204 h 3383919"/>
                <a:gd name="connsiteX45" fmla="*/ 128979 w 1141507"/>
                <a:gd name="connsiteY45" fmla="*/ 1213526 h 3383919"/>
                <a:gd name="connsiteX46" fmla="*/ 120112 w 1141507"/>
                <a:gd name="connsiteY46" fmla="*/ 1097687 h 3383919"/>
                <a:gd name="connsiteX47" fmla="*/ 0 w 1141507"/>
                <a:gd name="connsiteY47"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93629 w 1141507"/>
                <a:gd name="connsiteY3" fmla="*/ 733920 h 3383919"/>
                <a:gd name="connsiteX4" fmla="*/ 507174 w 1141507"/>
                <a:gd name="connsiteY4" fmla="*/ 672386 h 3383919"/>
                <a:gd name="connsiteX5" fmla="*/ 529343 w 1141507"/>
                <a:gd name="connsiteY5" fmla="*/ 566372 h 3383919"/>
                <a:gd name="connsiteX6" fmla="*/ 781507 w 1141507"/>
                <a:gd name="connsiteY6" fmla="*/ 669800 h 3383919"/>
                <a:gd name="connsiteX7" fmla="*/ 837480 w 1141507"/>
                <a:gd name="connsiteY7" fmla="*/ 600499 h 3383919"/>
                <a:gd name="connsiteX8" fmla="*/ 853553 w 1141507"/>
                <a:gd name="connsiteY8" fmla="*/ 535344 h 3383919"/>
                <a:gd name="connsiteX9" fmla="*/ 859095 w 1141507"/>
                <a:gd name="connsiteY9" fmla="*/ 501730 h 3383919"/>
                <a:gd name="connsiteX10" fmla="*/ 889577 w 1141507"/>
                <a:gd name="connsiteY10" fmla="*/ 416402 h 3383919"/>
                <a:gd name="connsiteX11" fmla="*/ 899552 w 1141507"/>
                <a:gd name="connsiteY11" fmla="*/ 382784 h 3383919"/>
                <a:gd name="connsiteX12" fmla="*/ 906203 w 1141507"/>
                <a:gd name="connsiteY12" fmla="*/ 364688 h 3383919"/>
                <a:gd name="connsiteX13" fmla="*/ 909140 w 1141507"/>
                <a:gd name="connsiteY13" fmla="*/ 333358 h 3383919"/>
                <a:gd name="connsiteX14" fmla="*/ 828614 w 1141507"/>
                <a:gd name="connsiteY14" fmla="*/ 287118 h 3383919"/>
                <a:gd name="connsiteX15" fmla="*/ 814759 w 1141507"/>
                <a:gd name="connsiteY15" fmla="*/ 214718 h 3383919"/>
                <a:gd name="connsiteX16" fmla="*/ 814759 w 1141507"/>
                <a:gd name="connsiteY16" fmla="*/ 196618 h 3383919"/>
                <a:gd name="connsiteX17" fmla="*/ 825842 w 1141507"/>
                <a:gd name="connsiteY17" fmla="*/ 173346 h 3383919"/>
                <a:gd name="connsiteX18" fmla="*/ 828614 w 1141507"/>
                <a:gd name="connsiteY18" fmla="*/ 157832 h 3383919"/>
                <a:gd name="connsiteX19" fmla="*/ 842469 w 1141507"/>
                <a:gd name="connsiteY19" fmla="*/ 95776 h 3383919"/>
                <a:gd name="connsiteX20" fmla="*/ 820300 w 1141507"/>
                <a:gd name="connsiteY20" fmla="*/ 75091 h 3383919"/>
                <a:gd name="connsiteX21" fmla="*/ 778735 w 1141507"/>
                <a:gd name="connsiteY21" fmla="*/ 46648 h 3383919"/>
                <a:gd name="connsiteX22" fmla="*/ 774567 w 1141507"/>
                <a:gd name="connsiteY22" fmla="*/ 22395 h 3383919"/>
                <a:gd name="connsiteX23" fmla="*/ 825843 w 1141507"/>
                <a:gd name="connsiteY23" fmla="*/ 104 h 3383919"/>
                <a:gd name="connsiteX24" fmla="*/ 879423 w 1141507"/>
                <a:gd name="connsiteY24" fmla="*/ 9976 h 3383919"/>
                <a:gd name="connsiteX25" fmla="*/ 958207 w 1141507"/>
                <a:gd name="connsiteY25" fmla="*/ 21886 h 3383919"/>
                <a:gd name="connsiteX26" fmla="*/ 1042530 w 1141507"/>
                <a:gd name="connsiteY26" fmla="*/ 91245 h 3383919"/>
                <a:gd name="connsiteX27" fmla="*/ 1104665 w 1141507"/>
                <a:gd name="connsiteY27" fmla="*/ 167341 h 3383919"/>
                <a:gd name="connsiteX28" fmla="*/ 1003694 w 1141507"/>
                <a:gd name="connsiteY28" fmla="*/ 196335 h 3383919"/>
                <a:gd name="connsiteX29" fmla="*/ 988160 w 1141507"/>
                <a:gd name="connsiteY29" fmla="*/ 243442 h 3383919"/>
                <a:gd name="connsiteX30" fmla="*/ 1045830 w 1141507"/>
                <a:gd name="connsiteY30" fmla="*/ 327932 h 3383919"/>
                <a:gd name="connsiteX31" fmla="*/ 1081364 w 1141507"/>
                <a:gd name="connsiteY31" fmla="*/ 334034 h 3383919"/>
                <a:gd name="connsiteX32" fmla="*/ 1133984 w 1141507"/>
                <a:gd name="connsiteY32" fmla="*/ 340374 h 3383919"/>
                <a:gd name="connsiteX33" fmla="*/ 1129021 w 1141507"/>
                <a:gd name="connsiteY33" fmla="*/ 451149 h 3383919"/>
                <a:gd name="connsiteX34" fmla="*/ 1140090 w 1141507"/>
                <a:gd name="connsiteY34" fmla="*/ 782117 h 3383919"/>
                <a:gd name="connsiteX35" fmla="*/ 1131222 w 1141507"/>
                <a:gd name="connsiteY35" fmla="*/ 1584716 h 3383919"/>
                <a:gd name="connsiteX36" fmla="*/ 1140089 w 1141507"/>
                <a:gd name="connsiteY36" fmla="*/ 2039798 h 3383919"/>
                <a:gd name="connsiteX37" fmla="*/ 1113641 w 1141507"/>
                <a:gd name="connsiteY37" fmla="*/ 3349763 h 3383919"/>
                <a:gd name="connsiteX38" fmla="*/ 855214 w 1141507"/>
                <a:gd name="connsiteY38" fmla="*/ 3306168 h 3383919"/>
                <a:gd name="connsiteX39" fmla="*/ 686736 w 1141507"/>
                <a:gd name="connsiteY39" fmla="*/ 3239973 h 3383919"/>
                <a:gd name="connsiteX40" fmla="*/ 509390 w 1141507"/>
                <a:gd name="connsiteY40" fmla="*/ 3148957 h 3383919"/>
                <a:gd name="connsiteX41" fmla="*/ 411092 w 1141507"/>
                <a:gd name="connsiteY41" fmla="*/ 3068440 h 3383919"/>
                <a:gd name="connsiteX42" fmla="*/ 705354 w 1141507"/>
                <a:gd name="connsiteY42" fmla="*/ 2760804 h 3383919"/>
                <a:gd name="connsiteX43" fmla="*/ 421600 w 1141507"/>
                <a:gd name="connsiteY43" fmla="*/ 2222980 h 3383919"/>
                <a:gd name="connsiteX44" fmla="*/ 563950 w 1141507"/>
                <a:gd name="connsiteY44" fmla="*/ 1983895 h 3383919"/>
                <a:gd name="connsiteX45" fmla="*/ 377263 w 1141507"/>
                <a:gd name="connsiteY45" fmla="*/ 1445204 h 3383919"/>
                <a:gd name="connsiteX46" fmla="*/ 128979 w 1141507"/>
                <a:gd name="connsiteY46" fmla="*/ 1213526 h 3383919"/>
                <a:gd name="connsiteX47" fmla="*/ 120112 w 1141507"/>
                <a:gd name="connsiteY47" fmla="*/ 1097687 h 3383919"/>
                <a:gd name="connsiteX48" fmla="*/ 0 w 1141507"/>
                <a:gd name="connsiteY48"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507174 w 1141507"/>
                <a:gd name="connsiteY4" fmla="*/ 672386 h 3383919"/>
                <a:gd name="connsiteX5" fmla="*/ 529343 w 1141507"/>
                <a:gd name="connsiteY5" fmla="*/ 566372 h 3383919"/>
                <a:gd name="connsiteX6" fmla="*/ 781507 w 1141507"/>
                <a:gd name="connsiteY6" fmla="*/ 669800 h 3383919"/>
                <a:gd name="connsiteX7" fmla="*/ 837480 w 1141507"/>
                <a:gd name="connsiteY7" fmla="*/ 600499 h 3383919"/>
                <a:gd name="connsiteX8" fmla="*/ 853553 w 1141507"/>
                <a:gd name="connsiteY8" fmla="*/ 535344 h 3383919"/>
                <a:gd name="connsiteX9" fmla="*/ 859095 w 1141507"/>
                <a:gd name="connsiteY9" fmla="*/ 501730 h 3383919"/>
                <a:gd name="connsiteX10" fmla="*/ 889577 w 1141507"/>
                <a:gd name="connsiteY10" fmla="*/ 416402 h 3383919"/>
                <a:gd name="connsiteX11" fmla="*/ 899552 w 1141507"/>
                <a:gd name="connsiteY11" fmla="*/ 382784 h 3383919"/>
                <a:gd name="connsiteX12" fmla="*/ 906203 w 1141507"/>
                <a:gd name="connsiteY12" fmla="*/ 364688 h 3383919"/>
                <a:gd name="connsiteX13" fmla="*/ 909140 w 1141507"/>
                <a:gd name="connsiteY13" fmla="*/ 333358 h 3383919"/>
                <a:gd name="connsiteX14" fmla="*/ 828614 w 1141507"/>
                <a:gd name="connsiteY14" fmla="*/ 287118 h 3383919"/>
                <a:gd name="connsiteX15" fmla="*/ 814759 w 1141507"/>
                <a:gd name="connsiteY15" fmla="*/ 214718 h 3383919"/>
                <a:gd name="connsiteX16" fmla="*/ 814759 w 1141507"/>
                <a:gd name="connsiteY16" fmla="*/ 196618 h 3383919"/>
                <a:gd name="connsiteX17" fmla="*/ 825842 w 1141507"/>
                <a:gd name="connsiteY17" fmla="*/ 173346 h 3383919"/>
                <a:gd name="connsiteX18" fmla="*/ 828614 w 1141507"/>
                <a:gd name="connsiteY18" fmla="*/ 157832 h 3383919"/>
                <a:gd name="connsiteX19" fmla="*/ 842469 w 1141507"/>
                <a:gd name="connsiteY19" fmla="*/ 95776 h 3383919"/>
                <a:gd name="connsiteX20" fmla="*/ 820300 w 1141507"/>
                <a:gd name="connsiteY20" fmla="*/ 75091 h 3383919"/>
                <a:gd name="connsiteX21" fmla="*/ 778735 w 1141507"/>
                <a:gd name="connsiteY21" fmla="*/ 46648 h 3383919"/>
                <a:gd name="connsiteX22" fmla="*/ 774567 w 1141507"/>
                <a:gd name="connsiteY22" fmla="*/ 22395 h 3383919"/>
                <a:gd name="connsiteX23" fmla="*/ 825843 w 1141507"/>
                <a:gd name="connsiteY23" fmla="*/ 104 h 3383919"/>
                <a:gd name="connsiteX24" fmla="*/ 879423 w 1141507"/>
                <a:gd name="connsiteY24" fmla="*/ 9976 h 3383919"/>
                <a:gd name="connsiteX25" fmla="*/ 958207 w 1141507"/>
                <a:gd name="connsiteY25" fmla="*/ 21886 h 3383919"/>
                <a:gd name="connsiteX26" fmla="*/ 1042530 w 1141507"/>
                <a:gd name="connsiteY26" fmla="*/ 91245 h 3383919"/>
                <a:gd name="connsiteX27" fmla="*/ 1104665 w 1141507"/>
                <a:gd name="connsiteY27" fmla="*/ 167341 h 3383919"/>
                <a:gd name="connsiteX28" fmla="*/ 1003694 w 1141507"/>
                <a:gd name="connsiteY28" fmla="*/ 196335 h 3383919"/>
                <a:gd name="connsiteX29" fmla="*/ 988160 w 1141507"/>
                <a:gd name="connsiteY29" fmla="*/ 243442 h 3383919"/>
                <a:gd name="connsiteX30" fmla="*/ 1045830 w 1141507"/>
                <a:gd name="connsiteY30" fmla="*/ 327932 h 3383919"/>
                <a:gd name="connsiteX31" fmla="*/ 1081364 w 1141507"/>
                <a:gd name="connsiteY31" fmla="*/ 334034 h 3383919"/>
                <a:gd name="connsiteX32" fmla="*/ 1133984 w 1141507"/>
                <a:gd name="connsiteY32" fmla="*/ 340374 h 3383919"/>
                <a:gd name="connsiteX33" fmla="*/ 1129021 w 1141507"/>
                <a:gd name="connsiteY33" fmla="*/ 451149 h 3383919"/>
                <a:gd name="connsiteX34" fmla="*/ 1140090 w 1141507"/>
                <a:gd name="connsiteY34" fmla="*/ 782117 h 3383919"/>
                <a:gd name="connsiteX35" fmla="*/ 1131222 w 1141507"/>
                <a:gd name="connsiteY35" fmla="*/ 1584716 h 3383919"/>
                <a:gd name="connsiteX36" fmla="*/ 1140089 w 1141507"/>
                <a:gd name="connsiteY36" fmla="*/ 2039798 h 3383919"/>
                <a:gd name="connsiteX37" fmla="*/ 1113641 w 1141507"/>
                <a:gd name="connsiteY37" fmla="*/ 3349763 h 3383919"/>
                <a:gd name="connsiteX38" fmla="*/ 855214 w 1141507"/>
                <a:gd name="connsiteY38" fmla="*/ 3306168 h 3383919"/>
                <a:gd name="connsiteX39" fmla="*/ 686736 w 1141507"/>
                <a:gd name="connsiteY39" fmla="*/ 3239973 h 3383919"/>
                <a:gd name="connsiteX40" fmla="*/ 509390 w 1141507"/>
                <a:gd name="connsiteY40" fmla="*/ 3148957 h 3383919"/>
                <a:gd name="connsiteX41" fmla="*/ 411092 w 1141507"/>
                <a:gd name="connsiteY41" fmla="*/ 3068440 h 3383919"/>
                <a:gd name="connsiteX42" fmla="*/ 705354 w 1141507"/>
                <a:gd name="connsiteY42" fmla="*/ 2760804 h 3383919"/>
                <a:gd name="connsiteX43" fmla="*/ 421600 w 1141507"/>
                <a:gd name="connsiteY43" fmla="*/ 2222980 h 3383919"/>
                <a:gd name="connsiteX44" fmla="*/ 563950 w 1141507"/>
                <a:gd name="connsiteY44" fmla="*/ 1983895 h 3383919"/>
                <a:gd name="connsiteX45" fmla="*/ 377263 w 1141507"/>
                <a:gd name="connsiteY45" fmla="*/ 1445204 h 3383919"/>
                <a:gd name="connsiteX46" fmla="*/ 128979 w 1141507"/>
                <a:gd name="connsiteY46" fmla="*/ 1213526 h 3383919"/>
                <a:gd name="connsiteX47" fmla="*/ 120112 w 1141507"/>
                <a:gd name="connsiteY47" fmla="*/ 1097687 h 3383919"/>
                <a:gd name="connsiteX48" fmla="*/ 0 w 1141507"/>
                <a:gd name="connsiteY48"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529343 w 1141507"/>
                <a:gd name="connsiteY5" fmla="*/ 566372 h 3383919"/>
                <a:gd name="connsiteX6" fmla="*/ 781507 w 1141507"/>
                <a:gd name="connsiteY6" fmla="*/ 669800 h 3383919"/>
                <a:gd name="connsiteX7" fmla="*/ 837480 w 1141507"/>
                <a:gd name="connsiteY7" fmla="*/ 600499 h 3383919"/>
                <a:gd name="connsiteX8" fmla="*/ 853553 w 1141507"/>
                <a:gd name="connsiteY8" fmla="*/ 535344 h 3383919"/>
                <a:gd name="connsiteX9" fmla="*/ 859095 w 1141507"/>
                <a:gd name="connsiteY9" fmla="*/ 501730 h 3383919"/>
                <a:gd name="connsiteX10" fmla="*/ 889577 w 1141507"/>
                <a:gd name="connsiteY10" fmla="*/ 416402 h 3383919"/>
                <a:gd name="connsiteX11" fmla="*/ 899552 w 1141507"/>
                <a:gd name="connsiteY11" fmla="*/ 382784 h 3383919"/>
                <a:gd name="connsiteX12" fmla="*/ 906203 w 1141507"/>
                <a:gd name="connsiteY12" fmla="*/ 364688 h 3383919"/>
                <a:gd name="connsiteX13" fmla="*/ 909140 w 1141507"/>
                <a:gd name="connsiteY13" fmla="*/ 333358 h 3383919"/>
                <a:gd name="connsiteX14" fmla="*/ 828614 w 1141507"/>
                <a:gd name="connsiteY14" fmla="*/ 287118 h 3383919"/>
                <a:gd name="connsiteX15" fmla="*/ 814759 w 1141507"/>
                <a:gd name="connsiteY15" fmla="*/ 214718 h 3383919"/>
                <a:gd name="connsiteX16" fmla="*/ 814759 w 1141507"/>
                <a:gd name="connsiteY16" fmla="*/ 196618 h 3383919"/>
                <a:gd name="connsiteX17" fmla="*/ 825842 w 1141507"/>
                <a:gd name="connsiteY17" fmla="*/ 173346 h 3383919"/>
                <a:gd name="connsiteX18" fmla="*/ 828614 w 1141507"/>
                <a:gd name="connsiteY18" fmla="*/ 157832 h 3383919"/>
                <a:gd name="connsiteX19" fmla="*/ 842469 w 1141507"/>
                <a:gd name="connsiteY19" fmla="*/ 95776 h 3383919"/>
                <a:gd name="connsiteX20" fmla="*/ 820300 w 1141507"/>
                <a:gd name="connsiteY20" fmla="*/ 75091 h 3383919"/>
                <a:gd name="connsiteX21" fmla="*/ 778735 w 1141507"/>
                <a:gd name="connsiteY21" fmla="*/ 46648 h 3383919"/>
                <a:gd name="connsiteX22" fmla="*/ 774567 w 1141507"/>
                <a:gd name="connsiteY22" fmla="*/ 22395 h 3383919"/>
                <a:gd name="connsiteX23" fmla="*/ 825843 w 1141507"/>
                <a:gd name="connsiteY23" fmla="*/ 104 h 3383919"/>
                <a:gd name="connsiteX24" fmla="*/ 879423 w 1141507"/>
                <a:gd name="connsiteY24" fmla="*/ 9976 h 3383919"/>
                <a:gd name="connsiteX25" fmla="*/ 958207 w 1141507"/>
                <a:gd name="connsiteY25" fmla="*/ 21886 h 3383919"/>
                <a:gd name="connsiteX26" fmla="*/ 1042530 w 1141507"/>
                <a:gd name="connsiteY26" fmla="*/ 91245 h 3383919"/>
                <a:gd name="connsiteX27" fmla="*/ 1104665 w 1141507"/>
                <a:gd name="connsiteY27" fmla="*/ 167341 h 3383919"/>
                <a:gd name="connsiteX28" fmla="*/ 1003694 w 1141507"/>
                <a:gd name="connsiteY28" fmla="*/ 196335 h 3383919"/>
                <a:gd name="connsiteX29" fmla="*/ 988160 w 1141507"/>
                <a:gd name="connsiteY29" fmla="*/ 243442 h 3383919"/>
                <a:gd name="connsiteX30" fmla="*/ 1045830 w 1141507"/>
                <a:gd name="connsiteY30" fmla="*/ 327932 h 3383919"/>
                <a:gd name="connsiteX31" fmla="*/ 1081364 w 1141507"/>
                <a:gd name="connsiteY31" fmla="*/ 334034 h 3383919"/>
                <a:gd name="connsiteX32" fmla="*/ 1133984 w 1141507"/>
                <a:gd name="connsiteY32" fmla="*/ 340374 h 3383919"/>
                <a:gd name="connsiteX33" fmla="*/ 1129021 w 1141507"/>
                <a:gd name="connsiteY33" fmla="*/ 451149 h 3383919"/>
                <a:gd name="connsiteX34" fmla="*/ 1140090 w 1141507"/>
                <a:gd name="connsiteY34" fmla="*/ 782117 h 3383919"/>
                <a:gd name="connsiteX35" fmla="*/ 1131222 w 1141507"/>
                <a:gd name="connsiteY35" fmla="*/ 1584716 h 3383919"/>
                <a:gd name="connsiteX36" fmla="*/ 1140089 w 1141507"/>
                <a:gd name="connsiteY36" fmla="*/ 2039798 h 3383919"/>
                <a:gd name="connsiteX37" fmla="*/ 1113641 w 1141507"/>
                <a:gd name="connsiteY37" fmla="*/ 3349763 h 3383919"/>
                <a:gd name="connsiteX38" fmla="*/ 855214 w 1141507"/>
                <a:gd name="connsiteY38" fmla="*/ 3306168 h 3383919"/>
                <a:gd name="connsiteX39" fmla="*/ 686736 w 1141507"/>
                <a:gd name="connsiteY39" fmla="*/ 3239973 h 3383919"/>
                <a:gd name="connsiteX40" fmla="*/ 509390 w 1141507"/>
                <a:gd name="connsiteY40" fmla="*/ 3148957 h 3383919"/>
                <a:gd name="connsiteX41" fmla="*/ 411092 w 1141507"/>
                <a:gd name="connsiteY41" fmla="*/ 3068440 h 3383919"/>
                <a:gd name="connsiteX42" fmla="*/ 705354 w 1141507"/>
                <a:gd name="connsiteY42" fmla="*/ 2760804 h 3383919"/>
                <a:gd name="connsiteX43" fmla="*/ 421600 w 1141507"/>
                <a:gd name="connsiteY43" fmla="*/ 2222980 h 3383919"/>
                <a:gd name="connsiteX44" fmla="*/ 563950 w 1141507"/>
                <a:gd name="connsiteY44" fmla="*/ 1983895 h 3383919"/>
                <a:gd name="connsiteX45" fmla="*/ 377263 w 1141507"/>
                <a:gd name="connsiteY45" fmla="*/ 1445204 h 3383919"/>
                <a:gd name="connsiteX46" fmla="*/ 128979 w 1141507"/>
                <a:gd name="connsiteY46" fmla="*/ 1213526 h 3383919"/>
                <a:gd name="connsiteX47" fmla="*/ 120112 w 1141507"/>
                <a:gd name="connsiteY47" fmla="*/ 1097687 h 3383919"/>
                <a:gd name="connsiteX48" fmla="*/ 0 w 1141507"/>
                <a:gd name="connsiteY48"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526572 w 1141507"/>
                <a:gd name="connsiteY5" fmla="*/ 574130 h 3383919"/>
                <a:gd name="connsiteX6" fmla="*/ 781507 w 1141507"/>
                <a:gd name="connsiteY6" fmla="*/ 669800 h 3383919"/>
                <a:gd name="connsiteX7" fmla="*/ 837480 w 1141507"/>
                <a:gd name="connsiteY7" fmla="*/ 600499 h 3383919"/>
                <a:gd name="connsiteX8" fmla="*/ 853553 w 1141507"/>
                <a:gd name="connsiteY8" fmla="*/ 535344 h 3383919"/>
                <a:gd name="connsiteX9" fmla="*/ 859095 w 1141507"/>
                <a:gd name="connsiteY9" fmla="*/ 501730 h 3383919"/>
                <a:gd name="connsiteX10" fmla="*/ 889577 w 1141507"/>
                <a:gd name="connsiteY10" fmla="*/ 416402 h 3383919"/>
                <a:gd name="connsiteX11" fmla="*/ 899552 w 1141507"/>
                <a:gd name="connsiteY11" fmla="*/ 382784 h 3383919"/>
                <a:gd name="connsiteX12" fmla="*/ 906203 w 1141507"/>
                <a:gd name="connsiteY12" fmla="*/ 364688 h 3383919"/>
                <a:gd name="connsiteX13" fmla="*/ 909140 w 1141507"/>
                <a:gd name="connsiteY13" fmla="*/ 333358 h 3383919"/>
                <a:gd name="connsiteX14" fmla="*/ 828614 w 1141507"/>
                <a:gd name="connsiteY14" fmla="*/ 287118 h 3383919"/>
                <a:gd name="connsiteX15" fmla="*/ 814759 w 1141507"/>
                <a:gd name="connsiteY15" fmla="*/ 214718 h 3383919"/>
                <a:gd name="connsiteX16" fmla="*/ 814759 w 1141507"/>
                <a:gd name="connsiteY16" fmla="*/ 196618 h 3383919"/>
                <a:gd name="connsiteX17" fmla="*/ 825842 w 1141507"/>
                <a:gd name="connsiteY17" fmla="*/ 173346 h 3383919"/>
                <a:gd name="connsiteX18" fmla="*/ 828614 w 1141507"/>
                <a:gd name="connsiteY18" fmla="*/ 157832 h 3383919"/>
                <a:gd name="connsiteX19" fmla="*/ 842469 w 1141507"/>
                <a:gd name="connsiteY19" fmla="*/ 95776 h 3383919"/>
                <a:gd name="connsiteX20" fmla="*/ 820300 w 1141507"/>
                <a:gd name="connsiteY20" fmla="*/ 75091 h 3383919"/>
                <a:gd name="connsiteX21" fmla="*/ 778735 w 1141507"/>
                <a:gd name="connsiteY21" fmla="*/ 46648 h 3383919"/>
                <a:gd name="connsiteX22" fmla="*/ 774567 w 1141507"/>
                <a:gd name="connsiteY22" fmla="*/ 22395 h 3383919"/>
                <a:gd name="connsiteX23" fmla="*/ 825843 w 1141507"/>
                <a:gd name="connsiteY23" fmla="*/ 104 h 3383919"/>
                <a:gd name="connsiteX24" fmla="*/ 879423 w 1141507"/>
                <a:gd name="connsiteY24" fmla="*/ 9976 h 3383919"/>
                <a:gd name="connsiteX25" fmla="*/ 958207 w 1141507"/>
                <a:gd name="connsiteY25" fmla="*/ 21886 h 3383919"/>
                <a:gd name="connsiteX26" fmla="*/ 1042530 w 1141507"/>
                <a:gd name="connsiteY26" fmla="*/ 91245 h 3383919"/>
                <a:gd name="connsiteX27" fmla="*/ 1104665 w 1141507"/>
                <a:gd name="connsiteY27" fmla="*/ 167341 h 3383919"/>
                <a:gd name="connsiteX28" fmla="*/ 1003694 w 1141507"/>
                <a:gd name="connsiteY28" fmla="*/ 196335 h 3383919"/>
                <a:gd name="connsiteX29" fmla="*/ 988160 w 1141507"/>
                <a:gd name="connsiteY29" fmla="*/ 243442 h 3383919"/>
                <a:gd name="connsiteX30" fmla="*/ 1045830 w 1141507"/>
                <a:gd name="connsiteY30" fmla="*/ 327932 h 3383919"/>
                <a:gd name="connsiteX31" fmla="*/ 1081364 w 1141507"/>
                <a:gd name="connsiteY31" fmla="*/ 334034 h 3383919"/>
                <a:gd name="connsiteX32" fmla="*/ 1133984 w 1141507"/>
                <a:gd name="connsiteY32" fmla="*/ 340374 h 3383919"/>
                <a:gd name="connsiteX33" fmla="*/ 1129021 w 1141507"/>
                <a:gd name="connsiteY33" fmla="*/ 451149 h 3383919"/>
                <a:gd name="connsiteX34" fmla="*/ 1140090 w 1141507"/>
                <a:gd name="connsiteY34" fmla="*/ 782117 h 3383919"/>
                <a:gd name="connsiteX35" fmla="*/ 1131222 w 1141507"/>
                <a:gd name="connsiteY35" fmla="*/ 1584716 h 3383919"/>
                <a:gd name="connsiteX36" fmla="*/ 1140089 w 1141507"/>
                <a:gd name="connsiteY36" fmla="*/ 2039798 h 3383919"/>
                <a:gd name="connsiteX37" fmla="*/ 1113641 w 1141507"/>
                <a:gd name="connsiteY37" fmla="*/ 3349763 h 3383919"/>
                <a:gd name="connsiteX38" fmla="*/ 855214 w 1141507"/>
                <a:gd name="connsiteY38" fmla="*/ 3306168 h 3383919"/>
                <a:gd name="connsiteX39" fmla="*/ 686736 w 1141507"/>
                <a:gd name="connsiteY39" fmla="*/ 3239973 h 3383919"/>
                <a:gd name="connsiteX40" fmla="*/ 509390 w 1141507"/>
                <a:gd name="connsiteY40" fmla="*/ 3148957 h 3383919"/>
                <a:gd name="connsiteX41" fmla="*/ 411092 w 1141507"/>
                <a:gd name="connsiteY41" fmla="*/ 3068440 h 3383919"/>
                <a:gd name="connsiteX42" fmla="*/ 705354 w 1141507"/>
                <a:gd name="connsiteY42" fmla="*/ 2760804 h 3383919"/>
                <a:gd name="connsiteX43" fmla="*/ 421600 w 1141507"/>
                <a:gd name="connsiteY43" fmla="*/ 2222980 h 3383919"/>
                <a:gd name="connsiteX44" fmla="*/ 563950 w 1141507"/>
                <a:gd name="connsiteY44" fmla="*/ 1983895 h 3383919"/>
                <a:gd name="connsiteX45" fmla="*/ 377263 w 1141507"/>
                <a:gd name="connsiteY45" fmla="*/ 1445204 h 3383919"/>
                <a:gd name="connsiteX46" fmla="*/ 128979 w 1141507"/>
                <a:gd name="connsiteY46" fmla="*/ 1213526 h 3383919"/>
                <a:gd name="connsiteX47" fmla="*/ 120112 w 1141507"/>
                <a:gd name="connsiteY47" fmla="*/ 1097687 h 3383919"/>
                <a:gd name="connsiteX48" fmla="*/ 0 w 1141507"/>
                <a:gd name="connsiteY48"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526572 w 1141507"/>
                <a:gd name="connsiteY5" fmla="*/ 574130 h 3383919"/>
                <a:gd name="connsiteX6" fmla="*/ 590306 w 1141507"/>
                <a:gd name="connsiteY6" fmla="*/ 501730 h 3383919"/>
                <a:gd name="connsiteX7" fmla="*/ 837480 w 1141507"/>
                <a:gd name="connsiteY7" fmla="*/ 600499 h 3383919"/>
                <a:gd name="connsiteX8" fmla="*/ 853553 w 1141507"/>
                <a:gd name="connsiteY8" fmla="*/ 535344 h 3383919"/>
                <a:gd name="connsiteX9" fmla="*/ 859095 w 1141507"/>
                <a:gd name="connsiteY9" fmla="*/ 501730 h 3383919"/>
                <a:gd name="connsiteX10" fmla="*/ 889577 w 1141507"/>
                <a:gd name="connsiteY10" fmla="*/ 416402 h 3383919"/>
                <a:gd name="connsiteX11" fmla="*/ 899552 w 1141507"/>
                <a:gd name="connsiteY11" fmla="*/ 382784 h 3383919"/>
                <a:gd name="connsiteX12" fmla="*/ 906203 w 1141507"/>
                <a:gd name="connsiteY12" fmla="*/ 364688 h 3383919"/>
                <a:gd name="connsiteX13" fmla="*/ 909140 w 1141507"/>
                <a:gd name="connsiteY13" fmla="*/ 333358 h 3383919"/>
                <a:gd name="connsiteX14" fmla="*/ 828614 w 1141507"/>
                <a:gd name="connsiteY14" fmla="*/ 287118 h 3383919"/>
                <a:gd name="connsiteX15" fmla="*/ 814759 w 1141507"/>
                <a:gd name="connsiteY15" fmla="*/ 214718 h 3383919"/>
                <a:gd name="connsiteX16" fmla="*/ 814759 w 1141507"/>
                <a:gd name="connsiteY16" fmla="*/ 196618 h 3383919"/>
                <a:gd name="connsiteX17" fmla="*/ 825842 w 1141507"/>
                <a:gd name="connsiteY17" fmla="*/ 173346 h 3383919"/>
                <a:gd name="connsiteX18" fmla="*/ 828614 w 1141507"/>
                <a:gd name="connsiteY18" fmla="*/ 157832 h 3383919"/>
                <a:gd name="connsiteX19" fmla="*/ 842469 w 1141507"/>
                <a:gd name="connsiteY19" fmla="*/ 95776 h 3383919"/>
                <a:gd name="connsiteX20" fmla="*/ 820300 w 1141507"/>
                <a:gd name="connsiteY20" fmla="*/ 75091 h 3383919"/>
                <a:gd name="connsiteX21" fmla="*/ 778735 w 1141507"/>
                <a:gd name="connsiteY21" fmla="*/ 46648 h 3383919"/>
                <a:gd name="connsiteX22" fmla="*/ 774567 w 1141507"/>
                <a:gd name="connsiteY22" fmla="*/ 22395 h 3383919"/>
                <a:gd name="connsiteX23" fmla="*/ 825843 w 1141507"/>
                <a:gd name="connsiteY23" fmla="*/ 104 h 3383919"/>
                <a:gd name="connsiteX24" fmla="*/ 879423 w 1141507"/>
                <a:gd name="connsiteY24" fmla="*/ 9976 h 3383919"/>
                <a:gd name="connsiteX25" fmla="*/ 958207 w 1141507"/>
                <a:gd name="connsiteY25" fmla="*/ 21886 h 3383919"/>
                <a:gd name="connsiteX26" fmla="*/ 1042530 w 1141507"/>
                <a:gd name="connsiteY26" fmla="*/ 91245 h 3383919"/>
                <a:gd name="connsiteX27" fmla="*/ 1104665 w 1141507"/>
                <a:gd name="connsiteY27" fmla="*/ 167341 h 3383919"/>
                <a:gd name="connsiteX28" fmla="*/ 1003694 w 1141507"/>
                <a:gd name="connsiteY28" fmla="*/ 196335 h 3383919"/>
                <a:gd name="connsiteX29" fmla="*/ 988160 w 1141507"/>
                <a:gd name="connsiteY29" fmla="*/ 243442 h 3383919"/>
                <a:gd name="connsiteX30" fmla="*/ 1045830 w 1141507"/>
                <a:gd name="connsiteY30" fmla="*/ 327932 h 3383919"/>
                <a:gd name="connsiteX31" fmla="*/ 1081364 w 1141507"/>
                <a:gd name="connsiteY31" fmla="*/ 334034 h 3383919"/>
                <a:gd name="connsiteX32" fmla="*/ 1133984 w 1141507"/>
                <a:gd name="connsiteY32" fmla="*/ 340374 h 3383919"/>
                <a:gd name="connsiteX33" fmla="*/ 1129021 w 1141507"/>
                <a:gd name="connsiteY33" fmla="*/ 451149 h 3383919"/>
                <a:gd name="connsiteX34" fmla="*/ 1140090 w 1141507"/>
                <a:gd name="connsiteY34" fmla="*/ 782117 h 3383919"/>
                <a:gd name="connsiteX35" fmla="*/ 1131222 w 1141507"/>
                <a:gd name="connsiteY35" fmla="*/ 1584716 h 3383919"/>
                <a:gd name="connsiteX36" fmla="*/ 1140089 w 1141507"/>
                <a:gd name="connsiteY36" fmla="*/ 2039798 h 3383919"/>
                <a:gd name="connsiteX37" fmla="*/ 1113641 w 1141507"/>
                <a:gd name="connsiteY37" fmla="*/ 3349763 h 3383919"/>
                <a:gd name="connsiteX38" fmla="*/ 855214 w 1141507"/>
                <a:gd name="connsiteY38" fmla="*/ 3306168 h 3383919"/>
                <a:gd name="connsiteX39" fmla="*/ 686736 w 1141507"/>
                <a:gd name="connsiteY39" fmla="*/ 3239973 h 3383919"/>
                <a:gd name="connsiteX40" fmla="*/ 509390 w 1141507"/>
                <a:gd name="connsiteY40" fmla="*/ 3148957 h 3383919"/>
                <a:gd name="connsiteX41" fmla="*/ 411092 w 1141507"/>
                <a:gd name="connsiteY41" fmla="*/ 3068440 h 3383919"/>
                <a:gd name="connsiteX42" fmla="*/ 705354 w 1141507"/>
                <a:gd name="connsiteY42" fmla="*/ 2760804 h 3383919"/>
                <a:gd name="connsiteX43" fmla="*/ 421600 w 1141507"/>
                <a:gd name="connsiteY43" fmla="*/ 2222980 h 3383919"/>
                <a:gd name="connsiteX44" fmla="*/ 563950 w 1141507"/>
                <a:gd name="connsiteY44" fmla="*/ 1983895 h 3383919"/>
                <a:gd name="connsiteX45" fmla="*/ 377263 w 1141507"/>
                <a:gd name="connsiteY45" fmla="*/ 1445204 h 3383919"/>
                <a:gd name="connsiteX46" fmla="*/ 128979 w 1141507"/>
                <a:gd name="connsiteY46" fmla="*/ 1213526 h 3383919"/>
                <a:gd name="connsiteX47" fmla="*/ 120112 w 1141507"/>
                <a:gd name="connsiteY47" fmla="*/ 1097687 h 3383919"/>
                <a:gd name="connsiteX48" fmla="*/ 0 w 1141507"/>
                <a:gd name="connsiteY48"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526572 w 1141507"/>
                <a:gd name="connsiteY5" fmla="*/ 574130 h 3383919"/>
                <a:gd name="connsiteX6" fmla="*/ 590306 w 1141507"/>
                <a:gd name="connsiteY6" fmla="*/ 501730 h 3383919"/>
                <a:gd name="connsiteX7" fmla="*/ 837480 w 1141507"/>
                <a:gd name="connsiteY7" fmla="*/ 600499 h 3383919"/>
                <a:gd name="connsiteX8" fmla="*/ 853553 w 1141507"/>
                <a:gd name="connsiteY8" fmla="*/ 535344 h 3383919"/>
                <a:gd name="connsiteX9" fmla="*/ 859095 w 1141507"/>
                <a:gd name="connsiteY9" fmla="*/ 501730 h 3383919"/>
                <a:gd name="connsiteX10" fmla="*/ 889577 w 1141507"/>
                <a:gd name="connsiteY10" fmla="*/ 416402 h 3383919"/>
                <a:gd name="connsiteX11" fmla="*/ 899552 w 1141507"/>
                <a:gd name="connsiteY11" fmla="*/ 382784 h 3383919"/>
                <a:gd name="connsiteX12" fmla="*/ 906203 w 1141507"/>
                <a:gd name="connsiteY12" fmla="*/ 364688 h 3383919"/>
                <a:gd name="connsiteX13" fmla="*/ 909140 w 1141507"/>
                <a:gd name="connsiteY13" fmla="*/ 333358 h 3383919"/>
                <a:gd name="connsiteX14" fmla="*/ 828614 w 1141507"/>
                <a:gd name="connsiteY14" fmla="*/ 287118 h 3383919"/>
                <a:gd name="connsiteX15" fmla="*/ 814759 w 1141507"/>
                <a:gd name="connsiteY15" fmla="*/ 214718 h 3383919"/>
                <a:gd name="connsiteX16" fmla="*/ 814759 w 1141507"/>
                <a:gd name="connsiteY16" fmla="*/ 196618 h 3383919"/>
                <a:gd name="connsiteX17" fmla="*/ 825842 w 1141507"/>
                <a:gd name="connsiteY17" fmla="*/ 173346 h 3383919"/>
                <a:gd name="connsiteX18" fmla="*/ 828614 w 1141507"/>
                <a:gd name="connsiteY18" fmla="*/ 157832 h 3383919"/>
                <a:gd name="connsiteX19" fmla="*/ 842469 w 1141507"/>
                <a:gd name="connsiteY19" fmla="*/ 95776 h 3383919"/>
                <a:gd name="connsiteX20" fmla="*/ 820300 w 1141507"/>
                <a:gd name="connsiteY20" fmla="*/ 75091 h 3383919"/>
                <a:gd name="connsiteX21" fmla="*/ 778735 w 1141507"/>
                <a:gd name="connsiteY21" fmla="*/ 46648 h 3383919"/>
                <a:gd name="connsiteX22" fmla="*/ 774567 w 1141507"/>
                <a:gd name="connsiteY22" fmla="*/ 22395 h 3383919"/>
                <a:gd name="connsiteX23" fmla="*/ 825843 w 1141507"/>
                <a:gd name="connsiteY23" fmla="*/ 104 h 3383919"/>
                <a:gd name="connsiteX24" fmla="*/ 879423 w 1141507"/>
                <a:gd name="connsiteY24" fmla="*/ 9976 h 3383919"/>
                <a:gd name="connsiteX25" fmla="*/ 958207 w 1141507"/>
                <a:gd name="connsiteY25" fmla="*/ 21886 h 3383919"/>
                <a:gd name="connsiteX26" fmla="*/ 1042530 w 1141507"/>
                <a:gd name="connsiteY26" fmla="*/ 91245 h 3383919"/>
                <a:gd name="connsiteX27" fmla="*/ 1104665 w 1141507"/>
                <a:gd name="connsiteY27" fmla="*/ 167341 h 3383919"/>
                <a:gd name="connsiteX28" fmla="*/ 1003694 w 1141507"/>
                <a:gd name="connsiteY28" fmla="*/ 196335 h 3383919"/>
                <a:gd name="connsiteX29" fmla="*/ 988160 w 1141507"/>
                <a:gd name="connsiteY29" fmla="*/ 243442 h 3383919"/>
                <a:gd name="connsiteX30" fmla="*/ 1045830 w 1141507"/>
                <a:gd name="connsiteY30" fmla="*/ 327932 h 3383919"/>
                <a:gd name="connsiteX31" fmla="*/ 1081364 w 1141507"/>
                <a:gd name="connsiteY31" fmla="*/ 334034 h 3383919"/>
                <a:gd name="connsiteX32" fmla="*/ 1133984 w 1141507"/>
                <a:gd name="connsiteY32" fmla="*/ 340374 h 3383919"/>
                <a:gd name="connsiteX33" fmla="*/ 1129021 w 1141507"/>
                <a:gd name="connsiteY33" fmla="*/ 451149 h 3383919"/>
                <a:gd name="connsiteX34" fmla="*/ 1140090 w 1141507"/>
                <a:gd name="connsiteY34" fmla="*/ 782117 h 3383919"/>
                <a:gd name="connsiteX35" fmla="*/ 1131222 w 1141507"/>
                <a:gd name="connsiteY35" fmla="*/ 1584716 h 3383919"/>
                <a:gd name="connsiteX36" fmla="*/ 1140089 w 1141507"/>
                <a:gd name="connsiteY36" fmla="*/ 2039798 h 3383919"/>
                <a:gd name="connsiteX37" fmla="*/ 1113641 w 1141507"/>
                <a:gd name="connsiteY37" fmla="*/ 3349763 h 3383919"/>
                <a:gd name="connsiteX38" fmla="*/ 855214 w 1141507"/>
                <a:gd name="connsiteY38" fmla="*/ 3306168 h 3383919"/>
                <a:gd name="connsiteX39" fmla="*/ 686736 w 1141507"/>
                <a:gd name="connsiteY39" fmla="*/ 3239973 h 3383919"/>
                <a:gd name="connsiteX40" fmla="*/ 509390 w 1141507"/>
                <a:gd name="connsiteY40" fmla="*/ 3148957 h 3383919"/>
                <a:gd name="connsiteX41" fmla="*/ 411092 w 1141507"/>
                <a:gd name="connsiteY41" fmla="*/ 3068440 h 3383919"/>
                <a:gd name="connsiteX42" fmla="*/ 705354 w 1141507"/>
                <a:gd name="connsiteY42" fmla="*/ 2760804 h 3383919"/>
                <a:gd name="connsiteX43" fmla="*/ 421600 w 1141507"/>
                <a:gd name="connsiteY43" fmla="*/ 2222980 h 3383919"/>
                <a:gd name="connsiteX44" fmla="*/ 563950 w 1141507"/>
                <a:gd name="connsiteY44" fmla="*/ 1983895 h 3383919"/>
                <a:gd name="connsiteX45" fmla="*/ 377263 w 1141507"/>
                <a:gd name="connsiteY45" fmla="*/ 1445204 h 3383919"/>
                <a:gd name="connsiteX46" fmla="*/ 128979 w 1141507"/>
                <a:gd name="connsiteY46" fmla="*/ 1213526 h 3383919"/>
                <a:gd name="connsiteX47" fmla="*/ 120112 w 1141507"/>
                <a:gd name="connsiteY47" fmla="*/ 1097687 h 3383919"/>
                <a:gd name="connsiteX48" fmla="*/ 0 w 1141507"/>
                <a:gd name="connsiteY48"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526572 w 1141507"/>
                <a:gd name="connsiteY5" fmla="*/ 574130 h 3383919"/>
                <a:gd name="connsiteX6" fmla="*/ 551511 w 1141507"/>
                <a:gd name="connsiteY6" fmla="*/ 548272 h 3383919"/>
                <a:gd name="connsiteX7" fmla="*/ 590306 w 1141507"/>
                <a:gd name="connsiteY7" fmla="*/ 501730 h 3383919"/>
                <a:gd name="connsiteX8" fmla="*/ 837480 w 1141507"/>
                <a:gd name="connsiteY8" fmla="*/ 600499 h 3383919"/>
                <a:gd name="connsiteX9" fmla="*/ 853553 w 1141507"/>
                <a:gd name="connsiteY9" fmla="*/ 535344 h 3383919"/>
                <a:gd name="connsiteX10" fmla="*/ 859095 w 1141507"/>
                <a:gd name="connsiteY10" fmla="*/ 501730 h 3383919"/>
                <a:gd name="connsiteX11" fmla="*/ 889577 w 1141507"/>
                <a:gd name="connsiteY11" fmla="*/ 416402 h 3383919"/>
                <a:gd name="connsiteX12" fmla="*/ 899552 w 1141507"/>
                <a:gd name="connsiteY12" fmla="*/ 382784 h 3383919"/>
                <a:gd name="connsiteX13" fmla="*/ 906203 w 1141507"/>
                <a:gd name="connsiteY13" fmla="*/ 364688 h 3383919"/>
                <a:gd name="connsiteX14" fmla="*/ 909140 w 1141507"/>
                <a:gd name="connsiteY14" fmla="*/ 333358 h 3383919"/>
                <a:gd name="connsiteX15" fmla="*/ 828614 w 1141507"/>
                <a:gd name="connsiteY15" fmla="*/ 287118 h 3383919"/>
                <a:gd name="connsiteX16" fmla="*/ 814759 w 1141507"/>
                <a:gd name="connsiteY16" fmla="*/ 214718 h 3383919"/>
                <a:gd name="connsiteX17" fmla="*/ 814759 w 1141507"/>
                <a:gd name="connsiteY17" fmla="*/ 196618 h 3383919"/>
                <a:gd name="connsiteX18" fmla="*/ 825842 w 1141507"/>
                <a:gd name="connsiteY18" fmla="*/ 173346 h 3383919"/>
                <a:gd name="connsiteX19" fmla="*/ 828614 w 1141507"/>
                <a:gd name="connsiteY19" fmla="*/ 157832 h 3383919"/>
                <a:gd name="connsiteX20" fmla="*/ 842469 w 1141507"/>
                <a:gd name="connsiteY20" fmla="*/ 95776 h 3383919"/>
                <a:gd name="connsiteX21" fmla="*/ 820300 w 1141507"/>
                <a:gd name="connsiteY21" fmla="*/ 75091 h 3383919"/>
                <a:gd name="connsiteX22" fmla="*/ 778735 w 1141507"/>
                <a:gd name="connsiteY22" fmla="*/ 46648 h 3383919"/>
                <a:gd name="connsiteX23" fmla="*/ 774567 w 1141507"/>
                <a:gd name="connsiteY23" fmla="*/ 22395 h 3383919"/>
                <a:gd name="connsiteX24" fmla="*/ 825843 w 1141507"/>
                <a:gd name="connsiteY24" fmla="*/ 104 h 3383919"/>
                <a:gd name="connsiteX25" fmla="*/ 879423 w 1141507"/>
                <a:gd name="connsiteY25" fmla="*/ 9976 h 3383919"/>
                <a:gd name="connsiteX26" fmla="*/ 958207 w 1141507"/>
                <a:gd name="connsiteY26" fmla="*/ 21886 h 3383919"/>
                <a:gd name="connsiteX27" fmla="*/ 1042530 w 1141507"/>
                <a:gd name="connsiteY27" fmla="*/ 91245 h 3383919"/>
                <a:gd name="connsiteX28" fmla="*/ 1104665 w 1141507"/>
                <a:gd name="connsiteY28" fmla="*/ 167341 h 3383919"/>
                <a:gd name="connsiteX29" fmla="*/ 1003694 w 1141507"/>
                <a:gd name="connsiteY29" fmla="*/ 196335 h 3383919"/>
                <a:gd name="connsiteX30" fmla="*/ 988160 w 1141507"/>
                <a:gd name="connsiteY30" fmla="*/ 243442 h 3383919"/>
                <a:gd name="connsiteX31" fmla="*/ 1045830 w 1141507"/>
                <a:gd name="connsiteY31" fmla="*/ 327932 h 3383919"/>
                <a:gd name="connsiteX32" fmla="*/ 1081364 w 1141507"/>
                <a:gd name="connsiteY32" fmla="*/ 334034 h 3383919"/>
                <a:gd name="connsiteX33" fmla="*/ 1133984 w 1141507"/>
                <a:gd name="connsiteY33" fmla="*/ 340374 h 3383919"/>
                <a:gd name="connsiteX34" fmla="*/ 1129021 w 1141507"/>
                <a:gd name="connsiteY34" fmla="*/ 451149 h 3383919"/>
                <a:gd name="connsiteX35" fmla="*/ 1140090 w 1141507"/>
                <a:gd name="connsiteY35" fmla="*/ 782117 h 3383919"/>
                <a:gd name="connsiteX36" fmla="*/ 1131222 w 1141507"/>
                <a:gd name="connsiteY36" fmla="*/ 1584716 h 3383919"/>
                <a:gd name="connsiteX37" fmla="*/ 1140089 w 1141507"/>
                <a:gd name="connsiteY37" fmla="*/ 2039798 h 3383919"/>
                <a:gd name="connsiteX38" fmla="*/ 1113641 w 1141507"/>
                <a:gd name="connsiteY38" fmla="*/ 3349763 h 3383919"/>
                <a:gd name="connsiteX39" fmla="*/ 855214 w 1141507"/>
                <a:gd name="connsiteY39" fmla="*/ 3306168 h 3383919"/>
                <a:gd name="connsiteX40" fmla="*/ 686736 w 1141507"/>
                <a:gd name="connsiteY40" fmla="*/ 3239973 h 3383919"/>
                <a:gd name="connsiteX41" fmla="*/ 509390 w 1141507"/>
                <a:gd name="connsiteY41" fmla="*/ 3148957 h 3383919"/>
                <a:gd name="connsiteX42" fmla="*/ 411092 w 1141507"/>
                <a:gd name="connsiteY42" fmla="*/ 3068440 h 3383919"/>
                <a:gd name="connsiteX43" fmla="*/ 705354 w 1141507"/>
                <a:gd name="connsiteY43" fmla="*/ 2760804 h 3383919"/>
                <a:gd name="connsiteX44" fmla="*/ 421600 w 1141507"/>
                <a:gd name="connsiteY44" fmla="*/ 2222980 h 3383919"/>
                <a:gd name="connsiteX45" fmla="*/ 563950 w 1141507"/>
                <a:gd name="connsiteY45" fmla="*/ 1983895 h 3383919"/>
                <a:gd name="connsiteX46" fmla="*/ 377263 w 1141507"/>
                <a:gd name="connsiteY46" fmla="*/ 1445204 h 3383919"/>
                <a:gd name="connsiteX47" fmla="*/ 128979 w 1141507"/>
                <a:gd name="connsiteY47" fmla="*/ 1213526 h 3383919"/>
                <a:gd name="connsiteX48" fmla="*/ 120112 w 1141507"/>
                <a:gd name="connsiteY48" fmla="*/ 1097687 h 3383919"/>
                <a:gd name="connsiteX49" fmla="*/ 0 w 1141507"/>
                <a:gd name="connsiteY49"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526572 w 1141507"/>
                <a:gd name="connsiteY5" fmla="*/ 574130 h 3383919"/>
                <a:gd name="connsiteX6" fmla="*/ 551511 w 1141507"/>
                <a:gd name="connsiteY6" fmla="*/ 548272 h 3383919"/>
                <a:gd name="connsiteX7" fmla="*/ 601390 w 1141507"/>
                <a:gd name="connsiteY7" fmla="*/ 512073 h 3383919"/>
                <a:gd name="connsiteX8" fmla="*/ 837480 w 1141507"/>
                <a:gd name="connsiteY8" fmla="*/ 600499 h 3383919"/>
                <a:gd name="connsiteX9" fmla="*/ 853553 w 1141507"/>
                <a:gd name="connsiteY9" fmla="*/ 535344 h 3383919"/>
                <a:gd name="connsiteX10" fmla="*/ 859095 w 1141507"/>
                <a:gd name="connsiteY10" fmla="*/ 501730 h 3383919"/>
                <a:gd name="connsiteX11" fmla="*/ 889577 w 1141507"/>
                <a:gd name="connsiteY11" fmla="*/ 416402 h 3383919"/>
                <a:gd name="connsiteX12" fmla="*/ 899552 w 1141507"/>
                <a:gd name="connsiteY12" fmla="*/ 382784 h 3383919"/>
                <a:gd name="connsiteX13" fmla="*/ 906203 w 1141507"/>
                <a:gd name="connsiteY13" fmla="*/ 364688 h 3383919"/>
                <a:gd name="connsiteX14" fmla="*/ 909140 w 1141507"/>
                <a:gd name="connsiteY14" fmla="*/ 333358 h 3383919"/>
                <a:gd name="connsiteX15" fmla="*/ 828614 w 1141507"/>
                <a:gd name="connsiteY15" fmla="*/ 287118 h 3383919"/>
                <a:gd name="connsiteX16" fmla="*/ 814759 w 1141507"/>
                <a:gd name="connsiteY16" fmla="*/ 214718 h 3383919"/>
                <a:gd name="connsiteX17" fmla="*/ 814759 w 1141507"/>
                <a:gd name="connsiteY17" fmla="*/ 196618 h 3383919"/>
                <a:gd name="connsiteX18" fmla="*/ 825842 w 1141507"/>
                <a:gd name="connsiteY18" fmla="*/ 173346 h 3383919"/>
                <a:gd name="connsiteX19" fmla="*/ 828614 w 1141507"/>
                <a:gd name="connsiteY19" fmla="*/ 157832 h 3383919"/>
                <a:gd name="connsiteX20" fmla="*/ 842469 w 1141507"/>
                <a:gd name="connsiteY20" fmla="*/ 95776 h 3383919"/>
                <a:gd name="connsiteX21" fmla="*/ 820300 w 1141507"/>
                <a:gd name="connsiteY21" fmla="*/ 75091 h 3383919"/>
                <a:gd name="connsiteX22" fmla="*/ 778735 w 1141507"/>
                <a:gd name="connsiteY22" fmla="*/ 46648 h 3383919"/>
                <a:gd name="connsiteX23" fmla="*/ 774567 w 1141507"/>
                <a:gd name="connsiteY23" fmla="*/ 22395 h 3383919"/>
                <a:gd name="connsiteX24" fmla="*/ 825843 w 1141507"/>
                <a:gd name="connsiteY24" fmla="*/ 104 h 3383919"/>
                <a:gd name="connsiteX25" fmla="*/ 879423 w 1141507"/>
                <a:gd name="connsiteY25" fmla="*/ 9976 h 3383919"/>
                <a:gd name="connsiteX26" fmla="*/ 958207 w 1141507"/>
                <a:gd name="connsiteY26" fmla="*/ 21886 h 3383919"/>
                <a:gd name="connsiteX27" fmla="*/ 1042530 w 1141507"/>
                <a:gd name="connsiteY27" fmla="*/ 91245 h 3383919"/>
                <a:gd name="connsiteX28" fmla="*/ 1104665 w 1141507"/>
                <a:gd name="connsiteY28" fmla="*/ 167341 h 3383919"/>
                <a:gd name="connsiteX29" fmla="*/ 1003694 w 1141507"/>
                <a:gd name="connsiteY29" fmla="*/ 196335 h 3383919"/>
                <a:gd name="connsiteX30" fmla="*/ 988160 w 1141507"/>
                <a:gd name="connsiteY30" fmla="*/ 243442 h 3383919"/>
                <a:gd name="connsiteX31" fmla="*/ 1045830 w 1141507"/>
                <a:gd name="connsiteY31" fmla="*/ 327932 h 3383919"/>
                <a:gd name="connsiteX32" fmla="*/ 1081364 w 1141507"/>
                <a:gd name="connsiteY32" fmla="*/ 334034 h 3383919"/>
                <a:gd name="connsiteX33" fmla="*/ 1133984 w 1141507"/>
                <a:gd name="connsiteY33" fmla="*/ 340374 h 3383919"/>
                <a:gd name="connsiteX34" fmla="*/ 1129021 w 1141507"/>
                <a:gd name="connsiteY34" fmla="*/ 451149 h 3383919"/>
                <a:gd name="connsiteX35" fmla="*/ 1140090 w 1141507"/>
                <a:gd name="connsiteY35" fmla="*/ 782117 h 3383919"/>
                <a:gd name="connsiteX36" fmla="*/ 1131222 w 1141507"/>
                <a:gd name="connsiteY36" fmla="*/ 1584716 h 3383919"/>
                <a:gd name="connsiteX37" fmla="*/ 1140089 w 1141507"/>
                <a:gd name="connsiteY37" fmla="*/ 2039798 h 3383919"/>
                <a:gd name="connsiteX38" fmla="*/ 1113641 w 1141507"/>
                <a:gd name="connsiteY38" fmla="*/ 3349763 h 3383919"/>
                <a:gd name="connsiteX39" fmla="*/ 855214 w 1141507"/>
                <a:gd name="connsiteY39" fmla="*/ 3306168 h 3383919"/>
                <a:gd name="connsiteX40" fmla="*/ 686736 w 1141507"/>
                <a:gd name="connsiteY40" fmla="*/ 3239973 h 3383919"/>
                <a:gd name="connsiteX41" fmla="*/ 509390 w 1141507"/>
                <a:gd name="connsiteY41" fmla="*/ 3148957 h 3383919"/>
                <a:gd name="connsiteX42" fmla="*/ 411092 w 1141507"/>
                <a:gd name="connsiteY42" fmla="*/ 3068440 h 3383919"/>
                <a:gd name="connsiteX43" fmla="*/ 705354 w 1141507"/>
                <a:gd name="connsiteY43" fmla="*/ 2760804 h 3383919"/>
                <a:gd name="connsiteX44" fmla="*/ 421600 w 1141507"/>
                <a:gd name="connsiteY44" fmla="*/ 2222980 h 3383919"/>
                <a:gd name="connsiteX45" fmla="*/ 563950 w 1141507"/>
                <a:gd name="connsiteY45" fmla="*/ 1983895 h 3383919"/>
                <a:gd name="connsiteX46" fmla="*/ 377263 w 1141507"/>
                <a:gd name="connsiteY46" fmla="*/ 1445204 h 3383919"/>
                <a:gd name="connsiteX47" fmla="*/ 128979 w 1141507"/>
                <a:gd name="connsiteY47" fmla="*/ 1213526 h 3383919"/>
                <a:gd name="connsiteX48" fmla="*/ 120112 w 1141507"/>
                <a:gd name="connsiteY48" fmla="*/ 1097687 h 3383919"/>
                <a:gd name="connsiteX49" fmla="*/ 0 w 1141507"/>
                <a:gd name="connsiteY49"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1511 w 1141507"/>
                <a:gd name="connsiteY7" fmla="*/ 548272 h 3383919"/>
                <a:gd name="connsiteX8" fmla="*/ 601390 w 1141507"/>
                <a:gd name="connsiteY8" fmla="*/ 512073 h 3383919"/>
                <a:gd name="connsiteX9" fmla="*/ 837480 w 1141507"/>
                <a:gd name="connsiteY9" fmla="*/ 600499 h 3383919"/>
                <a:gd name="connsiteX10" fmla="*/ 853553 w 1141507"/>
                <a:gd name="connsiteY10" fmla="*/ 535344 h 3383919"/>
                <a:gd name="connsiteX11" fmla="*/ 859095 w 1141507"/>
                <a:gd name="connsiteY11" fmla="*/ 501730 h 3383919"/>
                <a:gd name="connsiteX12" fmla="*/ 889577 w 1141507"/>
                <a:gd name="connsiteY12" fmla="*/ 416402 h 3383919"/>
                <a:gd name="connsiteX13" fmla="*/ 899552 w 1141507"/>
                <a:gd name="connsiteY13" fmla="*/ 382784 h 3383919"/>
                <a:gd name="connsiteX14" fmla="*/ 906203 w 1141507"/>
                <a:gd name="connsiteY14" fmla="*/ 364688 h 3383919"/>
                <a:gd name="connsiteX15" fmla="*/ 909140 w 1141507"/>
                <a:gd name="connsiteY15" fmla="*/ 333358 h 3383919"/>
                <a:gd name="connsiteX16" fmla="*/ 828614 w 1141507"/>
                <a:gd name="connsiteY16" fmla="*/ 287118 h 3383919"/>
                <a:gd name="connsiteX17" fmla="*/ 814759 w 1141507"/>
                <a:gd name="connsiteY17" fmla="*/ 214718 h 3383919"/>
                <a:gd name="connsiteX18" fmla="*/ 814759 w 1141507"/>
                <a:gd name="connsiteY18" fmla="*/ 196618 h 3383919"/>
                <a:gd name="connsiteX19" fmla="*/ 825842 w 1141507"/>
                <a:gd name="connsiteY19" fmla="*/ 173346 h 3383919"/>
                <a:gd name="connsiteX20" fmla="*/ 828614 w 1141507"/>
                <a:gd name="connsiteY20" fmla="*/ 157832 h 3383919"/>
                <a:gd name="connsiteX21" fmla="*/ 842469 w 1141507"/>
                <a:gd name="connsiteY21" fmla="*/ 95776 h 3383919"/>
                <a:gd name="connsiteX22" fmla="*/ 820300 w 1141507"/>
                <a:gd name="connsiteY22" fmla="*/ 75091 h 3383919"/>
                <a:gd name="connsiteX23" fmla="*/ 778735 w 1141507"/>
                <a:gd name="connsiteY23" fmla="*/ 46648 h 3383919"/>
                <a:gd name="connsiteX24" fmla="*/ 774567 w 1141507"/>
                <a:gd name="connsiteY24" fmla="*/ 22395 h 3383919"/>
                <a:gd name="connsiteX25" fmla="*/ 825843 w 1141507"/>
                <a:gd name="connsiteY25" fmla="*/ 104 h 3383919"/>
                <a:gd name="connsiteX26" fmla="*/ 879423 w 1141507"/>
                <a:gd name="connsiteY26" fmla="*/ 9976 h 3383919"/>
                <a:gd name="connsiteX27" fmla="*/ 958207 w 1141507"/>
                <a:gd name="connsiteY27" fmla="*/ 21886 h 3383919"/>
                <a:gd name="connsiteX28" fmla="*/ 1042530 w 1141507"/>
                <a:gd name="connsiteY28" fmla="*/ 91245 h 3383919"/>
                <a:gd name="connsiteX29" fmla="*/ 1104665 w 1141507"/>
                <a:gd name="connsiteY29" fmla="*/ 167341 h 3383919"/>
                <a:gd name="connsiteX30" fmla="*/ 1003694 w 1141507"/>
                <a:gd name="connsiteY30" fmla="*/ 196335 h 3383919"/>
                <a:gd name="connsiteX31" fmla="*/ 988160 w 1141507"/>
                <a:gd name="connsiteY31" fmla="*/ 243442 h 3383919"/>
                <a:gd name="connsiteX32" fmla="*/ 1045830 w 1141507"/>
                <a:gd name="connsiteY32" fmla="*/ 327932 h 3383919"/>
                <a:gd name="connsiteX33" fmla="*/ 1081364 w 1141507"/>
                <a:gd name="connsiteY33" fmla="*/ 334034 h 3383919"/>
                <a:gd name="connsiteX34" fmla="*/ 1133984 w 1141507"/>
                <a:gd name="connsiteY34" fmla="*/ 340374 h 3383919"/>
                <a:gd name="connsiteX35" fmla="*/ 1129021 w 1141507"/>
                <a:gd name="connsiteY35" fmla="*/ 451149 h 3383919"/>
                <a:gd name="connsiteX36" fmla="*/ 1140090 w 1141507"/>
                <a:gd name="connsiteY36" fmla="*/ 782117 h 3383919"/>
                <a:gd name="connsiteX37" fmla="*/ 1131222 w 1141507"/>
                <a:gd name="connsiteY37" fmla="*/ 1584716 h 3383919"/>
                <a:gd name="connsiteX38" fmla="*/ 1140089 w 1141507"/>
                <a:gd name="connsiteY38" fmla="*/ 2039798 h 3383919"/>
                <a:gd name="connsiteX39" fmla="*/ 1113641 w 1141507"/>
                <a:gd name="connsiteY39" fmla="*/ 3349763 h 3383919"/>
                <a:gd name="connsiteX40" fmla="*/ 855214 w 1141507"/>
                <a:gd name="connsiteY40" fmla="*/ 3306168 h 3383919"/>
                <a:gd name="connsiteX41" fmla="*/ 686736 w 1141507"/>
                <a:gd name="connsiteY41" fmla="*/ 3239973 h 3383919"/>
                <a:gd name="connsiteX42" fmla="*/ 509390 w 1141507"/>
                <a:gd name="connsiteY42" fmla="*/ 3148957 h 3383919"/>
                <a:gd name="connsiteX43" fmla="*/ 411092 w 1141507"/>
                <a:gd name="connsiteY43" fmla="*/ 3068440 h 3383919"/>
                <a:gd name="connsiteX44" fmla="*/ 705354 w 1141507"/>
                <a:gd name="connsiteY44" fmla="*/ 2760804 h 3383919"/>
                <a:gd name="connsiteX45" fmla="*/ 421600 w 1141507"/>
                <a:gd name="connsiteY45" fmla="*/ 2222980 h 3383919"/>
                <a:gd name="connsiteX46" fmla="*/ 563950 w 1141507"/>
                <a:gd name="connsiteY46" fmla="*/ 1983895 h 3383919"/>
                <a:gd name="connsiteX47" fmla="*/ 377263 w 1141507"/>
                <a:gd name="connsiteY47" fmla="*/ 1445204 h 3383919"/>
                <a:gd name="connsiteX48" fmla="*/ 128979 w 1141507"/>
                <a:gd name="connsiteY48" fmla="*/ 1213526 h 3383919"/>
                <a:gd name="connsiteX49" fmla="*/ 120112 w 1141507"/>
                <a:gd name="connsiteY49" fmla="*/ 1097687 h 3383919"/>
                <a:gd name="connsiteX50" fmla="*/ 0 w 1141507"/>
                <a:gd name="connsiteY50"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1511 w 1141507"/>
                <a:gd name="connsiteY7" fmla="*/ 548272 h 3383919"/>
                <a:gd name="connsiteX8" fmla="*/ 601390 w 1141507"/>
                <a:gd name="connsiteY8" fmla="*/ 512073 h 3383919"/>
                <a:gd name="connsiteX9" fmla="*/ 698929 w 1141507"/>
                <a:gd name="connsiteY9" fmla="*/ 427257 h 3383919"/>
                <a:gd name="connsiteX10" fmla="*/ 853553 w 1141507"/>
                <a:gd name="connsiteY10" fmla="*/ 535344 h 3383919"/>
                <a:gd name="connsiteX11" fmla="*/ 859095 w 1141507"/>
                <a:gd name="connsiteY11" fmla="*/ 501730 h 3383919"/>
                <a:gd name="connsiteX12" fmla="*/ 889577 w 1141507"/>
                <a:gd name="connsiteY12" fmla="*/ 416402 h 3383919"/>
                <a:gd name="connsiteX13" fmla="*/ 899552 w 1141507"/>
                <a:gd name="connsiteY13" fmla="*/ 382784 h 3383919"/>
                <a:gd name="connsiteX14" fmla="*/ 906203 w 1141507"/>
                <a:gd name="connsiteY14" fmla="*/ 364688 h 3383919"/>
                <a:gd name="connsiteX15" fmla="*/ 909140 w 1141507"/>
                <a:gd name="connsiteY15" fmla="*/ 333358 h 3383919"/>
                <a:gd name="connsiteX16" fmla="*/ 828614 w 1141507"/>
                <a:gd name="connsiteY16" fmla="*/ 287118 h 3383919"/>
                <a:gd name="connsiteX17" fmla="*/ 814759 w 1141507"/>
                <a:gd name="connsiteY17" fmla="*/ 214718 h 3383919"/>
                <a:gd name="connsiteX18" fmla="*/ 814759 w 1141507"/>
                <a:gd name="connsiteY18" fmla="*/ 196618 h 3383919"/>
                <a:gd name="connsiteX19" fmla="*/ 825842 w 1141507"/>
                <a:gd name="connsiteY19" fmla="*/ 173346 h 3383919"/>
                <a:gd name="connsiteX20" fmla="*/ 828614 w 1141507"/>
                <a:gd name="connsiteY20" fmla="*/ 157832 h 3383919"/>
                <a:gd name="connsiteX21" fmla="*/ 842469 w 1141507"/>
                <a:gd name="connsiteY21" fmla="*/ 95776 h 3383919"/>
                <a:gd name="connsiteX22" fmla="*/ 820300 w 1141507"/>
                <a:gd name="connsiteY22" fmla="*/ 75091 h 3383919"/>
                <a:gd name="connsiteX23" fmla="*/ 778735 w 1141507"/>
                <a:gd name="connsiteY23" fmla="*/ 46648 h 3383919"/>
                <a:gd name="connsiteX24" fmla="*/ 774567 w 1141507"/>
                <a:gd name="connsiteY24" fmla="*/ 22395 h 3383919"/>
                <a:gd name="connsiteX25" fmla="*/ 825843 w 1141507"/>
                <a:gd name="connsiteY25" fmla="*/ 104 h 3383919"/>
                <a:gd name="connsiteX26" fmla="*/ 879423 w 1141507"/>
                <a:gd name="connsiteY26" fmla="*/ 9976 h 3383919"/>
                <a:gd name="connsiteX27" fmla="*/ 958207 w 1141507"/>
                <a:gd name="connsiteY27" fmla="*/ 21886 h 3383919"/>
                <a:gd name="connsiteX28" fmla="*/ 1042530 w 1141507"/>
                <a:gd name="connsiteY28" fmla="*/ 91245 h 3383919"/>
                <a:gd name="connsiteX29" fmla="*/ 1104665 w 1141507"/>
                <a:gd name="connsiteY29" fmla="*/ 167341 h 3383919"/>
                <a:gd name="connsiteX30" fmla="*/ 1003694 w 1141507"/>
                <a:gd name="connsiteY30" fmla="*/ 196335 h 3383919"/>
                <a:gd name="connsiteX31" fmla="*/ 988160 w 1141507"/>
                <a:gd name="connsiteY31" fmla="*/ 243442 h 3383919"/>
                <a:gd name="connsiteX32" fmla="*/ 1045830 w 1141507"/>
                <a:gd name="connsiteY32" fmla="*/ 327932 h 3383919"/>
                <a:gd name="connsiteX33" fmla="*/ 1081364 w 1141507"/>
                <a:gd name="connsiteY33" fmla="*/ 334034 h 3383919"/>
                <a:gd name="connsiteX34" fmla="*/ 1133984 w 1141507"/>
                <a:gd name="connsiteY34" fmla="*/ 340374 h 3383919"/>
                <a:gd name="connsiteX35" fmla="*/ 1129021 w 1141507"/>
                <a:gd name="connsiteY35" fmla="*/ 451149 h 3383919"/>
                <a:gd name="connsiteX36" fmla="*/ 1140090 w 1141507"/>
                <a:gd name="connsiteY36" fmla="*/ 782117 h 3383919"/>
                <a:gd name="connsiteX37" fmla="*/ 1131222 w 1141507"/>
                <a:gd name="connsiteY37" fmla="*/ 1584716 h 3383919"/>
                <a:gd name="connsiteX38" fmla="*/ 1140089 w 1141507"/>
                <a:gd name="connsiteY38" fmla="*/ 2039798 h 3383919"/>
                <a:gd name="connsiteX39" fmla="*/ 1113641 w 1141507"/>
                <a:gd name="connsiteY39" fmla="*/ 3349763 h 3383919"/>
                <a:gd name="connsiteX40" fmla="*/ 855214 w 1141507"/>
                <a:gd name="connsiteY40" fmla="*/ 3306168 h 3383919"/>
                <a:gd name="connsiteX41" fmla="*/ 686736 w 1141507"/>
                <a:gd name="connsiteY41" fmla="*/ 3239973 h 3383919"/>
                <a:gd name="connsiteX42" fmla="*/ 509390 w 1141507"/>
                <a:gd name="connsiteY42" fmla="*/ 3148957 h 3383919"/>
                <a:gd name="connsiteX43" fmla="*/ 411092 w 1141507"/>
                <a:gd name="connsiteY43" fmla="*/ 3068440 h 3383919"/>
                <a:gd name="connsiteX44" fmla="*/ 705354 w 1141507"/>
                <a:gd name="connsiteY44" fmla="*/ 2760804 h 3383919"/>
                <a:gd name="connsiteX45" fmla="*/ 421600 w 1141507"/>
                <a:gd name="connsiteY45" fmla="*/ 2222980 h 3383919"/>
                <a:gd name="connsiteX46" fmla="*/ 563950 w 1141507"/>
                <a:gd name="connsiteY46" fmla="*/ 1983895 h 3383919"/>
                <a:gd name="connsiteX47" fmla="*/ 377263 w 1141507"/>
                <a:gd name="connsiteY47" fmla="*/ 1445204 h 3383919"/>
                <a:gd name="connsiteX48" fmla="*/ 128979 w 1141507"/>
                <a:gd name="connsiteY48" fmla="*/ 1213526 h 3383919"/>
                <a:gd name="connsiteX49" fmla="*/ 120112 w 1141507"/>
                <a:gd name="connsiteY49" fmla="*/ 1097687 h 3383919"/>
                <a:gd name="connsiteX50" fmla="*/ 0 w 1141507"/>
                <a:gd name="connsiteY50"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1511 w 1141507"/>
                <a:gd name="connsiteY7" fmla="*/ 548272 h 3383919"/>
                <a:gd name="connsiteX8" fmla="*/ 601390 w 1141507"/>
                <a:gd name="connsiteY8" fmla="*/ 512073 h 3383919"/>
                <a:gd name="connsiteX9" fmla="*/ 718325 w 1141507"/>
                <a:gd name="connsiteY9" fmla="*/ 450528 h 3383919"/>
                <a:gd name="connsiteX10" fmla="*/ 853553 w 1141507"/>
                <a:gd name="connsiteY10" fmla="*/ 535344 h 3383919"/>
                <a:gd name="connsiteX11" fmla="*/ 859095 w 1141507"/>
                <a:gd name="connsiteY11" fmla="*/ 501730 h 3383919"/>
                <a:gd name="connsiteX12" fmla="*/ 889577 w 1141507"/>
                <a:gd name="connsiteY12" fmla="*/ 416402 h 3383919"/>
                <a:gd name="connsiteX13" fmla="*/ 899552 w 1141507"/>
                <a:gd name="connsiteY13" fmla="*/ 382784 h 3383919"/>
                <a:gd name="connsiteX14" fmla="*/ 906203 w 1141507"/>
                <a:gd name="connsiteY14" fmla="*/ 364688 h 3383919"/>
                <a:gd name="connsiteX15" fmla="*/ 909140 w 1141507"/>
                <a:gd name="connsiteY15" fmla="*/ 333358 h 3383919"/>
                <a:gd name="connsiteX16" fmla="*/ 828614 w 1141507"/>
                <a:gd name="connsiteY16" fmla="*/ 287118 h 3383919"/>
                <a:gd name="connsiteX17" fmla="*/ 814759 w 1141507"/>
                <a:gd name="connsiteY17" fmla="*/ 214718 h 3383919"/>
                <a:gd name="connsiteX18" fmla="*/ 814759 w 1141507"/>
                <a:gd name="connsiteY18" fmla="*/ 196618 h 3383919"/>
                <a:gd name="connsiteX19" fmla="*/ 825842 w 1141507"/>
                <a:gd name="connsiteY19" fmla="*/ 173346 h 3383919"/>
                <a:gd name="connsiteX20" fmla="*/ 828614 w 1141507"/>
                <a:gd name="connsiteY20" fmla="*/ 157832 h 3383919"/>
                <a:gd name="connsiteX21" fmla="*/ 842469 w 1141507"/>
                <a:gd name="connsiteY21" fmla="*/ 95776 h 3383919"/>
                <a:gd name="connsiteX22" fmla="*/ 820300 w 1141507"/>
                <a:gd name="connsiteY22" fmla="*/ 75091 h 3383919"/>
                <a:gd name="connsiteX23" fmla="*/ 778735 w 1141507"/>
                <a:gd name="connsiteY23" fmla="*/ 46648 h 3383919"/>
                <a:gd name="connsiteX24" fmla="*/ 774567 w 1141507"/>
                <a:gd name="connsiteY24" fmla="*/ 22395 h 3383919"/>
                <a:gd name="connsiteX25" fmla="*/ 825843 w 1141507"/>
                <a:gd name="connsiteY25" fmla="*/ 104 h 3383919"/>
                <a:gd name="connsiteX26" fmla="*/ 879423 w 1141507"/>
                <a:gd name="connsiteY26" fmla="*/ 9976 h 3383919"/>
                <a:gd name="connsiteX27" fmla="*/ 958207 w 1141507"/>
                <a:gd name="connsiteY27" fmla="*/ 21886 h 3383919"/>
                <a:gd name="connsiteX28" fmla="*/ 1042530 w 1141507"/>
                <a:gd name="connsiteY28" fmla="*/ 91245 h 3383919"/>
                <a:gd name="connsiteX29" fmla="*/ 1104665 w 1141507"/>
                <a:gd name="connsiteY29" fmla="*/ 167341 h 3383919"/>
                <a:gd name="connsiteX30" fmla="*/ 1003694 w 1141507"/>
                <a:gd name="connsiteY30" fmla="*/ 196335 h 3383919"/>
                <a:gd name="connsiteX31" fmla="*/ 988160 w 1141507"/>
                <a:gd name="connsiteY31" fmla="*/ 243442 h 3383919"/>
                <a:gd name="connsiteX32" fmla="*/ 1045830 w 1141507"/>
                <a:gd name="connsiteY32" fmla="*/ 327932 h 3383919"/>
                <a:gd name="connsiteX33" fmla="*/ 1081364 w 1141507"/>
                <a:gd name="connsiteY33" fmla="*/ 334034 h 3383919"/>
                <a:gd name="connsiteX34" fmla="*/ 1133984 w 1141507"/>
                <a:gd name="connsiteY34" fmla="*/ 340374 h 3383919"/>
                <a:gd name="connsiteX35" fmla="*/ 1129021 w 1141507"/>
                <a:gd name="connsiteY35" fmla="*/ 451149 h 3383919"/>
                <a:gd name="connsiteX36" fmla="*/ 1140090 w 1141507"/>
                <a:gd name="connsiteY36" fmla="*/ 782117 h 3383919"/>
                <a:gd name="connsiteX37" fmla="*/ 1131222 w 1141507"/>
                <a:gd name="connsiteY37" fmla="*/ 1584716 h 3383919"/>
                <a:gd name="connsiteX38" fmla="*/ 1140089 w 1141507"/>
                <a:gd name="connsiteY38" fmla="*/ 2039798 h 3383919"/>
                <a:gd name="connsiteX39" fmla="*/ 1113641 w 1141507"/>
                <a:gd name="connsiteY39" fmla="*/ 3349763 h 3383919"/>
                <a:gd name="connsiteX40" fmla="*/ 855214 w 1141507"/>
                <a:gd name="connsiteY40" fmla="*/ 3306168 h 3383919"/>
                <a:gd name="connsiteX41" fmla="*/ 686736 w 1141507"/>
                <a:gd name="connsiteY41" fmla="*/ 3239973 h 3383919"/>
                <a:gd name="connsiteX42" fmla="*/ 509390 w 1141507"/>
                <a:gd name="connsiteY42" fmla="*/ 3148957 h 3383919"/>
                <a:gd name="connsiteX43" fmla="*/ 411092 w 1141507"/>
                <a:gd name="connsiteY43" fmla="*/ 3068440 h 3383919"/>
                <a:gd name="connsiteX44" fmla="*/ 705354 w 1141507"/>
                <a:gd name="connsiteY44" fmla="*/ 2760804 h 3383919"/>
                <a:gd name="connsiteX45" fmla="*/ 421600 w 1141507"/>
                <a:gd name="connsiteY45" fmla="*/ 2222980 h 3383919"/>
                <a:gd name="connsiteX46" fmla="*/ 563950 w 1141507"/>
                <a:gd name="connsiteY46" fmla="*/ 1983895 h 3383919"/>
                <a:gd name="connsiteX47" fmla="*/ 377263 w 1141507"/>
                <a:gd name="connsiteY47" fmla="*/ 1445204 h 3383919"/>
                <a:gd name="connsiteX48" fmla="*/ 128979 w 1141507"/>
                <a:gd name="connsiteY48" fmla="*/ 1213526 h 3383919"/>
                <a:gd name="connsiteX49" fmla="*/ 120112 w 1141507"/>
                <a:gd name="connsiteY49" fmla="*/ 1097687 h 3383919"/>
                <a:gd name="connsiteX50" fmla="*/ 0 w 1141507"/>
                <a:gd name="connsiteY50"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1511 w 1141507"/>
                <a:gd name="connsiteY7" fmla="*/ 548272 h 3383919"/>
                <a:gd name="connsiteX8" fmla="*/ 601390 w 1141507"/>
                <a:gd name="connsiteY8" fmla="*/ 512073 h 3383919"/>
                <a:gd name="connsiteX9" fmla="*/ 656810 w 1141507"/>
                <a:gd name="connsiteY9" fmla="*/ 537930 h 3383919"/>
                <a:gd name="connsiteX10" fmla="*/ 718325 w 1141507"/>
                <a:gd name="connsiteY10" fmla="*/ 450528 h 3383919"/>
                <a:gd name="connsiteX11" fmla="*/ 853553 w 1141507"/>
                <a:gd name="connsiteY11" fmla="*/ 535344 h 3383919"/>
                <a:gd name="connsiteX12" fmla="*/ 859095 w 1141507"/>
                <a:gd name="connsiteY12" fmla="*/ 501730 h 3383919"/>
                <a:gd name="connsiteX13" fmla="*/ 889577 w 1141507"/>
                <a:gd name="connsiteY13" fmla="*/ 416402 h 3383919"/>
                <a:gd name="connsiteX14" fmla="*/ 899552 w 1141507"/>
                <a:gd name="connsiteY14" fmla="*/ 382784 h 3383919"/>
                <a:gd name="connsiteX15" fmla="*/ 906203 w 1141507"/>
                <a:gd name="connsiteY15" fmla="*/ 364688 h 3383919"/>
                <a:gd name="connsiteX16" fmla="*/ 909140 w 1141507"/>
                <a:gd name="connsiteY16" fmla="*/ 333358 h 3383919"/>
                <a:gd name="connsiteX17" fmla="*/ 828614 w 1141507"/>
                <a:gd name="connsiteY17" fmla="*/ 287118 h 3383919"/>
                <a:gd name="connsiteX18" fmla="*/ 814759 w 1141507"/>
                <a:gd name="connsiteY18" fmla="*/ 214718 h 3383919"/>
                <a:gd name="connsiteX19" fmla="*/ 814759 w 1141507"/>
                <a:gd name="connsiteY19" fmla="*/ 196618 h 3383919"/>
                <a:gd name="connsiteX20" fmla="*/ 825842 w 1141507"/>
                <a:gd name="connsiteY20" fmla="*/ 173346 h 3383919"/>
                <a:gd name="connsiteX21" fmla="*/ 828614 w 1141507"/>
                <a:gd name="connsiteY21" fmla="*/ 157832 h 3383919"/>
                <a:gd name="connsiteX22" fmla="*/ 842469 w 1141507"/>
                <a:gd name="connsiteY22" fmla="*/ 95776 h 3383919"/>
                <a:gd name="connsiteX23" fmla="*/ 820300 w 1141507"/>
                <a:gd name="connsiteY23" fmla="*/ 75091 h 3383919"/>
                <a:gd name="connsiteX24" fmla="*/ 778735 w 1141507"/>
                <a:gd name="connsiteY24" fmla="*/ 46648 h 3383919"/>
                <a:gd name="connsiteX25" fmla="*/ 774567 w 1141507"/>
                <a:gd name="connsiteY25" fmla="*/ 22395 h 3383919"/>
                <a:gd name="connsiteX26" fmla="*/ 825843 w 1141507"/>
                <a:gd name="connsiteY26" fmla="*/ 104 h 3383919"/>
                <a:gd name="connsiteX27" fmla="*/ 879423 w 1141507"/>
                <a:gd name="connsiteY27" fmla="*/ 9976 h 3383919"/>
                <a:gd name="connsiteX28" fmla="*/ 958207 w 1141507"/>
                <a:gd name="connsiteY28" fmla="*/ 21886 h 3383919"/>
                <a:gd name="connsiteX29" fmla="*/ 1042530 w 1141507"/>
                <a:gd name="connsiteY29" fmla="*/ 91245 h 3383919"/>
                <a:gd name="connsiteX30" fmla="*/ 1104665 w 1141507"/>
                <a:gd name="connsiteY30" fmla="*/ 167341 h 3383919"/>
                <a:gd name="connsiteX31" fmla="*/ 1003694 w 1141507"/>
                <a:gd name="connsiteY31" fmla="*/ 196335 h 3383919"/>
                <a:gd name="connsiteX32" fmla="*/ 988160 w 1141507"/>
                <a:gd name="connsiteY32" fmla="*/ 243442 h 3383919"/>
                <a:gd name="connsiteX33" fmla="*/ 1045830 w 1141507"/>
                <a:gd name="connsiteY33" fmla="*/ 327932 h 3383919"/>
                <a:gd name="connsiteX34" fmla="*/ 1081364 w 1141507"/>
                <a:gd name="connsiteY34" fmla="*/ 334034 h 3383919"/>
                <a:gd name="connsiteX35" fmla="*/ 1133984 w 1141507"/>
                <a:gd name="connsiteY35" fmla="*/ 340374 h 3383919"/>
                <a:gd name="connsiteX36" fmla="*/ 1129021 w 1141507"/>
                <a:gd name="connsiteY36" fmla="*/ 451149 h 3383919"/>
                <a:gd name="connsiteX37" fmla="*/ 1140090 w 1141507"/>
                <a:gd name="connsiteY37" fmla="*/ 782117 h 3383919"/>
                <a:gd name="connsiteX38" fmla="*/ 1131222 w 1141507"/>
                <a:gd name="connsiteY38" fmla="*/ 1584716 h 3383919"/>
                <a:gd name="connsiteX39" fmla="*/ 1140089 w 1141507"/>
                <a:gd name="connsiteY39" fmla="*/ 2039798 h 3383919"/>
                <a:gd name="connsiteX40" fmla="*/ 1113641 w 1141507"/>
                <a:gd name="connsiteY40" fmla="*/ 3349763 h 3383919"/>
                <a:gd name="connsiteX41" fmla="*/ 855214 w 1141507"/>
                <a:gd name="connsiteY41" fmla="*/ 3306168 h 3383919"/>
                <a:gd name="connsiteX42" fmla="*/ 686736 w 1141507"/>
                <a:gd name="connsiteY42" fmla="*/ 3239973 h 3383919"/>
                <a:gd name="connsiteX43" fmla="*/ 509390 w 1141507"/>
                <a:gd name="connsiteY43" fmla="*/ 3148957 h 3383919"/>
                <a:gd name="connsiteX44" fmla="*/ 411092 w 1141507"/>
                <a:gd name="connsiteY44" fmla="*/ 3068440 h 3383919"/>
                <a:gd name="connsiteX45" fmla="*/ 705354 w 1141507"/>
                <a:gd name="connsiteY45" fmla="*/ 2760804 h 3383919"/>
                <a:gd name="connsiteX46" fmla="*/ 421600 w 1141507"/>
                <a:gd name="connsiteY46" fmla="*/ 2222980 h 3383919"/>
                <a:gd name="connsiteX47" fmla="*/ 563950 w 1141507"/>
                <a:gd name="connsiteY47" fmla="*/ 1983895 h 3383919"/>
                <a:gd name="connsiteX48" fmla="*/ 377263 w 1141507"/>
                <a:gd name="connsiteY48" fmla="*/ 1445204 h 3383919"/>
                <a:gd name="connsiteX49" fmla="*/ 128979 w 1141507"/>
                <a:gd name="connsiteY49" fmla="*/ 1213526 h 3383919"/>
                <a:gd name="connsiteX50" fmla="*/ 120112 w 1141507"/>
                <a:gd name="connsiteY50" fmla="*/ 1097687 h 3383919"/>
                <a:gd name="connsiteX51" fmla="*/ 0 w 1141507"/>
                <a:gd name="connsiteY51"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1511 w 1141507"/>
                <a:gd name="connsiteY7" fmla="*/ 548272 h 3383919"/>
                <a:gd name="connsiteX8" fmla="*/ 581992 w 1141507"/>
                <a:gd name="connsiteY8" fmla="*/ 496558 h 3383919"/>
                <a:gd name="connsiteX9" fmla="*/ 656810 w 1141507"/>
                <a:gd name="connsiteY9" fmla="*/ 537930 h 3383919"/>
                <a:gd name="connsiteX10" fmla="*/ 718325 w 1141507"/>
                <a:gd name="connsiteY10" fmla="*/ 450528 h 3383919"/>
                <a:gd name="connsiteX11" fmla="*/ 853553 w 1141507"/>
                <a:gd name="connsiteY11" fmla="*/ 535344 h 3383919"/>
                <a:gd name="connsiteX12" fmla="*/ 859095 w 1141507"/>
                <a:gd name="connsiteY12" fmla="*/ 501730 h 3383919"/>
                <a:gd name="connsiteX13" fmla="*/ 889577 w 1141507"/>
                <a:gd name="connsiteY13" fmla="*/ 416402 h 3383919"/>
                <a:gd name="connsiteX14" fmla="*/ 899552 w 1141507"/>
                <a:gd name="connsiteY14" fmla="*/ 382784 h 3383919"/>
                <a:gd name="connsiteX15" fmla="*/ 906203 w 1141507"/>
                <a:gd name="connsiteY15" fmla="*/ 364688 h 3383919"/>
                <a:gd name="connsiteX16" fmla="*/ 909140 w 1141507"/>
                <a:gd name="connsiteY16" fmla="*/ 333358 h 3383919"/>
                <a:gd name="connsiteX17" fmla="*/ 828614 w 1141507"/>
                <a:gd name="connsiteY17" fmla="*/ 287118 h 3383919"/>
                <a:gd name="connsiteX18" fmla="*/ 814759 w 1141507"/>
                <a:gd name="connsiteY18" fmla="*/ 214718 h 3383919"/>
                <a:gd name="connsiteX19" fmla="*/ 814759 w 1141507"/>
                <a:gd name="connsiteY19" fmla="*/ 196618 h 3383919"/>
                <a:gd name="connsiteX20" fmla="*/ 825842 w 1141507"/>
                <a:gd name="connsiteY20" fmla="*/ 173346 h 3383919"/>
                <a:gd name="connsiteX21" fmla="*/ 828614 w 1141507"/>
                <a:gd name="connsiteY21" fmla="*/ 157832 h 3383919"/>
                <a:gd name="connsiteX22" fmla="*/ 842469 w 1141507"/>
                <a:gd name="connsiteY22" fmla="*/ 95776 h 3383919"/>
                <a:gd name="connsiteX23" fmla="*/ 820300 w 1141507"/>
                <a:gd name="connsiteY23" fmla="*/ 75091 h 3383919"/>
                <a:gd name="connsiteX24" fmla="*/ 778735 w 1141507"/>
                <a:gd name="connsiteY24" fmla="*/ 46648 h 3383919"/>
                <a:gd name="connsiteX25" fmla="*/ 774567 w 1141507"/>
                <a:gd name="connsiteY25" fmla="*/ 22395 h 3383919"/>
                <a:gd name="connsiteX26" fmla="*/ 825843 w 1141507"/>
                <a:gd name="connsiteY26" fmla="*/ 104 h 3383919"/>
                <a:gd name="connsiteX27" fmla="*/ 879423 w 1141507"/>
                <a:gd name="connsiteY27" fmla="*/ 9976 h 3383919"/>
                <a:gd name="connsiteX28" fmla="*/ 958207 w 1141507"/>
                <a:gd name="connsiteY28" fmla="*/ 21886 h 3383919"/>
                <a:gd name="connsiteX29" fmla="*/ 1042530 w 1141507"/>
                <a:gd name="connsiteY29" fmla="*/ 91245 h 3383919"/>
                <a:gd name="connsiteX30" fmla="*/ 1104665 w 1141507"/>
                <a:gd name="connsiteY30" fmla="*/ 167341 h 3383919"/>
                <a:gd name="connsiteX31" fmla="*/ 1003694 w 1141507"/>
                <a:gd name="connsiteY31" fmla="*/ 196335 h 3383919"/>
                <a:gd name="connsiteX32" fmla="*/ 988160 w 1141507"/>
                <a:gd name="connsiteY32" fmla="*/ 243442 h 3383919"/>
                <a:gd name="connsiteX33" fmla="*/ 1045830 w 1141507"/>
                <a:gd name="connsiteY33" fmla="*/ 327932 h 3383919"/>
                <a:gd name="connsiteX34" fmla="*/ 1081364 w 1141507"/>
                <a:gd name="connsiteY34" fmla="*/ 334034 h 3383919"/>
                <a:gd name="connsiteX35" fmla="*/ 1133984 w 1141507"/>
                <a:gd name="connsiteY35" fmla="*/ 340374 h 3383919"/>
                <a:gd name="connsiteX36" fmla="*/ 1129021 w 1141507"/>
                <a:gd name="connsiteY36" fmla="*/ 451149 h 3383919"/>
                <a:gd name="connsiteX37" fmla="*/ 1140090 w 1141507"/>
                <a:gd name="connsiteY37" fmla="*/ 782117 h 3383919"/>
                <a:gd name="connsiteX38" fmla="*/ 1131222 w 1141507"/>
                <a:gd name="connsiteY38" fmla="*/ 1584716 h 3383919"/>
                <a:gd name="connsiteX39" fmla="*/ 1140089 w 1141507"/>
                <a:gd name="connsiteY39" fmla="*/ 2039798 h 3383919"/>
                <a:gd name="connsiteX40" fmla="*/ 1113641 w 1141507"/>
                <a:gd name="connsiteY40" fmla="*/ 3349763 h 3383919"/>
                <a:gd name="connsiteX41" fmla="*/ 855214 w 1141507"/>
                <a:gd name="connsiteY41" fmla="*/ 3306168 h 3383919"/>
                <a:gd name="connsiteX42" fmla="*/ 686736 w 1141507"/>
                <a:gd name="connsiteY42" fmla="*/ 3239973 h 3383919"/>
                <a:gd name="connsiteX43" fmla="*/ 509390 w 1141507"/>
                <a:gd name="connsiteY43" fmla="*/ 3148957 h 3383919"/>
                <a:gd name="connsiteX44" fmla="*/ 411092 w 1141507"/>
                <a:gd name="connsiteY44" fmla="*/ 3068440 h 3383919"/>
                <a:gd name="connsiteX45" fmla="*/ 705354 w 1141507"/>
                <a:gd name="connsiteY45" fmla="*/ 2760804 h 3383919"/>
                <a:gd name="connsiteX46" fmla="*/ 421600 w 1141507"/>
                <a:gd name="connsiteY46" fmla="*/ 2222980 h 3383919"/>
                <a:gd name="connsiteX47" fmla="*/ 563950 w 1141507"/>
                <a:gd name="connsiteY47" fmla="*/ 1983895 h 3383919"/>
                <a:gd name="connsiteX48" fmla="*/ 377263 w 1141507"/>
                <a:gd name="connsiteY48" fmla="*/ 1445204 h 3383919"/>
                <a:gd name="connsiteX49" fmla="*/ 128979 w 1141507"/>
                <a:gd name="connsiteY49" fmla="*/ 1213526 h 3383919"/>
                <a:gd name="connsiteX50" fmla="*/ 120112 w 1141507"/>
                <a:gd name="connsiteY50" fmla="*/ 1097687 h 3383919"/>
                <a:gd name="connsiteX51" fmla="*/ 0 w 1141507"/>
                <a:gd name="connsiteY51"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1511 w 1141507"/>
                <a:gd name="connsiteY7" fmla="*/ 548272 h 3383919"/>
                <a:gd name="connsiteX8" fmla="*/ 581992 w 1141507"/>
                <a:gd name="connsiteY8" fmla="*/ 509487 h 3383919"/>
                <a:gd name="connsiteX9" fmla="*/ 656810 w 1141507"/>
                <a:gd name="connsiteY9" fmla="*/ 537930 h 3383919"/>
                <a:gd name="connsiteX10" fmla="*/ 718325 w 1141507"/>
                <a:gd name="connsiteY10" fmla="*/ 450528 h 3383919"/>
                <a:gd name="connsiteX11" fmla="*/ 853553 w 1141507"/>
                <a:gd name="connsiteY11" fmla="*/ 535344 h 3383919"/>
                <a:gd name="connsiteX12" fmla="*/ 859095 w 1141507"/>
                <a:gd name="connsiteY12" fmla="*/ 501730 h 3383919"/>
                <a:gd name="connsiteX13" fmla="*/ 889577 w 1141507"/>
                <a:gd name="connsiteY13" fmla="*/ 416402 h 3383919"/>
                <a:gd name="connsiteX14" fmla="*/ 899552 w 1141507"/>
                <a:gd name="connsiteY14" fmla="*/ 382784 h 3383919"/>
                <a:gd name="connsiteX15" fmla="*/ 906203 w 1141507"/>
                <a:gd name="connsiteY15" fmla="*/ 364688 h 3383919"/>
                <a:gd name="connsiteX16" fmla="*/ 909140 w 1141507"/>
                <a:gd name="connsiteY16" fmla="*/ 333358 h 3383919"/>
                <a:gd name="connsiteX17" fmla="*/ 828614 w 1141507"/>
                <a:gd name="connsiteY17" fmla="*/ 287118 h 3383919"/>
                <a:gd name="connsiteX18" fmla="*/ 814759 w 1141507"/>
                <a:gd name="connsiteY18" fmla="*/ 214718 h 3383919"/>
                <a:gd name="connsiteX19" fmla="*/ 814759 w 1141507"/>
                <a:gd name="connsiteY19" fmla="*/ 196618 h 3383919"/>
                <a:gd name="connsiteX20" fmla="*/ 825842 w 1141507"/>
                <a:gd name="connsiteY20" fmla="*/ 173346 h 3383919"/>
                <a:gd name="connsiteX21" fmla="*/ 828614 w 1141507"/>
                <a:gd name="connsiteY21" fmla="*/ 157832 h 3383919"/>
                <a:gd name="connsiteX22" fmla="*/ 842469 w 1141507"/>
                <a:gd name="connsiteY22" fmla="*/ 95776 h 3383919"/>
                <a:gd name="connsiteX23" fmla="*/ 820300 w 1141507"/>
                <a:gd name="connsiteY23" fmla="*/ 75091 h 3383919"/>
                <a:gd name="connsiteX24" fmla="*/ 778735 w 1141507"/>
                <a:gd name="connsiteY24" fmla="*/ 46648 h 3383919"/>
                <a:gd name="connsiteX25" fmla="*/ 774567 w 1141507"/>
                <a:gd name="connsiteY25" fmla="*/ 22395 h 3383919"/>
                <a:gd name="connsiteX26" fmla="*/ 825843 w 1141507"/>
                <a:gd name="connsiteY26" fmla="*/ 104 h 3383919"/>
                <a:gd name="connsiteX27" fmla="*/ 879423 w 1141507"/>
                <a:gd name="connsiteY27" fmla="*/ 9976 h 3383919"/>
                <a:gd name="connsiteX28" fmla="*/ 958207 w 1141507"/>
                <a:gd name="connsiteY28" fmla="*/ 21886 h 3383919"/>
                <a:gd name="connsiteX29" fmla="*/ 1042530 w 1141507"/>
                <a:gd name="connsiteY29" fmla="*/ 91245 h 3383919"/>
                <a:gd name="connsiteX30" fmla="*/ 1104665 w 1141507"/>
                <a:gd name="connsiteY30" fmla="*/ 167341 h 3383919"/>
                <a:gd name="connsiteX31" fmla="*/ 1003694 w 1141507"/>
                <a:gd name="connsiteY31" fmla="*/ 196335 h 3383919"/>
                <a:gd name="connsiteX32" fmla="*/ 988160 w 1141507"/>
                <a:gd name="connsiteY32" fmla="*/ 243442 h 3383919"/>
                <a:gd name="connsiteX33" fmla="*/ 1045830 w 1141507"/>
                <a:gd name="connsiteY33" fmla="*/ 327932 h 3383919"/>
                <a:gd name="connsiteX34" fmla="*/ 1081364 w 1141507"/>
                <a:gd name="connsiteY34" fmla="*/ 334034 h 3383919"/>
                <a:gd name="connsiteX35" fmla="*/ 1133984 w 1141507"/>
                <a:gd name="connsiteY35" fmla="*/ 340374 h 3383919"/>
                <a:gd name="connsiteX36" fmla="*/ 1129021 w 1141507"/>
                <a:gd name="connsiteY36" fmla="*/ 451149 h 3383919"/>
                <a:gd name="connsiteX37" fmla="*/ 1140090 w 1141507"/>
                <a:gd name="connsiteY37" fmla="*/ 782117 h 3383919"/>
                <a:gd name="connsiteX38" fmla="*/ 1131222 w 1141507"/>
                <a:gd name="connsiteY38" fmla="*/ 1584716 h 3383919"/>
                <a:gd name="connsiteX39" fmla="*/ 1140089 w 1141507"/>
                <a:gd name="connsiteY39" fmla="*/ 2039798 h 3383919"/>
                <a:gd name="connsiteX40" fmla="*/ 1113641 w 1141507"/>
                <a:gd name="connsiteY40" fmla="*/ 3349763 h 3383919"/>
                <a:gd name="connsiteX41" fmla="*/ 855214 w 1141507"/>
                <a:gd name="connsiteY41" fmla="*/ 3306168 h 3383919"/>
                <a:gd name="connsiteX42" fmla="*/ 686736 w 1141507"/>
                <a:gd name="connsiteY42" fmla="*/ 3239973 h 3383919"/>
                <a:gd name="connsiteX43" fmla="*/ 509390 w 1141507"/>
                <a:gd name="connsiteY43" fmla="*/ 3148957 h 3383919"/>
                <a:gd name="connsiteX44" fmla="*/ 411092 w 1141507"/>
                <a:gd name="connsiteY44" fmla="*/ 3068440 h 3383919"/>
                <a:gd name="connsiteX45" fmla="*/ 705354 w 1141507"/>
                <a:gd name="connsiteY45" fmla="*/ 2760804 h 3383919"/>
                <a:gd name="connsiteX46" fmla="*/ 421600 w 1141507"/>
                <a:gd name="connsiteY46" fmla="*/ 2222980 h 3383919"/>
                <a:gd name="connsiteX47" fmla="*/ 563950 w 1141507"/>
                <a:gd name="connsiteY47" fmla="*/ 1983895 h 3383919"/>
                <a:gd name="connsiteX48" fmla="*/ 377263 w 1141507"/>
                <a:gd name="connsiteY48" fmla="*/ 1445204 h 3383919"/>
                <a:gd name="connsiteX49" fmla="*/ 128979 w 1141507"/>
                <a:gd name="connsiteY49" fmla="*/ 1213526 h 3383919"/>
                <a:gd name="connsiteX50" fmla="*/ 120112 w 1141507"/>
                <a:gd name="connsiteY50" fmla="*/ 1097687 h 3383919"/>
                <a:gd name="connsiteX51" fmla="*/ 0 w 1141507"/>
                <a:gd name="connsiteY51"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93075 w 1141507"/>
                <a:gd name="connsiteY7" fmla="*/ 576715 h 3383919"/>
                <a:gd name="connsiteX8" fmla="*/ 581992 w 1141507"/>
                <a:gd name="connsiteY8" fmla="*/ 509487 h 3383919"/>
                <a:gd name="connsiteX9" fmla="*/ 656810 w 1141507"/>
                <a:gd name="connsiteY9" fmla="*/ 537930 h 3383919"/>
                <a:gd name="connsiteX10" fmla="*/ 718325 w 1141507"/>
                <a:gd name="connsiteY10" fmla="*/ 450528 h 3383919"/>
                <a:gd name="connsiteX11" fmla="*/ 853553 w 1141507"/>
                <a:gd name="connsiteY11" fmla="*/ 535344 h 3383919"/>
                <a:gd name="connsiteX12" fmla="*/ 859095 w 1141507"/>
                <a:gd name="connsiteY12" fmla="*/ 501730 h 3383919"/>
                <a:gd name="connsiteX13" fmla="*/ 889577 w 1141507"/>
                <a:gd name="connsiteY13" fmla="*/ 416402 h 3383919"/>
                <a:gd name="connsiteX14" fmla="*/ 899552 w 1141507"/>
                <a:gd name="connsiteY14" fmla="*/ 382784 h 3383919"/>
                <a:gd name="connsiteX15" fmla="*/ 906203 w 1141507"/>
                <a:gd name="connsiteY15" fmla="*/ 364688 h 3383919"/>
                <a:gd name="connsiteX16" fmla="*/ 909140 w 1141507"/>
                <a:gd name="connsiteY16" fmla="*/ 333358 h 3383919"/>
                <a:gd name="connsiteX17" fmla="*/ 828614 w 1141507"/>
                <a:gd name="connsiteY17" fmla="*/ 287118 h 3383919"/>
                <a:gd name="connsiteX18" fmla="*/ 814759 w 1141507"/>
                <a:gd name="connsiteY18" fmla="*/ 214718 h 3383919"/>
                <a:gd name="connsiteX19" fmla="*/ 814759 w 1141507"/>
                <a:gd name="connsiteY19" fmla="*/ 196618 h 3383919"/>
                <a:gd name="connsiteX20" fmla="*/ 825842 w 1141507"/>
                <a:gd name="connsiteY20" fmla="*/ 173346 h 3383919"/>
                <a:gd name="connsiteX21" fmla="*/ 828614 w 1141507"/>
                <a:gd name="connsiteY21" fmla="*/ 157832 h 3383919"/>
                <a:gd name="connsiteX22" fmla="*/ 842469 w 1141507"/>
                <a:gd name="connsiteY22" fmla="*/ 95776 h 3383919"/>
                <a:gd name="connsiteX23" fmla="*/ 820300 w 1141507"/>
                <a:gd name="connsiteY23" fmla="*/ 75091 h 3383919"/>
                <a:gd name="connsiteX24" fmla="*/ 778735 w 1141507"/>
                <a:gd name="connsiteY24" fmla="*/ 46648 h 3383919"/>
                <a:gd name="connsiteX25" fmla="*/ 774567 w 1141507"/>
                <a:gd name="connsiteY25" fmla="*/ 22395 h 3383919"/>
                <a:gd name="connsiteX26" fmla="*/ 825843 w 1141507"/>
                <a:gd name="connsiteY26" fmla="*/ 104 h 3383919"/>
                <a:gd name="connsiteX27" fmla="*/ 879423 w 1141507"/>
                <a:gd name="connsiteY27" fmla="*/ 9976 h 3383919"/>
                <a:gd name="connsiteX28" fmla="*/ 958207 w 1141507"/>
                <a:gd name="connsiteY28" fmla="*/ 21886 h 3383919"/>
                <a:gd name="connsiteX29" fmla="*/ 1042530 w 1141507"/>
                <a:gd name="connsiteY29" fmla="*/ 91245 h 3383919"/>
                <a:gd name="connsiteX30" fmla="*/ 1104665 w 1141507"/>
                <a:gd name="connsiteY30" fmla="*/ 167341 h 3383919"/>
                <a:gd name="connsiteX31" fmla="*/ 1003694 w 1141507"/>
                <a:gd name="connsiteY31" fmla="*/ 196335 h 3383919"/>
                <a:gd name="connsiteX32" fmla="*/ 988160 w 1141507"/>
                <a:gd name="connsiteY32" fmla="*/ 243442 h 3383919"/>
                <a:gd name="connsiteX33" fmla="*/ 1045830 w 1141507"/>
                <a:gd name="connsiteY33" fmla="*/ 327932 h 3383919"/>
                <a:gd name="connsiteX34" fmla="*/ 1081364 w 1141507"/>
                <a:gd name="connsiteY34" fmla="*/ 334034 h 3383919"/>
                <a:gd name="connsiteX35" fmla="*/ 1133984 w 1141507"/>
                <a:gd name="connsiteY35" fmla="*/ 340374 h 3383919"/>
                <a:gd name="connsiteX36" fmla="*/ 1129021 w 1141507"/>
                <a:gd name="connsiteY36" fmla="*/ 451149 h 3383919"/>
                <a:gd name="connsiteX37" fmla="*/ 1140090 w 1141507"/>
                <a:gd name="connsiteY37" fmla="*/ 782117 h 3383919"/>
                <a:gd name="connsiteX38" fmla="*/ 1131222 w 1141507"/>
                <a:gd name="connsiteY38" fmla="*/ 1584716 h 3383919"/>
                <a:gd name="connsiteX39" fmla="*/ 1140089 w 1141507"/>
                <a:gd name="connsiteY39" fmla="*/ 2039798 h 3383919"/>
                <a:gd name="connsiteX40" fmla="*/ 1113641 w 1141507"/>
                <a:gd name="connsiteY40" fmla="*/ 3349763 h 3383919"/>
                <a:gd name="connsiteX41" fmla="*/ 855214 w 1141507"/>
                <a:gd name="connsiteY41" fmla="*/ 3306168 h 3383919"/>
                <a:gd name="connsiteX42" fmla="*/ 686736 w 1141507"/>
                <a:gd name="connsiteY42" fmla="*/ 3239973 h 3383919"/>
                <a:gd name="connsiteX43" fmla="*/ 509390 w 1141507"/>
                <a:gd name="connsiteY43" fmla="*/ 3148957 h 3383919"/>
                <a:gd name="connsiteX44" fmla="*/ 411092 w 1141507"/>
                <a:gd name="connsiteY44" fmla="*/ 3068440 h 3383919"/>
                <a:gd name="connsiteX45" fmla="*/ 705354 w 1141507"/>
                <a:gd name="connsiteY45" fmla="*/ 2760804 h 3383919"/>
                <a:gd name="connsiteX46" fmla="*/ 421600 w 1141507"/>
                <a:gd name="connsiteY46" fmla="*/ 2222980 h 3383919"/>
                <a:gd name="connsiteX47" fmla="*/ 563950 w 1141507"/>
                <a:gd name="connsiteY47" fmla="*/ 1983895 h 3383919"/>
                <a:gd name="connsiteX48" fmla="*/ 377263 w 1141507"/>
                <a:gd name="connsiteY48" fmla="*/ 1445204 h 3383919"/>
                <a:gd name="connsiteX49" fmla="*/ 128979 w 1141507"/>
                <a:gd name="connsiteY49" fmla="*/ 1213526 h 3383919"/>
                <a:gd name="connsiteX50" fmla="*/ 120112 w 1141507"/>
                <a:gd name="connsiteY50" fmla="*/ 1097687 h 3383919"/>
                <a:gd name="connsiteX51" fmla="*/ 0 w 1141507"/>
                <a:gd name="connsiteY51"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4282 w 1141507"/>
                <a:gd name="connsiteY7" fmla="*/ 545687 h 3383919"/>
                <a:gd name="connsiteX8" fmla="*/ 581992 w 1141507"/>
                <a:gd name="connsiteY8" fmla="*/ 509487 h 3383919"/>
                <a:gd name="connsiteX9" fmla="*/ 656810 w 1141507"/>
                <a:gd name="connsiteY9" fmla="*/ 537930 h 3383919"/>
                <a:gd name="connsiteX10" fmla="*/ 718325 w 1141507"/>
                <a:gd name="connsiteY10" fmla="*/ 450528 h 3383919"/>
                <a:gd name="connsiteX11" fmla="*/ 853553 w 1141507"/>
                <a:gd name="connsiteY11" fmla="*/ 535344 h 3383919"/>
                <a:gd name="connsiteX12" fmla="*/ 859095 w 1141507"/>
                <a:gd name="connsiteY12" fmla="*/ 501730 h 3383919"/>
                <a:gd name="connsiteX13" fmla="*/ 889577 w 1141507"/>
                <a:gd name="connsiteY13" fmla="*/ 416402 h 3383919"/>
                <a:gd name="connsiteX14" fmla="*/ 899552 w 1141507"/>
                <a:gd name="connsiteY14" fmla="*/ 382784 h 3383919"/>
                <a:gd name="connsiteX15" fmla="*/ 906203 w 1141507"/>
                <a:gd name="connsiteY15" fmla="*/ 364688 h 3383919"/>
                <a:gd name="connsiteX16" fmla="*/ 909140 w 1141507"/>
                <a:gd name="connsiteY16" fmla="*/ 333358 h 3383919"/>
                <a:gd name="connsiteX17" fmla="*/ 828614 w 1141507"/>
                <a:gd name="connsiteY17" fmla="*/ 287118 h 3383919"/>
                <a:gd name="connsiteX18" fmla="*/ 814759 w 1141507"/>
                <a:gd name="connsiteY18" fmla="*/ 214718 h 3383919"/>
                <a:gd name="connsiteX19" fmla="*/ 814759 w 1141507"/>
                <a:gd name="connsiteY19" fmla="*/ 196618 h 3383919"/>
                <a:gd name="connsiteX20" fmla="*/ 825842 w 1141507"/>
                <a:gd name="connsiteY20" fmla="*/ 173346 h 3383919"/>
                <a:gd name="connsiteX21" fmla="*/ 828614 w 1141507"/>
                <a:gd name="connsiteY21" fmla="*/ 157832 h 3383919"/>
                <a:gd name="connsiteX22" fmla="*/ 842469 w 1141507"/>
                <a:gd name="connsiteY22" fmla="*/ 95776 h 3383919"/>
                <a:gd name="connsiteX23" fmla="*/ 820300 w 1141507"/>
                <a:gd name="connsiteY23" fmla="*/ 75091 h 3383919"/>
                <a:gd name="connsiteX24" fmla="*/ 778735 w 1141507"/>
                <a:gd name="connsiteY24" fmla="*/ 46648 h 3383919"/>
                <a:gd name="connsiteX25" fmla="*/ 774567 w 1141507"/>
                <a:gd name="connsiteY25" fmla="*/ 22395 h 3383919"/>
                <a:gd name="connsiteX26" fmla="*/ 825843 w 1141507"/>
                <a:gd name="connsiteY26" fmla="*/ 104 h 3383919"/>
                <a:gd name="connsiteX27" fmla="*/ 879423 w 1141507"/>
                <a:gd name="connsiteY27" fmla="*/ 9976 h 3383919"/>
                <a:gd name="connsiteX28" fmla="*/ 958207 w 1141507"/>
                <a:gd name="connsiteY28" fmla="*/ 21886 h 3383919"/>
                <a:gd name="connsiteX29" fmla="*/ 1042530 w 1141507"/>
                <a:gd name="connsiteY29" fmla="*/ 91245 h 3383919"/>
                <a:gd name="connsiteX30" fmla="*/ 1104665 w 1141507"/>
                <a:gd name="connsiteY30" fmla="*/ 167341 h 3383919"/>
                <a:gd name="connsiteX31" fmla="*/ 1003694 w 1141507"/>
                <a:gd name="connsiteY31" fmla="*/ 196335 h 3383919"/>
                <a:gd name="connsiteX32" fmla="*/ 988160 w 1141507"/>
                <a:gd name="connsiteY32" fmla="*/ 243442 h 3383919"/>
                <a:gd name="connsiteX33" fmla="*/ 1045830 w 1141507"/>
                <a:gd name="connsiteY33" fmla="*/ 327932 h 3383919"/>
                <a:gd name="connsiteX34" fmla="*/ 1081364 w 1141507"/>
                <a:gd name="connsiteY34" fmla="*/ 334034 h 3383919"/>
                <a:gd name="connsiteX35" fmla="*/ 1133984 w 1141507"/>
                <a:gd name="connsiteY35" fmla="*/ 340374 h 3383919"/>
                <a:gd name="connsiteX36" fmla="*/ 1129021 w 1141507"/>
                <a:gd name="connsiteY36" fmla="*/ 451149 h 3383919"/>
                <a:gd name="connsiteX37" fmla="*/ 1140090 w 1141507"/>
                <a:gd name="connsiteY37" fmla="*/ 782117 h 3383919"/>
                <a:gd name="connsiteX38" fmla="*/ 1131222 w 1141507"/>
                <a:gd name="connsiteY38" fmla="*/ 1584716 h 3383919"/>
                <a:gd name="connsiteX39" fmla="*/ 1140089 w 1141507"/>
                <a:gd name="connsiteY39" fmla="*/ 2039798 h 3383919"/>
                <a:gd name="connsiteX40" fmla="*/ 1113641 w 1141507"/>
                <a:gd name="connsiteY40" fmla="*/ 3349763 h 3383919"/>
                <a:gd name="connsiteX41" fmla="*/ 855214 w 1141507"/>
                <a:gd name="connsiteY41" fmla="*/ 3306168 h 3383919"/>
                <a:gd name="connsiteX42" fmla="*/ 686736 w 1141507"/>
                <a:gd name="connsiteY42" fmla="*/ 3239973 h 3383919"/>
                <a:gd name="connsiteX43" fmla="*/ 509390 w 1141507"/>
                <a:gd name="connsiteY43" fmla="*/ 3148957 h 3383919"/>
                <a:gd name="connsiteX44" fmla="*/ 411092 w 1141507"/>
                <a:gd name="connsiteY44" fmla="*/ 3068440 h 3383919"/>
                <a:gd name="connsiteX45" fmla="*/ 705354 w 1141507"/>
                <a:gd name="connsiteY45" fmla="*/ 2760804 h 3383919"/>
                <a:gd name="connsiteX46" fmla="*/ 421600 w 1141507"/>
                <a:gd name="connsiteY46" fmla="*/ 2222980 h 3383919"/>
                <a:gd name="connsiteX47" fmla="*/ 563950 w 1141507"/>
                <a:gd name="connsiteY47" fmla="*/ 1983895 h 3383919"/>
                <a:gd name="connsiteX48" fmla="*/ 377263 w 1141507"/>
                <a:gd name="connsiteY48" fmla="*/ 1445204 h 3383919"/>
                <a:gd name="connsiteX49" fmla="*/ 128979 w 1141507"/>
                <a:gd name="connsiteY49" fmla="*/ 1213526 h 3383919"/>
                <a:gd name="connsiteX50" fmla="*/ 120112 w 1141507"/>
                <a:gd name="connsiteY50" fmla="*/ 1097687 h 3383919"/>
                <a:gd name="connsiteX51" fmla="*/ 0 w 1141507"/>
                <a:gd name="connsiteY51"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4282 w 1141507"/>
                <a:gd name="connsiteY7" fmla="*/ 545687 h 3383919"/>
                <a:gd name="connsiteX8" fmla="*/ 581992 w 1141507"/>
                <a:gd name="connsiteY8" fmla="*/ 509487 h 3383919"/>
                <a:gd name="connsiteX9" fmla="*/ 654040 w 1141507"/>
                <a:gd name="connsiteY9" fmla="*/ 514658 h 3383919"/>
                <a:gd name="connsiteX10" fmla="*/ 718325 w 1141507"/>
                <a:gd name="connsiteY10" fmla="*/ 450528 h 3383919"/>
                <a:gd name="connsiteX11" fmla="*/ 853553 w 1141507"/>
                <a:gd name="connsiteY11" fmla="*/ 535344 h 3383919"/>
                <a:gd name="connsiteX12" fmla="*/ 859095 w 1141507"/>
                <a:gd name="connsiteY12" fmla="*/ 501730 h 3383919"/>
                <a:gd name="connsiteX13" fmla="*/ 889577 w 1141507"/>
                <a:gd name="connsiteY13" fmla="*/ 416402 h 3383919"/>
                <a:gd name="connsiteX14" fmla="*/ 899552 w 1141507"/>
                <a:gd name="connsiteY14" fmla="*/ 382784 h 3383919"/>
                <a:gd name="connsiteX15" fmla="*/ 906203 w 1141507"/>
                <a:gd name="connsiteY15" fmla="*/ 364688 h 3383919"/>
                <a:gd name="connsiteX16" fmla="*/ 909140 w 1141507"/>
                <a:gd name="connsiteY16" fmla="*/ 333358 h 3383919"/>
                <a:gd name="connsiteX17" fmla="*/ 828614 w 1141507"/>
                <a:gd name="connsiteY17" fmla="*/ 287118 h 3383919"/>
                <a:gd name="connsiteX18" fmla="*/ 814759 w 1141507"/>
                <a:gd name="connsiteY18" fmla="*/ 214718 h 3383919"/>
                <a:gd name="connsiteX19" fmla="*/ 814759 w 1141507"/>
                <a:gd name="connsiteY19" fmla="*/ 196618 h 3383919"/>
                <a:gd name="connsiteX20" fmla="*/ 825842 w 1141507"/>
                <a:gd name="connsiteY20" fmla="*/ 173346 h 3383919"/>
                <a:gd name="connsiteX21" fmla="*/ 828614 w 1141507"/>
                <a:gd name="connsiteY21" fmla="*/ 157832 h 3383919"/>
                <a:gd name="connsiteX22" fmla="*/ 842469 w 1141507"/>
                <a:gd name="connsiteY22" fmla="*/ 95776 h 3383919"/>
                <a:gd name="connsiteX23" fmla="*/ 820300 w 1141507"/>
                <a:gd name="connsiteY23" fmla="*/ 75091 h 3383919"/>
                <a:gd name="connsiteX24" fmla="*/ 778735 w 1141507"/>
                <a:gd name="connsiteY24" fmla="*/ 46648 h 3383919"/>
                <a:gd name="connsiteX25" fmla="*/ 774567 w 1141507"/>
                <a:gd name="connsiteY25" fmla="*/ 22395 h 3383919"/>
                <a:gd name="connsiteX26" fmla="*/ 825843 w 1141507"/>
                <a:gd name="connsiteY26" fmla="*/ 104 h 3383919"/>
                <a:gd name="connsiteX27" fmla="*/ 879423 w 1141507"/>
                <a:gd name="connsiteY27" fmla="*/ 9976 h 3383919"/>
                <a:gd name="connsiteX28" fmla="*/ 958207 w 1141507"/>
                <a:gd name="connsiteY28" fmla="*/ 21886 h 3383919"/>
                <a:gd name="connsiteX29" fmla="*/ 1042530 w 1141507"/>
                <a:gd name="connsiteY29" fmla="*/ 91245 h 3383919"/>
                <a:gd name="connsiteX30" fmla="*/ 1104665 w 1141507"/>
                <a:gd name="connsiteY30" fmla="*/ 167341 h 3383919"/>
                <a:gd name="connsiteX31" fmla="*/ 1003694 w 1141507"/>
                <a:gd name="connsiteY31" fmla="*/ 196335 h 3383919"/>
                <a:gd name="connsiteX32" fmla="*/ 988160 w 1141507"/>
                <a:gd name="connsiteY32" fmla="*/ 243442 h 3383919"/>
                <a:gd name="connsiteX33" fmla="*/ 1045830 w 1141507"/>
                <a:gd name="connsiteY33" fmla="*/ 327932 h 3383919"/>
                <a:gd name="connsiteX34" fmla="*/ 1081364 w 1141507"/>
                <a:gd name="connsiteY34" fmla="*/ 334034 h 3383919"/>
                <a:gd name="connsiteX35" fmla="*/ 1133984 w 1141507"/>
                <a:gd name="connsiteY35" fmla="*/ 340374 h 3383919"/>
                <a:gd name="connsiteX36" fmla="*/ 1129021 w 1141507"/>
                <a:gd name="connsiteY36" fmla="*/ 451149 h 3383919"/>
                <a:gd name="connsiteX37" fmla="*/ 1140090 w 1141507"/>
                <a:gd name="connsiteY37" fmla="*/ 782117 h 3383919"/>
                <a:gd name="connsiteX38" fmla="*/ 1131222 w 1141507"/>
                <a:gd name="connsiteY38" fmla="*/ 1584716 h 3383919"/>
                <a:gd name="connsiteX39" fmla="*/ 1140089 w 1141507"/>
                <a:gd name="connsiteY39" fmla="*/ 2039798 h 3383919"/>
                <a:gd name="connsiteX40" fmla="*/ 1113641 w 1141507"/>
                <a:gd name="connsiteY40" fmla="*/ 3349763 h 3383919"/>
                <a:gd name="connsiteX41" fmla="*/ 855214 w 1141507"/>
                <a:gd name="connsiteY41" fmla="*/ 3306168 h 3383919"/>
                <a:gd name="connsiteX42" fmla="*/ 686736 w 1141507"/>
                <a:gd name="connsiteY42" fmla="*/ 3239973 h 3383919"/>
                <a:gd name="connsiteX43" fmla="*/ 509390 w 1141507"/>
                <a:gd name="connsiteY43" fmla="*/ 3148957 h 3383919"/>
                <a:gd name="connsiteX44" fmla="*/ 411092 w 1141507"/>
                <a:gd name="connsiteY44" fmla="*/ 3068440 h 3383919"/>
                <a:gd name="connsiteX45" fmla="*/ 705354 w 1141507"/>
                <a:gd name="connsiteY45" fmla="*/ 2760804 h 3383919"/>
                <a:gd name="connsiteX46" fmla="*/ 421600 w 1141507"/>
                <a:gd name="connsiteY46" fmla="*/ 2222980 h 3383919"/>
                <a:gd name="connsiteX47" fmla="*/ 563950 w 1141507"/>
                <a:gd name="connsiteY47" fmla="*/ 1983895 h 3383919"/>
                <a:gd name="connsiteX48" fmla="*/ 377263 w 1141507"/>
                <a:gd name="connsiteY48" fmla="*/ 1445204 h 3383919"/>
                <a:gd name="connsiteX49" fmla="*/ 128979 w 1141507"/>
                <a:gd name="connsiteY49" fmla="*/ 1213526 h 3383919"/>
                <a:gd name="connsiteX50" fmla="*/ 120112 w 1141507"/>
                <a:gd name="connsiteY50" fmla="*/ 1097687 h 3383919"/>
                <a:gd name="connsiteX51" fmla="*/ 0 w 1141507"/>
                <a:gd name="connsiteY51"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4282 w 1141507"/>
                <a:gd name="connsiteY7" fmla="*/ 545687 h 3383919"/>
                <a:gd name="connsiteX8" fmla="*/ 590306 w 1141507"/>
                <a:gd name="connsiteY8" fmla="*/ 517244 h 3383919"/>
                <a:gd name="connsiteX9" fmla="*/ 654040 w 1141507"/>
                <a:gd name="connsiteY9" fmla="*/ 514658 h 3383919"/>
                <a:gd name="connsiteX10" fmla="*/ 718325 w 1141507"/>
                <a:gd name="connsiteY10" fmla="*/ 450528 h 3383919"/>
                <a:gd name="connsiteX11" fmla="*/ 853553 w 1141507"/>
                <a:gd name="connsiteY11" fmla="*/ 535344 h 3383919"/>
                <a:gd name="connsiteX12" fmla="*/ 859095 w 1141507"/>
                <a:gd name="connsiteY12" fmla="*/ 501730 h 3383919"/>
                <a:gd name="connsiteX13" fmla="*/ 889577 w 1141507"/>
                <a:gd name="connsiteY13" fmla="*/ 416402 h 3383919"/>
                <a:gd name="connsiteX14" fmla="*/ 899552 w 1141507"/>
                <a:gd name="connsiteY14" fmla="*/ 382784 h 3383919"/>
                <a:gd name="connsiteX15" fmla="*/ 906203 w 1141507"/>
                <a:gd name="connsiteY15" fmla="*/ 364688 h 3383919"/>
                <a:gd name="connsiteX16" fmla="*/ 909140 w 1141507"/>
                <a:gd name="connsiteY16" fmla="*/ 333358 h 3383919"/>
                <a:gd name="connsiteX17" fmla="*/ 828614 w 1141507"/>
                <a:gd name="connsiteY17" fmla="*/ 287118 h 3383919"/>
                <a:gd name="connsiteX18" fmla="*/ 814759 w 1141507"/>
                <a:gd name="connsiteY18" fmla="*/ 214718 h 3383919"/>
                <a:gd name="connsiteX19" fmla="*/ 814759 w 1141507"/>
                <a:gd name="connsiteY19" fmla="*/ 196618 h 3383919"/>
                <a:gd name="connsiteX20" fmla="*/ 825842 w 1141507"/>
                <a:gd name="connsiteY20" fmla="*/ 173346 h 3383919"/>
                <a:gd name="connsiteX21" fmla="*/ 828614 w 1141507"/>
                <a:gd name="connsiteY21" fmla="*/ 157832 h 3383919"/>
                <a:gd name="connsiteX22" fmla="*/ 842469 w 1141507"/>
                <a:gd name="connsiteY22" fmla="*/ 95776 h 3383919"/>
                <a:gd name="connsiteX23" fmla="*/ 820300 w 1141507"/>
                <a:gd name="connsiteY23" fmla="*/ 75091 h 3383919"/>
                <a:gd name="connsiteX24" fmla="*/ 778735 w 1141507"/>
                <a:gd name="connsiteY24" fmla="*/ 46648 h 3383919"/>
                <a:gd name="connsiteX25" fmla="*/ 774567 w 1141507"/>
                <a:gd name="connsiteY25" fmla="*/ 22395 h 3383919"/>
                <a:gd name="connsiteX26" fmla="*/ 825843 w 1141507"/>
                <a:gd name="connsiteY26" fmla="*/ 104 h 3383919"/>
                <a:gd name="connsiteX27" fmla="*/ 879423 w 1141507"/>
                <a:gd name="connsiteY27" fmla="*/ 9976 h 3383919"/>
                <a:gd name="connsiteX28" fmla="*/ 958207 w 1141507"/>
                <a:gd name="connsiteY28" fmla="*/ 21886 h 3383919"/>
                <a:gd name="connsiteX29" fmla="*/ 1042530 w 1141507"/>
                <a:gd name="connsiteY29" fmla="*/ 91245 h 3383919"/>
                <a:gd name="connsiteX30" fmla="*/ 1104665 w 1141507"/>
                <a:gd name="connsiteY30" fmla="*/ 167341 h 3383919"/>
                <a:gd name="connsiteX31" fmla="*/ 1003694 w 1141507"/>
                <a:gd name="connsiteY31" fmla="*/ 196335 h 3383919"/>
                <a:gd name="connsiteX32" fmla="*/ 988160 w 1141507"/>
                <a:gd name="connsiteY32" fmla="*/ 243442 h 3383919"/>
                <a:gd name="connsiteX33" fmla="*/ 1045830 w 1141507"/>
                <a:gd name="connsiteY33" fmla="*/ 327932 h 3383919"/>
                <a:gd name="connsiteX34" fmla="*/ 1081364 w 1141507"/>
                <a:gd name="connsiteY34" fmla="*/ 334034 h 3383919"/>
                <a:gd name="connsiteX35" fmla="*/ 1133984 w 1141507"/>
                <a:gd name="connsiteY35" fmla="*/ 340374 h 3383919"/>
                <a:gd name="connsiteX36" fmla="*/ 1129021 w 1141507"/>
                <a:gd name="connsiteY36" fmla="*/ 451149 h 3383919"/>
                <a:gd name="connsiteX37" fmla="*/ 1140090 w 1141507"/>
                <a:gd name="connsiteY37" fmla="*/ 782117 h 3383919"/>
                <a:gd name="connsiteX38" fmla="*/ 1131222 w 1141507"/>
                <a:gd name="connsiteY38" fmla="*/ 1584716 h 3383919"/>
                <a:gd name="connsiteX39" fmla="*/ 1140089 w 1141507"/>
                <a:gd name="connsiteY39" fmla="*/ 2039798 h 3383919"/>
                <a:gd name="connsiteX40" fmla="*/ 1113641 w 1141507"/>
                <a:gd name="connsiteY40" fmla="*/ 3349763 h 3383919"/>
                <a:gd name="connsiteX41" fmla="*/ 855214 w 1141507"/>
                <a:gd name="connsiteY41" fmla="*/ 3306168 h 3383919"/>
                <a:gd name="connsiteX42" fmla="*/ 686736 w 1141507"/>
                <a:gd name="connsiteY42" fmla="*/ 3239973 h 3383919"/>
                <a:gd name="connsiteX43" fmla="*/ 509390 w 1141507"/>
                <a:gd name="connsiteY43" fmla="*/ 3148957 h 3383919"/>
                <a:gd name="connsiteX44" fmla="*/ 411092 w 1141507"/>
                <a:gd name="connsiteY44" fmla="*/ 3068440 h 3383919"/>
                <a:gd name="connsiteX45" fmla="*/ 705354 w 1141507"/>
                <a:gd name="connsiteY45" fmla="*/ 2760804 h 3383919"/>
                <a:gd name="connsiteX46" fmla="*/ 421600 w 1141507"/>
                <a:gd name="connsiteY46" fmla="*/ 2222980 h 3383919"/>
                <a:gd name="connsiteX47" fmla="*/ 563950 w 1141507"/>
                <a:gd name="connsiteY47" fmla="*/ 1983895 h 3383919"/>
                <a:gd name="connsiteX48" fmla="*/ 377263 w 1141507"/>
                <a:gd name="connsiteY48" fmla="*/ 1445204 h 3383919"/>
                <a:gd name="connsiteX49" fmla="*/ 128979 w 1141507"/>
                <a:gd name="connsiteY49" fmla="*/ 1213526 h 3383919"/>
                <a:gd name="connsiteX50" fmla="*/ 120112 w 1141507"/>
                <a:gd name="connsiteY50" fmla="*/ 1097687 h 3383919"/>
                <a:gd name="connsiteX51" fmla="*/ 0 w 1141507"/>
                <a:gd name="connsiteY51"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4282 w 1141507"/>
                <a:gd name="connsiteY7" fmla="*/ 545687 h 3383919"/>
                <a:gd name="connsiteX8" fmla="*/ 579222 w 1141507"/>
                <a:gd name="connsiteY8" fmla="*/ 509487 h 3383919"/>
                <a:gd name="connsiteX9" fmla="*/ 654040 w 1141507"/>
                <a:gd name="connsiteY9" fmla="*/ 514658 h 3383919"/>
                <a:gd name="connsiteX10" fmla="*/ 718325 w 1141507"/>
                <a:gd name="connsiteY10" fmla="*/ 450528 h 3383919"/>
                <a:gd name="connsiteX11" fmla="*/ 853553 w 1141507"/>
                <a:gd name="connsiteY11" fmla="*/ 535344 h 3383919"/>
                <a:gd name="connsiteX12" fmla="*/ 859095 w 1141507"/>
                <a:gd name="connsiteY12" fmla="*/ 501730 h 3383919"/>
                <a:gd name="connsiteX13" fmla="*/ 889577 w 1141507"/>
                <a:gd name="connsiteY13" fmla="*/ 416402 h 3383919"/>
                <a:gd name="connsiteX14" fmla="*/ 899552 w 1141507"/>
                <a:gd name="connsiteY14" fmla="*/ 382784 h 3383919"/>
                <a:gd name="connsiteX15" fmla="*/ 906203 w 1141507"/>
                <a:gd name="connsiteY15" fmla="*/ 364688 h 3383919"/>
                <a:gd name="connsiteX16" fmla="*/ 909140 w 1141507"/>
                <a:gd name="connsiteY16" fmla="*/ 333358 h 3383919"/>
                <a:gd name="connsiteX17" fmla="*/ 828614 w 1141507"/>
                <a:gd name="connsiteY17" fmla="*/ 287118 h 3383919"/>
                <a:gd name="connsiteX18" fmla="*/ 814759 w 1141507"/>
                <a:gd name="connsiteY18" fmla="*/ 214718 h 3383919"/>
                <a:gd name="connsiteX19" fmla="*/ 814759 w 1141507"/>
                <a:gd name="connsiteY19" fmla="*/ 196618 h 3383919"/>
                <a:gd name="connsiteX20" fmla="*/ 825842 w 1141507"/>
                <a:gd name="connsiteY20" fmla="*/ 173346 h 3383919"/>
                <a:gd name="connsiteX21" fmla="*/ 828614 w 1141507"/>
                <a:gd name="connsiteY21" fmla="*/ 157832 h 3383919"/>
                <a:gd name="connsiteX22" fmla="*/ 842469 w 1141507"/>
                <a:gd name="connsiteY22" fmla="*/ 95776 h 3383919"/>
                <a:gd name="connsiteX23" fmla="*/ 820300 w 1141507"/>
                <a:gd name="connsiteY23" fmla="*/ 75091 h 3383919"/>
                <a:gd name="connsiteX24" fmla="*/ 778735 w 1141507"/>
                <a:gd name="connsiteY24" fmla="*/ 46648 h 3383919"/>
                <a:gd name="connsiteX25" fmla="*/ 774567 w 1141507"/>
                <a:gd name="connsiteY25" fmla="*/ 22395 h 3383919"/>
                <a:gd name="connsiteX26" fmla="*/ 825843 w 1141507"/>
                <a:gd name="connsiteY26" fmla="*/ 104 h 3383919"/>
                <a:gd name="connsiteX27" fmla="*/ 879423 w 1141507"/>
                <a:gd name="connsiteY27" fmla="*/ 9976 h 3383919"/>
                <a:gd name="connsiteX28" fmla="*/ 958207 w 1141507"/>
                <a:gd name="connsiteY28" fmla="*/ 21886 h 3383919"/>
                <a:gd name="connsiteX29" fmla="*/ 1042530 w 1141507"/>
                <a:gd name="connsiteY29" fmla="*/ 91245 h 3383919"/>
                <a:gd name="connsiteX30" fmla="*/ 1104665 w 1141507"/>
                <a:gd name="connsiteY30" fmla="*/ 167341 h 3383919"/>
                <a:gd name="connsiteX31" fmla="*/ 1003694 w 1141507"/>
                <a:gd name="connsiteY31" fmla="*/ 196335 h 3383919"/>
                <a:gd name="connsiteX32" fmla="*/ 988160 w 1141507"/>
                <a:gd name="connsiteY32" fmla="*/ 243442 h 3383919"/>
                <a:gd name="connsiteX33" fmla="*/ 1045830 w 1141507"/>
                <a:gd name="connsiteY33" fmla="*/ 327932 h 3383919"/>
                <a:gd name="connsiteX34" fmla="*/ 1081364 w 1141507"/>
                <a:gd name="connsiteY34" fmla="*/ 334034 h 3383919"/>
                <a:gd name="connsiteX35" fmla="*/ 1133984 w 1141507"/>
                <a:gd name="connsiteY35" fmla="*/ 340374 h 3383919"/>
                <a:gd name="connsiteX36" fmla="*/ 1129021 w 1141507"/>
                <a:gd name="connsiteY36" fmla="*/ 451149 h 3383919"/>
                <a:gd name="connsiteX37" fmla="*/ 1140090 w 1141507"/>
                <a:gd name="connsiteY37" fmla="*/ 782117 h 3383919"/>
                <a:gd name="connsiteX38" fmla="*/ 1131222 w 1141507"/>
                <a:gd name="connsiteY38" fmla="*/ 1584716 h 3383919"/>
                <a:gd name="connsiteX39" fmla="*/ 1140089 w 1141507"/>
                <a:gd name="connsiteY39" fmla="*/ 2039798 h 3383919"/>
                <a:gd name="connsiteX40" fmla="*/ 1113641 w 1141507"/>
                <a:gd name="connsiteY40" fmla="*/ 3349763 h 3383919"/>
                <a:gd name="connsiteX41" fmla="*/ 855214 w 1141507"/>
                <a:gd name="connsiteY41" fmla="*/ 3306168 h 3383919"/>
                <a:gd name="connsiteX42" fmla="*/ 686736 w 1141507"/>
                <a:gd name="connsiteY42" fmla="*/ 3239973 h 3383919"/>
                <a:gd name="connsiteX43" fmla="*/ 509390 w 1141507"/>
                <a:gd name="connsiteY43" fmla="*/ 3148957 h 3383919"/>
                <a:gd name="connsiteX44" fmla="*/ 411092 w 1141507"/>
                <a:gd name="connsiteY44" fmla="*/ 3068440 h 3383919"/>
                <a:gd name="connsiteX45" fmla="*/ 705354 w 1141507"/>
                <a:gd name="connsiteY45" fmla="*/ 2760804 h 3383919"/>
                <a:gd name="connsiteX46" fmla="*/ 421600 w 1141507"/>
                <a:gd name="connsiteY46" fmla="*/ 2222980 h 3383919"/>
                <a:gd name="connsiteX47" fmla="*/ 563950 w 1141507"/>
                <a:gd name="connsiteY47" fmla="*/ 1983895 h 3383919"/>
                <a:gd name="connsiteX48" fmla="*/ 377263 w 1141507"/>
                <a:gd name="connsiteY48" fmla="*/ 1445204 h 3383919"/>
                <a:gd name="connsiteX49" fmla="*/ 128979 w 1141507"/>
                <a:gd name="connsiteY49" fmla="*/ 1213526 h 3383919"/>
                <a:gd name="connsiteX50" fmla="*/ 120112 w 1141507"/>
                <a:gd name="connsiteY50" fmla="*/ 1097687 h 3383919"/>
                <a:gd name="connsiteX51" fmla="*/ 0 w 1141507"/>
                <a:gd name="connsiteY51"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4282 w 1141507"/>
                <a:gd name="connsiteY7" fmla="*/ 545687 h 3383919"/>
                <a:gd name="connsiteX8" fmla="*/ 579222 w 1141507"/>
                <a:gd name="connsiteY8" fmla="*/ 509487 h 3383919"/>
                <a:gd name="connsiteX9" fmla="*/ 659582 w 1141507"/>
                <a:gd name="connsiteY9" fmla="*/ 504315 h 3383919"/>
                <a:gd name="connsiteX10" fmla="*/ 718325 w 1141507"/>
                <a:gd name="connsiteY10" fmla="*/ 450528 h 3383919"/>
                <a:gd name="connsiteX11" fmla="*/ 853553 w 1141507"/>
                <a:gd name="connsiteY11" fmla="*/ 535344 h 3383919"/>
                <a:gd name="connsiteX12" fmla="*/ 859095 w 1141507"/>
                <a:gd name="connsiteY12" fmla="*/ 501730 h 3383919"/>
                <a:gd name="connsiteX13" fmla="*/ 889577 w 1141507"/>
                <a:gd name="connsiteY13" fmla="*/ 416402 h 3383919"/>
                <a:gd name="connsiteX14" fmla="*/ 899552 w 1141507"/>
                <a:gd name="connsiteY14" fmla="*/ 382784 h 3383919"/>
                <a:gd name="connsiteX15" fmla="*/ 906203 w 1141507"/>
                <a:gd name="connsiteY15" fmla="*/ 364688 h 3383919"/>
                <a:gd name="connsiteX16" fmla="*/ 909140 w 1141507"/>
                <a:gd name="connsiteY16" fmla="*/ 333358 h 3383919"/>
                <a:gd name="connsiteX17" fmla="*/ 828614 w 1141507"/>
                <a:gd name="connsiteY17" fmla="*/ 287118 h 3383919"/>
                <a:gd name="connsiteX18" fmla="*/ 814759 w 1141507"/>
                <a:gd name="connsiteY18" fmla="*/ 214718 h 3383919"/>
                <a:gd name="connsiteX19" fmla="*/ 814759 w 1141507"/>
                <a:gd name="connsiteY19" fmla="*/ 196618 h 3383919"/>
                <a:gd name="connsiteX20" fmla="*/ 825842 w 1141507"/>
                <a:gd name="connsiteY20" fmla="*/ 173346 h 3383919"/>
                <a:gd name="connsiteX21" fmla="*/ 828614 w 1141507"/>
                <a:gd name="connsiteY21" fmla="*/ 157832 h 3383919"/>
                <a:gd name="connsiteX22" fmla="*/ 842469 w 1141507"/>
                <a:gd name="connsiteY22" fmla="*/ 95776 h 3383919"/>
                <a:gd name="connsiteX23" fmla="*/ 820300 w 1141507"/>
                <a:gd name="connsiteY23" fmla="*/ 75091 h 3383919"/>
                <a:gd name="connsiteX24" fmla="*/ 778735 w 1141507"/>
                <a:gd name="connsiteY24" fmla="*/ 46648 h 3383919"/>
                <a:gd name="connsiteX25" fmla="*/ 774567 w 1141507"/>
                <a:gd name="connsiteY25" fmla="*/ 22395 h 3383919"/>
                <a:gd name="connsiteX26" fmla="*/ 825843 w 1141507"/>
                <a:gd name="connsiteY26" fmla="*/ 104 h 3383919"/>
                <a:gd name="connsiteX27" fmla="*/ 879423 w 1141507"/>
                <a:gd name="connsiteY27" fmla="*/ 9976 h 3383919"/>
                <a:gd name="connsiteX28" fmla="*/ 958207 w 1141507"/>
                <a:gd name="connsiteY28" fmla="*/ 21886 h 3383919"/>
                <a:gd name="connsiteX29" fmla="*/ 1042530 w 1141507"/>
                <a:gd name="connsiteY29" fmla="*/ 91245 h 3383919"/>
                <a:gd name="connsiteX30" fmla="*/ 1104665 w 1141507"/>
                <a:gd name="connsiteY30" fmla="*/ 167341 h 3383919"/>
                <a:gd name="connsiteX31" fmla="*/ 1003694 w 1141507"/>
                <a:gd name="connsiteY31" fmla="*/ 196335 h 3383919"/>
                <a:gd name="connsiteX32" fmla="*/ 988160 w 1141507"/>
                <a:gd name="connsiteY32" fmla="*/ 243442 h 3383919"/>
                <a:gd name="connsiteX33" fmla="*/ 1045830 w 1141507"/>
                <a:gd name="connsiteY33" fmla="*/ 327932 h 3383919"/>
                <a:gd name="connsiteX34" fmla="*/ 1081364 w 1141507"/>
                <a:gd name="connsiteY34" fmla="*/ 334034 h 3383919"/>
                <a:gd name="connsiteX35" fmla="*/ 1133984 w 1141507"/>
                <a:gd name="connsiteY35" fmla="*/ 340374 h 3383919"/>
                <a:gd name="connsiteX36" fmla="*/ 1129021 w 1141507"/>
                <a:gd name="connsiteY36" fmla="*/ 451149 h 3383919"/>
                <a:gd name="connsiteX37" fmla="*/ 1140090 w 1141507"/>
                <a:gd name="connsiteY37" fmla="*/ 782117 h 3383919"/>
                <a:gd name="connsiteX38" fmla="*/ 1131222 w 1141507"/>
                <a:gd name="connsiteY38" fmla="*/ 1584716 h 3383919"/>
                <a:gd name="connsiteX39" fmla="*/ 1140089 w 1141507"/>
                <a:gd name="connsiteY39" fmla="*/ 2039798 h 3383919"/>
                <a:gd name="connsiteX40" fmla="*/ 1113641 w 1141507"/>
                <a:gd name="connsiteY40" fmla="*/ 3349763 h 3383919"/>
                <a:gd name="connsiteX41" fmla="*/ 855214 w 1141507"/>
                <a:gd name="connsiteY41" fmla="*/ 3306168 h 3383919"/>
                <a:gd name="connsiteX42" fmla="*/ 686736 w 1141507"/>
                <a:gd name="connsiteY42" fmla="*/ 3239973 h 3383919"/>
                <a:gd name="connsiteX43" fmla="*/ 509390 w 1141507"/>
                <a:gd name="connsiteY43" fmla="*/ 3148957 h 3383919"/>
                <a:gd name="connsiteX44" fmla="*/ 411092 w 1141507"/>
                <a:gd name="connsiteY44" fmla="*/ 3068440 h 3383919"/>
                <a:gd name="connsiteX45" fmla="*/ 705354 w 1141507"/>
                <a:gd name="connsiteY45" fmla="*/ 2760804 h 3383919"/>
                <a:gd name="connsiteX46" fmla="*/ 421600 w 1141507"/>
                <a:gd name="connsiteY46" fmla="*/ 2222980 h 3383919"/>
                <a:gd name="connsiteX47" fmla="*/ 563950 w 1141507"/>
                <a:gd name="connsiteY47" fmla="*/ 1983895 h 3383919"/>
                <a:gd name="connsiteX48" fmla="*/ 377263 w 1141507"/>
                <a:gd name="connsiteY48" fmla="*/ 1445204 h 3383919"/>
                <a:gd name="connsiteX49" fmla="*/ 128979 w 1141507"/>
                <a:gd name="connsiteY49" fmla="*/ 1213526 h 3383919"/>
                <a:gd name="connsiteX50" fmla="*/ 120112 w 1141507"/>
                <a:gd name="connsiteY50" fmla="*/ 1097687 h 3383919"/>
                <a:gd name="connsiteX51" fmla="*/ 0 w 1141507"/>
                <a:gd name="connsiteY51"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4282 w 1141507"/>
                <a:gd name="connsiteY7" fmla="*/ 545687 h 3383919"/>
                <a:gd name="connsiteX8" fmla="*/ 579222 w 1141507"/>
                <a:gd name="connsiteY8" fmla="*/ 509487 h 3383919"/>
                <a:gd name="connsiteX9" fmla="*/ 659582 w 1141507"/>
                <a:gd name="connsiteY9" fmla="*/ 504315 h 3383919"/>
                <a:gd name="connsiteX10" fmla="*/ 723867 w 1141507"/>
                <a:gd name="connsiteY10" fmla="*/ 429842 h 3383919"/>
                <a:gd name="connsiteX11" fmla="*/ 853553 w 1141507"/>
                <a:gd name="connsiteY11" fmla="*/ 535344 h 3383919"/>
                <a:gd name="connsiteX12" fmla="*/ 859095 w 1141507"/>
                <a:gd name="connsiteY12" fmla="*/ 501730 h 3383919"/>
                <a:gd name="connsiteX13" fmla="*/ 889577 w 1141507"/>
                <a:gd name="connsiteY13" fmla="*/ 416402 h 3383919"/>
                <a:gd name="connsiteX14" fmla="*/ 899552 w 1141507"/>
                <a:gd name="connsiteY14" fmla="*/ 382784 h 3383919"/>
                <a:gd name="connsiteX15" fmla="*/ 906203 w 1141507"/>
                <a:gd name="connsiteY15" fmla="*/ 364688 h 3383919"/>
                <a:gd name="connsiteX16" fmla="*/ 909140 w 1141507"/>
                <a:gd name="connsiteY16" fmla="*/ 333358 h 3383919"/>
                <a:gd name="connsiteX17" fmla="*/ 828614 w 1141507"/>
                <a:gd name="connsiteY17" fmla="*/ 287118 h 3383919"/>
                <a:gd name="connsiteX18" fmla="*/ 814759 w 1141507"/>
                <a:gd name="connsiteY18" fmla="*/ 214718 h 3383919"/>
                <a:gd name="connsiteX19" fmla="*/ 814759 w 1141507"/>
                <a:gd name="connsiteY19" fmla="*/ 196618 h 3383919"/>
                <a:gd name="connsiteX20" fmla="*/ 825842 w 1141507"/>
                <a:gd name="connsiteY20" fmla="*/ 173346 h 3383919"/>
                <a:gd name="connsiteX21" fmla="*/ 828614 w 1141507"/>
                <a:gd name="connsiteY21" fmla="*/ 157832 h 3383919"/>
                <a:gd name="connsiteX22" fmla="*/ 842469 w 1141507"/>
                <a:gd name="connsiteY22" fmla="*/ 95776 h 3383919"/>
                <a:gd name="connsiteX23" fmla="*/ 820300 w 1141507"/>
                <a:gd name="connsiteY23" fmla="*/ 75091 h 3383919"/>
                <a:gd name="connsiteX24" fmla="*/ 778735 w 1141507"/>
                <a:gd name="connsiteY24" fmla="*/ 46648 h 3383919"/>
                <a:gd name="connsiteX25" fmla="*/ 774567 w 1141507"/>
                <a:gd name="connsiteY25" fmla="*/ 22395 h 3383919"/>
                <a:gd name="connsiteX26" fmla="*/ 825843 w 1141507"/>
                <a:gd name="connsiteY26" fmla="*/ 104 h 3383919"/>
                <a:gd name="connsiteX27" fmla="*/ 879423 w 1141507"/>
                <a:gd name="connsiteY27" fmla="*/ 9976 h 3383919"/>
                <a:gd name="connsiteX28" fmla="*/ 958207 w 1141507"/>
                <a:gd name="connsiteY28" fmla="*/ 21886 h 3383919"/>
                <a:gd name="connsiteX29" fmla="*/ 1042530 w 1141507"/>
                <a:gd name="connsiteY29" fmla="*/ 91245 h 3383919"/>
                <a:gd name="connsiteX30" fmla="*/ 1104665 w 1141507"/>
                <a:gd name="connsiteY30" fmla="*/ 167341 h 3383919"/>
                <a:gd name="connsiteX31" fmla="*/ 1003694 w 1141507"/>
                <a:gd name="connsiteY31" fmla="*/ 196335 h 3383919"/>
                <a:gd name="connsiteX32" fmla="*/ 988160 w 1141507"/>
                <a:gd name="connsiteY32" fmla="*/ 243442 h 3383919"/>
                <a:gd name="connsiteX33" fmla="*/ 1045830 w 1141507"/>
                <a:gd name="connsiteY33" fmla="*/ 327932 h 3383919"/>
                <a:gd name="connsiteX34" fmla="*/ 1081364 w 1141507"/>
                <a:gd name="connsiteY34" fmla="*/ 334034 h 3383919"/>
                <a:gd name="connsiteX35" fmla="*/ 1133984 w 1141507"/>
                <a:gd name="connsiteY35" fmla="*/ 340374 h 3383919"/>
                <a:gd name="connsiteX36" fmla="*/ 1129021 w 1141507"/>
                <a:gd name="connsiteY36" fmla="*/ 451149 h 3383919"/>
                <a:gd name="connsiteX37" fmla="*/ 1140090 w 1141507"/>
                <a:gd name="connsiteY37" fmla="*/ 782117 h 3383919"/>
                <a:gd name="connsiteX38" fmla="*/ 1131222 w 1141507"/>
                <a:gd name="connsiteY38" fmla="*/ 1584716 h 3383919"/>
                <a:gd name="connsiteX39" fmla="*/ 1140089 w 1141507"/>
                <a:gd name="connsiteY39" fmla="*/ 2039798 h 3383919"/>
                <a:gd name="connsiteX40" fmla="*/ 1113641 w 1141507"/>
                <a:gd name="connsiteY40" fmla="*/ 3349763 h 3383919"/>
                <a:gd name="connsiteX41" fmla="*/ 855214 w 1141507"/>
                <a:gd name="connsiteY41" fmla="*/ 3306168 h 3383919"/>
                <a:gd name="connsiteX42" fmla="*/ 686736 w 1141507"/>
                <a:gd name="connsiteY42" fmla="*/ 3239973 h 3383919"/>
                <a:gd name="connsiteX43" fmla="*/ 509390 w 1141507"/>
                <a:gd name="connsiteY43" fmla="*/ 3148957 h 3383919"/>
                <a:gd name="connsiteX44" fmla="*/ 411092 w 1141507"/>
                <a:gd name="connsiteY44" fmla="*/ 3068440 h 3383919"/>
                <a:gd name="connsiteX45" fmla="*/ 705354 w 1141507"/>
                <a:gd name="connsiteY45" fmla="*/ 2760804 h 3383919"/>
                <a:gd name="connsiteX46" fmla="*/ 421600 w 1141507"/>
                <a:gd name="connsiteY46" fmla="*/ 2222980 h 3383919"/>
                <a:gd name="connsiteX47" fmla="*/ 563950 w 1141507"/>
                <a:gd name="connsiteY47" fmla="*/ 1983895 h 3383919"/>
                <a:gd name="connsiteX48" fmla="*/ 377263 w 1141507"/>
                <a:gd name="connsiteY48" fmla="*/ 1445204 h 3383919"/>
                <a:gd name="connsiteX49" fmla="*/ 128979 w 1141507"/>
                <a:gd name="connsiteY49" fmla="*/ 1213526 h 3383919"/>
                <a:gd name="connsiteX50" fmla="*/ 120112 w 1141507"/>
                <a:gd name="connsiteY50" fmla="*/ 1097687 h 3383919"/>
                <a:gd name="connsiteX51" fmla="*/ 0 w 1141507"/>
                <a:gd name="connsiteY51"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4282 w 1141507"/>
                <a:gd name="connsiteY7" fmla="*/ 545687 h 3383919"/>
                <a:gd name="connsiteX8" fmla="*/ 579222 w 1141507"/>
                <a:gd name="connsiteY8" fmla="*/ 509487 h 3383919"/>
                <a:gd name="connsiteX9" fmla="*/ 659582 w 1141507"/>
                <a:gd name="connsiteY9" fmla="*/ 504315 h 3383919"/>
                <a:gd name="connsiteX10" fmla="*/ 723867 w 1141507"/>
                <a:gd name="connsiteY10" fmla="*/ 429842 h 3383919"/>
                <a:gd name="connsiteX11" fmla="*/ 867408 w 1141507"/>
                <a:gd name="connsiteY11" fmla="*/ 470702 h 3383919"/>
                <a:gd name="connsiteX12" fmla="*/ 859095 w 1141507"/>
                <a:gd name="connsiteY12" fmla="*/ 501730 h 3383919"/>
                <a:gd name="connsiteX13" fmla="*/ 889577 w 1141507"/>
                <a:gd name="connsiteY13" fmla="*/ 416402 h 3383919"/>
                <a:gd name="connsiteX14" fmla="*/ 899552 w 1141507"/>
                <a:gd name="connsiteY14" fmla="*/ 382784 h 3383919"/>
                <a:gd name="connsiteX15" fmla="*/ 906203 w 1141507"/>
                <a:gd name="connsiteY15" fmla="*/ 364688 h 3383919"/>
                <a:gd name="connsiteX16" fmla="*/ 909140 w 1141507"/>
                <a:gd name="connsiteY16" fmla="*/ 333358 h 3383919"/>
                <a:gd name="connsiteX17" fmla="*/ 828614 w 1141507"/>
                <a:gd name="connsiteY17" fmla="*/ 287118 h 3383919"/>
                <a:gd name="connsiteX18" fmla="*/ 814759 w 1141507"/>
                <a:gd name="connsiteY18" fmla="*/ 214718 h 3383919"/>
                <a:gd name="connsiteX19" fmla="*/ 814759 w 1141507"/>
                <a:gd name="connsiteY19" fmla="*/ 196618 h 3383919"/>
                <a:gd name="connsiteX20" fmla="*/ 825842 w 1141507"/>
                <a:gd name="connsiteY20" fmla="*/ 173346 h 3383919"/>
                <a:gd name="connsiteX21" fmla="*/ 828614 w 1141507"/>
                <a:gd name="connsiteY21" fmla="*/ 157832 h 3383919"/>
                <a:gd name="connsiteX22" fmla="*/ 842469 w 1141507"/>
                <a:gd name="connsiteY22" fmla="*/ 95776 h 3383919"/>
                <a:gd name="connsiteX23" fmla="*/ 820300 w 1141507"/>
                <a:gd name="connsiteY23" fmla="*/ 75091 h 3383919"/>
                <a:gd name="connsiteX24" fmla="*/ 778735 w 1141507"/>
                <a:gd name="connsiteY24" fmla="*/ 46648 h 3383919"/>
                <a:gd name="connsiteX25" fmla="*/ 774567 w 1141507"/>
                <a:gd name="connsiteY25" fmla="*/ 22395 h 3383919"/>
                <a:gd name="connsiteX26" fmla="*/ 825843 w 1141507"/>
                <a:gd name="connsiteY26" fmla="*/ 104 h 3383919"/>
                <a:gd name="connsiteX27" fmla="*/ 879423 w 1141507"/>
                <a:gd name="connsiteY27" fmla="*/ 9976 h 3383919"/>
                <a:gd name="connsiteX28" fmla="*/ 958207 w 1141507"/>
                <a:gd name="connsiteY28" fmla="*/ 21886 h 3383919"/>
                <a:gd name="connsiteX29" fmla="*/ 1042530 w 1141507"/>
                <a:gd name="connsiteY29" fmla="*/ 91245 h 3383919"/>
                <a:gd name="connsiteX30" fmla="*/ 1104665 w 1141507"/>
                <a:gd name="connsiteY30" fmla="*/ 167341 h 3383919"/>
                <a:gd name="connsiteX31" fmla="*/ 1003694 w 1141507"/>
                <a:gd name="connsiteY31" fmla="*/ 196335 h 3383919"/>
                <a:gd name="connsiteX32" fmla="*/ 988160 w 1141507"/>
                <a:gd name="connsiteY32" fmla="*/ 243442 h 3383919"/>
                <a:gd name="connsiteX33" fmla="*/ 1045830 w 1141507"/>
                <a:gd name="connsiteY33" fmla="*/ 327932 h 3383919"/>
                <a:gd name="connsiteX34" fmla="*/ 1081364 w 1141507"/>
                <a:gd name="connsiteY34" fmla="*/ 334034 h 3383919"/>
                <a:gd name="connsiteX35" fmla="*/ 1133984 w 1141507"/>
                <a:gd name="connsiteY35" fmla="*/ 340374 h 3383919"/>
                <a:gd name="connsiteX36" fmla="*/ 1129021 w 1141507"/>
                <a:gd name="connsiteY36" fmla="*/ 451149 h 3383919"/>
                <a:gd name="connsiteX37" fmla="*/ 1140090 w 1141507"/>
                <a:gd name="connsiteY37" fmla="*/ 782117 h 3383919"/>
                <a:gd name="connsiteX38" fmla="*/ 1131222 w 1141507"/>
                <a:gd name="connsiteY38" fmla="*/ 1584716 h 3383919"/>
                <a:gd name="connsiteX39" fmla="*/ 1140089 w 1141507"/>
                <a:gd name="connsiteY39" fmla="*/ 2039798 h 3383919"/>
                <a:gd name="connsiteX40" fmla="*/ 1113641 w 1141507"/>
                <a:gd name="connsiteY40" fmla="*/ 3349763 h 3383919"/>
                <a:gd name="connsiteX41" fmla="*/ 855214 w 1141507"/>
                <a:gd name="connsiteY41" fmla="*/ 3306168 h 3383919"/>
                <a:gd name="connsiteX42" fmla="*/ 686736 w 1141507"/>
                <a:gd name="connsiteY42" fmla="*/ 3239973 h 3383919"/>
                <a:gd name="connsiteX43" fmla="*/ 509390 w 1141507"/>
                <a:gd name="connsiteY43" fmla="*/ 3148957 h 3383919"/>
                <a:gd name="connsiteX44" fmla="*/ 411092 w 1141507"/>
                <a:gd name="connsiteY44" fmla="*/ 3068440 h 3383919"/>
                <a:gd name="connsiteX45" fmla="*/ 705354 w 1141507"/>
                <a:gd name="connsiteY45" fmla="*/ 2760804 h 3383919"/>
                <a:gd name="connsiteX46" fmla="*/ 421600 w 1141507"/>
                <a:gd name="connsiteY46" fmla="*/ 2222980 h 3383919"/>
                <a:gd name="connsiteX47" fmla="*/ 563950 w 1141507"/>
                <a:gd name="connsiteY47" fmla="*/ 1983895 h 3383919"/>
                <a:gd name="connsiteX48" fmla="*/ 377263 w 1141507"/>
                <a:gd name="connsiteY48" fmla="*/ 1445204 h 3383919"/>
                <a:gd name="connsiteX49" fmla="*/ 128979 w 1141507"/>
                <a:gd name="connsiteY49" fmla="*/ 1213526 h 3383919"/>
                <a:gd name="connsiteX50" fmla="*/ 120112 w 1141507"/>
                <a:gd name="connsiteY50" fmla="*/ 1097687 h 3383919"/>
                <a:gd name="connsiteX51" fmla="*/ 0 w 1141507"/>
                <a:gd name="connsiteY51"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4282 w 1141507"/>
                <a:gd name="connsiteY7" fmla="*/ 545687 h 3383919"/>
                <a:gd name="connsiteX8" fmla="*/ 579222 w 1141507"/>
                <a:gd name="connsiteY8" fmla="*/ 509487 h 3383919"/>
                <a:gd name="connsiteX9" fmla="*/ 659582 w 1141507"/>
                <a:gd name="connsiteY9" fmla="*/ 504315 h 3383919"/>
                <a:gd name="connsiteX10" fmla="*/ 723867 w 1141507"/>
                <a:gd name="connsiteY10" fmla="*/ 429842 h 3383919"/>
                <a:gd name="connsiteX11" fmla="*/ 867408 w 1141507"/>
                <a:gd name="connsiteY11" fmla="*/ 470702 h 3383919"/>
                <a:gd name="connsiteX12" fmla="*/ 867408 w 1141507"/>
                <a:gd name="connsiteY12" fmla="*/ 475873 h 3383919"/>
                <a:gd name="connsiteX13" fmla="*/ 889577 w 1141507"/>
                <a:gd name="connsiteY13" fmla="*/ 416402 h 3383919"/>
                <a:gd name="connsiteX14" fmla="*/ 899552 w 1141507"/>
                <a:gd name="connsiteY14" fmla="*/ 382784 h 3383919"/>
                <a:gd name="connsiteX15" fmla="*/ 906203 w 1141507"/>
                <a:gd name="connsiteY15" fmla="*/ 364688 h 3383919"/>
                <a:gd name="connsiteX16" fmla="*/ 909140 w 1141507"/>
                <a:gd name="connsiteY16" fmla="*/ 333358 h 3383919"/>
                <a:gd name="connsiteX17" fmla="*/ 828614 w 1141507"/>
                <a:gd name="connsiteY17" fmla="*/ 287118 h 3383919"/>
                <a:gd name="connsiteX18" fmla="*/ 814759 w 1141507"/>
                <a:gd name="connsiteY18" fmla="*/ 214718 h 3383919"/>
                <a:gd name="connsiteX19" fmla="*/ 814759 w 1141507"/>
                <a:gd name="connsiteY19" fmla="*/ 196618 h 3383919"/>
                <a:gd name="connsiteX20" fmla="*/ 825842 w 1141507"/>
                <a:gd name="connsiteY20" fmla="*/ 173346 h 3383919"/>
                <a:gd name="connsiteX21" fmla="*/ 828614 w 1141507"/>
                <a:gd name="connsiteY21" fmla="*/ 157832 h 3383919"/>
                <a:gd name="connsiteX22" fmla="*/ 842469 w 1141507"/>
                <a:gd name="connsiteY22" fmla="*/ 95776 h 3383919"/>
                <a:gd name="connsiteX23" fmla="*/ 820300 w 1141507"/>
                <a:gd name="connsiteY23" fmla="*/ 75091 h 3383919"/>
                <a:gd name="connsiteX24" fmla="*/ 778735 w 1141507"/>
                <a:gd name="connsiteY24" fmla="*/ 46648 h 3383919"/>
                <a:gd name="connsiteX25" fmla="*/ 774567 w 1141507"/>
                <a:gd name="connsiteY25" fmla="*/ 22395 h 3383919"/>
                <a:gd name="connsiteX26" fmla="*/ 825843 w 1141507"/>
                <a:gd name="connsiteY26" fmla="*/ 104 h 3383919"/>
                <a:gd name="connsiteX27" fmla="*/ 879423 w 1141507"/>
                <a:gd name="connsiteY27" fmla="*/ 9976 h 3383919"/>
                <a:gd name="connsiteX28" fmla="*/ 958207 w 1141507"/>
                <a:gd name="connsiteY28" fmla="*/ 21886 h 3383919"/>
                <a:gd name="connsiteX29" fmla="*/ 1042530 w 1141507"/>
                <a:gd name="connsiteY29" fmla="*/ 91245 h 3383919"/>
                <a:gd name="connsiteX30" fmla="*/ 1104665 w 1141507"/>
                <a:gd name="connsiteY30" fmla="*/ 167341 h 3383919"/>
                <a:gd name="connsiteX31" fmla="*/ 1003694 w 1141507"/>
                <a:gd name="connsiteY31" fmla="*/ 196335 h 3383919"/>
                <a:gd name="connsiteX32" fmla="*/ 988160 w 1141507"/>
                <a:gd name="connsiteY32" fmla="*/ 243442 h 3383919"/>
                <a:gd name="connsiteX33" fmla="*/ 1045830 w 1141507"/>
                <a:gd name="connsiteY33" fmla="*/ 327932 h 3383919"/>
                <a:gd name="connsiteX34" fmla="*/ 1081364 w 1141507"/>
                <a:gd name="connsiteY34" fmla="*/ 334034 h 3383919"/>
                <a:gd name="connsiteX35" fmla="*/ 1133984 w 1141507"/>
                <a:gd name="connsiteY35" fmla="*/ 340374 h 3383919"/>
                <a:gd name="connsiteX36" fmla="*/ 1129021 w 1141507"/>
                <a:gd name="connsiteY36" fmla="*/ 451149 h 3383919"/>
                <a:gd name="connsiteX37" fmla="*/ 1140090 w 1141507"/>
                <a:gd name="connsiteY37" fmla="*/ 782117 h 3383919"/>
                <a:gd name="connsiteX38" fmla="*/ 1131222 w 1141507"/>
                <a:gd name="connsiteY38" fmla="*/ 1584716 h 3383919"/>
                <a:gd name="connsiteX39" fmla="*/ 1140089 w 1141507"/>
                <a:gd name="connsiteY39" fmla="*/ 2039798 h 3383919"/>
                <a:gd name="connsiteX40" fmla="*/ 1113641 w 1141507"/>
                <a:gd name="connsiteY40" fmla="*/ 3349763 h 3383919"/>
                <a:gd name="connsiteX41" fmla="*/ 855214 w 1141507"/>
                <a:gd name="connsiteY41" fmla="*/ 3306168 h 3383919"/>
                <a:gd name="connsiteX42" fmla="*/ 686736 w 1141507"/>
                <a:gd name="connsiteY42" fmla="*/ 3239973 h 3383919"/>
                <a:gd name="connsiteX43" fmla="*/ 509390 w 1141507"/>
                <a:gd name="connsiteY43" fmla="*/ 3148957 h 3383919"/>
                <a:gd name="connsiteX44" fmla="*/ 411092 w 1141507"/>
                <a:gd name="connsiteY44" fmla="*/ 3068440 h 3383919"/>
                <a:gd name="connsiteX45" fmla="*/ 705354 w 1141507"/>
                <a:gd name="connsiteY45" fmla="*/ 2760804 h 3383919"/>
                <a:gd name="connsiteX46" fmla="*/ 421600 w 1141507"/>
                <a:gd name="connsiteY46" fmla="*/ 2222980 h 3383919"/>
                <a:gd name="connsiteX47" fmla="*/ 563950 w 1141507"/>
                <a:gd name="connsiteY47" fmla="*/ 1983895 h 3383919"/>
                <a:gd name="connsiteX48" fmla="*/ 377263 w 1141507"/>
                <a:gd name="connsiteY48" fmla="*/ 1445204 h 3383919"/>
                <a:gd name="connsiteX49" fmla="*/ 128979 w 1141507"/>
                <a:gd name="connsiteY49" fmla="*/ 1213526 h 3383919"/>
                <a:gd name="connsiteX50" fmla="*/ 120112 w 1141507"/>
                <a:gd name="connsiteY50" fmla="*/ 1097687 h 3383919"/>
                <a:gd name="connsiteX51" fmla="*/ 0 w 1141507"/>
                <a:gd name="connsiteY51"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4282 w 1141507"/>
                <a:gd name="connsiteY7" fmla="*/ 545687 h 3383919"/>
                <a:gd name="connsiteX8" fmla="*/ 579222 w 1141507"/>
                <a:gd name="connsiteY8" fmla="*/ 509487 h 3383919"/>
                <a:gd name="connsiteX9" fmla="*/ 659582 w 1141507"/>
                <a:gd name="connsiteY9" fmla="*/ 504315 h 3383919"/>
                <a:gd name="connsiteX10" fmla="*/ 723867 w 1141507"/>
                <a:gd name="connsiteY10" fmla="*/ 429842 h 3383919"/>
                <a:gd name="connsiteX11" fmla="*/ 820300 w 1141507"/>
                <a:gd name="connsiteY11" fmla="*/ 462945 h 3383919"/>
                <a:gd name="connsiteX12" fmla="*/ 867408 w 1141507"/>
                <a:gd name="connsiteY12" fmla="*/ 470702 h 3383919"/>
                <a:gd name="connsiteX13" fmla="*/ 867408 w 1141507"/>
                <a:gd name="connsiteY13" fmla="*/ 475873 h 3383919"/>
                <a:gd name="connsiteX14" fmla="*/ 889577 w 1141507"/>
                <a:gd name="connsiteY14" fmla="*/ 416402 h 3383919"/>
                <a:gd name="connsiteX15" fmla="*/ 899552 w 1141507"/>
                <a:gd name="connsiteY15" fmla="*/ 382784 h 3383919"/>
                <a:gd name="connsiteX16" fmla="*/ 906203 w 1141507"/>
                <a:gd name="connsiteY16" fmla="*/ 364688 h 3383919"/>
                <a:gd name="connsiteX17" fmla="*/ 909140 w 1141507"/>
                <a:gd name="connsiteY17" fmla="*/ 333358 h 3383919"/>
                <a:gd name="connsiteX18" fmla="*/ 828614 w 1141507"/>
                <a:gd name="connsiteY18" fmla="*/ 287118 h 3383919"/>
                <a:gd name="connsiteX19" fmla="*/ 814759 w 1141507"/>
                <a:gd name="connsiteY19" fmla="*/ 214718 h 3383919"/>
                <a:gd name="connsiteX20" fmla="*/ 814759 w 1141507"/>
                <a:gd name="connsiteY20" fmla="*/ 196618 h 3383919"/>
                <a:gd name="connsiteX21" fmla="*/ 825842 w 1141507"/>
                <a:gd name="connsiteY21" fmla="*/ 173346 h 3383919"/>
                <a:gd name="connsiteX22" fmla="*/ 828614 w 1141507"/>
                <a:gd name="connsiteY22" fmla="*/ 157832 h 3383919"/>
                <a:gd name="connsiteX23" fmla="*/ 842469 w 1141507"/>
                <a:gd name="connsiteY23" fmla="*/ 95776 h 3383919"/>
                <a:gd name="connsiteX24" fmla="*/ 820300 w 1141507"/>
                <a:gd name="connsiteY24" fmla="*/ 75091 h 3383919"/>
                <a:gd name="connsiteX25" fmla="*/ 778735 w 1141507"/>
                <a:gd name="connsiteY25" fmla="*/ 46648 h 3383919"/>
                <a:gd name="connsiteX26" fmla="*/ 774567 w 1141507"/>
                <a:gd name="connsiteY26" fmla="*/ 22395 h 3383919"/>
                <a:gd name="connsiteX27" fmla="*/ 825843 w 1141507"/>
                <a:gd name="connsiteY27" fmla="*/ 104 h 3383919"/>
                <a:gd name="connsiteX28" fmla="*/ 879423 w 1141507"/>
                <a:gd name="connsiteY28" fmla="*/ 9976 h 3383919"/>
                <a:gd name="connsiteX29" fmla="*/ 958207 w 1141507"/>
                <a:gd name="connsiteY29" fmla="*/ 21886 h 3383919"/>
                <a:gd name="connsiteX30" fmla="*/ 1042530 w 1141507"/>
                <a:gd name="connsiteY30" fmla="*/ 91245 h 3383919"/>
                <a:gd name="connsiteX31" fmla="*/ 1104665 w 1141507"/>
                <a:gd name="connsiteY31" fmla="*/ 167341 h 3383919"/>
                <a:gd name="connsiteX32" fmla="*/ 1003694 w 1141507"/>
                <a:gd name="connsiteY32" fmla="*/ 196335 h 3383919"/>
                <a:gd name="connsiteX33" fmla="*/ 988160 w 1141507"/>
                <a:gd name="connsiteY33" fmla="*/ 243442 h 3383919"/>
                <a:gd name="connsiteX34" fmla="*/ 1045830 w 1141507"/>
                <a:gd name="connsiteY34" fmla="*/ 327932 h 3383919"/>
                <a:gd name="connsiteX35" fmla="*/ 1081364 w 1141507"/>
                <a:gd name="connsiteY35" fmla="*/ 334034 h 3383919"/>
                <a:gd name="connsiteX36" fmla="*/ 1133984 w 1141507"/>
                <a:gd name="connsiteY36" fmla="*/ 340374 h 3383919"/>
                <a:gd name="connsiteX37" fmla="*/ 1129021 w 1141507"/>
                <a:gd name="connsiteY37" fmla="*/ 451149 h 3383919"/>
                <a:gd name="connsiteX38" fmla="*/ 1140090 w 1141507"/>
                <a:gd name="connsiteY38" fmla="*/ 782117 h 3383919"/>
                <a:gd name="connsiteX39" fmla="*/ 1131222 w 1141507"/>
                <a:gd name="connsiteY39" fmla="*/ 1584716 h 3383919"/>
                <a:gd name="connsiteX40" fmla="*/ 1140089 w 1141507"/>
                <a:gd name="connsiteY40" fmla="*/ 2039798 h 3383919"/>
                <a:gd name="connsiteX41" fmla="*/ 1113641 w 1141507"/>
                <a:gd name="connsiteY41" fmla="*/ 3349763 h 3383919"/>
                <a:gd name="connsiteX42" fmla="*/ 855214 w 1141507"/>
                <a:gd name="connsiteY42" fmla="*/ 3306168 h 3383919"/>
                <a:gd name="connsiteX43" fmla="*/ 686736 w 1141507"/>
                <a:gd name="connsiteY43" fmla="*/ 3239973 h 3383919"/>
                <a:gd name="connsiteX44" fmla="*/ 509390 w 1141507"/>
                <a:gd name="connsiteY44" fmla="*/ 3148957 h 3383919"/>
                <a:gd name="connsiteX45" fmla="*/ 411092 w 1141507"/>
                <a:gd name="connsiteY45" fmla="*/ 3068440 h 3383919"/>
                <a:gd name="connsiteX46" fmla="*/ 705354 w 1141507"/>
                <a:gd name="connsiteY46" fmla="*/ 2760804 h 3383919"/>
                <a:gd name="connsiteX47" fmla="*/ 421600 w 1141507"/>
                <a:gd name="connsiteY47" fmla="*/ 2222980 h 3383919"/>
                <a:gd name="connsiteX48" fmla="*/ 563950 w 1141507"/>
                <a:gd name="connsiteY48" fmla="*/ 1983895 h 3383919"/>
                <a:gd name="connsiteX49" fmla="*/ 377263 w 1141507"/>
                <a:gd name="connsiteY49" fmla="*/ 1445204 h 3383919"/>
                <a:gd name="connsiteX50" fmla="*/ 128979 w 1141507"/>
                <a:gd name="connsiteY50" fmla="*/ 1213526 h 3383919"/>
                <a:gd name="connsiteX51" fmla="*/ 120112 w 1141507"/>
                <a:gd name="connsiteY51" fmla="*/ 1097687 h 3383919"/>
                <a:gd name="connsiteX52" fmla="*/ 0 w 1141507"/>
                <a:gd name="connsiteY52"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4282 w 1141507"/>
                <a:gd name="connsiteY7" fmla="*/ 545687 h 3383919"/>
                <a:gd name="connsiteX8" fmla="*/ 579222 w 1141507"/>
                <a:gd name="connsiteY8" fmla="*/ 509487 h 3383919"/>
                <a:gd name="connsiteX9" fmla="*/ 659582 w 1141507"/>
                <a:gd name="connsiteY9" fmla="*/ 504315 h 3383919"/>
                <a:gd name="connsiteX10" fmla="*/ 690063 w 1141507"/>
                <a:gd name="connsiteY10" fmla="*/ 447430 h 3383919"/>
                <a:gd name="connsiteX11" fmla="*/ 723867 w 1141507"/>
                <a:gd name="connsiteY11" fmla="*/ 429842 h 3383919"/>
                <a:gd name="connsiteX12" fmla="*/ 820300 w 1141507"/>
                <a:gd name="connsiteY12" fmla="*/ 462945 h 3383919"/>
                <a:gd name="connsiteX13" fmla="*/ 867408 w 1141507"/>
                <a:gd name="connsiteY13" fmla="*/ 470702 h 3383919"/>
                <a:gd name="connsiteX14" fmla="*/ 867408 w 1141507"/>
                <a:gd name="connsiteY14" fmla="*/ 475873 h 3383919"/>
                <a:gd name="connsiteX15" fmla="*/ 889577 w 1141507"/>
                <a:gd name="connsiteY15" fmla="*/ 416402 h 3383919"/>
                <a:gd name="connsiteX16" fmla="*/ 899552 w 1141507"/>
                <a:gd name="connsiteY16" fmla="*/ 382784 h 3383919"/>
                <a:gd name="connsiteX17" fmla="*/ 906203 w 1141507"/>
                <a:gd name="connsiteY17" fmla="*/ 364688 h 3383919"/>
                <a:gd name="connsiteX18" fmla="*/ 909140 w 1141507"/>
                <a:gd name="connsiteY18" fmla="*/ 333358 h 3383919"/>
                <a:gd name="connsiteX19" fmla="*/ 828614 w 1141507"/>
                <a:gd name="connsiteY19" fmla="*/ 287118 h 3383919"/>
                <a:gd name="connsiteX20" fmla="*/ 814759 w 1141507"/>
                <a:gd name="connsiteY20" fmla="*/ 214718 h 3383919"/>
                <a:gd name="connsiteX21" fmla="*/ 814759 w 1141507"/>
                <a:gd name="connsiteY21" fmla="*/ 196618 h 3383919"/>
                <a:gd name="connsiteX22" fmla="*/ 825842 w 1141507"/>
                <a:gd name="connsiteY22" fmla="*/ 173346 h 3383919"/>
                <a:gd name="connsiteX23" fmla="*/ 828614 w 1141507"/>
                <a:gd name="connsiteY23" fmla="*/ 157832 h 3383919"/>
                <a:gd name="connsiteX24" fmla="*/ 842469 w 1141507"/>
                <a:gd name="connsiteY24" fmla="*/ 95776 h 3383919"/>
                <a:gd name="connsiteX25" fmla="*/ 820300 w 1141507"/>
                <a:gd name="connsiteY25" fmla="*/ 75091 h 3383919"/>
                <a:gd name="connsiteX26" fmla="*/ 778735 w 1141507"/>
                <a:gd name="connsiteY26" fmla="*/ 46648 h 3383919"/>
                <a:gd name="connsiteX27" fmla="*/ 774567 w 1141507"/>
                <a:gd name="connsiteY27" fmla="*/ 22395 h 3383919"/>
                <a:gd name="connsiteX28" fmla="*/ 825843 w 1141507"/>
                <a:gd name="connsiteY28" fmla="*/ 104 h 3383919"/>
                <a:gd name="connsiteX29" fmla="*/ 879423 w 1141507"/>
                <a:gd name="connsiteY29" fmla="*/ 9976 h 3383919"/>
                <a:gd name="connsiteX30" fmla="*/ 958207 w 1141507"/>
                <a:gd name="connsiteY30" fmla="*/ 21886 h 3383919"/>
                <a:gd name="connsiteX31" fmla="*/ 1042530 w 1141507"/>
                <a:gd name="connsiteY31" fmla="*/ 91245 h 3383919"/>
                <a:gd name="connsiteX32" fmla="*/ 1104665 w 1141507"/>
                <a:gd name="connsiteY32" fmla="*/ 167341 h 3383919"/>
                <a:gd name="connsiteX33" fmla="*/ 1003694 w 1141507"/>
                <a:gd name="connsiteY33" fmla="*/ 196335 h 3383919"/>
                <a:gd name="connsiteX34" fmla="*/ 988160 w 1141507"/>
                <a:gd name="connsiteY34" fmla="*/ 243442 h 3383919"/>
                <a:gd name="connsiteX35" fmla="*/ 1045830 w 1141507"/>
                <a:gd name="connsiteY35" fmla="*/ 327932 h 3383919"/>
                <a:gd name="connsiteX36" fmla="*/ 1081364 w 1141507"/>
                <a:gd name="connsiteY36" fmla="*/ 334034 h 3383919"/>
                <a:gd name="connsiteX37" fmla="*/ 1133984 w 1141507"/>
                <a:gd name="connsiteY37" fmla="*/ 340374 h 3383919"/>
                <a:gd name="connsiteX38" fmla="*/ 1129021 w 1141507"/>
                <a:gd name="connsiteY38" fmla="*/ 451149 h 3383919"/>
                <a:gd name="connsiteX39" fmla="*/ 1140090 w 1141507"/>
                <a:gd name="connsiteY39" fmla="*/ 782117 h 3383919"/>
                <a:gd name="connsiteX40" fmla="*/ 1131222 w 1141507"/>
                <a:gd name="connsiteY40" fmla="*/ 1584716 h 3383919"/>
                <a:gd name="connsiteX41" fmla="*/ 1140089 w 1141507"/>
                <a:gd name="connsiteY41" fmla="*/ 2039798 h 3383919"/>
                <a:gd name="connsiteX42" fmla="*/ 1113641 w 1141507"/>
                <a:gd name="connsiteY42" fmla="*/ 3349763 h 3383919"/>
                <a:gd name="connsiteX43" fmla="*/ 855214 w 1141507"/>
                <a:gd name="connsiteY43" fmla="*/ 3306168 h 3383919"/>
                <a:gd name="connsiteX44" fmla="*/ 686736 w 1141507"/>
                <a:gd name="connsiteY44" fmla="*/ 3239973 h 3383919"/>
                <a:gd name="connsiteX45" fmla="*/ 509390 w 1141507"/>
                <a:gd name="connsiteY45" fmla="*/ 3148957 h 3383919"/>
                <a:gd name="connsiteX46" fmla="*/ 411092 w 1141507"/>
                <a:gd name="connsiteY46" fmla="*/ 3068440 h 3383919"/>
                <a:gd name="connsiteX47" fmla="*/ 705354 w 1141507"/>
                <a:gd name="connsiteY47" fmla="*/ 2760804 h 3383919"/>
                <a:gd name="connsiteX48" fmla="*/ 421600 w 1141507"/>
                <a:gd name="connsiteY48" fmla="*/ 2222980 h 3383919"/>
                <a:gd name="connsiteX49" fmla="*/ 563950 w 1141507"/>
                <a:gd name="connsiteY49" fmla="*/ 1983895 h 3383919"/>
                <a:gd name="connsiteX50" fmla="*/ 377263 w 1141507"/>
                <a:gd name="connsiteY50" fmla="*/ 1445204 h 3383919"/>
                <a:gd name="connsiteX51" fmla="*/ 128979 w 1141507"/>
                <a:gd name="connsiteY51" fmla="*/ 1213526 h 3383919"/>
                <a:gd name="connsiteX52" fmla="*/ 120112 w 1141507"/>
                <a:gd name="connsiteY52" fmla="*/ 1097687 h 3383919"/>
                <a:gd name="connsiteX53" fmla="*/ 0 w 1141507"/>
                <a:gd name="connsiteY53"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4282 w 1141507"/>
                <a:gd name="connsiteY7" fmla="*/ 545687 h 3383919"/>
                <a:gd name="connsiteX8" fmla="*/ 579222 w 1141507"/>
                <a:gd name="connsiteY8" fmla="*/ 509487 h 3383919"/>
                <a:gd name="connsiteX9" fmla="*/ 659582 w 1141507"/>
                <a:gd name="connsiteY9" fmla="*/ 504315 h 3383919"/>
                <a:gd name="connsiteX10" fmla="*/ 665123 w 1141507"/>
                <a:gd name="connsiteY10" fmla="*/ 483630 h 3383919"/>
                <a:gd name="connsiteX11" fmla="*/ 690063 w 1141507"/>
                <a:gd name="connsiteY11" fmla="*/ 447430 h 3383919"/>
                <a:gd name="connsiteX12" fmla="*/ 723867 w 1141507"/>
                <a:gd name="connsiteY12" fmla="*/ 429842 h 3383919"/>
                <a:gd name="connsiteX13" fmla="*/ 820300 w 1141507"/>
                <a:gd name="connsiteY13" fmla="*/ 462945 h 3383919"/>
                <a:gd name="connsiteX14" fmla="*/ 867408 w 1141507"/>
                <a:gd name="connsiteY14" fmla="*/ 470702 h 3383919"/>
                <a:gd name="connsiteX15" fmla="*/ 867408 w 1141507"/>
                <a:gd name="connsiteY15" fmla="*/ 475873 h 3383919"/>
                <a:gd name="connsiteX16" fmla="*/ 889577 w 1141507"/>
                <a:gd name="connsiteY16" fmla="*/ 416402 h 3383919"/>
                <a:gd name="connsiteX17" fmla="*/ 899552 w 1141507"/>
                <a:gd name="connsiteY17" fmla="*/ 382784 h 3383919"/>
                <a:gd name="connsiteX18" fmla="*/ 906203 w 1141507"/>
                <a:gd name="connsiteY18" fmla="*/ 364688 h 3383919"/>
                <a:gd name="connsiteX19" fmla="*/ 909140 w 1141507"/>
                <a:gd name="connsiteY19" fmla="*/ 333358 h 3383919"/>
                <a:gd name="connsiteX20" fmla="*/ 828614 w 1141507"/>
                <a:gd name="connsiteY20" fmla="*/ 287118 h 3383919"/>
                <a:gd name="connsiteX21" fmla="*/ 814759 w 1141507"/>
                <a:gd name="connsiteY21" fmla="*/ 214718 h 3383919"/>
                <a:gd name="connsiteX22" fmla="*/ 814759 w 1141507"/>
                <a:gd name="connsiteY22" fmla="*/ 196618 h 3383919"/>
                <a:gd name="connsiteX23" fmla="*/ 825842 w 1141507"/>
                <a:gd name="connsiteY23" fmla="*/ 173346 h 3383919"/>
                <a:gd name="connsiteX24" fmla="*/ 828614 w 1141507"/>
                <a:gd name="connsiteY24" fmla="*/ 157832 h 3383919"/>
                <a:gd name="connsiteX25" fmla="*/ 842469 w 1141507"/>
                <a:gd name="connsiteY25" fmla="*/ 95776 h 3383919"/>
                <a:gd name="connsiteX26" fmla="*/ 820300 w 1141507"/>
                <a:gd name="connsiteY26" fmla="*/ 75091 h 3383919"/>
                <a:gd name="connsiteX27" fmla="*/ 778735 w 1141507"/>
                <a:gd name="connsiteY27" fmla="*/ 46648 h 3383919"/>
                <a:gd name="connsiteX28" fmla="*/ 774567 w 1141507"/>
                <a:gd name="connsiteY28" fmla="*/ 22395 h 3383919"/>
                <a:gd name="connsiteX29" fmla="*/ 825843 w 1141507"/>
                <a:gd name="connsiteY29" fmla="*/ 104 h 3383919"/>
                <a:gd name="connsiteX30" fmla="*/ 879423 w 1141507"/>
                <a:gd name="connsiteY30" fmla="*/ 9976 h 3383919"/>
                <a:gd name="connsiteX31" fmla="*/ 958207 w 1141507"/>
                <a:gd name="connsiteY31" fmla="*/ 21886 h 3383919"/>
                <a:gd name="connsiteX32" fmla="*/ 1042530 w 1141507"/>
                <a:gd name="connsiteY32" fmla="*/ 91245 h 3383919"/>
                <a:gd name="connsiteX33" fmla="*/ 1104665 w 1141507"/>
                <a:gd name="connsiteY33" fmla="*/ 167341 h 3383919"/>
                <a:gd name="connsiteX34" fmla="*/ 1003694 w 1141507"/>
                <a:gd name="connsiteY34" fmla="*/ 196335 h 3383919"/>
                <a:gd name="connsiteX35" fmla="*/ 988160 w 1141507"/>
                <a:gd name="connsiteY35" fmla="*/ 243442 h 3383919"/>
                <a:gd name="connsiteX36" fmla="*/ 1045830 w 1141507"/>
                <a:gd name="connsiteY36" fmla="*/ 327932 h 3383919"/>
                <a:gd name="connsiteX37" fmla="*/ 1081364 w 1141507"/>
                <a:gd name="connsiteY37" fmla="*/ 334034 h 3383919"/>
                <a:gd name="connsiteX38" fmla="*/ 1133984 w 1141507"/>
                <a:gd name="connsiteY38" fmla="*/ 340374 h 3383919"/>
                <a:gd name="connsiteX39" fmla="*/ 1129021 w 1141507"/>
                <a:gd name="connsiteY39" fmla="*/ 451149 h 3383919"/>
                <a:gd name="connsiteX40" fmla="*/ 1140090 w 1141507"/>
                <a:gd name="connsiteY40" fmla="*/ 782117 h 3383919"/>
                <a:gd name="connsiteX41" fmla="*/ 1131222 w 1141507"/>
                <a:gd name="connsiteY41" fmla="*/ 1584716 h 3383919"/>
                <a:gd name="connsiteX42" fmla="*/ 1140089 w 1141507"/>
                <a:gd name="connsiteY42" fmla="*/ 2039798 h 3383919"/>
                <a:gd name="connsiteX43" fmla="*/ 1113641 w 1141507"/>
                <a:gd name="connsiteY43" fmla="*/ 3349763 h 3383919"/>
                <a:gd name="connsiteX44" fmla="*/ 855214 w 1141507"/>
                <a:gd name="connsiteY44" fmla="*/ 3306168 h 3383919"/>
                <a:gd name="connsiteX45" fmla="*/ 686736 w 1141507"/>
                <a:gd name="connsiteY45" fmla="*/ 3239973 h 3383919"/>
                <a:gd name="connsiteX46" fmla="*/ 509390 w 1141507"/>
                <a:gd name="connsiteY46" fmla="*/ 3148957 h 3383919"/>
                <a:gd name="connsiteX47" fmla="*/ 411092 w 1141507"/>
                <a:gd name="connsiteY47" fmla="*/ 3068440 h 3383919"/>
                <a:gd name="connsiteX48" fmla="*/ 705354 w 1141507"/>
                <a:gd name="connsiteY48" fmla="*/ 2760804 h 3383919"/>
                <a:gd name="connsiteX49" fmla="*/ 421600 w 1141507"/>
                <a:gd name="connsiteY49" fmla="*/ 2222980 h 3383919"/>
                <a:gd name="connsiteX50" fmla="*/ 563950 w 1141507"/>
                <a:gd name="connsiteY50" fmla="*/ 1983895 h 3383919"/>
                <a:gd name="connsiteX51" fmla="*/ 377263 w 1141507"/>
                <a:gd name="connsiteY51" fmla="*/ 1445204 h 3383919"/>
                <a:gd name="connsiteX52" fmla="*/ 128979 w 1141507"/>
                <a:gd name="connsiteY52" fmla="*/ 1213526 h 3383919"/>
                <a:gd name="connsiteX53" fmla="*/ 120112 w 1141507"/>
                <a:gd name="connsiteY53" fmla="*/ 1097687 h 3383919"/>
                <a:gd name="connsiteX54" fmla="*/ 0 w 1141507"/>
                <a:gd name="connsiteY54"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546521 w 1141507"/>
                <a:gd name="connsiteY3" fmla="*/ 749434 h 3383919"/>
                <a:gd name="connsiteX4" fmla="*/ 498861 w 1141507"/>
                <a:gd name="connsiteY4" fmla="*/ 674971 h 3383919"/>
                <a:gd name="connsiteX5" fmla="*/ 487777 w 1141507"/>
                <a:gd name="connsiteY5" fmla="*/ 623257 h 3383919"/>
                <a:gd name="connsiteX6" fmla="*/ 526572 w 1141507"/>
                <a:gd name="connsiteY6" fmla="*/ 574130 h 3383919"/>
                <a:gd name="connsiteX7" fmla="*/ 554282 w 1141507"/>
                <a:gd name="connsiteY7" fmla="*/ 545687 h 3383919"/>
                <a:gd name="connsiteX8" fmla="*/ 579222 w 1141507"/>
                <a:gd name="connsiteY8" fmla="*/ 509487 h 3383919"/>
                <a:gd name="connsiteX9" fmla="*/ 659582 w 1141507"/>
                <a:gd name="connsiteY9" fmla="*/ 504315 h 3383919"/>
                <a:gd name="connsiteX10" fmla="*/ 665123 w 1141507"/>
                <a:gd name="connsiteY10" fmla="*/ 483630 h 3383919"/>
                <a:gd name="connsiteX11" fmla="*/ 690063 w 1141507"/>
                <a:gd name="connsiteY11" fmla="*/ 447430 h 3383919"/>
                <a:gd name="connsiteX12" fmla="*/ 723867 w 1141507"/>
                <a:gd name="connsiteY12" fmla="*/ 429842 h 3383919"/>
                <a:gd name="connsiteX13" fmla="*/ 781507 w 1141507"/>
                <a:gd name="connsiteY13" fmla="*/ 442259 h 3383919"/>
                <a:gd name="connsiteX14" fmla="*/ 820300 w 1141507"/>
                <a:gd name="connsiteY14" fmla="*/ 462945 h 3383919"/>
                <a:gd name="connsiteX15" fmla="*/ 867408 w 1141507"/>
                <a:gd name="connsiteY15" fmla="*/ 470702 h 3383919"/>
                <a:gd name="connsiteX16" fmla="*/ 867408 w 1141507"/>
                <a:gd name="connsiteY16" fmla="*/ 475873 h 3383919"/>
                <a:gd name="connsiteX17" fmla="*/ 889577 w 1141507"/>
                <a:gd name="connsiteY17" fmla="*/ 416402 h 3383919"/>
                <a:gd name="connsiteX18" fmla="*/ 899552 w 1141507"/>
                <a:gd name="connsiteY18" fmla="*/ 382784 h 3383919"/>
                <a:gd name="connsiteX19" fmla="*/ 906203 w 1141507"/>
                <a:gd name="connsiteY19" fmla="*/ 364688 h 3383919"/>
                <a:gd name="connsiteX20" fmla="*/ 909140 w 1141507"/>
                <a:gd name="connsiteY20" fmla="*/ 333358 h 3383919"/>
                <a:gd name="connsiteX21" fmla="*/ 828614 w 1141507"/>
                <a:gd name="connsiteY21" fmla="*/ 287118 h 3383919"/>
                <a:gd name="connsiteX22" fmla="*/ 814759 w 1141507"/>
                <a:gd name="connsiteY22" fmla="*/ 214718 h 3383919"/>
                <a:gd name="connsiteX23" fmla="*/ 814759 w 1141507"/>
                <a:gd name="connsiteY23" fmla="*/ 196618 h 3383919"/>
                <a:gd name="connsiteX24" fmla="*/ 825842 w 1141507"/>
                <a:gd name="connsiteY24" fmla="*/ 173346 h 3383919"/>
                <a:gd name="connsiteX25" fmla="*/ 828614 w 1141507"/>
                <a:gd name="connsiteY25" fmla="*/ 157832 h 3383919"/>
                <a:gd name="connsiteX26" fmla="*/ 842469 w 1141507"/>
                <a:gd name="connsiteY26" fmla="*/ 95776 h 3383919"/>
                <a:gd name="connsiteX27" fmla="*/ 820300 w 1141507"/>
                <a:gd name="connsiteY27" fmla="*/ 75091 h 3383919"/>
                <a:gd name="connsiteX28" fmla="*/ 778735 w 1141507"/>
                <a:gd name="connsiteY28" fmla="*/ 46648 h 3383919"/>
                <a:gd name="connsiteX29" fmla="*/ 774567 w 1141507"/>
                <a:gd name="connsiteY29" fmla="*/ 22395 h 3383919"/>
                <a:gd name="connsiteX30" fmla="*/ 825843 w 1141507"/>
                <a:gd name="connsiteY30" fmla="*/ 104 h 3383919"/>
                <a:gd name="connsiteX31" fmla="*/ 879423 w 1141507"/>
                <a:gd name="connsiteY31" fmla="*/ 9976 h 3383919"/>
                <a:gd name="connsiteX32" fmla="*/ 958207 w 1141507"/>
                <a:gd name="connsiteY32" fmla="*/ 21886 h 3383919"/>
                <a:gd name="connsiteX33" fmla="*/ 1042530 w 1141507"/>
                <a:gd name="connsiteY33" fmla="*/ 91245 h 3383919"/>
                <a:gd name="connsiteX34" fmla="*/ 1104665 w 1141507"/>
                <a:gd name="connsiteY34" fmla="*/ 167341 h 3383919"/>
                <a:gd name="connsiteX35" fmla="*/ 1003694 w 1141507"/>
                <a:gd name="connsiteY35" fmla="*/ 196335 h 3383919"/>
                <a:gd name="connsiteX36" fmla="*/ 988160 w 1141507"/>
                <a:gd name="connsiteY36" fmla="*/ 243442 h 3383919"/>
                <a:gd name="connsiteX37" fmla="*/ 1045830 w 1141507"/>
                <a:gd name="connsiteY37" fmla="*/ 327932 h 3383919"/>
                <a:gd name="connsiteX38" fmla="*/ 1081364 w 1141507"/>
                <a:gd name="connsiteY38" fmla="*/ 334034 h 3383919"/>
                <a:gd name="connsiteX39" fmla="*/ 1133984 w 1141507"/>
                <a:gd name="connsiteY39" fmla="*/ 340374 h 3383919"/>
                <a:gd name="connsiteX40" fmla="*/ 1129021 w 1141507"/>
                <a:gd name="connsiteY40" fmla="*/ 451149 h 3383919"/>
                <a:gd name="connsiteX41" fmla="*/ 1140090 w 1141507"/>
                <a:gd name="connsiteY41" fmla="*/ 782117 h 3383919"/>
                <a:gd name="connsiteX42" fmla="*/ 1131222 w 1141507"/>
                <a:gd name="connsiteY42" fmla="*/ 1584716 h 3383919"/>
                <a:gd name="connsiteX43" fmla="*/ 1140089 w 1141507"/>
                <a:gd name="connsiteY43" fmla="*/ 2039798 h 3383919"/>
                <a:gd name="connsiteX44" fmla="*/ 1113641 w 1141507"/>
                <a:gd name="connsiteY44" fmla="*/ 3349763 h 3383919"/>
                <a:gd name="connsiteX45" fmla="*/ 855214 w 1141507"/>
                <a:gd name="connsiteY45" fmla="*/ 3306168 h 3383919"/>
                <a:gd name="connsiteX46" fmla="*/ 686736 w 1141507"/>
                <a:gd name="connsiteY46" fmla="*/ 3239973 h 3383919"/>
                <a:gd name="connsiteX47" fmla="*/ 509390 w 1141507"/>
                <a:gd name="connsiteY47" fmla="*/ 3148957 h 3383919"/>
                <a:gd name="connsiteX48" fmla="*/ 411092 w 1141507"/>
                <a:gd name="connsiteY48" fmla="*/ 3068440 h 3383919"/>
                <a:gd name="connsiteX49" fmla="*/ 705354 w 1141507"/>
                <a:gd name="connsiteY49" fmla="*/ 2760804 h 3383919"/>
                <a:gd name="connsiteX50" fmla="*/ 421600 w 1141507"/>
                <a:gd name="connsiteY50" fmla="*/ 2222980 h 3383919"/>
                <a:gd name="connsiteX51" fmla="*/ 563950 w 1141507"/>
                <a:gd name="connsiteY51" fmla="*/ 1983895 h 3383919"/>
                <a:gd name="connsiteX52" fmla="*/ 377263 w 1141507"/>
                <a:gd name="connsiteY52" fmla="*/ 1445204 h 3383919"/>
                <a:gd name="connsiteX53" fmla="*/ 128979 w 1141507"/>
                <a:gd name="connsiteY53" fmla="*/ 1213526 h 3383919"/>
                <a:gd name="connsiteX54" fmla="*/ 120112 w 1141507"/>
                <a:gd name="connsiteY54" fmla="*/ 1097687 h 3383919"/>
                <a:gd name="connsiteX55" fmla="*/ 0 w 1141507"/>
                <a:gd name="connsiteY55"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390792 w 1141507"/>
                <a:gd name="connsiteY3" fmla="*/ 693071 h 3383919"/>
                <a:gd name="connsiteX4" fmla="*/ 546521 w 1141507"/>
                <a:gd name="connsiteY4" fmla="*/ 749434 h 3383919"/>
                <a:gd name="connsiteX5" fmla="*/ 498861 w 1141507"/>
                <a:gd name="connsiteY5" fmla="*/ 674971 h 3383919"/>
                <a:gd name="connsiteX6" fmla="*/ 487777 w 1141507"/>
                <a:gd name="connsiteY6" fmla="*/ 623257 h 3383919"/>
                <a:gd name="connsiteX7" fmla="*/ 526572 w 1141507"/>
                <a:gd name="connsiteY7" fmla="*/ 574130 h 3383919"/>
                <a:gd name="connsiteX8" fmla="*/ 554282 w 1141507"/>
                <a:gd name="connsiteY8" fmla="*/ 545687 h 3383919"/>
                <a:gd name="connsiteX9" fmla="*/ 579222 w 1141507"/>
                <a:gd name="connsiteY9" fmla="*/ 509487 h 3383919"/>
                <a:gd name="connsiteX10" fmla="*/ 659582 w 1141507"/>
                <a:gd name="connsiteY10" fmla="*/ 504315 h 3383919"/>
                <a:gd name="connsiteX11" fmla="*/ 665123 w 1141507"/>
                <a:gd name="connsiteY11" fmla="*/ 483630 h 3383919"/>
                <a:gd name="connsiteX12" fmla="*/ 690063 w 1141507"/>
                <a:gd name="connsiteY12" fmla="*/ 447430 h 3383919"/>
                <a:gd name="connsiteX13" fmla="*/ 723867 w 1141507"/>
                <a:gd name="connsiteY13" fmla="*/ 429842 h 3383919"/>
                <a:gd name="connsiteX14" fmla="*/ 781507 w 1141507"/>
                <a:gd name="connsiteY14" fmla="*/ 442259 h 3383919"/>
                <a:gd name="connsiteX15" fmla="*/ 820300 w 1141507"/>
                <a:gd name="connsiteY15" fmla="*/ 462945 h 3383919"/>
                <a:gd name="connsiteX16" fmla="*/ 867408 w 1141507"/>
                <a:gd name="connsiteY16" fmla="*/ 470702 h 3383919"/>
                <a:gd name="connsiteX17" fmla="*/ 867408 w 1141507"/>
                <a:gd name="connsiteY17" fmla="*/ 475873 h 3383919"/>
                <a:gd name="connsiteX18" fmla="*/ 889577 w 1141507"/>
                <a:gd name="connsiteY18" fmla="*/ 416402 h 3383919"/>
                <a:gd name="connsiteX19" fmla="*/ 899552 w 1141507"/>
                <a:gd name="connsiteY19" fmla="*/ 382784 h 3383919"/>
                <a:gd name="connsiteX20" fmla="*/ 906203 w 1141507"/>
                <a:gd name="connsiteY20" fmla="*/ 364688 h 3383919"/>
                <a:gd name="connsiteX21" fmla="*/ 909140 w 1141507"/>
                <a:gd name="connsiteY21" fmla="*/ 333358 h 3383919"/>
                <a:gd name="connsiteX22" fmla="*/ 828614 w 1141507"/>
                <a:gd name="connsiteY22" fmla="*/ 287118 h 3383919"/>
                <a:gd name="connsiteX23" fmla="*/ 814759 w 1141507"/>
                <a:gd name="connsiteY23" fmla="*/ 214718 h 3383919"/>
                <a:gd name="connsiteX24" fmla="*/ 814759 w 1141507"/>
                <a:gd name="connsiteY24" fmla="*/ 196618 h 3383919"/>
                <a:gd name="connsiteX25" fmla="*/ 825842 w 1141507"/>
                <a:gd name="connsiteY25" fmla="*/ 173346 h 3383919"/>
                <a:gd name="connsiteX26" fmla="*/ 828614 w 1141507"/>
                <a:gd name="connsiteY26" fmla="*/ 157832 h 3383919"/>
                <a:gd name="connsiteX27" fmla="*/ 842469 w 1141507"/>
                <a:gd name="connsiteY27" fmla="*/ 95776 h 3383919"/>
                <a:gd name="connsiteX28" fmla="*/ 820300 w 1141507"/>
                <a:gd name="connsiteY28" fmla="*/ 75091 h 3383919"/>
                <a:gd name="connsiteX29" fmla="*/ 778735 w 1141507"/>
                <a:gd name="connsiteY29" fmla="*/ 46648 h 3383919"/>
                <a:gd name="connsiteX30" fmla="*/ 774567 w 1141507"/>
                <a:gd name="connsiteY30" fmla="*/ 22395 h 3383919"/>
                <a:gd name="connsiteX31" fmla="*/ 825843 w 1141507"/>
                <a:gd name="connsiteY31" fmla="*/ 104 h 3383919"/>
                <a:gd name="connsiteX32" fmla="*/ 879423 w 1141507"/>
                <a:gd name="connsiteY32" fmla="*/ 9976 h 3383919"/>
                <a:gd name="connsiteX33" fmla="*/ 958207 w 1141507"/>
                <a:gd name="connsiteY33" fmla="*/ 21886 h 3383919"/>
                <a:gd name="connsiteX34" fmla="*/ 1042530 w 1141507"/>
                <a:gd name="connsiteY34" fmla="*/ 91245 h 3383919"/>
                <a:gd name="connsiteX35" fmla="*/ 1104665 w 1141507"/>
                <a:gd name="connsiteY35" fmla="*/ 167341 h 3383919"/>
                <a:gd name="connsiteX36" fmla="*/ 1003694 w 1141507"/>
                <a:gd name="connsiteY36" fmla="*/ 196335 h 3383919"/>
                <a:gd name="connsiteX37" fmla="*/ 988160 w 1141507"/>
                <a:gd name="connsiteY37" fmla="*/ 243442 h 3383919"/>
                <a:gd name="connsiteX38" fmla="*/ 1045830 w 1141507"/>
                <a:gd name="connsiteY38" fmla="*/ 327932 h 3383919"/>
                <a:gd name="connsiteX39" fmla="*/ 1081364 w 1141507"/>
                <a:gd name="connsiteY39" fmla="*/ 334034 h 3383919"/>
                <a:gd name="connsiteX40" fmla="*/ 1133984 w 1141507"/>
                <a:gd name="connsiteY40" fmla="*/ 340374 h 3383919"/>
                <a:gd name="connsiteX41" fmla="*/ 1129021 w 1141507"/>
                <a:gd name="connsiteY41" fmla="*/ 451149 h 3383919"/>
                <a:gd name="connsiteX42" fmla="*/ 1140090 w 1141507"/>
                <a:gd name="connsiteY42" fmla="*/ 782117 h 3383919"/>
                <a:gd name="connsiteX43" fmla="*/ 1131222 w 1141507"/>
                <a:gd name="connsiteY43" fmla="*/ 1584716 h 3383919"/>
                <a:gd name="connsiteX44" fmla="*/ 1140089 w 1141507"/>
                <a:gd name="connsiteY44" fmla="*/ 2039798 h 3383919"/>
                <a:gd name="connsiteX45" fmla="*/ 1113641 w 1141507"/>
                <a:gd name="connsiteY45" fmla="*/ 3349763 h 3383919"/>
                <a:gd name="connsiteX46" fmla="*/ 855214 w 1141507"/>
                <a:gd name="connsiteY46" fmla="*/ 3306168 h 3383919"/>
                <a:gd name="connsiteX47" fmla="*/ 686736 w 1141507"/>
                <a:gd name="connsiteY47" fmla="*/ 3239973 h 3383919"/>
                <a:gd name="connsiteX48" fmla="*/ 509390 w 1141507"/>
                <a:gd name="connsiteY48" fmla="*/ 3148957 h 3383919"/>
                <a:gd name="connsiteX49" fmla="*/ 411092 w 1141507"/>
                <a:gd name="connsiteY49" fmla="*/ 3068440 h 3383919"/>
                <a:gd name="connsiteX50" fmla="*/ 705354 w 1141507"/>
                <a:gd name="connsiteY50" fmla="*/ 2760804 h 3383919"/>
                <a:gd name="connsiteX51" fmla="*/ 421600 w 1141507"/>
                <a:gd name="connsiteY51" fmla="*/ 2222980 h 3383919"/>
                <a:gd name="connsiteX52" fmla="*/ 563950 w 1141507"/>
                <a:gd name="connsiteY52" fmla="*/ 1983895 h 3383919"/>
                <a:gd name="connsiteX53" fmla="*/ 377263 w 1141507"/>
                <a:gd name="connsiteY53" fmla="*/ 1445204 h 3383919"/>
                <a:gd name="connsiteX54" fmla="*/ 128979 w 1141507"/>
                <a:gd name="connsiteY54" fmla="*/ 1213526 h 3383919"/>
                <a:gd name="connsiteX55" fmla="*/ 120112 w 1141507"/>
                <a:gd name="connsiteY55" fmla="*/ 1097687 h 3383919"/>
                <a:gd name="connsiteX56" fmla="*/ 0 w 1141507"/>
                <a:gd name="connsiteY56" fmla="*/ 304041 h 3383919"/>
                <a:gd name="connsiteX0" fmla="*/ 0 w 1141507"/>
                <a:gd name="connsiteY0" fmla="*/ 304041 h 3383919"/>
                <a:gd name="connsiteX1" fmla="*/ 235627 w 1141507"/>
                <a:gd name="connsiteY1" fmla="*/ 310487 h 3383919"/>
                <a:gd name="connsiteX2" fmla="*/ 358646 w 1141507"/>
                <a:gd name="connsiteY2" fmla="*/ 782532 h 3383919"/>
                <a:gd name="connsiteX3" fmla="*/ 390792 w 1141507"/>
                <a:gd name="connsiteY3" fmla="*/ 693071 h 3383919"/>
                <a:gd name="connsiteX4" fmla="*/ 546521 w 1141507"/>
                <a:gd name="connsiteY4" fmla="*/ 749434 h 3383919"/>
                <a:gd name="connsiteX5" fmla="*/ 532113 w 1141507"/>
                <a:gd name="connsiteY5" fmla="*/ 713757 h 3383919"/>
                <a:gd name="connsiteX6" fmla="*/ 498861 w 1141507"/>
                <a:gd name="connsiteY6" fmla="*/ 674971 h 3383919"/>
                <a:gd name="connsiteX7" fmla="*/ 487777 w 1141507"/>
                <a:gd name="connsiteY7" fmla="*/ 623257 h 3383919"/>
                <a:gd name="connsiteX8" fmla="*/ 526572 w 1141507"/>
                <a:gd name="connsiteY8" fmla="*/ 574130 h 3383919"/>
                <a:gd name="connsiteX9" fmla="*/ 554282 w 1141507"/>
                <a:gd name="connsiteY9" fmla="*/ 545687 h 3383919"/>
                <a:gd name="connsiteX10" fmla="*/ 579222 w 1141507"/>
                <a:gd name="connsiteY10" fmla="*/ 509487 h 3383919"/>
                <a:gd name="connsiteX11" fmla="*/ 659582 w 1141507"/>
                <a:gd name="connsiteY11" fmla="*/ 504315 h 3383919"/>
                <a:gd name="connsiteX12" fmla="*/ 665123 w 1141507"/>
                <a:gd name="connsiteY12" fmla="*/ 483630 h 3383919"/>
                <a:gd name="connsiteX13" fmla="*/ 690063 w 1141507"/>
                <a:gd name="connsiteY13" fmla="*/ 447430 h 3383919"/>
                <a:gd name="connsiteX14" fmla="*/ 723867 w 1141507"/>
                <a:gd name="connsiteY14" fmla="*/ 429842 h 3383919"/>
                <a:gd name="connsiteX15" fmla="*/ 781507 w 1141507"/>
                <a:gd name="connsiteY15" fmla="*/ 442259 h 3383919"/>
                <a:gd name="connsiteX16" fmla="*/ 820300 w 1141507"/>
                <a:gd name="connsiteY16" fmla="*/ 462945 h 3383919"/>
                <a:gd name="connsiteX17" fmla="*/ 867408 w 1141507"/>
                <a:gd name="connsiteY17" fmla="*/ 470702 h 3383919"/>
                <a:gd name="connsiteX18" fmla="*/ 867408 w 1141507"/>
                <a:gd name="connsiteY18" fmla="*/ 475873 h 3383919"/>
                <a:gd name="connsiteX19" fmla="*/ 889577 w 1141507"/>
                <a:gd name="connsiteY19" fmla="*/ 416402 h 3383919"/>
                <a:gd name="connsiteX20" fmla="*/ 899552 w 1141507"/>
                <a:gd name="connsiteY20" fmla="*/ 382784 h 3383919"/>
                <a:gd name="connsiteX21" fmla="*/ 906203 w 1141507"/>
                <a:gd name="connsiteY21" fmla="*/ 364688 h 3383919"/>
                <a:gd name="connsiteX22" fmla="*/ 909140 w 1141507"/>
                <a:gd name="connsiteY22" fmla="*/ 333358 h 3383919"/>
                <a:gd name="connsiteX23" fmla="*/ 828614 w 1141507"/>
                <a:gd name="connsiteY23" fmla="*/ 287118 h 3383919"/>
                <a:gd name="connsiteX24" fmla="*/ 814759 w 1141507"/>
                <a:gd name="connsiteY24" fmla="*/ 214718 h 3383919"/>
                <a:gd name="connsiteX25" fmla="*/ 814759 w 1141507"/>
                <a:gd name="connsiteY25" fmla="*/ 196618 h 3383919"/>
                <a:gd name="connsiteX26" fmla="*/ 825842 w 1141507"/>
                <a:gd name="connsiteY26" fmla="*/ 173346 h 3383919"/>
                <a:gd name="connsiteX27" fmla="*/ 828614 w 1141507"/>
                <a:gd name="connsiteY27" fmla="*/ 157832 h 3383919"/>
                <a:gd name="connsiteX28" fmla="*/ 842469 w 1141507"/>
                <a:gd name="connsiteY28" fmla="*/ 95776 h 3383919"/>
                <a:gd name="connsiteX29" fmla="*/ 820300 w 1141507"/>
                <a:gd name="connsiteY29" fmla="*/ 75091 h 3383919"/>
                <a:gd name="connsiteX30" fmla="*/ 778735 w 1141507"/>
                <a:gd name="connsiteY30" fmla="*/ 46648 h 3383919"/>
                <a:gd name="connsiteX31" fmla="*/ 774567 w 1141507"/>
                <a:gd name="connsiteY31" fmla="*/ 22395 h 3383919"/>
                <a:gd name="connsiteX32" fmla="*/ 825843 w 1141507"/>
                <a:gd name="connsiteY32" fmla="*/ 104 h 3383919"/>
                <a:gd name="connsiteX33" fmla="*/ 879423 w 1141507"/>
                <a:gd name="connsiteY33" fmla="*/ 9976 h 3383919"/>
                <a:gd name="connsiteX34" fmla="*/ 958207 w 1141507"/>
                <a:gd name="connsiteY34" fmla="*/ 21886 h 3383919"/>
                <a:gd name="connsiteX35" fmla="*/ 1042530 w 1141507"/>
                <a:gd name="connsiteY35" fmla="*/ 91245 h 3383919"/>
                <a:gd name="connsiteX36" fmla="*/ 1104665 w 1141507"/>
                <a:gd name="connsiteY36" fmla="*/ 167341 h 3383919"/>
                <a:gd name="connsiteX37" fmla="*/ 1003694 w 1141507"/>
                <a:gd name="connsiteY37" fmla="*/ 196335 h 3383919"/>
                <a:gd name="connsiteX38" fmla="*/ 988160 w 1141507"/>
                <a:gd name="connsiteY38" fmla="*/ 243442 h 3383919"/>
                <a:gd name="connsiteX39" fmla="*/ 1045830 w 1141507"/>
                <a:gd name="connsiteY39" fmla="*/ 327932 h 3383919"/>
                <a:gd name="connsiteX40" fmla="*/ 1081364 w 1141507"/>
                <a:gd name="connsiteY40" fmla="*/ 334034 h 3383919"/>
                <a:gd name="connsiteX41" fmla="*/ 1133984 w 1141507"/>
                <a:gd name="connsiteY41" fmla="*/ 340374 h 3383919"/>
                <a:gd name="connsiteX42" fmla="*/ 1129021 w 1141507"/>
                <a:gd name="connsiteY42" fmla="*/ 451149 h 3383919"/>
                <a:gd name="connsiteX43" fmla="*/ 1140090 w 1141507"/>
                <a:gd name="connsiteY43" fmla="*/ 782117 h 3383919"/>
                <a:gd name="connsiteX44" fmla="*/ 1131222 w 1141507"/>
                <a:gd name="connsiteY44" fmla="*/ 1584716 h 3383919"/>
                <a:gd name="connsiteX45" fmla="*/ 1140089 w 1141507"/>
                <a:gd name="connsiteY45" fmla="*/ 2039798 h 3383919"/>
                <a:gd name="connsiteX46" fmla="*/ 1113641 w 1141507"/>
                <a:gd name="connsiteY46" fmla="*/ 3349763 h 3383919"/>
                <a:gd name="connsiteX47" fmla="*/ 855214 w 1141507"/>
                <a:gd name="connsiteY47" fmla="*/ 3306168 h 3383919"/>
                <a:gd name="connsiteX48" fmla="*/ 686736 w 1141507"/>
                <a:gd name="connsiteY48" fmla="*/ 3239973 h 3383919"/>
                <a:gd name="connsiteX49" fmla="*/ 509390 w 1141507"/>
                <a:gd name="connsiteY49" fmla="*/ 3148957 h 3383919"/>
                <a:gd name="connsiteX50" fmla="*/ 411092 w 1141507"/>
                <a:gd name="connsiteY50" fmla="*/ 3068440 h 3383919"/>
                <a:gd name="connsiteX51" fmla="*/ 705354 w 1141507"/>
                <a:gd name="connsiteY51" fmla="*/ 2760804 h 3383919"/>
                <a:gd name="connsiteX52" fmla="*/ 421600 w 1141507"/>
                <a:gd name="connsiteY52" fmla="*/ 2222980 h 3383919"/>
                <a:gd name="connsiteX53" fmla="*/ 563950 w 1141507"/>
                <a:gd name="connsiteY53" fmla="*/ 1983895 h 3383919"/>
                <a:gd name="connsiteX54" fmla="*/ 377263 w 1141507"/>
                <a:gd name="connsiteY54" fmla="*/ 1445204 h 3383919"/>
                <a:gd name="connsiteX55" fmla="*/ 128979 w 1141507"/>
                <a:gd name="connsiteY55" fmla="*/ 1213526 h 3383919"/>
                <a:gd name="connsiteX56" fmla="*/ 120112 w 1141507"/>
                <a:gd name="connsiteY56" fmla="*/ 1097687 h 3383919"/>
                <a:gd name="connsiteX57" fmla="*/ 0 w 1141507"/>
                <a:gd name="connsiteY57" fmla="*/ 304041 h 3383919"/>
                <a:gd name="connsiteX0" fmla="*/ 0 w 1141507"/>
                <a:gd name="connsiteY0" fmla="*/ 304041 h 3383919"/>
                <a:gd name="connsiteX1" fmla="*/ 235627 w 1141507"/>
                <a:gd name="connsiteY1" fmla="*/ 310487 h 3383919"/>
                <a:gd name="connsiteX2" fmla="*/ 366959 w 1141507"/>
                <a:gd name="connsiteY2" fmla="*/ 661004 h 3383919"/>
                <a:gd name="connsiteX3" fmla="*/ 390792 w 1141507"/>
                <a:gd name="connsiteY3" fmla="*/ 693071 h 3383919"/>
                <a:gd name="connsiteX4" fmla="*/ 546521 w 1141507"/>
                <a:gd name="connsiteY4" fmla="*/ 749434 h 3383919"/>
                <a:gd name="connsiteX5" fmla="*/ 532113 w 1141507"/>
                <a:gd name="connsiteY5" fmla="*/ 713757 h 3383919"/>
                <a:gd name="connsiteX6" fmla="*/ 498861 w 1141507"/>
                <a:gd name="connsiteY6" fmla="*/ 674971 h 3383919"/>
                <a:gd name="connsiteX7" fmla="*/ 487777 w 1141507"/>
                <a:gd name="connsiteY7" fmla="*/ 623257 h 3383919"/>
                <a:gd name="connsiteX8" fmla="*/ 526572 w 1141507"/>
                <a:gd name="connsiteY8" fmla="*/ 574130 h 3383919"/>
                <a:gd name="connsiteX9" fmla="*/ 554282 w 1141507"/>
                <a:gd name="connsiteY9" fmla="*/ 545687 h 3383919"/>
                <a:gd name="connsiteX10" fmla="*/ 579222 w 1141507"/>
                <a:gd name="connsiteY10" fmla="*/ 509487 h 3383919"/>
                <a:gd name="connsiteX11" fmla="*/ 659582 w 1141507"/>
                <a:gd name="connsiteY11" fmla="*/ 504315 h 3383919"/>
                <a:gd name="connsiteX12" fmla="*/ 665123 w 1141507"/>
                <a:gd name="connsiteY12" fmla="*/ 483630 h 3383919"/>
                <a:gd name="connsiteX13" fmla="*/ 690063 w 1141507"/>
                <a:gd name="connsiteY13" fmla="*/ 447430 h 3383919"/>
                <a:gd name="connsiteX14" fmla="*/ 723867 w 1141507"/>
                <a:gd name="connsiteY14" fmla="*/ 429842 h 3383919"/>
                <a:gd name="connsiteX15" fmla="*/ 781507 w 1141507"/>
                <a:gd name="connsiteY15" fmla="*/ 442259 h 3383919"/>
                <a:gd name="connsiteX16" fmla="*/ 820300 w 1141507"/>
                <a:gd name="connsiteY16" fmla="*/ 462945 h 3383919"/>
                <a:gd name="connsiteX17" fmla="*/ 867408 w 1141507"/>
                <a:gd name="connsiteY17" fmla="*/ 470702 h 3383919"/>
                <a:gd name="connsiteX18" fmla="*/ 867408 w 1141507"/>
                <a:gd name="connsiteY18" fmla="*/ 475873 h 3383919"/>
                <a:gd name="connsiteX19" fmla="*/ 889577 w 1141507"/>
                <a:gd name="connsiteY19" fmla="*/ 416402 h 3383919"/>
                <a:gd name="connsiteX20" fmla="*/ 899552 w 1141507"/>
                <a:gd name="connsiteY20" fmla="*/ 382784 h 3383919"/>
                <a:gd name="connsiteX21" fmla="*/ 906203 w 1141507"/>
                <a:gd name="connsiteY21" fmla="*/ 364688 h 3383919"/>
                <a:gd name="connsiteX22" fmla="*/ 909140 w 1141507"/>
                <a:gd name="connsiteY22" fmla="*/ 333358 h 3383919"/>
                <a:gd name="connsiteX23" fmla="*/ 828614 w 1141507"/>
                <a:gd name="connsiteY23" fmla="*/ 287118 h 3383919"/>
                <a:gd name="connsiteX24" fmla="*/ 814759 w 1141507"/>
                <a:gd name="connsiteY24" fmla="*/ 214718 h 3383919"/>
                <a:gd name="connsiteX25" fmla="*/ 814759 w 1141507"/>
                <a:gd name="connsiteY25" fmla="*/ 196618 h 3383919"/>
                <a:gd name="connsiteX26" fmla="*/ 825842 w 1141507"/>
                <a:gd name="connsiteY26" fmla="*/ 173346 h 3383919"/>
                <a:gd name="connsiteX27" fmla="*/ 828614 w 1141507"/>
                <a:gd name="connsiteY27" fmla="*/ 157832 h 3383919"/>
                <a:gd name="connsiteX28" fmla="*/ 842469 w 1141507"/>
                <a:gd name="connsiteY28" fmla="*/ 95776 h 3383919"/>
                <a:gd name="connsiteX29" fmla="*/ 820300 w 1141507"/>
                <a:gd name="connsiteY29" fmla="*/ 75091 h 3383919"/>
                <a:gd name="connsiteX30" fmla="*/ 778735 w 1141507"/>
                <a:gd name="connsiteY30" fmla="*/ 46648 h 3383919"/>
                <a:gd name="connsiteX31" fmla="*/ 774567 w 1141507"/>
                <a:gd name="connsiteY31" fmla="*/ 22395 h 3383919"/>
                <a:gd name="connsiteX32" fmla="*/ 825843 w 1141507"/>
                <a:gd name="connsiteY32" fmla="*/ 104 h 3383919"/>
                <a:gd name="connsiteX33" fmla="*/ 879423 w 1141507"/>
                <a:gd name="connsiteY33" fmla="*/ 9976 h 3383919"/>
                <a:gd name="connsiteX34" fmla="*/ 958207 w 1141507"/>
                <a:gd name="connsiteY34" fmla="*/ 21886 h 3383919"/>
                <a:gd name="connsiteX35" fmla="*/ 1042530 w 1141507"/>
                <a:gd name="connsiteY35" fmla="*/ 91245 h 3383919"/>
                <a:gd name="connsiteX36" fmla="*/ 1104665 w 1141507"/>
                <a:gd name="connsiteY36" fmla="*/ 167341 h 3383919"/>
                <a:gd name="connsiteX37" fmla="*/ 1003694 w 1141507"/>
                <a:gd name="connsiteY37" fmla="*/ 196335 h 3383919"/>
                <a:gd name="connsiteX38" fmla="*/ 988160 w 1141507"/>
                <a:gd name="connsiteY38" fmla="*/ 243442 h 3383919"/>
                <a:gd name="connsiteX39" fmla="*/ 1045830 w 1141507"/>
                <a:gd name="connsiteY39" fmla="*/ 327932 h 3383919"/>
                <a:gd name="connsiteX40" fmla="*/ 1081364 w 1141507"/>
                <a:gd name="connsiteY40" fmla="*/ 334034 h 3383919"/>
                <a:gd name="connsiteX41" fmla="*/ 1133984 w 1141507"/>
                <a:gd name="connsiteY41" fmla="*/ 340374 h 3383919"/>
                <a:gd name="connsiteX42" fmla="*/ 1129021 w 1141507"/>
                <a:gd name="connsiteY42" fmla="*/ 451149 h 3383919"/>
                <a:gd name="connsiteX43" fmla="*/ 1140090 w 1141507"/>
                <a:gd name="connsiteY43" fmla="*/ 782117 h 3383919"/>
                <a:gd name="connsiteX44" fmla="*/ 1131222 w 1141507"/>
                <a:gd name="connsiteY44" fmla="*/ 1584716 h 3383919"/>
                <a:gd name="connsiteX45" fmla="*/ 1140089 w 1141507"/>
                <a:gd name="connsiteY45" fmla="*/ 2039798 h 3383919"/>
                <a:gd name="connsiteX46" fmla="*/ 1113641 w 1141507"/>
                <a:gd name="connsiteY46" fmla="*/ 3349763 h 3383919"/>
                <a:gd name="connsiteX47" fmla="*/ 855214 w 1141507"/>
                <a:gd name="connsiteY47" fmla="*/ 3306168 h 3383919"/>
                <a:gd name="connsiteX48" fmla="*/ 686736 w 1141507"/>
                <a:gd name="connsiteY48" fmla="*/ 3239973 h 3383919"/>
                <a:gd name="connsiteX49" fmla="*/ 509390 w 1141507"/>
                <a:gd name="connsiteY49" fmla="*/ 3148957 h 3383919"/>
                <a:gd name="connsiteX50" fmla="*/ 411092 w 1141507"/>
                <a:gd name="connsiteY50" fmla="*/ 3068440 h 3383919"/>
                <a:gd name="connsiteX51" fmla="*/ 705354 w 1141507"/>
                <a:gd name="connsiteY51" fmla="*/ 2760804 h 3383919"/>
                <a:gd name="connsiteX52" fmla="*/ 421600 w 1141507"/>
                <a:gd name="connsiteY52" fmla="*/ 2222980 h 3383919"/>
                <a:gd name="connsiteX53" fmla="*/ 563950 w 1141507"/>
                <a:gd name="connsiteY53" fmla="*/ 1983895 h 3383919"/>
                <a:gd name="connsiteX54" fmla="*/ 377263 w 1141507"/>
                <a:gd name="connsiteY54" fmla="*/ 1445204 h 3383919"/>
                <a:gd name="connsiteX55" fmla="*/ 128979 w 1141507"/>
                <a:gd name="connsiteY55" fmla="*/ 1213526 h 3383919"/>
                <a:gd name="connsiteX56" fmla="*/ 120112 w 1141507"/>
                <a:gd name="connsiteY56" fmla="*/ 1097687 h 3383919"/>
                <a:gd name="connsiteX57" fmla="*/ 0 w 1141507"/>
                <a:gd name="connsiteY57"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366959 w 1141507"/>
                <a:gd name="connsiteY3" fmla="*/ 661004 h 3383919"/>
                <a:gd name="connsiteX4" fmla="*/ 390792 w 1141507"/>
                <a:gd name="connsiteY4" fmla="*/ 693071 h 3383919"/>
                <a:gd name="connsiteX5" fmla="*/ 546521 w 1141507"/>
                <a:gd name="connsiteY5" fmla="*/ 749434 h 3383919"/>
                <a:gd name="connsiteX6" fmla="*/ 532113 w 1141507"/>
                <a:gd name="connsiteY6" fmla="*/ 713757 h 3383919"/>
                <a:gd name="connsiteX7" fmla="*/ 498861 w 1141507"/>
                <a:gd name="connsiteY7" fmla="*/ 674971 h 3383919"/>
                <a:gd name="connsiteX8" fmla="*/ 487777 w 1141507"/>
                <a:gd name="connsiteY8" fmla="*/ 623257 h 3383919"/>
                <a:gd name="connsiteX9" fmla="*/ 526572 w 1141507"/>
                <a:gd name="connsiteY9" fmla="*/ 574130 h 3383919"/>
                <a:gd name="connsiteX10" fmla="*/ 554282 w 1141507"/>
                <a:gd name="connsiteY10" fmla="*/ 545687 h 3383919"/>
                <a:gd name="connsiteX11" fmla="*/ 579222 w 1141507"/>
                <a:gd name="connsiteY11" fmla="*/ 509487 h 3383919"/>
                <a:gd name="connsiteX12" fmla="*/ 659582 w 1141507"/>
                <a:gd name="connsiteY12" fmla="*/ 504315 h 3383919"/>
                <a:gd name="connsiteX13" fmla="*/ 665123 w 1141507"/>
                <a:gd name="connsiteY13" fmla="*/ 483630 h 3383919"/>
                <a:gd name="connsiteX14" fmla="*/ 690063 w 1141507"/>
                <a:gd name="connsiteY14" fmla="*/ 447430 h 3383919"/>
                <a:gd name="connsiteX15" fmla="*/ 723867 w 1141507"/>
                <a:gd name="connsiteY15" fmla="*/ 429842 h 3383919"/>
                <a:gd name="connsiteX16" fmla="*/ 781507 w 1141507"/>
                <a:gd name="connsiteY16" fmla="*/ 442259 h 3383919"/>
                <a:gd name="connsiteX17" fmla="*/ 820300 w 1141507"/>
                <a:gd name="connsiteY17" fmla="*/ 462945 h 3383919"/>
                <a:gd name="connsiteX18" fmla="*/ 867408 w 1141507"/>
                <a:gd name="connsiteY18" fmla="*/ 470702 h 3383919"/>
                <a:gd name="connsiteX19" fmla="*/ 867408 w 1141507"/>
                <a:gd name="connsiteY19" fmla="*/ 475873 h 3383919"/>
                <a:gd name="connsiteX20" fmla="*/ 889577 w 1141507"/>
                <a:gd name="connsiteY20" fmla="*/ 416402 h 3383919"/>
                <a:gd name="connsiteX21" fmla="*/ 899552 w 1141507"/>
                <a:gd name="connsiteY21" fmla="*/ 382784 h 3383919"/>
                <a:gd name="connsiteX22" fmla="*/ 906203 w 1141507"/>
                <a:gd name="connsiteY22" fmla="*/ 364688 h 3383919"/>
                <a:gd name="connsiteX23" fmla="*/ 909140 w 1141507"/>
                <a:gd name="connsiteY23" fmla="*/ 333358 h 3383919"/>
                <a:gd name="connsiteX24" fmla="*/ 828614 w 1141507"/>
                <a:gd name="connsiteY24" fmla="*/ 287118 h 3383919"/>
                <a:gd name="connsiteX25" fmla="*/ 814759 w 1141507"/>
                <a:gd name="connsiteY25" fmla="*/ 214718 h 3383919"/>
                <a:gd name="connsiteX26" fmla="*/ 814759 w 1141507"/>
                <a:gd name="connsiteY26" fmla="*/ 196618 h 3383919"/>
                <a:gd name="connsiteX27" fmla="*/ 825842 w 1141507"/>
                <a:gd name="connsiteY27" fmla="*/ 173346 h 3383919"/>
                <a:gd name="connsiteX28" fmla="*/ 828614 w 1141507"/>
                <a:gd name="connsiteY28" fmla="*/ 157832 h 3383919"/>
                <a:gd name="connsiteX29" fmla="*/ 842469 w 1141507"/>
                <a:gd name="connsiteY29" fmla="*/ 95776 h 3383919"/>
                <a:gd name="connsiteX30" fmla="*/ 820300 w 1141507"/>
                <a:gd name="connsiteY30" fmla="*/ 75091 h 3383919"/>
                <a:gd name="connsiteX31" fmla="*/ 778735 w 1141507"/>
                <a:gd name="connsiteY31" fmla="*/ 46648 h 3383919"/>
                <a:gd name="connsiteX32" fmla="*/ 774567 w 1141507"/>
                <a:gd name="connsiteY32" fmla="*/ 22395 h 3383919"/>
                <a:gd name="connsiteX33" fmla="*/ 825843 w 1141507"/>
                <a:gd name="connsiteY33" fmla="*/ 104 h 3383919"/>
                <a:gd name="connsiteX34" fmla="*/ 879423 w 1141507"/>
                <a:gd name="connsiteY34" fmla="*/ 9976 h 3383919"/>
                <a:gd name="connsiteX35" fmla="*/ 958207 w 1141507"/>
                <a:gd name="connsiteY35" fmla="*/ 21886 h 3383919"/>
                <a:gd name="connsiteX36" fmla="*/ 1042530 w 1141507"/>
                <a:gd name="connsiteY36" fmla="*/ 91245 h 3383919"/>
                <a:gd name="connsiteX37" fmla="*/ 1104665 w 1141507"/>
                <a:gd name="connsiteY37" fmla="*/ 167341 h 3383919"/>
                <a:gd name="connsiteX38" fmla="*/ 1003694 w 1141507"/>
                <a:gd name="connsiteY38" fmla="*/ 196335 h 3383919"/>
                <a:gd name="connsiteX39" fmla="*/ 988160 w 1141507"/>
                <a:gd name="connsiteY39" fmla="*/ 243442 h 3383919"/>
                <a:gd name="connsiteX40" fmla="*/ 1045830 w 1141507"/>
                <a:gd name="connsiteY40" fmla="*/ 327932 h 3383919"/>
                <a:gd name="connsiteX41" fmla="*/ 1081364 w 1141507"/>
                <a:gd name="connsiteY41" fmla="*/ 334034 h 3383919"/>
                <a:gd name="connsiteX42" fmla="*/ 1133984 w 1141507"/>
                <a:gd name="connsiteY42" fmla="*/ 340374 h 3383919"/>
                <a:gd name="connsiteX43" fmla="*/ 1129021 w 1141507"/>
                <a:gd name="connsiteY43" fmla="*/ 451149 h 3383919"/>
                <a:gd name="connsiteX44" fmla="*/ 1140090 w 1141507"/>
                <a:gd name="connsiteY44" fmla="*/ 782117 h 3383919"/>
                <a:gd name="connsiteX45" fmla="*/ 1131222 w 1141507"/>
                <a:gd name="connsiteY45" fmla="*/ 1584716 h 3383919"/>
                <a:gd name="connsiteX46" fmla="*/ 1140089 w 1141507"/>
                <a:gd name="connsiteY46" fmla="*/ 2039798 h 3383919"/>
                <a:gd name="connsiteX47" fmla="*/ 1113641 w 1141507"/>
                <a:gd name="connsiteY47" fmla="*/ 3349763 h 3383919"/>
                <a:gd name="connsiteX48" fmla="*/ 855214 w 1141507"/>
                <a:gd name="connsiteY48" fmla="*/ 3306168 h 3383919"/>
                <a:gd name="connsiteX49" fmla="*/ 686736 w 1141507"/>
                <a:gd name="connsiteY49" fmla="*/ 3239973 h 3383919"/>
                <a:gd name="connsiteX50" fmla="*/ 509390 w 1141507"/>
                <a:gd name="connsiteY50" fmla="*/ 3148957 h 3383919"/>
                <a:gd name="connsiteX51" fmla="*/ 411092 w 1141507"/>
                <a:gd name="connsiteY51" fmla="*/ 3068440 h 3383919"/>
                <a:gd name="connsiteX52" fmla="*/ 705354 w 1141507"/>
                <a:gd name="connsiteY52" fmla="*/ 2760804 h 3383919"/>
                <a:gd name="connsiteX53" fmla="*/ 421600 w 1141507"/>
                <a:gd name="connsiteY53" fmla="*/ 2222980 h 3383919"/>
                <a:gd name="connsiteX54" fmla="*/ 563950 w 1141507"/>
                <a:gd name="connsiteY54" fmla="*/ 1983895 h 3383919"/>
                <a:gd name="connsiteX55" fmla="*/ 377263 w 1141507"/>
                <a:gd name="connsiteY55" fmla="*/ 1445204 h 3383919"/>
                <a:gd name="connsiteX56" fmla="*/ 128979 w 1141507"/>
                <a:gd name="connsiteY56" fmla="*/ 1213526 h 3383919"/>
                <a:gd name="connsiteX57" fmla="*/ 120112 w 1141507"/>
                <a:gd name="connsiteY57" fmla="*/ 1097687 h 3383919"/>
                <a:gd name="connsiteX58" fmla="*/ 0 w 1141507"/>
                <a:gd name="connsiteY58"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366959 w 1141507"/>
                <a:gd name="connsiteY4" fmla="*/ 661004 h 3383919"/>
                <a:gd name="connsiteX5" fmla="*/ 390792 w 1141507"/>
                <a:gd name="connsiteY5" fmla="*/ 693071 h 3383919"/>
                <a:gd name="connsiteX6" fmla="*/ 546521 w 1141507"/>
                <a:gd name="connsiteY6" fmla="*/ 749434 h 3383919"/>
                <a:gd name="connsiteX7" fmla="*/ 532113 w 1141507"/>
                <a:gd name="connsiteY7" fmla="*/ 713757 h 3383919"/>
                <a:gd name="connsiteX8" fmla="*/ 498861 w 1141507"/>
                <a:gd name="connsiteY8" fmla="*/ 674971 h 3383919"/>
                <a:gd name="connsiteX9" fmla="*/ 487777 w 1141507"/>
                <a:gd name="connsiteY9" fmla="*/ 623257 h 3383919"/>
                <a:gd name="connsiteX10" fmla="*/ 526572 w 1141507"/>
                <a:gd name="connsiteY10" fmla="*/ 574130 h 3383919"/>
                <a:gd name="connsiteX11" fmla="*/ 554282 w 1141507"/>
                <a:gd name="connsiteY11" fmla="*/ 545687 h 3383919"/>
                <a:gd name="connsiteX12" fmla="*/ 579222 w 1141507"/>
                <a:gd name="connsiteY12" fmla="*/ 509487 h 3383919"/>
                <a:gd name="connsiteX13" fmla="*/ 659582 w 1141507"/>
                <a:gd name="connsiteY13" fmla="*/ 504315 h 3383919"/>
                <a:gd name="connsiteX14" fmla="*/ 665123 w 1141507"/>
                <a:gd name="connsiteY14" fmla="*/ 483630 h 3383919"/>
                <a:gd name="connsiteX15" fmla="*/ 690063 w 1141507"/>
                <a:gd name="connsiteY15" fmla="*/ 447430 h 3383919"/>
                <a:gd name="connsiteX16" fmla="*/ 723867 w 1141507"/>
                <a:gd name="connsiteY16" fmla="*/ 429842 h 3383919"/>
                <a:gd name="connsiteX17" fmla="*/ 781507 w 1141507"/>
                <a:gd name="connsiteY17" fmla="*/ 442259 h 3383919"/>
                <a:gd name="connsiteX18" fmla="*/ 820300 w 1141507"/>
                <a:gd name="connsiteY18" fmla="*/ 462945 h 3383919"/>
                <a:gd name="connsiteX19" fmla="*/ 867408 w 1141507"/>
                <a:gd name="connsiteY19" fmla="*/ 470702 h 3383919"/>
                <a:gd name="connsiteX20" fmla="*/ 867408 w 1141507"/>
                <a:gd name="connsiteY20" fmla="*/ 475873 h 3383919"/>
                <a:gd name="connsiteX21" fmla="*/ 889577 w 1141507"/>
                <a:gd name="connsiteY21" fmla="*/ 416402 h 3383919"/>
                <a:gd name="connsiteX22" fmla="*/ 899552 w 1141507"/>
                <a:gd name="connsiteY22" fmla="*/ 382784 h 3383919"/>
                <a:gd name="connsiteX23" fmla="*/ 906203 w 1141507"/>
                <a:gd name="connsiteY23" fmla="*/ 364688 h 3383919"/>
                <a:gd name="connsiteX24" fmla="*/ 909140 w 1141507"/>
                <a:gd name="connsiteY24" fmla="*/ 333358 h 3383919"/>
                <a:gd name="connsiteX25" fmla="*/ 828614 w 1141507"/>
                <a:gd name="connsiteY25" fmla="*/ 287118 h 3383919"/>
                <a:gd name="connsiteX26" fmla="*/ 814759 w 1141507"/>
                <a:gd name="connsiteY26" fmla="*/ 214718 h 3383919"/>
                <a:gd name="connsiteX27" fmla="*/ 814759 w 1141507"/>
                <a:gd name="connsiteY27" fmla="*/ 196618 h 3383919"/>
                <a:gd name="connsiteX28" fmla="*/ 825842 w 1141507"/>
                <a:gd name="connsiteY28" fmla="*/ 173346 h 3383919"/>
                <a:gd name="connsiteX29" fmla="*/ 828614 w 1141507"/>
                <a:gd name="connsiteY29" fmla="*/ 157832 h 3383919"/>
                <a:gd name="connsiteX30" fmla="*/ 842469 w 1141507"/>
                <a:gd name="connsiteY30" fmla="*/ 95776 h 3383919"/>
                <a:gd name="connsiteX31" fmla="*/ 820300 w 1141507"/>
                <a:gd name="connsiteY31" fmla="*/ 75091 h 3383919"/>
                <a:gd name="connsiteX32" fmla="*/ 778735 w 1141507"/>
                <a:gd name="connsiteY32" fmla="*/ 46648 h 3383919"/>
                <a:gd name="connsiteX33" fmla="*/ 774567 w 1141507"/>
                <a:gd name="connsiteY33" fmla="*/ 22395 h 3383919"/>
                <a:gd name="connsiteX34" fmla="*/ 825843 w 1141507"/>
                <a:gd name="connsiteY34" fmla="*/ 104 h 3383919"/>
                <a:gd name="connsiteX35" fmla="*/ 879423 w 1141507"/>
                <a:gd name="connsiteY35" fmla="*/ 9976 h 3383919"/>
                <a:gd name="connsiteX36" fmla="*/ 958207 w 1141507"/>
                <a:gd name="connsiteY36" fmla="*/ 21886 h 3383919"/>
                <a:gd name="connsiteX37" fmla="*/ 1042530 w 1141507"/>
                <a:gd name="connsiteY37" fmla="*/ 91245 h 3383919"/>
                <a:gd name="connsiteX38" fmla="*/ 1104665 w 1141507"/>
                <a:gd name="connsiteY38" fmla="*/ 167341 h 3383919"/>
                <a:gd name="connsiteX39" fmla="*/ 1003694 w 1141507"/>
                <a:gd name="connsiteY39" fmla="*/ 196335 h 3383919"/>
                <a:gd name="connsiteX40" fmla="*/ 988160 w 1141507"/>
                <a:gd name="connsiteY40" fmla="*/ 243442 h 3383919"/>
                <a:gd name="connsiteX41" fmla="*/ 1045830 w 1141507"/>
                <a:gd name="connsiteY41" fmla="*/ 327932 h 3383919"/>
                <a:gd name="connsiteX42" fmla="*/ 1081364 w 1141507"/>
                <a:gd name="connsiteY42" fmla="*/ 334034 h 3383919"/>
                <a:gd name="connsiteX43" fmla="*/ 1133984 w 1141507"/>
                <a:gd name="connsiteY43" fmla="*/ 340374 h 3383919"/>
                <a:gd name="connsiteX44" fmla="*/ 1129021 w 1141507"/>
                <a:gd name="connsiteY44" fmla="*/ 451149 h 3383919"/>
                <a:gd name="connsiteX45" fmla="*/ 1140090 w 1141507"/>
                <a:gd name="connsiteY45" fmla="*/ 782117 h 3383919"/>
                <a:gd name="connsiteX46" fmla="*/ 1131222 w 1141507"/>
                <a:gd name="connsiteY46" fmla="*/ 1584716 h 3383919"/>
                <a:gd name="connsiteX47" fmla="*/ 1140089 w 1141507"/>
                <a:gd name="connsiteY47" fmla="*/ 2039798 h 3383919"/>
                <a:gd name="connsiteX48" fmla="*/ 1113641 w 1141507"/>
                <a:gd name="connsiteY48" fmla="*/ 3349763 h 3383919"/>
                <a:gd name="connsiteX49" fmla="*/ 855214 w 1141507"/>
                <a:gd name="connsiteY49" fmla="*/ 3306168 h 3383919"/>
                <a:gd name="connsiteX50" fmla="*/ 686736 w 1141507"/>
                <a:gd name="connsiteY50" fmla="*/ 3239973 h 3383919"/>
                <a:gd name="connsiteX51" fmla="*/ 509390 w 1141507"/>
                <a:gd name="connsiteY51" fmla="*/ 3148957 h 3383919"/>
                <a:gd name="connsiteX52" fmla="*/ 411092 w 1141507"/>
                <a:gd name="connsiteY52" fmla="*/ 3068440 h 3383919"/>
                <a:gd name="connsiteX53" fmla="*/ 705354 w 1141507"/>
                <a:gd name="connsiteY53" fmla="*/ 2760804 h 3383919"/>
                <a:gd name="connsiteX54" fmla="*/ 421600 w 1141507"/>
                <a:gd name="connsiteY54" fmla="*/ 2222980 h 3383919"/>
                <a:gd name="connsiteX55" fmla="*/ 563950 w 1141507"/>
                <a:gd name="connsiteY55" fmla="*/ 1983895 h 3383919"/>
                <a:gd name="connsiteX56" fmla="*/ 377263 w 1141507"/>
                <a:gd name="connsiteY56" fmla="*/ 1445204 h 3383919"/>
                <a:gd name="connsiteX57" fmla="*/ 128979 w 1141507"/>
                <a:gd name="connsiteY57" fmla="*/ 1213526 h 3383919"/>
                <a:gd name="connsiteX58" fmla="*/ 120112 w 1141507"/>
                <a:gd name="connsiteY58" fmla="*/ 1097687 h 3383919"/>
                <a:gd name="connsiteX59" fmla="*/ 0 w 1141507"/>
                <a:gd name="connsiteY59"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366959 w 1141507"/>
                <a:gd name="connsiteY4" fmla="*/ 661004 h 3383919"/>
                <a:gd name="connsiteX5" fmla="*/ 390792 w 1141507"/>
                <a:gd name="connsiteY5" fmla="*/ 693071 h 3383919"/>
                <a:gd name="connsiteX6" fmla="*/ 546521 w 1141507"/>
                <a:gd name="connsiteY6" fmla="*/ 749434 h 3383919"/>
                <a:gd name="connsiteX7" fmla="*/ 532113 w 1141507"/>
                <a:gd name="connsiteY7" fmla="*/ 713757 h 3383919"/>
                <a:gd name="connsiteX8" fmla="*/ 498861 w 1141507"/>
                <a:gd name="connsiteY8" fmla="*/ 674971 h 3383919"/>
                <a:gd name="connsiteX9" fmla="*/ 487777 w 1141507"/>
                <a:gd name="connsiteY9" fmla="*/ 623257 h 3383919"/>
                <a:gd name="connsiteX10" fmla="*/ 526572 w 1141507"/>
                <a:gd name="connsiteY10" fmla="*/ 574130 h 3383919"/>
                <a:gd name="connsiteX11" fmla="*/ 554282 w 1141507"/>
                <a:gd name="connsiteY11" fmla="*/ 545687 h 3383919"/>
                <a:gd name="connsiteX12" fmla="*/ 579222 w 1141507"/>
                <a:gd name="connsiteY12" fmla="*/ 509487 h 3383919"/>
                <a:gd name="connsiteX13" fmla="*/ 659582 w 1141507"/>
                <a:gd name="connsiteY13" fmla="*/ 504315 h 3383919"/>
                <a:gd name="connsiteX14" fmla="*/ 665123 w 1141507"/>
                <a:gd name="connsiteY14" fmla="*/ 483630 h 3383919"/>
                <a:gd name="connsiteX15" fmla="*/ 690063 w 1141507"/>
                <a:gd name="connsiteY15" fmla="*/ 447430 h 3383919"/>
                <a:gd name="connsiteX16" fmla="*/ 723867 w 1141507"/>
                <a:gd name="connsiteY16" fmla="*/ 429842 h 3383919"/>
                <a:gd name="connsiteX17" fmla="*/ 781507 w 1141507"/>
                <a:gd name="connsiteY17" fmla="*/ 442259 h 3383919"/>
                <a:gd name="connsiteX18" fmla="*/ 820300 w 1141507"/>
                <a:gd name="connsiteY18" fmla="*/ 462945 h 3383919"/>
                <a:gd name="connsiteX19" fmla="*/ 867408 w 1141507"/>
                <a:gd name="connsiteY19" fmla="*/ 470702 h 3383919"/>
                <a:gd name="connsiteX20" fmla="*/ 867408 w 1141507"/>
                <a:gd name="connsiteY20" fmla="*/ 475873 h 3383919"/>
                <a:gd name="connsiteX21" fmla="*/ 889577 w 1141507"/>
                <a:gd name="connsiteY21" fmla="*/ 416402 h 3383919"/>
                <a:gd name="connsiteX22" fmla="*/ 899552 w 1141507"/>
                <a:gd name="connsiteY22" fmla="*/ 382784 h 3383919"/>
                <a:gd name="connsiteX23" fmla="*/ 906203 w 1141507"/>
                <a:gd name="connsiteY23" fmla="*/ 364688 h 3383919"/>
                <a:gd name="connsiteX24" fmla="*/ 909140 w 1141507"/>
                <a:gd name="connsiteY24" fmla="*/ 333358 h 3383919"/>
                <a:gd name="connsiteX25" fmla="*/ 828614 w 1141507"/>
                <a:gd name="connsiteY25" fmla="*/ 287118 h 3383919"/>
                <a:gd name="connsiteX26" fmla="*/ 814759 w 1141507"/>
                <a:gd name="connsiteY26" fmla="*/ 214718 h 3383919"/>
                <a:gd name="connsiteX27" fmla="*/ 814759 w 1141507"/>
                <a:gd name="connsiteY27" fmla="*/ 196618 h 3383919"/>
                <a:gd name="connsiteX28" fmla="*/ 825842 w 1141507"/>
                <a:gd name="connsiteY28" fmla="*/ 173346 h 3383919"/>
                <a:gd name="connsiteX29" fmla="*/ 828614 w 1141507"/>
                <a:gd name="connsiteY29" fmla="*/ 157832 h 3383919"/>
                <a:gd name="connsiteX30" fmla="*/ 828613 w 1141507"/>
                <a:gd name="connsiteY30" fmla="*/ 100948 h 3383919"/>
                <a:gd name="connsiteX31" fmla="*/ 820300 w 1141507"/>
                <a:gd name="connsiteY31" fmla="*/ 75091 h 3383919"/>
                <a:gd name="connsiteX32" fmla="*/ 778735 w 1141507"/>
                <a:gd name="connsiteY32" fmla="*/ 46648 h 3383919"/>
                <a:gd name="connsiteX33" fmla="*/ 774567 w 1141507"/>
                <a:gd name="connsiteY33" fmla="*/ 22395 h 3383919"/>
                <a:gd name="connsiteX34" fmla="*/ 825843 w 1141507"/>
                <a:gd name="connsiteY34" fmla="*/ 104 h 3383919"/>
                <a:gd name="connsiteX35" fmla="*/ 879423 w 1141507"/>
                <a:gd name="connsiteY35" fmla="*/ 9976 h 3383919"/>
                <a:gd name="connsiteX36" fmla="*/ 958207 w 1141507"/>
                <a:gd name="connsiteY36" fmla="*/ 21886 h 3383919"/>
                <a:gd name="connsiteX37" fmla="*/ 1042530 w 1141507"/>
                <a:gd name="connsiteY37" fmla="*/ 91245 h 3383919"/>
                <a:gd name="connsiteX38" fmla="*/ 1104665 w 1141507"/>
                <a:gd name="connsiteY38" fmla="*/ 167341 h 3383919"/>
                <a:gd name="connsiteX39" fmla="*/ 1003694 w 1141507"/>
                <a:gd name="connsiteY39" fmla="*/ 196335 h 3383919"/>
                <a:gd name="connsiteX40" fmla="*/ 988160 w 1141507"/>
                <a:gd name="connsiteY40" fmla="*/ 243442 h 3383919"/>
                <a:gd name="connsiteX41" fmla="*/ 1045830 w 1141507"/>
                <a:gd name="connsiteY41" fmla="*/ 327932 h 3383919"/>
                <a:gd name="connsiteX42" fmla="*/ 1081364 w 1141507"/>
                <a:gd name="connsiteY42" fmla="*/ 334034 h 3383919"/>
                <a:gd name="connsiteX43" fmla="*/ 1133984 w 1141507"/>
                <a:gd name="connsiteY43" fmla="*/ 340374 h 3383919"/>
                <a:gd name="connsiteX44" fmla="*/ 1129021 w 1141507"/>
                <a:gd name="connsiteY44" fmla="*/ 451149 h 3383919"/>
                <a:gd name="connsiteX45" fmla="*/ 1140090 w 1141507"/>
                <a:gd name="connsiteY45" fmla="*/ 782117 h 3383919"/>
                <a:gd name="connsiteX46" fmla="*/ 1131222 w 1141507"/>
                <a:gd name="connsiteY46" fmla="*/ 1584716 h 3383919"/>
                <a:gd name="connsiteX47" fmla="*/ 1140089 w 1141507"/>
                <a:gd name="connsiteY47" fmla="*/ 2039798 h 3383919"/>
                <a:gd name="connsiteX48" fmla="*/ 1113641 w 1141507"/>
                <a:gd name="connsiteY48" fmla="*/ 3349763 h 3383919"/>
                <a:gd name="connsiteX49" fmla="*/ 855214 w 1141507"/>
                <a:gd name="connsiteY49" fmla="*/ 3306168 h 3383919"/>
                <a:gd name="connsiteX50" fmla="*/ 686736 w 1141507"/>
                <a:gd name="connsiteY50" fmla="*/ 3239973 h 3383919"/>
                <a:gd name="connsiteX51" fmla="*/ 509390 w 1141507"/>
                <a:gd name="connsiteY51" fmla="*/ 3148957 h 3383919"/>
                <a:gd name="connsiteX52" fmla="*/ 411092 w 1141507"/>
                <a:gd name="connsiteY52" fmla="*/ 3068440 h 3383919"/>
                <a:gd name="connsiteX53" fmla="*/ 705354 w 1141507"/>
                <a:gd name="connsiteY53" fmla="*/ 2760804 h 3383919"/>
                <a:gd name="connsiteX54" fmla="*/ 421600 w 1141507"/>
                <a:gd name="connsiteY54" fmla="*/ 2222980 h 3383919"/>
                <a:gd name="connsiteX55" fmla="*/ 563950 w 1141507"/>
                <a:gd name="connsiteY55" fmla="*/ 1983895 h 3383919"/>
                <a:gd name="connsiteX56" fmla="*/ 377263 w 1141507"/>
                <a:gd name="connsiteY56" fmla="*/ 1445204 h 3383919"/>
                <a:gd name="connsiteX57" fmla="*/ 128979 w 1141507"/>
                <a:gd name="connsiteY57" fmla="*/ 1213526 h 3383919"/>
                <a:gd name="connsiteX58" fmla="*/ 120112 w 1141507"/>
                <a:gd name="connsiteY58" fmla="*/ 1097687 h 3383919"/>
                <a:gd name="connsiteX59" fmla="*/ 0 w 1141507"/>
                <a:gd name="connsiteY59"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366959 w 1141507"/>
                <a:gd name="connsiteY4" fmla="*/ 661004 h 3383919"/>
                <a:gd name="connsiteX5" fmla="*/ 390792 w 1141507"/>
                <a:gd name="connsiteY5" fmla="*/ 693071 h 3383919"/>
                <a:gd name="connsiteX6" fmla="*/ 546521 w 1141507"/>
                <a:gd name="connsiteY6" fmla="*/ 749434 h 3383919"/>
                <a:gd name="connsiteX7" fmla="*/ 532113 w 1141507"/>
                <a:gd name="connsiteY7" fmla="*/ 713757 h 3383919"/>
                <a:gd name="connsiteX8" fmla="*/ 498861 w 1141507"/>
                <a:gd name="connsiteY8" fmla="*/ 674971 h 3383919"/>
                <a:gd name="connsiteX9" fmla="*/ 487777 w 1141507"/>
                <a:gd name="connsiteY9" fmla="*/ 623257 h 3383919"/>
                <a:gd name="connsiteX10" fmla="*/ 526572 w 1141507"/>
                <a:gd name="connsiteY10" fmla="*/ 574130 h 3383919"/>
                <a:gd name="connsiteX11" fmla="*/ 554282 w 1141507"/>
                <a:gd name="connsiteY11" fmla="*/ 545687 h 3383919"/>
                <a:gd name="connsiteX12" fmla="*/ 579222 w 1141507"/>
                <a:gd name="connsiteY12" fmla="*/ 509487 h 3383919"/>
                <a:gd name="connsiteX13" fmla="*/ 659582 w 1141507"/>
                <a:gd name="connsiteY13" fmla="*/ 504315 h 3383919"/>
                <a:gd name="connsiteX14" fmla="*/ 665123 w 1141507"/>
                <a:gd name="connsiteY14" fmla="*/ 483630 h 3383919"/>
                <a:gd name="connsiteX15" fmla="*/ 690063 w 1141507"/>
                <a:gd name="connsiteY15" fmla="*/ 447430 h 3383919"/>
                <a:gd name="connsiteX16" fmla="*/ 723867 w 1141507"/>
                <a:gd name="connsiteY16" fmla="*/ 429842 h 3383919"/>
                <a:gd name="connsiteX17" fmla="*/ 781507 w 1141507"/>
                <a:gd name="connsiteY17" fmla="*/ 442259 h 3383919"/>
                <a:gd name="connsiteX18" fmla="*/ 820300 w 1141507"/>
                <a:gd name="connsiteY18" fmla="*/ 462945 h 3383919"/>
                <a:gd name="connsiteX19" fmla="*/ 867408 w 1141507"/>
                <a:gd name="connsiteY19" fmla="*/ 470702 h 3383919"/>
                <a:gd name="connsiteX20" fmla="*/ 867408 w 1141507"/>
                <a:gd name="connsiteY20" fmla="*/ 475873 h 3383919"/>
                <a:gd name="connsiteX21" fmla="*/ 889577 w 1141507"/>
                <a:gd name="connsiteY21" fmla="*/ 416402 h 3383919"/>
                <a:gd name="connsiteX22" fmla="*/ 899552 w 1141507"/>
                <a:gd name="connsiteY22" fmla="*/ 382784 h 3383919"/>
                <a:gd name="connsiteX23" fmla="*/ 906203 w 1141507"/>
                <a:gd name="connsiteY23" fmla="*/ 364688 h 3383919"/>
                <a:gd name="connsiteX24" fmla="*/ 909140 w 1141507"/>
                <a:gd name="connsiteY24" fmla="*/ 333358 h 3383919"/>
                <a:gd name="connsiteX25" fmla="*/ 828614 w 1141507"/>
                <a:gd name="connsiteY25" fmla="*/ 287118 h 3383919"/>
                <a:gd name="connsiteX26" fmla="*/ 814759 w 1141507"/>
                <a:gd name="connsiteY26" fmla="*/ 214718 h 3383919"/>
                <a:gd name="connsiteX27" fmla="*/ 814759 w 1141507"/>
                <a:gd name="connsiteY27" fmla="*/ 196618 h 3383919"/>
                <a:gd name="connsiteX28" fmla="*/ 825842 w 1141507"/>
                <a:gd name="connsiteY28" fmla="*/ 173346 h 3383919"/>
                <a:gd name="connsiteX29" fmla="*/ 828614 w 1141507"/>
                <a:gd name="connsiteY29" fmla="*/ 157832 h 3383919"/>
                <a:gd name="connsiteX30" fmla="*/ 828613 w 1141507"/>
                <a:gd name="connsiteY30" fmla="*/ 100948 h 3383919"/>
                <a:gd name="connsiteX31" fmla="*/ 806445 w 1141507"/>
                <a:gd name="connsiteY31" fmla="*/ 77677 h 3383919"/>
                <a:gd name="connsiteX32" fmla="*/ 778735 w 1141507"/>
                <a:gd name="connsiteY32" fmla="*/ 46648 h 3383919"/>
                <a:gd name="connsiteX33" fmla="*/ 774567 w 1141507"/>
                <a:gd name="connsiteY33" fmla="*/ 22395 h 3383919"/>
                <a:gd name="connsiteX34" fmla="*/ 825843 w 1141507"/>
                <a:gd name="connsiteY34" fmla="*/ 104 h 3383919"/>
                <a:gd name="connsiteX35" fmla="*/ 879423 w 1141507"/>
                <a:gd name="connsiteY35" fmla="*/ 9976 h 3383919"/>
                <a:gd name="connsiteX36" fmla="*/ 958207 w 1141507"/>
                <a:gd name="connsiteY36" fmla="*/ 21886 h 3383919"/>
                <a:gd name="connsiteX37" fmla="*/ 1042530 w 1141507"/>
                <a:gd name="connsiteY37" fmla="*/ 91245 h 3383919"/>
                <a:gd name="connsiteX38" fmla="*/ 1104665 w 1141507"/>
                <a:gd name="connsiteY38" fmla="*/ 167341 h 3383919"/>
                <a:gd name="connsiteX39" fmla="*/ 1003694 w 1141507"/>
                <a:gd name="connsiteY39" fmla="*/ 196335 h 3383919"/>
                <a:gd name="connsiteX40" fmla="*/ 988160 w 1141507"/>
                <a:gd name="connsiteY40" fmla="*/ 243442 h 3383919"/>
                <a:gd name="connsiteX41" fmla="*/ 1045830 w 1141507"/>
                <a:gd name="connsiteY41" fmla="*/ 327932 h 3383919"/>
                <a:gd name="connsiteX42" fmla="*/ 1081364 w 1141507"/>
                <a:gd name="connsiteY42" fmla="*/ 334034 h 3383919"/>
                <a:gd name="connsiteX43" fmla="*/ 1133984 w 1141507"/>
                <a:gd name="connsiteY43" fmla="*/ 340374 h 3383919"/>
                <a:gd name="connsiteX44" fmla="*/ 1129021 w 1141507"/>
                <a:gd name="connsiteY44" fmla="*/ 451149 h 3383919"/>
                <a:gd name="connsiteX45" fmla="*/ 1140090 w 1141507"/>
                <a:gd name="connsiteY45" fmla="*/ 782117 h 3383919"/>
                <a:gd name="connsiteX46" fmla="*/ 1131222 w 1141507"/>
                <a:gd name="connsiteY46" fmla="*/ 1584716 h 3383919"/>
                <a:gd name="connsiteX47" fmla="*/ 1140089 w 1141507"/>
                <a:gd name="connsiteY47" fmla="*/ 2039798 h 3383919"/>
                <a:gd name="connsiteX48" fmla="*/ 1113641 w 1141507"/>
                <a:gd name="connsiteY48" fmla="*/ 3349763 h 3383919"/>
                <a:gd name="connsiteX49" fmla="*/ 855214 w 1141507"/>
                <a:gd name="connsiteY49" fmla="*/ 3306168 h 3383919"/>
                <a:gd name="connsiteX50" fmla="*/ 686736 w 1141507"/>
                <a:gd name="connsiteY50" fmla="*/ 3239973 h 3383919"/>
                <a:gd name="connsiteX51" fmla="*/ 509390 w 1141507"/>
                <a:gd name="connsiteY51" fmla="*/ 3148957 h 3383919"/>
                <a:gd name="connsiteX52" fmla="*/ 411092 w 1141507"/>
                <a:gd name="connsiteY52" fmla="*/ 3068440 h 3383919"/>
                <a:gd name="connsiteX53" fmla="*/ 705354 w 1141507"/>
                <a:gd name="connsiteY53" fmla="*/ 2760804 h 3383919"/>
                <a:gd name="connsiteX54" fmla="*/ 421600 w 1141507"/>
                <a:gd name="connsiteY54" fmla="*/ 2222980 h 3383919"/>
                <a:gd name="connsiteX55" fmla="*/ 563950 w 1141507"/>
                <a:gd name="connsiteY55" fmla="*/ 1983895 h 3383919"/>
                <a:gd name="connsiteX56" fmla="*/ 377263 w 1141507"/>
                <a:gd name="connsiteY56" fmla="*/ 1445204 h 3383919"/>
                <a:gd name="connsiteX57" fmla="*/ 128979 w 1141507"/>
                <a:gd name="connsiteY57" fmla="*/ 1213526 h 3383919"/>
                <a:gd name="connsiteX58" fmla="*/ 120112 w 1141507"/>
                <a:gd name="connsiteY58" fmla="*/ 1097687 h 3383919"/>
                <a:gd name="connsiteX59" fmla="*/ 0 w 1141507"/>
                <a:gd name="connsiteY59"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282561 w 1141507"/>
                <a:gd name="connsiteY4" fmla="*/ 673956 h 3383919"/>
                <a:gd name="connsiteX5" fmla="*/ 366959 w 1141507"/>
                <a:gd name="connsiteY5" fmla="*/ 661004 h 3383919"/>
                <a:gd name="connsiteX6" fmla="*/ 390792 w 1141507"/>
                <a:gd name="connsiteY6" fmla="*/ 693071 h 3383919"/>
                <a:gd name="connsiteX7" fmla="*/ 546521 w 1141507"/>
                <a:gd name="connsiteY7" fmla="*/ 749434 h 3383919"/>
                <a:gd name="connsiteX8" fmla="*/ 532113 w 1141507"/>
                <a:gd name="connsiteY8" fmla="*/ 713757 h 3383919"/>
                <a:gd name="connsiteX9" fmla="*/ 498861 w 1141507"/>
                <a:gd name="connsiteY9" fmla="*/ 674971 h 3383919"/>
                <a:gd name="connsiteX10" fmla="*/ 487777 w 1141507"/>
                <a:gd name="connsiteY10" fmla="*/ 623257 h 3383919"/>
                <a:gd name="connsiteX11" fmla="*/ 526572 w 1141507"/>
                <a:gd name="connsiteY11" fmla="*/ 574130 h 3383919"/>
                <a:gd name="connsiteX12" fmla="*/ 554282 w 1141507"/>
                <a:gd name="connsiteY12" fmla="*/ 545687 h 3383919"/>
                <a:gd name="connsiteX13" fmla="*/ 579222 w 1141507"/>
                <a:gd name="connsiteY13" fmla="*/ 509487 h 3383919"/>
                <a:gd name="connsiteX14" fmla="*/ 659582 w 1141507"/>
                <a:gd name="connsiteY14" fmla="*/ 504315 h 3383919"/>
                <a:gd name="connsiteX15" fmla="*/ 665123 w 1141507"/>
                <a:gd name="connsiteY15" fmla="*/ 483630 h 3383919"/>
                <a:gd name="connsiteX16" fmla="*/ 690063 w 1141507"/>
                <a:gd name="connsiteY16" fmla="*/ 447430 h 3383919"/>
                <a:gd name="connsiteX17" fmla="*/ 723867 w 1141507"/>
                <a:gd name="connsiteY17" fmla="*/ 429842 h 3383919"/>
                <a:gd name="connsiteX18" fmla="*/ 781507 w 1141507"/>
                <a:gd name="connsiteY18" fmla="*/ 442259 h 3383919"/>
                <a:gd name="connsiteX19" fmla="*/ 820300 w 1141507"/>
                <a:gd name="connsiteY19" fmla="*/ 462945 h 3383919"/>
                <a:gd name="connsiteX20" fmla="*/ 867408 w 1141507"/>
                <a:gd name="connsiteY20" fmla="*/ 470702 h 3383919"/>
                <a:gd name="connsiteX21" fmla="*/ 867408 w 1141507"/>
                <a:gd name="connsiteY21" fmla="*/ 475873 h 3383919"/>
                <a:gd name="connsiteX22" fmla="*/ 889577 w 1141507"/>
                <a:gd name="connsiteY22" fmla="*/ 416402 h 3383919"/>
                <a:gd name="connsiteX23" fmla="*/ 899552 w 1141507"/>
                <a:gd name="connsiteY23" fmla="*/ 382784 h 3383919"/>
                <a:gd name="connsiteX24" fmla="*/ 906203 w 1141507"/>
                <a:gd name="connsiteY24" fmla="*/ 364688 h 3383919"/>
                <a:gd name="connsiteX25" fmla="*/ 909140 w 1141507"/>
                <a:gd name="connsiteY25" fmla="*/ 333358 h 3383919"/>
                <a:gd name="connsiteX26" fmla="*/ 828614 w 1141507"/>
                <a:gd name="connsiteY26" fmla="*/ 287118 h 3383919"/>
                <a:gd name="connsiteX27" fmla="*/ 814759 w 1141507"/>
                <a:gd name="connsiteY27" fmla="*/ 214718 h 3383919"/>
                <a:gd name="connsiteX28" fmla="*/ 814759 w 1141507"/>
                <a:gd name="connsiteY28" fmla="*/ 196618 h 3383919"/>
                <a:gd name="connsiteX29" fmla="*/ 825842 w 1141507"/>
                <a:gd name="connsiteY29" fmla="*/ 173346 h 3383919"/>
                <a:gd name="connsiteX30" fmla="*/ 828614 w 1141507"/>
                <a:gd name="connsiteY30" fmla="*/ 157832 h 3383919"/>
                <a:gd name="connsiteX31" fmla="*/ 828613 w 1141507"/>
                <a:gd name="connsiteY31" fmla="*/ 100948 h 3383919"/>
                <a:gd name="connsiteX32" fmla="*/ 806445 w 1141507"/>
                <a:gd name="connsiteY32" fmla="*/ 77677 h 3383919"/>
                <a:gd name="connsiteX33" fmla="*/ 778735 w 1141507"/>
                <a:gd name="connsiteY33" fmla="*/ 46648 h 3383919"/>
                <a:gd name="connsiteX34" fmla="*/ 774567 w 1141507"/>
                <a:gd name="connsiteY34" fmla="*/ 22395 h 3383919"/>
                <a:gd name="connsiteX35" fmla="*/ 825843 w 1141507"/>
                <a:gd name="connsiteY35" fmla="*/ 104 h 3383919"/>
                <a:gd name="connsiteX36" fmla="*/ 879423 w 1141507"/>
                <a:gd name="connsiteY36" fmla="*/ 9976 h 3383919"/>
                <a:gd name="connsiteX37" fmla="*/ 958207 w 1141507"/>
                <a:gd name="connsiteY37" fmla="*/ 21886 h 3383919"/>
                <a:gd name="connsiteX38" fmla="*/ 1042530 w 1141507"/>
                <a:gd name="connsiteY38" fmla="*/ 91245 h 3383919"/>
                <a:gd name="connsiteX39" fmla="*/ 1104665 w 1141507"/>
                <a:gd name="connsiteY39" fmla="*/ 167341 h 3383919"/>
                <a:gd name="connsiteX40" fmla="*/ 1003694 w 1141507"/>
                <a:gd name="connsiteY40" fmla="*/ 196335 h 3383919"/>
                <a:gd name="connsiteX41" fmla="*/ 988160 w 1141507"/>
                <a:gd name="connsiteY41" fmla="*/ 243442 h 3383919"/>
                <a:gd name="connsiteX42" fmla="*/ 1045830 w 1141507"/>
                <a:gd name="connsiteY42" fmla="*/ 327932 h 3383919"/>
                <a:gd name="connsiteX43" fmla="*/ 1081364 w 1141507"/>
                <a:gd name="connsiteY43" fmla="*/ 334034 h 3383919"/>
                <a:gd name="connsiteX44" fmla="*/ 1133984 w 1141507"/>
                <a:gd name="connsiteY44" fmla="*/ 340374 h 3383919"/>
                <a:gd name="connsiteX45" fmla="*/ 1129021 w 1141507"/>
                <a:gd name="connsiteY45" fmla="*/ 451149 h 3383919"/>
                <a:gd name="connsiteX46" fmla="*/ 1140090 w 1141507"/>
                <a:gd name="connsiteY46" fmla="*/ 782117 h 3383919"/>
                <a:gd name="connsiteX47" fmla="*/ 1131222 w 1141507"/>
                <a:gd name="connsiteY47" fmla="*/ 1584716 h 3383919"/>
                <a:gd name="connsiteX48" fmla="*/ 1140089 w 1141507"/>
                <a:gd name="connsiteY48" fmla="*/ 2039798 h 3383919"/>
                <a:gd name="connsiteX49" fmla="*/ 1113641 w 1141507"/>
                <a:gd name="connsiteY49" fmla="*/ 3349763 h 3383919"/>
                <a:gd name="connsiteX50" fmla="*/ 855214 w 1141507"/>
                <a:gd name="connsiteY50" fmla="*/ 3306168 h 3383919"/>
                <a:gd name="connsiteX51" fmla="*/ 686736 w 1141507"/>
                <a:gd name="connsiteY51" fmla="*/ 3239973 h 3383919"/>
                <a:gd name="connsiteX52" fmla="*/ 509390 w 1141507"/>
                <a:gd name="connsiteY52" fmla="*/ 3148957 h 3383919"/>
                <a:gd name="connsiteX53" fmla="*/ 411092 w 1141507"/>
                <a:gd name="connsiteY53" fmla="*/ 3068440 h 3383919"/>
                <a:gd name="connsiteX54" fmla="*/ 705354 w 1141507"/>
                <a:gd name="connsiteY54" fmla="*/ 2760804 h 3383919"/>
                <a:gd name="connsiteX55" fmla="*/ 421600 w 1141507"/>
                <a:gd name="connsiteY55" fmla="*/ 2222980 h 3383919"/>
                <a:gd name="connsiteX56" fmla="*/ 563950 w 1141507"/>
                <a:gd name="connsiteY56" fmla="*/ 1983895 h 3383919"/>
                <a:gd name="connsiteX57" fmla="*/ 377263 w 1141507"/>
                <a:gd name="connsiteY57" fmla="*/ 1445204 h 3383919"/>
                <a:gd name="connsiteX58" fmla="*/ 128979 w 1141507"/>
                <a:gd name="connsiteY58" fmla="*/ 1213526 h 3383919"/>
                <a:gd name="connsiteX59" fmla="*/ 120112 w 1141507"/>
                <a:gd name="connsiteY59" fmla="*/ 1097687 h 3383919"/>
                <a:gd name="connsiteX60" fmla="*/ 0 w 1141507"/>
                <a:gd name="connsiteY60"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299187 w 1141507"/>
                <a:gd name="connsiteY4" fmla="*/ 653270 h 3383919"/>
                <a:gd name="connsiteX5" fmla="*/ 366959 w 1141507"/>
                <a:gd name="connsiteY5" fmla="*/ 661004 h 3383919"/>
                <a:gd name="connsiteX6" fmla="*/ 390792 w 1141507"/>
                <a:gd name="connsiteY6" fmla="*/ 693071 h 3383919"/>
                <a:gd name="connsiteX7" fmla="*/ 546521 w 1141507"/>
                <a:gd name="connsiteY7" fmla="*/ 749434 h 3383919"/>
                <a:gd name="connsiteX8" fmla="*/ 532113 w 1141507"/>
                <a:gd name="connsiteY8" fmla="*/ 713757 h 3383919"/>
                <a:gd name="connsiteX9" fmla="*/ 498861 w 1141507"/>
                <a:gd name="connsiteY9" fmla="*/ 674971 h 3383919"/>
                <a:gd name="connsiteX10" fmla="*/ 487777 w 1141507"/>
                <a:gd name="connsiteY10" fmla="*/ 623257 h 3383919"/>
                <a:gd name="connsiteX11" fmla="*/ 526572 w 1141507"/>
                <a:gd name="connsiteY11" fmla="*/ 574130 h 3383919"/>
                <a:gd name="connsiteX12" fmla="*/ 554282 w 1141507"/>
                <a:gd name="connsiteY12" fmla="*/ 545687 h 3383919"/>
                <a:gd name="connsiteX13" fmla="*/ 579222 w 1141507"/>
                <a:gd name="connsiteY13" fmla="*/ 509487 h 3383919"/>
                <a:gd name="connsiteX14" fmla="*/ 659582 w 1141507"/>
                <a:gd name="connsiteY14" fmla="*/ 504315 h 3383919"/>
                <a:gd name="connsiteX15" fmla="*/ 665123 w 1141507"/>
                <a:gd name="connsiteY15" fmla="*/ 483630 h 3383919"/>
                <a:gd name="connsiteX16" fmla="*/ 690063 w 1141507"/>
                <a:gd name="connsiteY16" fmla="*/ 447430 h 3383919"/>
                <a:gd name="connsiteX17" fmla="*/ 723867 w 1141507"/>
                <a:gd name="connsiteY17" fmla="*/ 429842 h 3383919"/>
                <a:gd name="connsiteX18" fmla="*/ 781507 w 1141507"/>
                <a:gd name="connsiteY18" fmla="*/ 442259 h 3383919"/>
                <a:gd name="connsiteX19" fmla="*/ 820300 w 1141507"/>
                <a:gd name="connsiteY19" fmla="*/ 462945 h 3383919"/>
                <a:gd name="connsiteX20" fmla="*/ 867408 w 1141507"/>
                <a:gd name="connsiteY20" fmla="*/ 470702 h 3383919"/>
                <a:gd name="connsiteX21" fmla="*/ 867408 w 1141507"/>
                <a:gd name="connsiteY21" fmla="*/ 475873 h 3383919"/>
                <a:gd name="connsiteX22" fmla="*/ 889577 w 1141507"/>
                <a:gd name="connsiteY22" fmla="*/ 416402 h 3383919"/>
                <a:gd name="connsiteX23" fmla="*/ 899552 w 1141507"/>
                <a:gd name="connsiteY23" fmla="*/ 382784 h 3383919"/>
                <a:gd name="connsiteX24" fmla="*/ 906203 w 1141507"/>
                <a:gd name="connsiteY24" fmla="*/ 364688 h 3383919"/>
                <a:gd name="connsiteX25" fmla="*/ 909140 w 1141507"/>
                <a:gd name="connsiteY25" fmla="*/ 333358 h 3383919"/>
                <a:gd name="connsiteX26" fmla="*/ 828614 w 1141507"/>
                <a:gd name="connsiteY26" fmla="*/ 287118 h 3383919"/>
                <a:gd name="connsiteX27" fmla="*/ 814759 w 1141507"/>
                <a:gd name="connsiteY27" fmla="*/ 214718 h 3383919"/>
                <a:gd name="connsiteX28" fmla="*/ 814759 w 1141507"/>
                <a:gd name="connsiteY28" fmla="*/ 196618 h 3383919"/>
                <a:gd name="connsiteX29" fmla="*/ 825842 w 1141507"/>
                <a:gd name="connsiteY29" fmla="*/ 173346 h 3383919"/>
                <a:gd name="connsiteX30" fmla="*/ 828614 w 1141507"/>
                <a:gd name="connsiteY30" fmla="*/ 157832 h 3383919"/>
                <a:gd name="connsiteX31" fmla="*/ 828613 w 1141507"/>
                <a:gd name="connsiteY31" fmla="*/ 100948 h 3383919"/>
                <a:gd name="connsiteX32" fmla="*/ 806445 w 1141507"/>
                <a:gd name="connsiteY32" fmla="*/ 77677 h 3383919"/>
                <a:gd name="connsiteX33" fmla="*/ 778735 w 1141507"/>
                <a:gd name="connsiteY33" fmla="*/ 46648 h 3383919"/>
                <a:gd name="connsiteX34" fmla="*/ 774567 w 1141507"/>
                <a:gd name="connsiteY34" fmla="*/ 22395 h 3383919"/>
                <a:gd name="connsiteX35" fmla="*/ 825843 w 1141507"/>
                <a:gd name="connsiteY35" fmla="*/ 104 h 3383919"/>
                <a:gd name="connsiteX36" fmla="*/ 879423 w 1141507"/>
                <a:gd name="connsiteY36" fmla="*/ 9976 h 3383919"/>
                <a:gd name="connsiteX37" fmla="*/ 958207 w 1141507"/>
                <a:gd name="connsiteY37" fmla="*/ 21886 h 3383919"/>
                <a:gd name="connsiteX38" fmla="*/ 1042530 w 1141507"/>
                <a:gd name="connsiteY38" fmla="*/ 91245 h 3383919"/>
                <a:gd name="connsiteX39" fmla="*/ 1104665 w 1141507"/>
                <a:gd name="connsiteY39" fmla="*/ 167341 h 3383919"/>
                <a:gd name="connsiteX40" fmla="*/ 1003694 w 1141507"/>
                <a:gd name="connsiteY40" fmla="*/ 196335 h 3383919"/>
                <a:gd name="connsiteX41" fmla="*/ 988160 w 1141507"/>
                <a:gd name="connsiteY41" fmla="*/ 243442 h 3383919"/>
                <a:gd name="connsiteX42" fmla="*/ 1045830 w 1141507"/>
                <a:gd name="connsiteY42" fmla="*/ 327932 h 3383919"/>
                <a:gd name="connsiteX43" fmla="*/ 1081364 w 1141507"/>
                <a:gd name="connsiteY43" fmla="*/ 334034 h 3383919"/>
                <a:gd name="connsiteX44" fmla="*/ 1133984 w 1141507"/>
                <a:gd name="connsiteY44" fmla="*/ 340374 h 3383919"/>
                <a:gd name="connsiteX45" fmla="*/ 1129021 w 1141507"/>
                <a:gd name="connsiteY45" fmla="*/ 451149 h 3383919"/>
                <a:gd name="connsiteX46" fmla="*/ 1140090 w 1141507"/>
                <a:gd name="connsiteY46" fmla="*/ 782117 h 3383919"/>
                <a:gd name="connsiteX47" fmla="*/ 1131222 w 1141507"/>
                <a:gd name="connsiteY47" fmla="*/ 1584716 h 3383919"/>
                <a:gd name="connsiteX48" fmla="*/ 1140089 w 1141507"/>
                <a:gd name="connsiteY48" fmla="*/ 2039798 h 3383919"/>
                <a:gd name="connsiteX49" fmla="*/ 1113641 w 1141507"/>
                <a:gd name="connsiteY49" fmla="*/ 3349763 h 3383919"/>
                <a:gd name="connsiteX50" fmla="*/ 855214 w 1141507"/>
                <a:gd name="connsiteY50" fmla="*/ 3306168 h 3383919"/>
                <a:gd name="connsiteX51" fmla="*/ 686736 w 1141507"/>
                <a:gd name="connsiteY51" fmla="*/ 3239973 h 3383919"/>
                <a:gd name="connsiteX52" fmla="*/ 509390 w 1141507"/>
                <a:gd name="connsiteY52" fmla="*/ 3148957 h 3383919"/>
                <a:gd name="connsiteX53" fmla="*/ 411092 w 1141507"/>
                <a:gd name="connsiteY53" fmla="*/ 3068440 h 3383919"/>
                <a:gd name="connsiteX54" fmla="*/ 705354 w 1141507"/>
                <a:gd name="connsiteY54" fmla="*/ 2760804 h 3383919"/>
                <a:gd name="connsiteX55" fmla="*/ 421600 w 1141507"/>
                <a:gd name="connsiteY55" fmla="*/ 2222980 h 3383919"/>
                <a:gd name="connsiteX56" fmla="*/ 563950 w 1141507"/>
                <a:gd name="connsiteY56" fmla="*/ 1983895 h 3383919"/>
                <a:gd name="connsiteX57" fmla="*/ 377263 w 1141507"/>
                <a:gd name="connsiteY57" fmla="*/ 1445204 h 3383919"/>
                <a:gd name="connsiteX58" fmla="*/ 128979 w 1141507"/>
                <a:gd name="connsiteY58" fmla="*/ 1213526 h 3383919"/>
                <a:gd name="connsiteX59" fmla="*/ 120112 w 1141507"/>
                <a:gd name="connsiteY59" fmla="*/ 1097687 h 3383919"/>
                <a:gd name="connsiteX60" fmla="*/ 0 w 1141507"/>
                <a:gd name="connsiteY60"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229911 w 1141507"/>
                <a:gd name="connsiteY4" fmla="*/ 699813 h 3383919"/>
                <a:gd name="connsiteX5" fmla="*/ 299187 w 1141507"/>
                <a:gd name="connsiteY5" fmla="*/ 653270 h 3383919"/>
                <a:gd name="connsiteX6" fmla="*/ 366959 w 1141507"/>
                <a:gd name="connsiteY6" fmla="*/ 661004 h 3383919"/>
                <a:gd name="connsiteX7" fmla="*/ 390792 w 1141507"/>
                <a:gd name="connsiteY7" fmla="*/ 693071 h 3383919"/>
                <a:gd name="connsiteX8" fmla="*/ 546521 w 1141507"/>
                <a:gd name="connsiteY8" fmla="*/ 749434 h 3383919"/>
                <a:gd name="connsiteX9" fmla="*/ 532113 w 1141507"/>
                <a:gd name="connsiteY9" fmla="*/ 713757 h 3383919"/>
                <a:gd name="connsiteX10" fmla="*/ 498861 w 1141507"/>
                <a:gd name="connsiteY10" fmla="*/ 674971 h 3383919"/>
                <a:gd name="connsiteX11" fmla="*/ 487777 w 1141507"/>
                <a:gd name="connsiteY11" fmla="*/ 623257 h 3383919"/>
                <a:gd name="connsiteX12" fmla="*/ 526572 w 1141507"/>
                <a:gd name="connsiteY12" fmla="*/ 574130 h 3383919"/>
                <a:gd name="connsiteX13" fmla="*/ 554282 w 1141507"/>
                <a:gd name="connsiteY13" fmla="*/ 545687 h 3383919"/>
                <a:gd name="connsiteX14" fmla="*/ 579222 w 1141507"/>
                <a:gd name="connsiteY14" fmla="*/ 509487 h 3383919"/>
                <a:gd name="connsiteX15" fmla="*/ 659582 w 1141507"/>
                <a:gd name="connsiteY15" fmla="*/ 504315 h 3383919"/>
                <a:gd name="connsiteX16" fmla="*/ 665123 w 1141507"/>
                <a:gd name="connsiteY16" fmla="*/ 483630 h 3383919"/>
                <a:gd name="connsiteX17" fmla="*/ 690063 w 1141507"/>
                <a:gd name="connsiteY17" fmla="*/ 447430 h 3383919"/>
                <a:gd name="connsiteX18" fmla="*/ 723867 w 1141507"/>
                <a:gd name="connsiteY18" fmla="*/ 429842 h 3383919"/>
                <a:gd name="connsiteX19" fmla="*/ 781507 w 1141507"/>
                <a:gd name="connsiteY19" fmla="*/ 442259 h 3383919"/>
                <a:gd name="connsiteX20" fmla="*/ 820300 w 1141507"/>
                <a:gd name="connsiteY20" fmla="*/ 462945 h 3383919"/>
                <a:gd name="connsiteX21" fmla="*/ 867408 w 1141507"/>
                <a:gd name="connsiteY21" fmla="*/ 470702 h 3383919"/>
                <a:gd name="connsiteX22" fmla="*/ 867408 w 1141507"/>
                <a:gd name="connsiteY22" fmla="*/ 475873 h 3383919"/>
                <a:gd name="connsiteX23" fmla="*/ 889577 w 1141507"/>
                <a:gd name="connsiteY23" fmla="*/ 416402 h 3383919"/>
                <a:gd name="connsiteX24" fmla="*/ 899552 w 1141507"/>
                <a:gd name="connsiteY24" fmla="*/ 382784 h 3383919"/>
                <a:gd name="connsiteX25" fmla="*/ 906203 w 1141507"/>
                <a:gd name="connsiteY25" fmla="*/ 364688 h 3383919"/>
                <a:gd name="connsiteX26" fmla="*/ 909140 w 1141507"/>
                <a:gd name="connsiteY26" fmla="*/ 333358 h 3383919"/>
                <a:gd name="connsiteX27" fmla="*/ 828614 w 1141507"/>
                <a:gd name="connsiteY27" fmla="*/ 287118 h 3383919"/>
                <a:gd name="connsiteX28" fmla="*/ 814759 w 1141507"/>
                <a:gd name="connsiteY28" fmla="*/ 214718 h 3383919"/>
                <a:gd name="connsiteX29" fmla="*/ 814759 w 1141507"/>
                <a:gd name="connsiteY29" fmla="*/ 196618 h 3383919"/>
                <a:gd name="connsiteX30" fmla="*/ 825842 w 1141507"/>
                <a:gd name="connsiteY30" fmla="*/ 173346 h 3383919"/>
                <a:gd name="connsiteX31" fmla="*/ 828614 w 1141507"/>
                <a:gd name="connsiteY31" fmla="*/ 157832 h 3383919"/>
                <a:gd name="connsiteX32" fmla="*/ 828613 w 1141507"/>
                <a:gd name="connsiteY32" fmla="*/ 100948 h 3383919"/>
                <a:gd name="connsiteX33" fmla="*/ 806445 w 1141507"/>
                <a:gd name="connsiteY33" fmla="*/ 77677 h 3383919"/>
                <a:gd name="connsiteX34" fmla="*/ 778735 w 1141507"/>
                <a:gd name="connsiteY34" fmla="*/ 46648 h 3383919"/>
                <a:gd name="connsiteX35" fmla="*/ 774567 w 1141507"/>
                <a:gd name="connsiteY35" fmla="*/ 22395 h 3383919"/>
                <a:gd name="connsiteX36" fmla="*/ 825843 w 1141507"/>
                <a:gd name="connsiteY36" fmla="*/ 104 h 3383919"/>
                <a:gd name="connsiteX37" fmla="*/ 879423 w 1141507"/>
                <a:gd name="connsiteY37" fmla="*/ 9976 h 3383919"/>
                <a:gd name="connsiteX38" fmla="*/ 958207 w 1141507"/>
                <a:gd name="connsiteY38" fmla="*/ 21886 h 3383919"/>
                <a:gd name="connsiteX39" fmla="*/ 1042530 w 1141507"/>
                <a:gd name="connsiteY39" fmla="*/ 91245 h 3383919"/>
                <a:gd name="connsiteX40" fmla="*/ 1104665 w 1141507"/>
                <a:gd name="connsiteY40" fmla="*/ 167341 h 3383919"/>
                <a:gd name="connsiteX41" fmla="*/ 1003694 w 1141507"/>
                <a:gd name="connsiteY41" fmla="*/ 196335 h 3383919"/>
                <a:gd name="connsiteX42" fmla="*/ 988160 w 1141507"/>
                <a:gd name="connsiteY42" fmla="*/ 243442 h 3383919"/>
                <a:gd name="connsiteX43" fmla="*/ 1045830 w 1141507"/>
                <a:gd name="connsiteY43" fmla="*/ 327932 h 3383919"/>
                <a:gd name="connsiteX44" fmla="*/ 1081364 w 1141507"/>
                <a:gd name="connsiteY44" fmla="*/ 334034 h 3383919"/>
                <a:gd name="connsiteX45" fmla="*/ 1133984 w 1141507"/>
                <a:gd name="connsiteY45" fmla="*/ 340374 h 3383919"/>
                <a:gd name="connsiteX46" fmla="*/ 1129021 w 1141507"/>
                <a:gd name="connsiteY46" fmla="*/ 451149 h 3383919"/>
                <a:gd name="connsiteX47" fmla="*/ 1140090 w 1141507"/>
                <a:gd name="connsiteY47" fmla="*/ 782117 h 3383919"/>
                <a:gd name="connsiteX48" fmla="*/ 1131222 w 1141507"/>
                <a:gd name="connsiteY48" fmla="*/ 1584716 h 3383919"/>
                <a:gd name="connsiteX49" fmla="*/ 1140089 w 1141507"/>
                <a:gd name="connsiteY49" fmla="*/ 2039798 h 3383919"/>
                <a:gd name="connsiteX50" fmla="*/ 1113641 w 1141507"/>
                <a:gd name="connsiteY50" fmla="*/ 3349763 h 3383919"/>
                <a:gd name="connsiteX51" fmla="*/ 855214 w 1141507"/>
                <a:gd name="connsiteY51" fmla="*/ 3306168 h 3383919"/>
                <a:gd name="connsiteX52" fmla="*/ 686736 w 1141507"/>
                <a:gd name="connsiteY52" fmla="*/ 3239973 h 3383919"/>
                <a:gd name="connsiteX53" fmla="*/ 509390 w 1141507"/>
                <a:gd name="connsiteY53" fmla="*/ 3148957 h 3383919"/>
                <a:gd name="connsiteX54" fmla="*/ 411092 w 1141507"/>
                <a:gd name="connsiteY54" fmla="*/ 3068440 h 3383919"/>
                <a:gd name="connsiteX55" fmla="*/ 705354 w 1141507"/>
                <a:gd name="connsiteY55" fmla="*/ 2760804 h 3383919"/>
                <a:gd name="connsiteX56" fmla="*/ 421600 w 1141507"/>
                <a:gd name="connsiteY56" fmla="*/ 2222980 h 3383919"/>
                <a:gd name="connsiteX57" fmla="*/ 563950 w 1141507"/>
                <a:gd name="connsiteY57" fmla="*/ 1983895 h 3383919"/>
                <a:gd name="connsiteX58" fmla="*/ 377263 w 1141507"/>
                <a:gd name="connsiteY58" fmla="*/ 1445204 h 3383919"/>
                <a:gd name="connsiteX59" fmla="*/ 128979 w 1141507"/>
                <a:gd name="connsiteY59" fmla="*/ 1213526 h 3383919"/>
                <a:gd name="connsiteX60" fmla="*/ 120112 w 1141507"/>
                <a:gd name="connsiteY60" fmla="*/ 1097687 h 3383919"/>
                <a:gd name="connsiteX61" fmla="*/ 0 w 1141507"/>
                <a:gd name="connsiteY61"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188346 w 1141507"/>
                <a:gd name="connsiteY4" fmla="*/ 754113 h 3383919"/>
                <a:gd name="connsiteX5" fmla="*/ 229911 w 1141507"/>
                <a:gd name="connsiteY5" fmla="*/ 699813 h 3383919"/>
                <a:gd name="connsiteX6" fmla="*/ 299187 w 1141507"/>
                <a:gd name="connsiteY6" fmla="*/ 653270 h 3383919"/>
                <a:gd name="connsiteX7" fmla="*/ 366959 w 1141507"/>
                <a:gd name="connsiteY7" fmla="*/ 661004 h 3383919"/>
                <a:gd name="connsiteX8" fmla="*/ 390792 w 1141507"/>
                <a:gd name="connsiteY8" fmla="*/ 693071 h 3383919"/>
                <a:gd name="connsiteX9" fmla="*/ 546521 w 1141507"/>
                <a:gd name="connsiteY9" fmla="*/ 749434 h 3383919"/>
                <a:gd name="connsiteX10" fmla="*/ 532113 w 1141507"/>
                <a:gd name="connsiteY10" fmla="*/ 713757 h 3383919"/>
                <a:gd name="connsiteX11" fmla="*/ 498861 w 1141507"/>
                <a:gd name="connsiteY11" fmla="*/ 674971 h 3383919"/>
                <a:gd name="connsiteX12" fmla="*/ 487777 w 1141507"/>
                <a:gd name="connsiteY12" fmla="*/ 623257 h 3383919"/>
                <a:gd name="connsiteX13" fmla="*/ 526572 w 1141507"/>
                <a:gd name="connsiteY13" fmla="*/ 574130 h 3383919"/>
                <a:gd name="connsiteX14" fmla="*/ 554282 w 1141507"/>
                <a:gd name="connsiteY14" fmla="*/ 545687 h 3383919"/>
                <a:gd name="connsiteX15" fmla="*/ 579222 w 1141507"/>
                <a:gd name="connsiteY15" fmla="*/ 509487 h 3383919"/>
                <a:gd name="connsiteX16" fmla="*/ 659582 w 1141507"/>
                <a:gd name="connsiteY16" fmla="*/ 504315 h 3383919"/>
                <a:gd name="connsiteX17" fmla="*/ 665123 w 1141507"/>
                <a:gd name="connsiteY17" fmla="*/ 483630 h 3383919"/>
                <a:gd name="connsiteX18" fmla="*/ 690063 w 1141507"/>
                <a:gd name="connsiteY18" fmla="*/ 447430 h 3383919"/>
                <a:gd name="connsiteX19" fmla="*/ 723867 w 1141507"/>
                <a:gd name="connsiteY19" fmla="*/ 429842 h 3383919"/>
                <a:gd name="connsiteX20" fmla="*/ 781507 w 1141507"/>
                <a:gd name="connsiteY20" fmla="*/ 442259 h 3383919"/>
                <a:gd name="connsiteX21" fmla="*/ 820300 w 1141507"/>
                <a:gd name="connsiteY21" fmla="*/ 462945 h 3383919"/>
                <a:gd name="connsiteX22" fmla="*/ 867408 w 1141507"/>
                <a:gd name="connsiteY22" fmla="*/ 470702 h 3383919"/>
                <a:gd name="connsiteX23" fmla="*/ 867408 w 1141507"/>
                <a:gd name="connsiteY23" fmla="*/ 475873 h 3383919"/>
                <a:gd name="connsiteX24" fmla="*/ 889577 w 1141507"/>
                <a:gd name="connsiteY24" fmla="*/ 416402 h 3383919"/>
                <a:gd name="connsiteX25" fmla="*/ 899552 w 1141507"/>
                <a:gd name="connsiteY25" fmla="*/ 382784 h 3383919"/>
                <a:gd name="connsiteX26" fmla="*/ 906203 w 1141507"/>
                <a:gd name="connsiteY26" fmla="*/ 364688 h 3383919"/>
                <a:gd name="connsiteX27" fmla="*/ 909140 w 1141507"/>
                <a:gd name="connsiteY27" fmla="*/ 333358 h 3383919"/>
                <a:gd name="connsiteX28" fmla="*/ 828614 w 1141507"/>
                <a:gd name="connsiteY28" fmla="*/ 287118 h 3383919"/>
                <a:gd name="connsiteX29" fmla="*/ 814759 w 1141507"/>
                <a:gd name="connsiteY29" fmla="*/ 214718 h 3383919"/>
                <a:gd name="connsiteX30" fmla="*/ 814759 w 1141507"/>
                <a:gd name="connsiteY30" fmla="*/ 196618 h 3383919"/>
                <a:gd name="connsiteX31" fmla="*/ 825842 w 1141507"/>
                <a:gd name="connsiteY31" fmla="*/ 173346 h 3383919"/>
                <a:gd name="connsiteX32" fmla="*/ 828614 w 1141507"/>
                <a:gd name="connsiteY32" fmla="*/ 157832 h 3383919"/>
                <a:gd name="connsiteX33" fmla="*/ 828613 w 1141507"/>
                <a:gd name="connsiteY33" fmla="*/ 100948 h 3383919"/>
                <a:gd name="connsiteX34" fmla="*/ 806445 w 1141507"/>
                <a:gd name="connsiteY34" fmla="*/ 77677 h 3383919"/>
                <a:gd name="connsiteX35" fmla="*/ 778735 w 1141507"/>
                <a:gd name="connsiteY35" fmla="*/ 46648 h 3383919"/>
                <a:gd name="connsiteX36" fmla="*/ 774567 w 1141507"/>
                <a:gd name="connsiteY36" fmla="*/ 22395 h 3383919"/>
                <a:gd name="connsiteX37" fmla="*/ 825843 w 1141507"/>
                <a:gd name="connsiteY37" fmla="*/ 104 h 3383919"/>
                <a:gd name="connsiteX38" fmla="*/ 879423 w 1141507"/>
                <a:gd name="connsiteY38" fmla="*/ 9976 h 3383919"/>
                <a:gd name="connsiteX39" fmla="*/ 958207 w 1141507"/>
                <a:gd name="connsiteY39" fmla="*/ 21886 h 3383919"/>
                <a:gd name="connsiteX40" fmla="*/ 1042530 w 1141507"/>
                <a:gd name="connsiteY40" fmla="*/ 91245 h 3383919"/>
                <a:gd name="connsiteX41" fmla="*/ 1104665 w 1141507"/>
                <a:gd name="connsiteY41" fmla="*/ 167341 h 3383919"/>
                <a:gd name="connsiteX42" fmla="*/ 1003694 w 1141507"/>
                <a:gd name="connsiteY42" fmla="*/ 196335 h 3383919"/>
                <a:gd name="connsiteX43" fmla="*/ 988160 w 1141507"/>
                <a:gd name="connsiteY43" fmla="*/ 243442 h 3383919"/>
                <a:gd name="connsiteX44" fmla="*/ 1045830 w 1141507"/>
                <a:gd name="connsiteY44" fmla="*/ 327932 h 3383919"/>
                <a:gd name="connsiteX45" fmla="*/ 1081364 w 1141507"/>
                <a:gd name="connsiteY45" fmla="*/ 334034 h 3383919"/>
                <a:gd name="connsiteX46" fmla="*/ 1133984 w 1141507"/>
                <a:gd name="connsiteY46" fmla="*/ 340374 h 3383919"/>
                <a:gd name="connsiteX47" fmla="*/ 1129021 w 1141507"/>
                <a:gd name="connsiteY47" fmla="*/ 451149 h 3383919"/>
                <a:gd name="connsiteX48" fmla="*/ 1140090 w 1141507"/>
                <a:gd name="connsiteY48" fmla="*/ 782117 h 3383919"/>
                <a:gd name="connsiteX49" fmla="*/ 1131222 w 1141507"/>
                <a:gd name="connsiteY49" fmla="*/ 1584716 h 3383919"/>
                <a:gd name="connsiteX50" fmla="*/ 1140089 w 1141507"/>
                <a:gd name="connsiteY50" fmla="*/ 2039798 h 3383919"/>
                <a:gd name="connsiteX51" fmla="*/ 1113641 w 1141507"/>
                <a:gd name="connsiteY51" fmla="*/ 3349763 h 3383919"/>
                <a:gd name="connsiteX52" fmla="*/ 855214 w 1141507"/>
                <a:gd name="connsiteY52" fmla="*/ 3306168 h 3383919"/>
                <a:gd name="connsiteX53" fmla="*/ 686736 w 1141507"/>
                <a:gd name="connsiteY53" fmla="*/ 3239973 h 3383919"/>
                <a:gd name="connsiteX54" fmla="*/ 509390 w 1141507"/>
                <a:gd name="connsiteY54" fmla="*/ 3148957 h 3383919"/>
                <a:gd name="connsiteX55" fmla="*/ 411092 w 1141507"/>
                <a:gd name="connsiteY55" fmla="*/ 3068440 h 3383919"/>
                <a:gd name="connsiteX56" fmla="*/ 705354 w 1141507"/>
                <a:gd name="connsiteY56" fmla="*/ 2760804 h 3383919"/>
                <a:gd name="connsiteX57" fmla="*/ 421600 w 1141507"/>
                <a:gd name="connsiteY57" fmla="*/ 2222980 h 3383919"/>
                <a:gd name="connsiteX58" fmla="*/ 563950 w 1141507"/>
                <a:gd name="connsiteY58" fmla="*/ 1983895 h 3383919"/>
                <a:gd name="connsiteX59" fmla="*/ 377263 w 1141507"/>
                <a:gd name="connsiteY59" fmla="*/ 1445204 h 3383919"/>
                <a:gd name="connsiteX60" fmla="*/ 128979 w 1141507"/>
                <a:gd name="connsiteY60" fmla="*/ 1213526 h 3383919"/>
                <a:gd name="connsiteX61" fmla="*/ 120112 w 1141507"/>
                <a:gd name="connsiteY61" fmla="*/ 1097687 h 3383919"/>
                <a:gd name="connsiteX62" fmla="*/ 0 w 1141507"/>
                <a:gd name="connsiteY62"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188346 w 1141507"/>
                <a:gd name="connsiteY4" fmla="*/ 754113 h 3383919"/>
                <a:gd name="connsiteX5" fmla="*/ 260392 w 1141507"/>
                <a:gd name="connsiteY5" fmla="*/ 813584 h 3383919"/>
                <a:gd name="connsiteX6" fmla="*/ 229911 w 1141507"/>
                <a:gd name="connsiteY6" fmla="*/ 699813 h 3383919"/>
                <a:gd name="connsiteX7" fmla="*/ 299187 w 1141507"/>
                <a:gd name="connsiteY7" fmla="*/ 653270 h 3383919"/>
                <a:gd name="connsiteX8" fmla="*/ 366959 w 1141507"/>
                <a:gd name="connsiteY8" fmla="*/ 661004 h 3383919"/>
                <a:gd name="connsiteX9" fmla="*/ 390792 w 1141507"/>
                <a:gd name="connsiteY9" fmla="*/ 693071 h 3383919"/>
                <a:gd name="connsiteX10" fmla="*/ 546521 w 1141507"/>
                <a:gd name="connsiteY10" fmla="*/ 749434 h 3383919"/>
                <a:gd name="connsiteX11" fmla="*/ 532113 w 1141507"/>
                <a:gd name="connsiteY11" fmla="*/ 713757 h 3383919"/>
                <a:gd name="connsiteX12" fmla="*/ 498861 w 1141507"/>
                <a:gd name="connsiteY12" fmla="*/ 674971 h 3383919"/>
                <a:gd name="connsiteX13" fmla="*/ 487777 w 1141507"/>
                <a:gd name="connsiteY13" fmla="*/ 623257 h 3383919"/>
                <a:gd name="connsiteX14" fmla="*/ 526572 w 1141507"/>
                <a:gd name="connsiteY14" fmla="*/ 574130 h 3383919"/>
                <a:gd name="connsiteX15" fmla="*/ 554282 w 1141507"/>
                <a:gd name="connsiteY15" fmla="*/ 545687 h 3383919"/>
                <a:gd name="connsiteX16" fmla="*/ 579222 w 1141507"/>
                <a:gd name="connsiteY16" fmla="*/ 509487 h 3383919"/>
                <a:gd name="connsiteX17" fmla="*/ 659582 w 1141507"/>
                <a:gd name="connsiteY17" fmla="*/ 504315 h 3383919"/>
                <a:gd name="connsiteX18" fmla="*/ 665123 w 1141507"/>
                <a:gd name="connsiteY18" fmla="*/ 483630 h 3383919"/>
                <a:gd name="connsiteX19" fmla="*/ 690063 w 1141507"/>
                <a:gd name="connsiteY19" fmla="*/ 447430 h 3383919"/>
                <a:gd name="connsiteX20" fmla="*/ 723867 w 1141507"/>
                <a:gd name="connsiteY20" fmla="*/ 429842 h 3383919"/>
                <a:gd name="connsiteX21" fmla="*/ 781507 w 1141507"/>
                <a:gd name="connsiteY21" fmla="*/ 442259 h 3383919"/>
                <a:gd name="connsiteX22" fmla="*/ 820300 w 1141507"/>
                <a:gd name="connsiteY22" fmla="*/ 462945 h 3383919"/>
                <a:gd name="connsiteX23" fmla="*/ 867408 w 1141507"/>
                <a:gd name="connsiteY23" fmla="*/ 470702 h 3383919"/>
                <a:gd name="connsiteX24" fmla="*/ 867408 w 1141507"/>
                <a:gd name="connsiteY24" fmla="*/ 475873 h 3383919"/>
                <a:gd name="connsiteX25" fmla="*/ 889577 w 1141507"/>
                <a:gd name="connsiteY25" fmla="*/ 416402 h 3383919"/>
                <a:gd name="connsiteX26" fmla="*/ 899552 w 1141507"/>
                <a:gd name="connsiteY26" fmla="*/ 382784 h 3383919"/>
                <a:gd name="connsiteX27" fmla="*/ 906203 w 1141507"/>
                <a:gd name="connsiteY27" fmla="*/ 364688 h 3383919"/>
                <a:gd name="connsiteX28" fmla="*/ 909140 w 1141507"/>
                <a:gd name="connsiteY28" fmla="*/ 333358 h 3383919"/>
                <a:gd name="connsiteX29" fmla="*/ 828614 w 1141507"/>
                <a:gd name="connsiteY29" fmla="*/ 287118 h 3383919"/>
                <a:gd name="connsiteX30" fmla="*/ 814759 w 1141507"/>
                <a:gd name="connsiteY30" fmla="*/ 214718 h 3383919"/>
                <a:gd name="connsiteX31" fmla="*/ 814759 w 1141507"/>
                <a:gd name="connsiteY31" fmla="*/ 196618 h 3383919"/>
                <a:gd name="connsiteX32" fmla="*/ 825842 w 1141507"/>
                <a:gd name="connsiteY32" fmla="*/ 173346 h 3383919"/>
                <a:gd name="connsiteX33" fmla="*/ 828614 w 1141507"/>
                <a:gd name="connsiteY33" fmla="*/ 157832 h 3383919"/>
                <a:gd name="connsiteX34" fmla="*/ 828613 w 1141507"/>
                <a:gd name="connsiteY34" fmla="*/ 100948 h 3383919"/>
                <a:gd name="connsiteX35" fmla="*/ 806445 w 1141507"/>
                <a:gd name="connsiteY35" fmla="*/ 77677 h 3383919"/>
                <a:gd name="connsiteX36" fmla="*/ 778735 w 1141507"/>
                <a:gd name="connsiteY36" fmla="*/ 46648 h 3383919"/>
                <a:gd name="connsiteX37" fmla="*/ 774567 w 1141507"/>
                <a:gd name="connsiteY37" fmla="*/ 22395 h 3383919"/>
                <a:gd name="connsiteX38" fmla="*/ 825843 w 1141507"/>
                <a:gd name="connsiteY38" fmla="*/ 104 h 3383919"/>
                <a:gd name="connsiteX39" fmla="*/ 879423 w 1141507"/>
                <a:gd name="connsiteY39" fmla="*/ 9976 h 3383919"/>
                <a:gd name="connsiteX40" fmla="*/ 958207 w 1141507"/>
                <a:gd name="connsiteY40" fmla="*/ 21886 h 3383919"/>
                <a:gd name="connsiteX41" fmla="*/ 1042530 w 1141507"/>
                <a:gd name="connsiteY41" fmla="*/ 91245 h 3383919"/>
                <a:gd name="connsiteX42" fmla="*/ 1104665 w 1141507"/>
                <a:gd name="connsiteY42" fmla="*/ 167341 h 3383919"/>
                <a:gd name="connsiteX43" fmla="*/ 1003694 w 1141507"/>
                <a:gd name="connsiteY43" fmla="*/ 196335 h 3383919"/>
                <a:gd name="connsiteX44" fmla="*/ 988160 w 1141507"/>
                <a:gd name="connsiteY44" fmla="*/ 243442 h 3383919"/>
                <a:gd name="connsiteX45" fmla="*/ 1045830 w 1141507"/>
                <a:gd name="connsiteY45" fmla="*/ 327932 h 3383919"/>
                <a:gd name="connsiteX46" fmla="*/ 1081364 w 1141507"/>
                <a:gd name="connsiteY46" fmla="*/ 334034 h 3383919"/>
                <a:gd name="connsiteX47" fmla="*/ 1133984 w 1141507"/>
                <a:gd name="connsiteY47" fmla="*/ 340374 h 3383919"/>
                <a:gd name="connsiteX48" fmla="*/ 1129021 w 1141507"/>
                <a:gd name="connsiteY48" fmla="*/ 451149 h 3383919"/>
                <a:gd name="connsiteX49" fmla="*/ 1140090 w 1141507"/>
                <a:gd name="connsiteY49" fmla="*/ 782117 h 3383919"/>
                <a:gd name="connsiteX50" fmla="*/ 1131222 w 1141507"/>
                <a:gd name="connsiteY50" fmla="*/ 1584716 h 3383919"/>
                <a:gd name="connsiteX51" fmla="*/ 1140089 w 1141507"/>
                <a:gd name="connsiteY51" fmla="*/ 2039798 h 3383919"/>
                <a:gd name="connsiteX52" fmla="*/ 1113641 w 1141507"/>
                <a:gd name="connsiteY52" fmla="*/ 3349763 h 3383919"/>
                <a:gd name="connsiteX53" fmla="*/ 855214 w 1141507"/>
                <a:gd name="connsiteY53" fmla="*/ 3306168 h 3383919"/>
                <a:gd name="connsiteX54" fmla="*/ 686736 w 1141507"/>
                <a:gd name="connsiteY54" fmla="*/ 3239973 h 3383919"/>
                <a:gd name="connsiteX55" fmla="*/ 509390 w 1141507"/>
                <a:gd name="connsiteY55" fmla="*/ 3148957 h 3383919"/>
                <a:gd name="connsiteX56" fmla="*/ 411092 w 1141507"/>
                <a:gd name="connsiteY56" fmla="*/ 3068440 h 3383919"/>
                <a:gd name="connsiteX57" fmla="*/ 705354 w 1141507"/>
                <a:gd name="connsiteY57" fmla="*/ 2760804 h 3383919"/>
                <a:gd name="connsiteX58" fmla="*/ 421600 w 1141507"/>
                <a:gd name="connsiteY58" fmla="*/ 2222980 h 3383919"/>
                <a:gd name="connsiteX59" fmla="*/ 563950 w 1141507"/>
                <a:gd name="connsiteY59" fmla="*/ 1983895 h 3383919"/>
                <a:gd name="connsiteX60" fmla="*/ 377263 w 1141507"/>
                <a:gd name="connsiteY60" fmla="*/ 1445204 h 3383919"/>
                <a:gd name="connsiteX61" fmla="*/ 128979 w 1141507"/>
                <a:gd name="connsiteY61" fmla="*/ 1213526 h 3383919"/>
                <a:gd name="connsiteX62" fmla="*/ 120112 w 1141507"/>
                <a:gd name="connsiteY62" fmla="*/ 1097687 h 3383919"/>
                <a:gd name="connsiteX63" fmla="*/ 0 w 1141507"/>
                <a:gd name="connsiteY63"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152322 w 1141507"/>
                <a:gd name="connsiteY4" fmla="*/ 847198 h 3383919"/>
                <a:gd name="connsiteX5" fmla="*/ 188346 w 1141507"/>
                <a:gd name="connsiteY5" fmla="*/ 754113 h 3383919"/>
                <a:gd name="connsiteX6" fmla="*/ 260392 w 1141507"/>
                <a:gd name="connsiteY6" fmla="*/ 813584 h 3383919"/>
                <a:gd name="connsiteX7" fmla="*/ 229911 w 1141507"/>
                <a:gd name="connsiteY7" fmla="*/ 699813 h 3383919"/>
                <a:gd name="connsiteX8" fmla="*/ 299187 w 1141507"/>
                <a:gd name="connsiteY8" fmla="*/ 653270 h 3383919"/>
                <a:gd name="connsiteX9" fmla="*/ 366959 w 1141507"/>
                <a:gd name="connsiteY9" fmla="*/ 661004 h 3383919"/>
                <a:gd name="connsiteX10" fmla="*/ 390792 w 1141507"/>
                <a:gd name="connsiteY10" fmla="*/ 693071 h 3383919"/>
                <a:gd name="connsiteX11" fmla="*/ 546521 w 1141507"/>
                <a:gd name="connsiteY11" fmla="*/ 749434 h 3383919"/>
                <a:gd name="connsiteX12" fmla="*/ 532113 w 1141507"/>
                <a:gd name="connsiteY12" fmla="*/ 713757 h 3383919"/>
                <a:gd name="connsiteX13" fmla="*/ 498861 w 1141507"/>
                <a:gd name="connsiteY13" fmla="*/ 674971 h 3383919"/>
                <a:gd name="connsiteX14" fmla="*/ 487777 w 1141507"/>
                <a:gd name="connsiteY14" fmla="*/ 623257 h 3383919"/>
                <a:gd name="connsiteX15" fmla="*/ 526572 w 1141507"/>
                <a:gd name="connsiteY15" fmla="*/ 574130 h 3383919"/>
                <a:gd name="connsiteX16" fmla="*/ 554282 w 1141507"/>
                <a:gd name="connsiteY16" fmla="*/ 545687 h 3383919"/>
                <a:gd name="connsiteX17" fmla="*/ 579222 w 1141507"/>
                <a:gd name="connsiteY17" fmla="*/ 509487 h 3383919"/>
                <a:gd name="connsiteX18" fmla="*/ 659582 w 1141507"/>
                <a:gd name="connsiteY18" fmla="*/ 504315 h 3383919"/>
                <a:gd name="connsiteX19" fmla="*/ 665123 w 1141507"/>
                <a:gd name="connsiteY19" fmla="*/ 483630 h 3383919"/>
                <a:gd name="connsiteX20" fmla="*/ 690063 w 1141507"/>
                <a:gd name="connsiteY20" fmla="*/ 447430 h 3383919"/>
                <a:gd name="connsiteX21" fmla="*/ 723867 w 1141507"/>
                <a:gd name="connsiteY21" fmla="*/ 429842 h 3383919"/>
                <a:gd name="connsiteX22" fmla="*/ 781507 w 1141507"/>
                <a:gd name="connsiteY22" fmla="*/ 442259 h 3383919"/>
                <a:gd name="connsiteX23" fmla="*/ 820300 w 1141507"/>
                <a:gd name="connsiteY23" fmla="*/ 462945 h 3383919"/>
                <a:gd name="connsiteX24" fmla="*/ 867408 w 1141507"/>
                <a:gd name="connsiteY24" fmla="*/ 470702 h 3383919"/>
                <a:gd name="connsiteX25" fmla="*/ 867408 w 1141507"/>
                <a:gd name="connsiteY25" fmla="*/ 475873 h 3383919"/>
                <a:gd name="connsiteX26" fmla="*/ 889577 w 1141507"/>
                <a:gd name="connsiteY26" fmla="*/ 416402 h 3383919"/>
                <a:gd name="connsiteX27" fmla="*/ 899552 w 1141507"/>
                <a:gd name="connsiteY27" fmla="*/ 382784 h 3383919"/>
                <a:gd name="connsiteX28" fmla="*/ 906203 w 1141507"/>
                <a:gd name="connsiteY28" fmla="*/ 364688 h 3383919"/>
                <a:gd name="connsiteX29" fmla="*/ 909140 w 1141507"/>
                <a:gd name="connsiteY29" fmla="*/ 333358 h 3383919"/>
                <a:gd name="connsiteX30" fmla="*/ 828614 w 1141507"/>
                <a:gd name="connsiteY30" fmla="*/ 287118 h 3383919"/>
                <a:gd name="connsiteX31" fmla="*/ 814759 w 1141507"/>
                <a:gd name="connsiteY31" fmla="*/ 214718 h 3383919"/>
                <a:gd name="connsiteX32" fmla="*/ 814759 w 1141507"/>
                <a:gd name="connsiteY32" fmla="*/ 196618 h 3383919"/>
                <a:gd name="connsiteX33" fmla="*/ 825842 w 1141507"/>
                <a:gd name="connsiteY33" fmla="*/ 173346 h 3383919"/>
                <a:gd name="connsiteX34" fmla="*/ 828614 w 1141507"/>
                <a:gd name="connsiteY34" fmla="*/ 157832 h 3383919"/>
                <a:gd name="connsiteX35" fmla="*/ 828613 w 1141507"/>
                <a:gd name="connsiteY35" fmla="*/ 100948 h 3383919"/>
                <a:gd name="connsiteX36" fmla="*/ 806445 w 1141507"/>
                <a:gd name="connsiteY36" fmla="*/ 77677 h 3383919"/>
                <a:gd name="connsiteX37" fmla="*/ 778735 w 1141507"/>
                <a:gd name="connsiteY37" fmla="*/ 46648 h 3383919"/>
                <a:gd name="connsiteX38" fmla="*/ 774567 w 1141507"/>
                <a:gd name="connsiteY38" fmla="*/ 22395 h 3383919"/>
                <a:gd name="connsiteX39" fmla="*/ 825843 w 1141507"/>
                <a:gd name="connsiteY39" fmla="*/ 104 h 3383919"/>
                <a:gd name="connsiteX40" fmla="*/ 879423 w 1141507"/>
                <a:gd name="connsiteY40" fmla="*/ 9976 h 3383919"/>
                <a:gd name="connsiteX41" fmla="*/ 958207 w 1141507"/>
                <a:gd name="connsiteY41" fmla="*/ 21886 h 3383919"/>
                <a:gd name="connsiteX42" fmla="*/ 1042530 w 1141507"/>
                <a:gd name="connsiteY42" fmla="*/ 91245 h 3383919"/>
                <a:gd name="connsiteX43" fmla="*/ 1104665 w 1141507"/>
                <a:gd name="connsiteY43" fmla="*/ 167341 h 3383919"/>
                <a:gd name="connsiteX44" fmla="*/ 1003694 w 1141507"/>
                <a:gd name="connsiteY44" fmla="*/ 196335 h 3383919"/>
                <a:gd name="connsiteX45" fmla="*/ 988160 w 1141507"/>
                <a:gd name="connsiteY45" fmla="*/ 243442 h 3383919"/>
                <a:gd name="connsiteX46" fmla="*/ 1045830 w 1141507"/>
                <a:gd name="connsiteY46" fmla="*/ 327932 h 3383919"/>
                <a:gd name="connsiteX47" fmla="*/ 1081364 w 1141507"/>
                <a:gd name="connsiteY47" fmla="*/ 334034 h 3383919"/>
                <a:gd name="connsiteX48" fmla="*/ 1133984 w 1141507"/>
                <a:gd name="connsiteY48" fmla="*/ 340374 h 3383919"/>
                <a:gd name="connsiteX49" fmla="*/ 1129021 w 1141507"/>
                <a:gd name="connsiteY49" fmla="*/ 451149 h 3383919"/>
                <a:gd name="connsiteX50" fmla="*/ 1140090 w 1141507"/>
                <a:gd name="connsiteY50" fmla="*/ 782117 h 3383919"/>
                <a:gd name="connsiteX51" fmla="*/ 1131222 w 1141507"/>
                <a:gd name="connsiteY51" fmla="*/ 1584716 h 3383919"/>
                <a:gd name="connsiteX52" fmla="*/ 1140089 w 1141507"/>
                <a:gd name="connsiteY52" fmla="*/ 2039798 h 3383919"/>
                <a:gd name="connsiteX53" fmla="*/ 1113641 w 1141507"/>
                <a:gd name="connsiteY53" fmla="*/ 3349763 h 3383919"/>
                <a:gd name="connsiteX54" fmla="*/ 855214 w 1141507"/>
                <a:gd name="connsiteY54" fmla="*/ 3306168 h 3383919"/>
                <a:gd name="connsiteX55" fmla="*/ 686736 w 1141507"/>
                <a:gd name="connsiteY55" fmla="*/ 3239973 h 3383919"/>
                <a:gd name="connsiteX56" fmla="*/ 509390 w 1141507"/>
                <a:gd name="connsiteY56" fmla="*/ 3148957 h 3383919"/>
                <a:gd name="connsiteX57" fmla="*/ 411092 w 1141507"/>
                <a:gd name="connsiteY57" fmla="*/ 3068440 h 3383919"/>
                <a:gd name="connsiteX58" fmla="*/ 705354 w 1141507"/>
                <a:gd name="connsiteY58" fmla="*/ 2760804 h 3383919"/>
                <a:gd name="connsiteX59" fmla="*/ 421600 w 1141507"/>
                <a:gd name="connsiteY59" fmla="*/ 2222980 h 3383919"/>
                <a:gd name="connsiteX60" fmla="*/ 563950 w 1141507"/>
                <a:gd name="connsiteY60" fmla="*/ 1983895 h 3383919"/>
                <a:gd name="connsiteX61" fmla="*/ 377263 w 1141507"/>
                <a:gd name="connsiteY61" fmla="*/ 1445204 h 3383919"/>
                <a:gd name="connsiteX62" fmla="*/ 128979 w 1141507"/>
                <a:gd name="connsiteY62" fmla="*/ 1213526 h 3383919"/>
                <a:gd name="connsiteX63" fmla="*/ 120112 w 1141507"/>
                <a:gd name="connsiteY63" fmla="*/ 1097687 h 3383919"/>
                <a:gd name="connsiteX64" fmla="*/ 0 w 1141507"/>
                <a:gd name="connsiteY64"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152322 w 1141507"/>
                <a:gd name="connsiteY4" fmla="*/ 847198 h 3383919"/>
                <a:gd name="connsiteX5" fmla="*/ 188346 w 1141507"/>
                <a:gd name="connsiteY5" fmla="*/ 754113 h 3383919"/>
                <a:gd name="connsiteX6" fmla="*/ 218827 w 1141507"/>
                <a:gd name="connsiteY6" fmla="*/ 857540 h 3383919"/>
                <a:gd name="connsiteX7" fmla="*/ 260392 w 1141507"/>
                <a:gd name="connsiteY7" fmla="*/ 813584 h 3383919"/>
                <a:gd name="connsiteX8" fmla="*/ 229911 w 1141507"/>
                <a:gd name="connsiteY8" fmla="*/ 699813 h 3383919"/>
                <a:gd name="connsiteX9" fmla="*/ 299187 w 1141507"/>
                <a:gd name="connsiteY9" fmla="*/ 653270 h 3383919"/>
                <a:gd name="connsiteX10" fmla="*/ 366959 w 1141507"/>
                <a:gd name="connsiteY10" fmla="*/ 661004 h 3383919"/>
                <a:gd name="connsiteX11" fmla="*/ 390792 w 1141507"/>
                <a:gd name="connsiteY11" fmla="*/ 693071 h 3383919"/>
                <a:gd name="connsiteX12" fmla="*/ 546521 w 1141507"/>
                <a:gd name="connsiteY12" fmla="*/ 749434 h 3383919"/>
                <a:gd name="connsiteX13" fmla="*/ 532113 w 1141507"/>
                <a:gd name="connsiteY13" fmla="*/ 713757 h 3383919"/>
                <a:gd name="connsiteX14" fmla="*/ 498861 w 1141507"/>
                <a:gd name="connsiteY14" fmla="*/ 674971 h 3383919"/>
                <a:gd name="connsiteX15" fmla="*/ 487777 w 1141507"/>
                <a:gd name="connsiteY15" fmla="*/ 623257 h 3383919"/>
                <a:gd name="connsiteX16" fmla="*/ 526572 w 1141507"/>
                <a:gd name="connsiteY16" fmla="*/ 574130 h 3383919"/>
                <a:gd name="connsiteX17" fmla="*/ 554282 w 1141507"/>
                <a:gd name="connsiteY17" fmla="*/ 545687 h 3383919"/>
                <a:gd name="connsiteX18" fmla="*/ 579222 w 1141507"/>
                <a:gd name="connsiteY18" fmla="*/ 509487 h 3383919"/>
                <a:gd name="connsiteX19" fmla="*/ 659582 w 1141507"/>
                <a:gd name="connsiteY19" fmla="*/ 504315 h 3383919"/>
                <a:gd name="connsiteX20" fmla="*/ 665123 w 1141507"/>
                <a:gd name="connsiteY20" fmla="*/ 483630 h 3383919"/>
                <a:gd name="connsiteX21" fmla="*/ 690063 w 1141507"/>
                <a:gd name="connsiteY21" fmla="*/ 447430 h 3383919"/>
                <a:gd name="connsiteX22" fmla="*/ 723867 w 1141507"/>
                <a:gd name="connsiteY22" fmla="*/ 429842 h 3383919"/>
                <a:gd name="connsiteX23" fmla="*/ 781507 w 1141507"/>
                <a:gd name="connsiteY23" fmla="*/ 442259 h 3383919"/>
                <a:gd name="connsiteX24" fmla="*/ 820300 w 1141507"/>
                <a:gd name="connsiteY24" fmla="*/ 462945 h 3383919"/>
                <a:gd name="connsiteX25" fmla="*/ 867408 w 1141507"/>
                <a:gd name="connsiteY25" fmla="*/ 470702 h 3383919"/>
                <a:gd name="connsiteX26" fmla="*/ 867408 w 1141507"/>
                <a:gd name="connsiteY26" fmla="*/ 475873 h 3383919"/>
                <a:gd name="connsiteX27" fmla="*/ 889577 w 1141507"/>
                <a:gd name="connsiteY27" fmla="*/ 416402 h 3383919"/>
                <a:gd name="connsiteX28" fmla="*/ 899552 w 1141507"/>
                <a:gd name="connsiteY28" fmla="*/ 382784 h 3383919"/>
                <a:gd name="connsiteX29" fmla="*/ 906203 w 1141507"/>
                <a:gd name="connsiteY29" fmla="*/ 364688 h 3383919"/>
                <a:gd name="connsiteX30" fmla="*/ 909140 w 1141507"/>
                <a:gd name="connsiteY30" fmla="*/ 333358 h 3383919"/>
                <a:gd name="connsiteX31" fmla="*/ 828614 w 1141507"/>
                <a:gd name="connsiteY31" fmla="*/ 287118 h 3383919"/>
                <a:gd name="connsiteX32" fmla="*/ 814759 w 1141507"/>
                <a:gd name="connsiteY32" fmla="*/ 214718 h 3383919"/>
                <a:gd name="connsiteX33" fmla="*/ 814759 w 1141507"/>
                <a:gd name="connsiteY33" fmla="*/ 196618 h 3383919"/>
                <a:gd name="connsiteX34" fmla="*/ 825842 w 1141507"/>
                <a:gd name="connsiteY34" fmla="*/ 173346 h 3383919"/>
                <a:gd name="connsiteX35" fmla="*/ 828614 w 1141507"/>
                <a:gd name="connsiteY35" fmla="*/ 157832 h 3383919"/>
                <a:gd name="connsiteX36" fmla="*/ 828613 w 1141507"/>
                <a:gd name="connsiteY36" fmla="*/ 100948 h 3383919"/>
                <a:gd name="connsiteX37" fmla="*/ 806445 w 1141507"/>
                <a:gd name="connsiteY37" fmla="*/ 77677 h 3383919"/>
                <a:gd name="connsiteX38" fmla="*/ 778735 w 1141507"/>
                <a:gd name="connsiteY38" fmla="*/ 46648 h 3383919"/>
                <a:gd name="connsiteX39" fmla="*/ 774567 w 1141507"/>
                <a:gd name="connsiteY39" fmla="*/ 22395 h 3383919"/>
                <a:gd name="connsiteX40" fmla="*/ 825843 w 1141507"/>
                <a:gd name="connsiteY40" fmla="*/ 104 h 3383919"/>
                <a:gd name="connsiteX41" fmla="*/ 879423 w 1141507"/>
                <a:gd name="connsiteY41" fmla="*/ 9976 h 3383919"/>
                <a:gd name="connsiteX42" fmla="*/ 958207 w 1141507"/>
                <a:gd name="connsiteY42" fmla="*/ 21886 h 3383919"/>
                <a:gd name="connsiteX43" fmla="*/ 1042530 w 1141507"/>
                <a:gd name="connsiteY43" fmla="*/ 91245 h 3383919"/>
                <a:gd name="connsiteX44" fmla="*/ 1104665 w 1141507"/>
                <a:gd name="connsiteY44" fmla="*/ 167341 h 3383919"/>
                <a:gd name="connsiteX45" fmla="*/ 1003694 w 1141507"/>
                <a:gd name="connsiteY45" fmla="*/ 196335 h 3383919"/>
                <a:gd name="connsiteX46" fmla="*/ 988160 w 1141507"/>
                <a:gd name="connsiteY46" fmla="*/ 243442 h 3383919"/>
                <a:gd name="connsiteX47" fmla="*/ 1045830 w 1141507"/>
                <a:gd name="connsiteY47" fmla="*/ 327932 h 3383919"/>
                <a:gd name="connsiteX48" fmla="*/ 1081364 w 1141507"/>
                <a:gd name="connsiteY48" fmla="*/ 334034 h 3383919"/>
                <a:gd name="connsiteX49" fmla="*/ 1133984 w 1141507"/>
                <a:gd name="connsiteY49" fmla="*/ 340374 h 3383919"/>
                <a:gd name="connsiteX50" fmla="*/ 1129021 w 1141507"/>
                <a:gd name="connsiteY50" fmla="*/ 451149 h 3383919"/>
                <a:gd name="connsiteX51" fmla="*/ 1140090 w 1141507"/>
                <a:gd name="connsiteY51" fmla="*/ 782117 h 3383919"/>
                <a:gd name="connsiteX52" fmla="*/ 1131222 w 1141507"/>
                <a:gd name="connsiteY52" fmla="*/ 1584716 h 3383919"/>
                <a:gd name="connsiteX53" fmla="*/ 1140089 w 1141507"/>
                <a:gd name="connsiteY53" fmla="*/ 2039798 h 3383919"/>
                <a:gd name="connsiteX54" fmla="*/ 1113641 w 1141507"/>
                <a:gd name="connsiteY54" fmla="*/ 3349763 h 3383919"/>
                <a:gd name="connsiteX55" fmla="*/ 855214 w 1141507"/>
                <a:gd name="connsiteY55" fmla="*/ 3306168 h 3383919"/>
                <a:gd name="connsiteX56" fmla="*/ 686736 w 1141507"/>
                <a:gd name="connsiteY56" fmla="*/ 3239973 h 3383919"/>
                <a:gd name="connsiteX57" fmla="*/ 509390 w 1141507"/>
                <a:gd name="connsiteY57" fmla="*/ 3148957 h 3383919"/>
                <a:gd name="connsiteX58" fmla="*/ 411092 w 1141507"/>
                <a:gd name="connsiteY58" fmla="*/ 3068440 h 3383919"/>
                <a:gd name="connsiteX59" fmla="*/ 705354 w 1141507"/>
                <a:gd name="connsiteY59" fmla="*/ 2760804 h 3383919"/>
                <a:gd name="connsiteX60" fmla="*/ 421600 w 1141507"/>
                <a:gd name="connsiteY60" fmla="*/ 2222980 h 3383919"/>
                <a:gd name="connsiteX61" fmla="*/ 563950 w 1141507"/>
                <a:gd name="connsiteY61" fmla="*/ 1983895 h 3383919"/>
                <a:gd name="connsiteX62" fmla="*/ 377263 w 1141507"/>
                <a:gd name="connsiteY62" fmla="*/ 1445204 h 3383919"/>
                <a:gd name="connsiteX63" fmla="*/ 128979 w 1141507"/>
                <a:gd name="connsiteY63" fmla="*/ 1213526 h 3383919"/>
                <a:gd name="connsiteX64" fmla="*/ 120112 w 1141507"/>
                <a:gd name="connsiteY64" fmla="*/ 1097687 h 3383919"/>
                <a:gd name="connsiteX65" fmla="*/ 0 w 1141507"/>
                <a:gd name="connsiteY65"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152322 w 1141507"/>
                <a:gd name="connsiteY4" fmla="*/ 847198 h 3383919"/>
                <a:gd name="connsiteX5" fmla="*/ 193889 w 1141507"/>
                <a:gd name="connsiteY5" fmla="*/ 857540 h 3383919"/>
                <a:gd name="connsiteX6" fmla="*/ 218827 w 1141507"/>
                <a:gd name="connsiteY6" fmla="*/ 857540 h 3383919"/>
                <a:gd name="connsiteX7" fmla="*/ 260392 w 1141507"/>
                <a:gd name="connsiteY7" fmla="*/ 813584 h 3383919"/>
                <a:gd name="connsiteX8" fmla="*/ 229911 w 1141507"/>
                <a:gd name="connsiteY8" fmla="*/ 699813 h 3383919"/>
                <a:gd name="connsiteX9" fmla="*/ 299187 w 1141507"/>
                <a:gd name="connsiteY9" fmla="*/ 653270 h 3383919"/>
                <a:gd name="connsiteX10" fmla="*/ 366959 w 1141507"/>
                <a:gd name="connsiteY10" fmla="*/ 661004 h 3383919"/>
                <a:gd name="connsiteX11" fmla="*/ 390792 w 1141507"/>
                <a:gd name="connsiteY11" fmla="*/ 693071 h 3383919"/>
                <a:gd name="connsiteX12" fmla="*/ 546521 w 1141507"/>
                <a:gd name="connsiteY12" fmla="*/ 749434 h 3383919"/>
                <a:gd name="connsiteX13" fmla="*/ 532113 w 1141507"/>
                <a:gd name="connsiteY13" fmla="*/ 713757 h 3383919"/>
                <a:gd name="connsiteX14" fmla="*/ 498861 w 1141507"/>
                <a:gd name="connsiteY14" fmla="*/ 674971 h 3383919"/>
                <a:gd name="connsiteX15" fmla="*/ 487777 w 1141507"/>
                <a:gd name="connsiteY15" fmla="*/ 623257 h 3383919"/>
                <a:gd name="connsiteX16" fmla="*/ 526572 w 1141507"/>
                <a:gd name="connsiteY16" fmla="*/ 574130 h 3383919"/>
                <a:gd name="connsiteX17" fmla="*/ 554282 w 1141507"/>
                <a:gd name="connsiteY17" fmla="*/ 545687 h 3383919"/>
                <a:gd name="connsiteX18" fmla="*/ 579222 w 1141507"/>
                <a:gd name="connsiteY18" fmla="*/ 509487 h 3383919"/>
                <a:gd name="connsiteX19" fmla="*/ 659582 w 1141507"/>
                <a:gd name="connsiteY19" fmla="*/ 504315 h 3383919"/>
                <a:gd name="connsiteX20" fmla="*/ 665123 w 1141507"/>
                <a:gd name="connsiteY20" fmla="*/ 483630 h 3383919"/>
                <a:gd name="connsiteX21" fmla="*/ 690063 w 1141507"/>
                <a:gd name="connsiteY21" fmla="*/ 447430 h 3383919"/>
                <a:gd name="connsiteX22" fmla="*/ 723867 w 1141507"/>
                <a:gd name="connsiteY22" fmla="*/ 429842 h 3383919"/>
                <a:gd name="connsiteX23" fmla="*/ 781507 w 1141507"/>
                <a:gd name="connsiteY23" fmla="*/ 442259 h 3383919"/>
                <a:gd name="connsiteX24" fmla="*/ 820300 w 1141507"/>
                <a:gd name="connsiteY24" fmla="*/ 462945 h 3383919"/>
                <a:gd name="connsiteX25" fmla="*/ 867408 w 1141507"/>
                <a:gd name="connsiteY25" fmla="*/ 470702 h 3383919"/>
                <a:gd name="connsiteX26" fmla="*/ 867408 w 1141507"/>
                <a:gd name="connsiteY26" fmla="*/ 475873 h 3383919"/>
                <a:gd name="connsiteX27" fmla="*/ 889577 w 1141507"/>
                <a:gd name="connsiteY27" fmla="*/ 416402 h 3383919"/>
                <a:gd name="connsiteX28" fmla="*/ 899552 w 1141507"/>
                <a:gd name="connsiteY28" fmla="*/ 382784 h 3383919"/>
                <a:gd name="connsiteX29" fmla="*/ 906203 w 1141507"/>
                <a:gd name="connsiteY29" fmla="*/ 364688 h 3383919"/>
                <a:gd name="connsiteX30" fmla="*/ 909140 w 1141507"/>
                <a:gd name="connsiteY30" fmla="*/ 333358 h 3383919"/>
                <a:gd name="connsiteX31" fmla="*/ 828614 w 1141507"/>
                <a:gd name="connsiteY31" fmla="*/ 287118 h 3383919"/>
                <a:gd name="connsiteX32" fmla="*/ 814759 w 1141507"/>
                <a:gd name="connsiteY32" fmla="*/ 214718 h 3383919"/>
                <a:gd name="connsiteX33" fmla="*/ 814759 w 1141507"/>
                <a:gd name="connsiteY33" fmla="*/ 196618 h 3383919"/>
                <a:gd name="connsiteX34" fmla="*/ 825842 w 1141507"/>
                <a:gd name="connsiteY34" fmla="*/ 173346 h 3383919"/>
                <a:gd name="connsiteX35" fmla="*/ 828614 w 1141507"/>
                <a:gd name="connsiteY35" fmla="*/ 157832 h 3383919"/>
                <a:gd name="connsiteX36" fmla="*/ 828613 w 1141507"/>
                <a:gd name="connsiteY36" fmla="*/ 100948 h 3383919"/>
                <a:gd name="connsiteX37" fmla="*/ 806445 w 1141507"/>
                <a:gd name="connsiteY37" fmla="*/ 77677 h 3383919"/>
                <a:gd name="connsiteX38" fmla="*/ 778735 w 1141507"/>
                <a:gd name="connsiteY38" fmla="*/ 46648 h 3383919"/>
                <a:gd name="connsiteX39" fmla="*/ 774567 w 1141507"/>
                <a:gd name="connsiteY39" fmla="*/ 22395 h 3383919"/>
                <a:gd name="connsiteX40" fmla="*/ 825843 w 1141507"/>
                <a:gd name="connsiteY40" fmla="*/ 104 h 3383919"/>
                <a:gd name="connsiteX41" fmla="*/ 879423 w 1141507"/>
                <a:gd name="connsiteY41" fmla="*/ 9976 h 3383919"/>
                <a:gd name="connsiteX42" fmla="*/ 958207 w 1141507"/>
                <a:gd name="connsiteY42" fmla="*/ 21886 h 3383919"/>
                <a:gd name="connsiteX43" fmla="*/ 1042530 w 1141507"/>
                <a:gd name="connsiteY43" fmla="*/ 91245 h 3383919"/>
                <a:gd name="connsiteX44" fmla="*/ 1104665 w 1141507"/>
                <a:gd name="connsiteY44" fmla="*/ 167341 h 3383919"/>
                <a:gd name="connsiteX45" fmla="*/ 1003694 w 1141507"/>
                <a:gd name="connsiteY45" fmla="*/ 196335 h 3383919"/>
                <a:gd name="connsiteX46" fmla="*/ 988160 w 1141507"/>
                <a:gd name="connsiteY46" fmla="*/ 243442 h 3383919"/>
                <a:gd name="connsiteX47" fmla="*/ 1045830 w 1141507"/>
                <a:gd name="connsiteY47" fmla="*/ 327932 h 3383919"/>
                <a:gd name="connsiteX48" fmla="*/ 1081364 w 1141507"/>
                <a:gd name="connsiteY48" fmla="*/ 334034 h 3383919"/>
                <a:gd name="connsiteX49" fmla="*/ 1133984 w 1141507"/>
                <a:gd name="connsiteY49" fmla="*/ 340374 h 3383919"/>
                <a:gd name="connsiteX50" fmla="*/ 1129021 w 1141507"/>
                <a:gd name="connsiteY50" fmla="*/ 451149 h 3383919"/>
                <a:gd name="connsiteX51" fmla="*/ 1140090 w 1141507"/>
                <a:gd name="connsiteY51" fmla="*/ 782117 h 3383919"/>
                <a:gd name="connsiteX52" fmla="*/ 1131222 w 1141507"/>
                <a:gd name="connsiteY52" fmla="*/ 1584716 h 3383919"/>
                <a:gd name="connsiteX53" fmla="*/ 1140089 w 1141507"/>
                <a:gd name="connsiteY53" fmla="*/ 2039798 h 3383919"/>
                <a:gd name="connsiteX54" fmla="*/ 1113641 w 1141507"/>
                <a:gd name="connsiteY54" fmla="*/ 3349763 h 3383919"/>
                <a:gd name="connsiteX55" fmla="*/ 855214 w 1141507"/>
                <a:gd name="connsiteY55" fmla="*/ 3306168 h 3383919"/>
                <a:gd name="connsiteX56" fmla="*/ 686736 w 1141507"/>
                <a:gd name="connsiteY56" fmla="*/ 3239973 h 3383919"/>
                <a:gd name="connsiteX57" fmla="*/ 509390 w 1141507"/>
                <a:gd name="connsiteY57" fmla="*/ 3148957 h 3383919"/>
                <a:gd name="connsiteX58" fmla="*/ 411092 w 1141507"/>
                <a:gd name="connsiteY58" fmla="*/ 3068440 h 3383919"/>
                <a:gd name="connsiteX59" fmla="*/ 705354 w 1141507"/>
                <a:gd name="connsiteY59" fmla="*/ 2760804 h 3383919"/>
                <a:gd name="connsiteX60" fmla="*/ 421600 w 1141507"/>
                <a:gd name="connsiteY60" fmla="*/ 2222980 h 3383919"/>
                <a:gd name="connsiteX61" fmla="*/ 563950 w 1141507"/>
                <a:gd name="connsiteY61" fmla="*/ 1983895 h 3383919"/>
                <a:gd name="connsiteX62" fmla="*/ 377263 w 1141507"/>
                <a:gd name="connsiteY62" fmla="*/ 1445204 h 3383919"/>
                <a:gd name="connsiteX63" fmla="*/ 128979 w 1141507"/>
                <a:gd name="connsiteY63" fmla="*/ 1213526 h 3383919"/>
                <a:gd name="connsiteX64" fmla="*/ 120112 w 1141507"/>
                <a:gd name="connsiteY64" fmla="*/ 1097687 h 3383919"/>
                <a:gd name="connsiteX65" fmla="*/ 0 w 1141507"/>
                <a:gd name="connsiteY65"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152322 w 1141507"/>
                <a:gd name="connsiteY4" fmla="*/ 847198 h 3383919"/>
                <a:gd name="connsiteX5" fmla="*/ 193889 w 1141507"/>
                <a:gd name="connsiteY5" fmla="*/ 857540 h 3383919"/>
                <a:gd name="connsiteX6" fmla="*/ 218827 w 1141507"/>
                <a:gd name="connsiteY6" fmla="*/ 857540 h 3383919"/>
                <a:gd name="connsiteX7" fmla="*/ 260392 w 1141507"/>
                <a:gd name="connsiteY7" fmla="*/ 813584 h 3383919"/>
                <a:gd name="connsiteX8" fmla="*/ 304729 w 1141507"/>
                <a:gd name="connsiteY8" fmla="*/ 764455 h 3383919"/>
                <a:gd name="connsiteX9" fmla="*/ 229911 w 1141507"/>
                <a:gd name="connsiteY9" fmla="*/ 699813 h 3383919"/>
                <a:gd name="connsiteX10" fmla="*/ 299187 w 1141507"/>
                <a:gd name="connsiteY10" fmla="*/ 653270 h 3383919"/>
                <a:gd name="connsiteX11" fmla="*/ 366959 w 1141507"/>
                <a:gd name="connsiteY11" fmla="*/ 661004 h 3383919"/>
                <a:gd name="connsiteX12" fmla="*/ 390792 w 1141507"/>
                <a:gd name="connsiteY12" fmla="*/ 693071 h 3383919"/>
                <a:gd name="connsiteX13" fmla="*/ 546521 w 1141507"/>
                <a:gd name="connsiteY13" fmla="*/ 749434 h 3383919"/>
                <a:gd name="connsiteX14" fmla="*/ 532113 w 1141507"/>
                <a:gd name="connsiteY14" fmla="*/ 713757 h 3383919"/>
                <a:gd name="connsiteX15" fmla="*/ 498861 w 1141507"/>
                <a:gd name="connsiteY15" fmla="*/ 674971 h 3383919"/>
                <a:gd name="connsiteX16" fmla="*/ 487777 w 1141507"/>
                <a:gd name="connsiteY16" fmla="*/ 623257 h 3383919"/>
                <a:gd name="connsiteX17" fmla="*/ 526572 w 1141507"/>
                <a:gd name="connsiteY17" fmla="*/ 574130 h 3383919"/>
                <a:gd name="connsiteX18" fmla="*/ 554282 w 1141507"/>
                <a:gd name="connsiteY18" fmla="*/ 545687 h 3383919"/>
                <a:gd name="connsiteX19" fmla="*/ 579222 w 1141507"/>
                <a:gd name="connsiteY19" fmla="*/ 509487 h 3383919"/>
                <a:gd name="connsiteX20" fmla="*/ 659582 w 1141507"/>
                <a:gd name="connsiteY20" fmla="*/ 504315 h 3383919"/>
                <a:gd name="connsiteX21" fmla="*/ 665123 w 1141507"/>
                <a:gd name="connsiteY21" fmla="*/ 483630 h 3383919"/>
                <a:gd name="connsiteX22" fmla="*/ 690063 w 1141507"/>
                <a:gd name="connsiteY22" fmla="*/ 447430 h 3383919"/>
                <a:gd name="connsiteX23" fmla="*/ 723867 w 1141507"/>
                <a:gd name="connsiteY23" fmla="*/ 429842 h 3383919"/>
                <a:gd name="connsiteX24" fmla="*/ 781507 w 1141507"/>
                <a:gd name="connsiteY24" fmla="*/ 442259 h 3383919"/>
                <a:gd name="connsiteX25" fmla="*/ 820300 w 1141507"/>
                <a:gd name="connsiteY25" fmla="*/ 462945 h 3383919"/>
                <a:gd name="connsiteX26" fmla="*/ 867408 w 1141507"/>
                <a:gd name="connsiteY26" fmla="*/ 470702 h 3383919"/>
                <a:gd name="connsiteX27" fmla="*/ 867408 w 1141507"/>
                <a:gd name="connsiteY27" fmla="*/ 475873 h 3383919"/>
                <a:gd name="connsiteX28" fmla="*/ 889577 w 1141507"/>
                <a:gd name="connsiteY28" fmla="*/ 416402 h 3383919"/>
                <a:gd name="connsiteX29" fmla="*/ 899552 w 1141507"/>
                <a:gd name="connsiteY29" fmla="*/ 382784 h 3383919"/>
                <a:gd name="connsiteX30" fmla="*/ 906203 w 1141507"/>
                <a:gd name="connsiteY30" fmla="*/ 364688 h 3383919"/>
                <a:gd name="connsiteX31" fmla="*/ 909140 w 1141507"/>
                <a:gd name="connsiteY31" fmla="*/ 333358 h 3383919"/>
                <a:gd name="connsiteX32" fmla="*/ 828614 w 1141507"/>
                <a:gd name="connsiteY32" fmla="*/ 287118 h 3383919"/>
                <a:gd name="connsiteX33" fmla="*/ 814759 w 1141507"/>
                <a:gd name="connsiteY33" fmla="*/ 214718 h 3383919"/>
                <a:gd name="connsiteX34" fmla="*/ 814759 w 1141507"/>
                <a:gd name="connsiteY34" fmla="*/ 196618 h 3383919"/>
                <a:gd name="connsiteX35" fmla="*/ 825842 w 1141507"/>
                <a:gd name="connsiteY35" fmla="*/ 173346 h 3383919"/>
                <a:gd name="connsiteX36" fmla="*/ 828614 w 1141507"/>
                <a:gd name="connsiteY36" fmla="*/ 157832 h 3383919"/>
                <a:gd name="connsiteX37" fmla="*/ 828613 w 1141507"/>
                <a:gd name="connsiteY37" fmla="*/ 100948 h 3383919"/>
                <a:gd name="connsiteX38" fmla="*/ 806445 w 1141507"/>
                <a:gd name="connsiteY38" fmla="*/ 77677 h 3383919"/>
                <a:gd name="connsiteX39" fmla="*/ 778735 w 1141507"/>
                <a:gd name="connsiteY39" fmla="*/ 46648 h 3383919"/>
                <a:gd name="connsiteX40" fmla="*/ 774567 w 1141507"/>
                <a:gd name="connsiteY40" fmla="*/ 22395 h 3383919"/>
                <a:gd name="connsiteX41" fmla="*/ 825843 w 1141507"/>
                <a:gd name="connsiteY41" fmla="*/ 104 h 3383919"/>
                <a:gd name="connsiteX42" fmla="*/ 879423 w 1141507"/>
                <a:gd name="connsiteY42" fmla="*/ 9976 h 3383919"/>
                <a:gd name="connsiteX43" fmla="*/ 958207 w 1141507"/>
                <a:gd name="connsiteY43" fmla="*/ 21886 h 3383919"/>
                <a:gd name="connsiteX44" fmla="*/ 1042530 w 1141507"/>
                <a:gd name="connsiteY44" fmla="*/ 91245 h 3383919"/>
                <a:gd name="connsiteX45" fmla="*/ 1104665 w 1141507"/>
                <a:gd name="connsiteY45" fmla="*/ 167341 h 3383919"/>
                <a:gd name="connsiteX46" fmla="*/ 1003694 w 1141507"/>
                <a:gd name="connsiteY46" fmla="*/ 196335 h 3383919"/>
                <a:gd name="connsiteX47" fmla="*/ 988160 w 1141507"/>
                <a:gd name="connsiteY47" fmla="*/ 243442 h 3383919"/>
                <a:gd name="connsiteX48" fmla="*/ 1045830 w 1141507"/>
                <a:gd name="connsiteY48" fmla="*/ 327932 h 3383919"/>
                <a:gd name="connsiteX49" fmla="*/ 1081364 w 1141507"/>
                <a:gd name="connsiteY49" fmla="*/ 334034 h 3383919"/>
                <a:gd name="connsiteX50" fmla="*/ 1133984 w 1141507"/>
                <a:gd name="connsiteY50" fmla="*/ 340374 h 3383919"/>
                <a:gd name="connsiteX51" fmla="*/ 1129021 w 1141507"/>
                <a:gd name="connsiteY51" fmla="*/ 451149 h 3383919"/>
                <a:gd name="connsiteX52" fmla="*/ 1140090 w 1141507"/>
                <a:gd name="connsiteY52" fmla="*/ 782117 h 3383919"/>
                <a:gd name="connsiteX53" fmla="*/ 1131222 w 1141507"/>
                <a:gd name="connsiteY53" fmla="*/ 1584716 h 3383919"/>
                <a:gd name="connsiteX54" fmla="*/ 1140089 w 1141507"/>
                <a:gd name="connsiteY54" fmla="*/ 2039798 h 3383919"/>
                <a:gd name="connsiteX55" fmla="*/ 1113641 w 1141507"/>
                <a:gd name="connsiteY55" fmla="*/ 3349763 h 3383919"/>
                <a:gd name="connsiteX56" fmla="*/ 855214 w 1141507"/>
                <a:gd name="connsiteY56" fmla="*/ 3306168 h 3383919"/>
                <a:gd name="connsiteX57" fmla="*/ 686736 w 1141507"/>
                <a:gd name="connsiteY57" fmla="*/ 3239973 h 3383919"/>
                <a:gd name="connsiteX58" fmla="*/ 509390 w 1141507"/>
                <a:gd name="connsiteY58" fmla="*/ 3148957 h 3383919"/>
                <a:gd name="connsiteX59" fmla="*/ 411092 w 1141507"/>
                <a:gd name="connsiteY59" fmla="*/ 3068440 h 3383919"/>
                <a:gd name="connsiteX60" fmla="*/ 705354 w 1141507"/>
                <a:gd name="connsiteY60" fmla="*/ 2760804 h 3383919"/>
                <a:gd name="connsiteX61" fmla="*/ 421600 w 1141507"/>
                <a:gd name="connsiteY61" fmla="*/ 2222980 h 3383919"/>
                <a:gd name="connsiteX62" fmla="*/ 563950 w 1141507"/>
                <a:gd name="connsiteY62" fmla="*/ 1983895 h 3383919"/>
                <a:gd name="connsiteX63" fmla="*/ 377263 w 1141507"/>
                <a:gd name="connsiteY63" fmla="*/ 1445204 h 3383919"/>
                <a:gd name="connsiteX64" fmla="*/ 128979 w 1141507"/>
                <a:gd name="connsiteY64" fmla="*/ 1213526 h 3383919"/>
                <a:gd name="connsiteX65" fmla="*/ 120112 w 1141507"/>
                <a:gd name="connsiteY65" fmla="*/ 1097687 h 3383919"/>
                <a:gd name="connsiteX66" fmla="*/ 0 w 1141507"/>
                <a:gd name="connsiteY66"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152322 w 1141507"/>
                <a:gd name="connsiteY4" fmla="*/ 847198 h 3383919"/>
                <a:gd name="connsiteX5" fmla="*/ 193889 w 1141507"/>
                <a:gd name="connsiteY5" fmla="*/ 857540 h 3383919"/>
                <a:gd name="connsiteX6" fmla="*/ 218827 w 1141507"/>
                <a:gd name="connsiteY6" fmla="*/ 857540 h 3383919"/>
                <a:gd name="connsiteX7" fmla="*/ 260392 w 1141507"/>
                <a:gd name="connsiteY7" fmla="*/ 813584 h 3383919"/>
                <a:gd name="connsiteX8" fmla="*/ 268706 w 1141507"/>
                <a:gd name="connsiteY8" fmla="*/ 777384 h 3383919"/>
                <a:gd name="connsiteX9" fmla="*/ 229911 w 1141507"/>
                <a:gd name="connsiteY9" fmla="*/ 699813 h 3383919"/>
                <a:gd name="connsiteX10" fmla="*/ 299187 w 1141507"/>
                <a:gd name="connsiteY10" fmla="*/ 653270 h 3383919"/>
                <a:gd name="connsiteX11" fmla="*/ 366959 w 1141507"/>
                <a:gd name="connsiteY11" fmla="*/ 661004 h 3383919"/>
                <a:gd name="connsiteX12" fmla="*/ 390792 w 1141507"/>
                <a:gd name="connsiteY12" fmla="*/ 693071 h 3383919"/>
                <a:gd name="connsiteX13" fmla="*/ 546521 w 1141507"/>
                <a:gd name="connsiteY13" fmla="*/ 749434 h 3383919"/>
                <a:gd name="connsiteX14" fmla="*/ 532113 w 1141507"/>
                <a:gd name="connsiteY14" fmla="*/ 713757 h 3383919"/>
                <a:gd name="connsiteX15" fmla="*/ 498861 w 1141507"/>
                <a:gd name="connsiteY15" fmla="*/ 674971 h 3383919"/>
                <a:gd name="connsiteX16" fmla="*/ 487777 w 1141507"/>
                <a:gd name="connsiteY16" fmla="*/ 623257 h 3383919"/>
                <a:gd name="connsiteX17" fmla="*/ 526572 w 1141507"/>
                <a:gd name="connsiteY17" fmla="*/ 574130 h 3383919"/>
                <a:gd name="connsiteX18" fmla="*/ 554282 w 1141507"/>
                <a:gd name="connsiteY18" fmla="*/ 545687 h 3383919"/>
                <a:gd name="connsiteX19" fmla="*/ 579222 w 1141507"/>
                <a:gd name="connsiteY19" fmla="*/ 509487 h 3383919"/>
                <a:gd name="connsiteX20" fmla="*/ 659582 w 1141507"/>
                <a:gd name="connsiteY20" fmla="*/ 504315 h 3383919"/>
                <a:gd name="connsiteX21" fmla="*/ 665123 w 1141507"/>
                <a:gd name="connsiteY21" fmla="*/ 483630 h 3383919"/>
                <a:gd name="connsiteX22" fmla="*/ 690063 w 1141507"/>
                <a:gd name="connsiteY22" fmla="*/ 447430 h 3383919"/>
                <a:gd name="connsiteX23" fmla="*/ 723867 w 1141507"/>
                <a:gd name="connsiteY23" fmla="*/ 429842 h 3383919"/>
                <a:gd name="connsiteX24" fmla="*/ 781507 w 1141507"/>
                <a:gd name="connsiteY24" fmla="*/ 442259 h 3383919"/>
                <a:gd name="connsiteX25" fmla="*/ 820300 w 1141507"/>
                <a:gd name="connsiteY25" fmla="*/ 462945 h 3383919"/>
                <a:gd name="connsiteX26" fmla="*/ 867408 w 1141507"/>
                <a:gd name="connsiteY26" fmla="*/ 470702 h 3383919"/>
                <a:gd name="connsiteX27" fmla="*/ 867408 w 1141507"/>
                <a:gd name="connsiteY27" fmla="*/ 475873 h 3383919"/>
                <a:gd name="connsiteX28" fmla="*/ 889577 w 1141507"/>
                <a:gd name="connsiteY28" fmla="*/ 416402 h 3383919"/>
                <a:gd name="connsiteX29" fmla="*/ 899552 w 1141507"/>
                <a:gd name="connsiteY29" fmla="*/ 382784 h 3383919"/>
                <a:gd name="connsiteX30" fmla="*/ 906203 w 1141507"/>
                <a:gd name="connsiteY30" fmla="*/ 364688 h 3383919"/>
                <a:gd name="connsiteX31" fmla="*/ 909140 w 1141507"/>
                <a:gd name="connsiteY31" fmla="*/ 333358 h 3383919"/>
                <a:gd name="connsiteX32" fmla="*/ 828614 w 1141507"/>
                <a:gd name="connsiteY32" fmla="*/ 287118 h 3383919"/>
                <a:gd name="connsiteX33" fmla="*/ 814759 w 1141507"/>
                <a:gd name="connsiteY33" fmla="*/ 214718 h 3383919"/>
                <a:gd name="connsiteX34" fmla="*/ 814759 w 1141507"/>
                <a:gd name="connsiteY34" fmla="*/ 196618 h 3383919"/>
                <a:gd name="connsiteX35" fmla="*/ 825842 w 1141507"/>
                <a:gd name="connsiteY35" fmla="*/ 173346 h 3383919"/>
                <a:gd name="connsiteX36" fmla="*/ 828614 w 1141507"/>
                <a:gd name="connsiteY36" fmla="*/ 157832 h 3383919"/>
                <a:gd name="connsiteX37" fmla="*/ 828613 w 1141507"/>
                <a:gd name="connsiteY37" fmla="*/ 100948 h 3383919"/>
                <a:gd name="connsiteX38" fmla="*/ 806445 w 1141507"/>
                <a:gd name="connsiteY38" fmla="*/ 77677 h 3383919"/>
                <a:gd name="connsiteX39" fmla="*/ 778735 w 1141507"/>
                <a:gd name="connsiteY39" fmla="*/ 46648 h 3383919"/>
                <a:gd name="connsiteX40" fmla="*/ 774567 w 1141507"/>
                <a:gd name="connsiteY40" fmla="*/ 22395 h 3383919"/>
                <a:gd name="connsiteX41" fmla="*/ 825843 w 1141507"/>
                <a:gd name="connsiteY41" fmla="*/ 104 h 3383919"/>
                <a:gd name="connsiteX42" fmla="*/ 879423 w 1141507"/>
                <a:gd name="connsiteY42" fmla="*/ 9976 h 3383919"/>
                <a:gd name="connsiteX43" fmla="*/ 958207 w 1141507"/>
                <a:gd name="connsiteY43" fmla="*/ 21886 h 3383919"/>
                <a:gd name="connsiteX44" fmla="*/ 1042530 w 1141507"/>
                <a:gd name="connsiteY44" fmla="*/ 91245 h 3383919"/>
                <a:gd name="connsiteX45" fmla="*/ 1104665 w 1141507"/>
                <a:gd name="connsiteY45" fmla="*/ 167341 h 3383919"/>
                <a:gd name="connsiteX46" fmla="*/ 1003694 w 1141507"/>
                <a:gd name="connsiteY46" fmla="*/ 196335 h 3383919"/>
                <a:gd name="connsiteX47" fmla="*/ 988160 w 1141507"/>
                <a:gd name="connsiteY47" fmla="*/ 243442 h 3383919"/>
                <a:gd name="connsiteX48" fmla="*/ 1045830 w 1141507"/>
                <a:gd name="connsiteY48" fmla="*/ 327932 h 3383919"/>
                <a:gd name="connsiteX49" fmla="*/ 1081364 w 1141507"/>
                <a:gd name="connsiteY49" fmla="*/ 334034 h 3383919"/>
                <a:gd name="connsiteX50" fmla="*/ 1133984 w 1141507"/>
                <a:gd name="connsiteY50" fmla="*/ 340374 h 3383919"/>
                <a:gd name="connsiteX51" fmla="*/ 1129021 w 1141507"/>
                <a:gd name="connsiteY51" fmla="*/ 451149 h 3383919"/>
                <a:gd name="connsiteX52" fmla="*/ 1140090 w 1141507"/>
                <a:gd name="connsiteY52" fmla="*/ 782117 h 3383919"/>
                <a:gd name="connsiteX53" fmla="*/ 1131222 w 1141507"/>
                <a:gd name="connsiteY53" fmla="*/ 1584716 h 3383919"/>
                <a:gd name="connsiteX54" fmla="*/ 1140089 w 1141507"/>
                <a:gd name="connsiteY54" fmla="*/ 2039798 h 3383919"/>
                <a:gd name="connsiteX55" fmla="*/ 1113641 w 1141507"/>
                <a:gd name="connsiteY55" fmla="*/ 3349763 h 3383919"/>
                <a:gd name="connsiteX56" fmla="*/ 855214 w 1141507"/>
                <a:gd name="connsiteY56" fmla="*/ 3306168 h 3383919"/>
                <a:gd name="connsiteX57" fmla="*/ 686736 w 1141507"/>
                <a:gd name="connsiteY57" fmla="*/ 3239973 h 3383919"/>
                <a:gd name="connsiteX58" fmla="*/ 509390 w 1141507"/>
                <a:gd name="connsiteY58" fmla="*/ 3148957 h 3383919"/>
                <a:gd name="connsiteX59" fmla="*/ 411092 w 1141507"/>
                <a:gd name="connsiteY59" fmla="*/ 3068440 h 3383919"/>
                <a:gd name="connsiteX60" fmla="*/ 705354 w 1141507"/>
                <a:gd name="connsiteY60" fmla="*/ 2760804 h 3383919"/>
                <a:gd name="connsiteX61" fmla="*/ 421600 w 1141507"/>
                <a:gd name="connsiteY61" fmla="*/ 2222980 h 3383919"/>
                <a:gd name="connsiteX62" fmla="*/ 563950 w 1141507"/>
                <a:gd name="connsiteY62" fmla="*/ 1983895 h 3383919"/>
                <a:gd name="connsiteX63" fmla="*/ 377263 w 1141507"/>
                <a:gd name="connsiteY63" fmla="*/ 1445204 h 3383919"/>
                <a:gd name="connsiteX64" fmla="*/ 128979 w 1141507"/>
                <a:gd name="connsiteY64" fmla="*/ 1213526 h 3383919"/>
                <a:gd name="connsiteX65" fmla="*/ 120112 w 1141507"/>
                <a:gd name="connsiteY65" fmla="*/ 1097687 h 3383919"/>
                <a:gd name="connsiteX66" fmla="*/ 0 w 1141507"/>
                <a:gd name="connsiteY66"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152322 w 1141507"/>
                <a:gd name="connsiteY4" fmla="*/ 847198 h 3383919"/>
                <a:gd name="connsiteX5" fmla="*/ 199430 w 1141507"/>
                <a:gd name="connsiteY5" fmla="*/ 790312 h 3383919"/>
                <a:gd name="connsiteX6" fmla="*/ 193889 w 1141507"/>
                <a:gd name="connsiteY6" fmla="*/ 857540 h 3383919"/>
                <a:gd name="connsiteX7" fmla="*/ 218827 w 1141507"/>
                <a:gd name="connsiteY7" fmla="*/ 857540 h 3383919"/>
                <a:gd name="connsiteX8" fmla="*/ 260392 w 1141507"/>
                <a:gd name="connsiteY8" fmla="*/ 813584 h 3383919"/>
                <a:gd name="connsiteX9" fmla="*/ 268706 w 1141507"/>
                <a:gd name="connsiteY9" fmla="*/ 777384 h 3383919"/>
                <a:gd name="connsiteX10" fmla="*/ 229911 w 1141507"/>
                <a:gd name="connsiteY10" fmla="*/ 699813 h 3383919"/>
                <a:gd name="connsiteX11" fmla="*/ 299187 w 1141507"/>
                <a:gd name="connsiteY11" fmla="*/ 653270 h 3383919"/>
                <a:gd name="connsiteX12" fmla="*/ 366959 w 1141507"/>
                <a:gd name="connsiteY12" fmla="*/ 661004 h 3383919"/>
                <a:gd name="connsiteX13" fmla="*/ 390792 w 1141507"/>
                <a:gd name="connsiteY13" fmla="*/ 693071 h 3383919"/>
                <a:gd name="connsiteX14" fmla="*/ 546521 w 1141507"/>
                <a:gd name="connsiteY14" fmla="*/ 749434 h 3383919"/>
                <a:gd name="connsiteX15" fmla="*/ 532113 w 1141507"/>
                <a:gd name="connsiteY15" fmla="*/ 713757 h 3383919"/>
                <a:gd name="connsiteX16" fmla="*/ 498861 w 1141507"/>
                <a:gd name="connsiteY16" fmla="*/ 674971 h 3383919"/>
                <a:gd name="connsiteX17" fmla="*/ 487777 w 1141507"/>
                <a:gd name="connsiteY17" fmla="*/ 623257 h 3383919"/>
                <a:gd name="connsiteX18" fmla="*/ 526572 w 1141507"/>
                <a:gd name="connsiteY18" fmla="*/ 574130 h 3383919"/>
                <a:gd name="connsiteX19" fmla="*/ 554282 w 1141507"/>
                <a:gd name="connsiteY19" fmla="*/ 545687 h 3383919"/>
                <a:gd name="connsiteX20" fmla="*/ 579222 w 1141507"/>
                <a:gd name="connsiteY20" fmla="*/ 509487 h 3383919"/>
                <a:gd name="connsiteX21" fmla="*/ 659582 w 1141507"/>
                <a:gd name="connsiteY21" fmla="*/ 504315 h 3383919"/>
                <a:gd name="connsiteX22" fmla="*/ 665123 w 1141507"/>
                <a:gd name="connsiteY22" fmla="*/ 483630 h 3383919"/>
                <a:gd name="connsiteX23" fmla="*/ 690063 w 1141507"/>
                <a:gd name="connsiteY23" fmla="*/ 447430 h 3383919"/>
                <a:gd name="connsiteX24" fmla="*/ 723867 w 1141507"/>
                <a:gd name="connsiteY24" fmla="*/ 429842 h 3383919"/>
                <a:gd name="connsiteX25" fmla="*/ 781507 w 1141507"/>
                <a:gd name="connsiteY25" fmla="*/ 442259 h 3383919"/>
                <a:gd name="connsiteX26" fmla="*/ 820300 w 1141507"/>
                <a:gd name="connsiteY26" fmla="*/ 462945 h 3383919"/>
                <a:gd name="connsiteX27" fmla="*/ 867408 w 1141507"/>
                <a:gd name="connsiteY27" fmla="*/ 470702 h 3383919"/>
                <a:gd name="connsiteX28" fmla="*/ 867408 w 1141507"/>
                <a:gd name="connsiteY28" fmla="*/ 475873 h 3383919"/>
                <a:gd name="connsiteX29" fmla="*/ 889577 w 1141507"/>
                <a:gd name="connsiteY29" fmla="*/ 416402 h 3383919"/>
                <a:gd name="connsiteX30" fmla="*/ 899552 w 1141507"/>
                <a:gd name="connsiteY30" fmla="*/ 382784 h 3383919"/>
                <a:gd name="connsiteX31" fmla="*/ 906203 w 1141507"/>
                <a:gd name="connsiteY31" fmla="*/ 364688 h 3383919"/>
                <a:gd name="connsiteX32" fmla="*/ 909140 w 1141507"/>
                <a:gd name="connsiteY32" fmla="*/ 333358 h 3383919"/>
                <a:gd name="connsiteX33" fmla="*/ 828614 w 1141507"/>
                <a:gd name="connsiteY33" fmla="*/ 287118 h 3383919"/>
                <a:gd name="connsiteX34" fmla="*/ 814759 w 1141507"/>
                <a:gd name="connsiteY34" fmla="*/ 214718 h 3383919"/>
                <a:gd name="connsiteX35" fmla="*/ 814759 w 1141507"/>
                <a:gd name="connsiteY35" fmla="*/ 196618 h 3383919"/>
                <a:gd name="connsiteX36" fmla="*/ 825842 w 1141507"/>
                <a:gd name="connsiteY36" fmla="*/ 173346 h 3383919"/>
                <a:gd name="connsiteX37" fmla="*/ 828614 w 1141507"/>
                <a:gd name="connsiteY37" fmla="*/ 157832 h 3383919"/>
                <a:gd name="connsiteX38" fmla="*/ 828613 w 1141507"/>
                <a:gd name="connsiteY38" fmla="*/ 100948 h 3383919"/>
                <a:gd name="connsiteX39" fmla="*/ 806445 w 1141507"/>
                <a:gd name="connsiteY39" fmla="*/ 77677 h 3383919"/>
                <a:gd name="connsiteX40" fmla="*/ 778735 w 1141507"/>
                <a:gd name="connsiteY40" fmla="*/ 46648 h 3383919"/>
                <a:gd name="connsiteX41" fmla="*/ 774567 w 1141507"/>
                <a:gd name="connsiteY41" fmla="*/ 22395 h 3383919"/>
                <a:gd name="connsiteX42" fmla="*/ 825843 w 1141507"/>
                <a:gd name="connsiteY42" fmla="*/ 104 h 3383919"/>
                <a:gd name="connsiteX43" fmla="*/ 879423 w 1141507"/>
                <a:gd name="connsiteY43" fmla="*/ 9976 h 3383919"/>
                <a:gd name="connsiteX44" fmla="*/ 958207 w 1141507"/>
                <a:gd name="connsiteY44" fmla="*/ 21886 h 3383919"/>
                <a:gd name="connsiteX45" fmla="*/ 1042530 w 1141507"/>
                <a:gd name="connsiteY45" fmla="*/ 91245 h 3383919"/>
                <a:gd name="connsiteX46" fmla="*/ 1104665 w 1141507"/>
                <a:gd name="connsiteY46" fmla="*/ 167341 h 3383919"/>
                <a:gd name="connsiteX47" fmla="*/ 1003694 w 1141507"/>
                <a:gd name="connsiteY47" fmla="*/ 196335 h 3383919"/>
                <a:gd name="connsiteX48" fmla="*/ 988160 w 1141507"/>
                <a:gd name="connsiteY48" fmla="*/ 243442 h 3383919"/>
                <a:gd name="connsiteX49" fmla="*/ 1045830 w 1141507"/>
                <a:gd name="connsiteY49" fmla="*/ 327932 h 3383919"/>
                <a:gd name="connsiteX50" fmla="*/ 1081364 w 1141507"/>
                <a:gd name="connsiteY50" fmla="*/ 334034 h 3383919"/>
                <a:gd name="connsiteX51" fmla="*/ 1133984 w 1141507"/>
                <a:gd name="connsiteY51" fmla="*/ 340374 h 3383919"/>
                <a:gd name="connsiteX52" fmla="*/ 1129021 w 1141507"/>
                <a:gd name="connsiteY52" fmla="*/ 451149 h 3383919"/>
                <a:gd name="connsiteX53" fmla="*/ 1140090 w 1141507"/>
                <a:gd name="connsiteY53" fmla="*/ 782117 h 3383919"/>
                <a:gd name="connsiteX54" fmla="*/ 1131222 w 1141507"/>
                <a:gd name="connsiteY54" fmla="*/ 1584716 h 3383919"/>
                <a:gd name="connsiteX55" fmla="*/ 1140089 w 1141507"/>
                <a:gd name="connsiteY55" fmla="*/ 2039798 h 3383919"/>
                <a:gd name="connsiteX56" fmla="*/ 1113641 w 1141507"/>
                <a:gd name="connsiteY56" fmla="*/ 3349763 h 3383919"/>
                <a:gd name="connsiteX57" fmla="*/ 855214 w 1141507"/>
                <a:gd name="connsiteY57" fmla="*/ 3306168 h 3383919"/>
                <a:gd name="connsiteX58" fmla="*/ 686736 w 1141507"/>
                <a:gd name="connsiteY58" fmla="*/ 3239973 h 3383919"/>
                <a:gd name="connsiteX59" fmla="*/ 509390 w 1141507"/>
                <a:gd name="connsiteY59" fmla="*/ 3148957 h 3383919"/>
                <a:gd name="connsiteX60" fmla="*/ 411092 w 1141507"/>
                <a:gd name="connsiteY60" fmla="*/ 3068440 h 3383919"/>
                <a:gd name="connsiteX61" fmla="*/ 705354 w 1141507"/>
                <a:gd name="connsiteY61" fmla="*/ 2760804 h 3383919"/>
                <a:gd name="connsiteX62" fmla="*/ 421600 w 1141507"/>
                <a:gd name="connsiteY62" fmla="*/ 2222980 h 3383919"/>
                <a:gd name="connsiteX63" fmla="*/ 563950 w 1141507"/>
                <a:gd name="connsiteY63" fmla="*/ 1983895 h 3383919"/>
                <a:gd name="connsiteX64" fmla="*/ 377263 w 1141507"/>
                <a:gd name="connsiteY64" fmla="*/ 1445204 h 3383919"/>
                <a:gd name="connsiteX65" fmla="*/ 128979 w 1141507"/>
                <a:gd name="connsiteY65" fmla="*/ 1213526 h 3383919"/>
                <a:gd name="connsiteX66" fmla="*/ 120112 w 1141507"/>
                <a:gd name="connsiteY66" fmla="*/ 1097687 h 3383919"/>
                <a:gd name="connsiteX67" fmla="*/ 0 w 1141507"/>
                <a:gd name="connsiteY67"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152322 w 1141507"/>
                <a:gd name="connsiteY4" fmla="*/ 847198 h 3383919"/>
                <a:gd name="connsiteX5" fmla="*/ 199430 w 1141507"/>
                <a:gd name="connsiteY5" fmla="*/ 790312 h 3383919"/>
                <a:gd name="connsiteX6" fmla="*/ 193889 w 1141507"/>
                <a:gd name="connsiteY6" fmla="*/ 857540 h 3383919"/>
                <a:gd name="connsiteX7" fmla="*/ 221599 w 1141507"/>
                <a:gd name="connsiteY7" fmla="*/ 818755 h 3383919"/>
                <a:gd name="connsiteX8" fmla="*/ 260392 w 1141507"/>
                <a:gd name="connsiteY8" fmla="*/ 813584 h 3383919"/>
                <a:gd name="connsiteX9" fmla="*/ 268706 w 1141507"/>
                <a:gd name="connsiteY9" fmla="*/ 777384 h 3383919"/>
                <a:gd name="connsiteX10" fmla="*/ 229911 w 1141507"/>
                <a:gd name="connsiteY10" fmla="*/ 699813 h 3383919"/>
                <a:gd name="connsiteX11" fmla="*/ 299187 w 1141507"/>
                <a:gd name="connsiteY11" fmla="*/ 653270 h 3383919"/>
                <a:gd name="connsiteX12" fmla="*/ 366959 w 1141507"/>
                <a:gd name="connsiteY12" fmla="*/ 661004 h 3383919"/>
                <a:gd name="connsiteX13" fmla="*/ 390792 w 1141507"/>
                <a:gd name="connsiteY13" fmla="*/ 693071 h 3383919"/>
                <a:gd name="connsiteX14" fmla="*/ 546521 w 1141507"/>
                <a:gd name="connsiteY14" fmla="*/ 749434 h 3383919"/>
                <a:gd name="connsiteX15" fmla="*/ 532113 w 1141507"/>
                <a:gd name="connsiteY15" fmla="*/ 713757 h 3383919"/>
                <a:gd name="connsiteX16" fmla="*/ 498861 w 1141507"/>
                <a:gd name="connsiteY16" fmla="*/ 674971 h 3383919"/>
                <a:gd name="connsiteX17" fmla="*/ 487777 w 1141507"/>
                <a:gd name="connsiteY17" fmla="*/ 623257 h 3383919"/>
                <a:gd name="connsiteX18" fmla="*/ 526572 w 1141507"/>
                <a:gd name="connsiteY18" fmla="*/ 574130 h 3383919"/>
                <a:gd name="connsiteX19" fmla="*/ 554282 w 1141507"/>
                <a:gd name="connsiteY19" fmla="*/ 545687 h 3383919"/>
                <a:gd name="connsiteX20" fmla="*/ 579222 w 1141507"/>
                <a:gd name="connsiteY20" fmla="*/ 509487 h 3383919"/>
                <a:gd name="connsiteX21" fmla="*/ 659582 w 1141507"/>
                <a:gd name="connsiteY21" fmla="*/ 504315 h 3383919"/>
                <a:gd name="connsiteX22" fmla="*/ 665123 w 1141507"/>
                <a:gd name="connsiteY22" fmla="*/ 483630 h 3383919"/>
                <a:gd name="connsiteX23" fmla="*/ 690063 w 1141507"/>
                <a:gd name="connsiteY23" fmla="*/ 447430 h 3383919"/>
                <a:gd name="connsiteX24" fmla="*/ 723867 w 1141507"/>
                <a:gd name="connsiteY24" fmla="*/ 429842 h 3383919"/>
                <a:gd name="connsiteX25" fmla="*/ 781507 w 1141507"/>
                <a:gd name="connsiteY25" fmla="*/ 442259 h 3383919"/>
                <a:gd name="connsiteX26" fmla="*/ 820300 w 1141507"/>
                <a:gd name="connsiteY26" fmla="*/ 462945 h 3383919"/>
                <a:gd name="connsiteX27" fmla="*/ 867408 w 1141507"/>
                <a:gd name="connsiteY27" fmla="*/ 470702 h 3383919"/>
                <a:gd name="connsiteX28" fmla="*/ 867408 w 1141507"/>
                <a:gd name="connsiteY28" fmla="*/ 475873 h 3383919"/>
                <a:gd name="connsiteX29" fmla="*/ 889577 w 1141507"/>
                <a:gd name="connsiteY29" fmla="*/ 416402 h 3383919"/>
                <a:gd name="connsiteX30" fmla="*/ 899552 w 1141507"/>
                <a:gd name="connsiteY30" fmla="*/ 382784 h 3383919"/>
                <a:gd name="connsiteX31" fmla="*/ 906203 w 1141507"/>
                <a:gd name="connsiteY31" fmla="*/ 364688 h 3383919"/>
                <a:gd name="connsiteX32" fmla="*/ 909140 w 1141507"/>
                <a:gd name="connsiteY32" fmla="*/ 333358 h 3383919"/>
                <a:gd name="connsiteX33" fmla="*/ 828614 w 1141507"/>
                <a:gd name="connsiteY33" fmla="*/ 287118 h 3383919"/>
                <a:gd name="connsiteX34" fmla="*/ 814759 w 1141507"/>
                <a:gd name="connsiteY34" fmla="*/ 214718 h 3383919"/>
                <a:gd name="connsiteX35" fmla="*/ 814759 w 1141507"/>
                <a:gd name="connsiteY35" fmla="*/ 196618 h 3383919"/>
                <a:gd name="connsiteX36" fmla="*/ 825842 w 1141507"/>
                <a:gd name="connsiteY36" fmla="*/ 173346 h 3383919"/>
                <a:gd name="connsiteX37" fmla="*/ 828614 w 1141507"/>
                <a:gd name="connsiteY37" fmla="*/ 157832 h 3383919"/>
                <a:gd name="connsiteX38" fmla="*/ 828613 w 1141507"/>
                <a:gd name="connsiteY38" fmla="*/ 100948 h 3383919"/>
                <a:gd name="connsiteX39" fmla="*/ 806445 w 1141507"/>
                <a:gd name="connsiteY39" fmla="*/ 77677 h 3383919"/>
                <a:gd name="connsiteX40" fmla="*/ 778735 w 1141507"/>
                <a:gd name="connsiteY40" fmla="*/ 46648 h 3383919"/>
                <a:gd name="connsiteX41" fmla="*/ 774567 w 1141507"/>
                <a:gd name="connsiteY41" fmla="*/ 22395 h 3383919"/>
                <a:gd name="connsiteX42" fmla="*/ 825843 w 1141507"/>
                <a:gd name="connsiteY42" fmla="*/ 104 h 3383919"/>
                <a:gd name="connsiteX43" fmla="*/ 879423 w 1141507"/>
                <a:gd name="connsiteY43" fmla="*/ 9976 h 3383919"/>
                <a:gd name="connsiteX44" fmla="*/ 958207 w 1141507"/>
                <a:gd name="connsiteY44" fmla="*/ 21886 h 3383919"/>
                <a:gd name="connsiteX45" fmla="*/ 1042530 w 1141507"/>
                <a:gd name="connsiteY45" fmla="*/ 91245 h 3383919"/>
                <a:gd name="connsiteX46" fmla="*/ 1104665 w 1141507"/>
                <a:gd name="connsiteY46" fmla="*/ 167341 h 3383919"/>
                <a:gd name="connsiteX47" fmla="*/ 1003694 w 1141507"/>
                <a:gd name="connsiteY47" fmla="*/ 196335 h 3383919"/>
                <a:gd name="connsiteX48" fmla="*/ 988160 w 1141507"/>
                <a:gd name="connsiteY48" fmla="*/ 243442 h 3383919"/>
                <a:gd name="connsiteX49" fmla="*/ 1045830 w 1141507"/>
                <a:gd name="connsiteY49" fmla="*/ 327932 h 3383919"/>
                <a:gd name="connsiteX50" fmla="*/ 1081364 w 1141507"/>
                <a:gd name="connsiteY50" fmla="*/ 334034 h 3383919"/>
                <a:gd name="connsiteX51" fmla="*/ 1133984 w 1141507"/>
                <a:gd name="connsiteY51" fmla="*/ 340374 h 3383919"/>
                <a:gd name="connsiteX52" fmla="*/ 1129021 w 1141507"/>
                <a:gd name="connsiteY52" fmla="*/ 451149 h 3383919"/>
                <a:gd name="connsiteX53" fmla="*/ 1140090 w 1141507"/>
                <a:gd name="connsiteY53" fmla="*/ 782117 h 3383919"/>
                <a:gd name="connsiteX54" fmla="*/ 1131222 w 1141507"/>
                <a:gd name="connsiteY54" fmla="*/ 1584716 h 3383919"/>
                <a:gd name="connsiteX55" fmla="*/ 1140089 w 1141507"/>
                <a:gd name="connsiteY55" fmla="*/ 2039798 h 3383919"/>
                <a:gd name="connsiteX56" fmla="*/ 1113641 w 1141507"/>
                <a:gd name="connsiteY56" fmla="*/ 3349763 h 3383919"/>
                <a:gd name="connsiteX57" fmla="*/ 855214 w 1141507"/>
                <a:gd name="connsiteY57" fmla="*/ 3306168 h 3383919"/>
                <a:gd name="connsiteX58" fmla="*/ 686736 w 1141507"/>
                <a:gd name="connsiteY58" fmla="*/ 3239973 h 3383919"/>
                <a:gd name="connsiteX59" fmla="*/ 509390 w 1141507"/>
                <a:gd name="connsiteY59" fmla="*/ 3148957 h 3383919"/>
                <a:gd name="connsiteX60" fmla="*/ 411092 w 1141507"/>
                <a:gd name="connsiteY60" fmla="*/ 3068440 h 3383919"/>
                <a:gd name="connsiteX61" fmla="*/ 705354 w 1141507"/>
                <a:gd name="connsiteY61" fmla="*/ 2760804 h 3383919"/>
                <a:gd name="connsiteX62" fmla="*/ 421600 w 1141507"/>
                <a:gd name="connsiteY62" fmla="*/ 2222980 h 3383919"/>
                <a:gd name="connsiteX63" fmla="*/ 563950 w 1141507"/>
                <a:gd name="connsiteY63" fmla="*/ 1983895 h 3383919"/>
                <a:gd name="connsiteX64" fmla="*/ 377263 w 1141507"/>
                <a:gd name="connsiteY64" fmla="*/ 1445204 h 3383919"/>
                <a:gd name="connsiteX65" fmla="*/ 128979 w 1141507"/>
                <a:gd name="connsiteY65" fmla="*/ 1213526 h 3383919"/>
                <a:gd name="connsiteX66" fmla="*/ 120112 w 1141507"/>
                <a:gd name="connsiteY66" fmla="*/ 1097687 h 3383919"/>
                <a:gd name="connsiteX67" fmla="*/ 0 w 1141507"/>
                <a:gd name="connsiteY67"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152322 w 1141507"/>
                <a:gd name="connsiteY4" fmla="*/ 847198 h 3383919"/>
                <a:gd name="connsiteX5" fmla="*/ 199430 w 1141507"/>
                <a:gd name="connsiteY5" fmla="*/ 790312 h 3383919"/>
                <a:gd name="connsiteX6" fmla="*/ 224370 w 1141507"/>
                <a:gd name="connsiteY6" fmla="*/ 816169 h 3383919"/>
                <a:gd name="connsiteX7" fmla="*/ 221599 w 1141507"/>
                <a:gd name="connsiteY7" fmla="*/ 818755 h 3383919"/>
                <a:gd name="connsiteX8" fmla="*/ 260392 w 1141507"/>
                <a:gd name="connsiteY8" fmla="*/ 813584 h 3383919"/>
                <a:gd name="connsiteX9" fmla="*/ 268706 w 1141507"/>
                <a:gd name="connsiteY9" fmla="*/ 777384 h 3383919"/>
                <a:gd name="connsiteX10" fmla="*/ 229911 w 1141507"/>
                <a:gd name="connsiteY10" fmla="*/ 699813 h 3383919"/>
                <a:gd name="connsiteX11" fmla="*/ 299187 w 1141507"/>
                <a:gd name="connsiteY11" fmla="*/ 653270 h 3383919"/>
                <a:gd name="connsiteX12" fmla="*/ 366959 w 1141507"/>
                <a:gd name="connsiteY12" fmla="*/ 661004 h 3383919"/>
                <a:gd name="connsiteX13" fmla="*/ 390792 w 1141507"/>
                <a:gd name="connsiteY13" fmla="*/ 693071 h 3383919"/>
                <a:gd name="connsiteX14" fmla="*/ 546521 w 1141507"/>
                <a:gd name="connsiteY14" fmla="*/ 749434 h 3383919"/>
                <a:gd name="connsiteX15" fmla="*/ 532113 w 1141507"/>
                <a:gd name="connsiteY15" fmla="*/ 713757 h 3383919"/>
                <a:gd name="connsiteX16" fmla="*/ 498861 w 1141507"/>
                <a:gd name="connsiteY16" fmla="*/ 674971 h 3383919"/>
                <a:gd name="connsiteX17" fmla="*/ 487777 w 1141507"/>
                <a:gd name="connsiteY17" fmla="*/ 623257 h 3383919"/>
                <a:gd name="connsiteX18" fmla="*/ 526572 w 1141507"/>
                <a:gd name="connsiteY18" fmla="*/ 574130 h 3383919"/>
                <a:gd name="connsiteX19" fmla="*/ 554282 w 1141507"/>
                <a:gd name="connsiteY19" fmla="*/ 545687 h 3383919"/>
                <a:gd name="connsiteX20" fmla="*/ 579222 w 1141507"/>
                <a:gd name="connsiteY20" fmla="*/ 509487 h 3383919"/>
                <a:gd name="connsiteX21" fmla="*/ 659582 w 1141507"/>
                <a:gd name="connsiteY21" fmla="*/ 504315 h 3383919"/>
                <a:gd name="connsiteX22" fmla="*/ 665123 w 1141507"/>
                <a:gd name="connsiteY22" fmla="*/ 483630 h 3383919"/>
                <a:gd name="connsiteX23" fmla="*/ 690063 w 1141507"/>
                <a:gd name="connsiteY23" fmla="*/ 447430 h 3383919"/>
                <a:gd name="connsiteX24" fmla="*/ 723867 w 1141507"/>
                <a:gd name="connsiteY24" fmla="*/ 429842 h 3383919"/>
                <a:gd name="connsiteX25" fmla="*/ 781507 w 1141507"/>
                <a:gd name="connsiteY25" fmla="*/ 442259 h 3383919"/>
                <a:gd name="connsiteX26" fmla="*/ 820300 w 1141507"/>
                <a:gd name="connsiteY26" fmla="*/ 462945 h 3383919"/>
                <a:gd name="connsiteX27" fmla="*/ 867408 w 1141507"/>
                <a:gd name="connsiteY27" fmla="*/ 470702 h 3383919"/>
                <a:gd name="connsiteX28" fmla="*/ 867408 w 1141507"/>
                <a:gd name="connsiteY28" fmla="*/ 475873 h 3383919"/>
                <a:gd name="connsiteX29" fmla="*/ 889577 w 1141507"/>
                <a:gd name="connsiteY29" fmla="*/ 416402 h 3383919"/>
                <a:gd name="connsiteX30" fmla="*/ 899552 w 1141507"/>
                <a:gd name="connsiteY30" fmla="*/ 382784 h 3383919"/>
                <a:gd name="connsiteX31" fmla="*/ 906203 w 1141507"/>
                <a:gd name="connsiteY31" fmla="*/ 364688 h 3383919"/>
                <a:gd name="connsiteX32" fmla="*/ 909140 w 1141507"/>
                <a:gd name="connsiteY32" fmla="*/ 333358 h 3383919"/>
                <a:gd name="connsiteX33" fmla="*/ 828614 w 1141507"/>
                <a:gd name="connsiteY33" fmla="*/ 287118 h 3383919"/>
                <a:gd name="connsiteX34" fmla="*/ 814759 w 1141507"/>
                <a:gd name="connsiteY34" fmla="*/ 214718 h 3383919"/>
                <a:gd name="connsiteX35" fmla="*/ 814759 w 1141507"/>
                <a:gd name="connsiteY35" fmla="*/ 196618 h 3383919"/>
                <a:gd name="connsiteX36" fmla="*/ 825842 w 1141507"/>
                <a:gd name="connsiteY36" fmla="*/ 173346 h 3383919"/>
                <a:gd name="connsiteX37" fmla="*/ 828614 w 1141507"/>
                <a:gd name="connsiteY37" fmla="*/ 157832 h 3383919"/>
                <a:gd name="connsiteX38" fmla="*/ 828613 w 1141507"/>
                <a:gd name="connsiteY38" fmla="*/ 100948 h 3383919"/>
                <a:gd name="connsiteX39" fmla="*/ 806445 w 1141507"/>
                <a:gd name="connsiteY39" fmla="*/ 77677 h 3383919"/>
                <a:gd name="connsiteX40" fmla="*/ 778735 w 1141507"/>
                <a:gd name="connsiteY40" fmla="*/ 46648 h 3383919"/>
                <a:gd name="connsiteX41" fmla="*/ 774567 w 1141507"/>
                <a:gd name="connsiteY41" fmla="*/ 22395 h 3383919"/>
                <a:gd name="connsiteX42" fmla="*/ 825843 w 1141507"/>
                <a:gd name="connsiteY42" fmla="*/ 104 h 3383919"/>
                <a:gd name="connsiteX43" fmla="*/ 879423 w 1141507"/>
                <a:gd name="connsiteY43" fmla="*/ 9976 h 3383919"/>
                <a:gd name="connsiteX44" fmla="*/ 958207 w 1141507"/>
                <a:gd name="connsiteY44" fmla="*/ 21886 h 3383919"/>
                <a:gd name="connsiteX45" fmla="*/ 1042530 w 1141507"/>
                <a:gd name="connsiteY45" fmla="*/ 91245 h 3383919"/>
                <a:gd name="connsiteX46" fmla="*/ 1104665 w 1141507"/>
                <a:gd name="connsiteY46" fmla="*/ 167341 h 3383919"/>
                <a:gd name="connsiteX47" fmla="*/ 1003694 w 1141507"/>
                <a:gd name="connsiteY47" fmla="*/ 196335 h 3383919"/>
                <a:gd name="connsiteX48" fmla="*/ 988160 w 1141507"/>
                <a:gd name="connsiteY48" fmla="*/ 243442 h 3383919"/>
                <a:gd name="connsiteX49" fmla="*/ 1045830 w 1141507"/>
                <a:gd name="connsiteY49" fmla="*/ 327932 h 3383919"/>
                <a:gd name="connsiteX50" fmla="*/ 1081364 w 1141507"/>
                <a:gd name="connsiteY50" fmla="*/ 334034 h 3383919"/>
                <a:gd name="connsiteX51" fmla="*/ 1133984 w 1141507"/>
                <a:gd name="connsiteY51" fmla="*/ 340374 h 3383919"/>
                <a:gd name="connsiteX52" fmla="*/ 1129021 w 1141507"/>
                <a:gd name="connsiteY52" fmla="*/ 451149 h 3383919"/>
                <a:gd name="connsiteX53" fmla="*/ 1140090 w 1141507"/>
                <a:gd name="connsiteY53" fmla="*/ 782117 h 3383919"/>
                <a:gd name="connsiteX54" fmla="*/ 1131222 w 1141507"/>
                <a:gd name="connsiteY54" fmla="*/ 1584716 h 3383919"/>
                <a:gd name="connsiteX55" fmla="*/ 1140089 w 1141507"/>
                <a:gd name="connsiteY55" fmla="*/ 2039798 h 3383919"/>
                <a:gd name="connsiteX56" fmla="*/ 1113641 w 1141507"/>
                <a:gd name="connsiteY56" fmla="*/ 3349763 h 3383919"/>
                <a:gd name="connsiteX57" fmla="*/ 855214 w 1141507"/>
                <a:gd name="connsiteY57" fmla="*/ 3306168 h 3383919"/>
                <a:gd name="connsiteX58" fmla="*/ 686736 w 1141507"/>
                <a:gd name="connsiteY58" fmla="*/ 3239973 h 3383919"/>
                <a:gd name="connsiteX59" fmla="*/ 509390 w 1141507"/>
                <a:gd name="connsiteY59" fmla="*/ 3148957 h 3383919"/>
                <a:gd name="connsiteX60" fmla="*/ 411092 w 1141507"/>
                <a:gd name="connsiteY60" fmla="*/ 3068440 h 3383919"/>
                <a:gd name="connsiteX61" fmla="*/ 705354 w 1141507"/>
                <a:gd name="connsiteY61" fmla="*/ 2760804 h 3383919"/>
                <a:gd name="connsiteX62" fmla="*/ 421600 w 1141507"/>
                <a:gd name="connsiteY62" fmla="*/ 2222980 h 3383919"/>
                <a:gd name="connsiteX63" fmla="*/ 563950 w 1141507"/>
                <a:gd name="connsiteY63" fmla="*/ 1983895 h 3383919"/>
                <a:gd name="connsiteX64" fmla="*/ 377263 w 1141507"/>
                <a:gd name="connsiteY64" fmla="*/ 1445204 h 3383919"/>
                <a:gd name="connsiteX65" fmla="*/ 128979 w 1141507"/>
                <a:gd name="connsiteY65" fmla="*/ 1213526 h 3383919"/>
                <a:gd name="connsiteX66" fmla="*/ 120112 w 1141507"/>
                <a:gd name="connsiteY66" fmla="*/ 1097687 h 3383919"/>
                <a:gd name="connsiteX67" fmla="*/ 0 w 1141507"/>
                <a:gd name="connsiteY67"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158025 w 1141507"/>
                <a:gd name="connsiteY3" fmla="*/ 695657 h 3383919"/>
                <a:gd name="connsiteX4" fmla="*/ 180032 w 1141507"/>
                <a:gd name="connsiteY4" fmla="*/ 787726 h 3383919"/>
                <a:gd name="connsiteX5" fmla="*/ 199430 w 1141507"/>
                <a:gd name="connsiteY5" fmla="*/ 790312 h 3383919"/>
                <a:gd name="connsiteX6" fmla="*/ 224370 w 1141507"/>
                <a:gd name="connsiteY6" fmla="*/ 816169 h 3383919"/>
                <a:gd name="connsiteX7" fmla="*/ 221599 w 1141507"/>
                <a:gd name="connsiteY7" fmla="*/ 818755 h 3383919"/>
                <a:gd name="connsiteX8" fmla="*/ 260392 w 1141507"/>
                <a:gd name="connsiteY8" fmla="*/ 813584 h 3383919"/>
                <a:gd name="connsiteX9" fmla="*/ 268706 w 1141507"/>
                <a:gd name="connsiteY9" fmla="*/ 777384 h 3383919"/>
                <a:gd name="connsiteX10" fmla="*/ 229911 w 1141507"/>
                <a:gd name="connsiteY10" fmla="*/ 699813 h 3383919"/>
                <a:gd name="connsiteX11" fmla="*/ 299187 w 1141507"/>
                <a:gd name="connsiteY11" fmla="*/ 653270 h 3383919"/>
                <a:gd name="connsiteX12" fmla="*/ 366959 w 1141507"/>
                <a:gd name="connsiteY12" fmla="*/ 661004 h 3383919"/>
                <a:gd name="connsiteX13" fmla="*/ 390792 w 1141507"/>
                <a:gd name="connsiteY13" fmla="*/ 693071 h 3383919"/>
                <a:gd name="connsiteX14" fmla="*/ 546521 w 1141507"/>
                <a:gd name="connsiteY14" fmla="*/ 749434 h 3383919"/>
                <a:gd name="connsiteX15" fmla="*/ 532113 w 1141507"/>
                <a:gd name="connsiteY15" fmla="*/ 713757 h 3383919"/>
                <a:gd name="connsiteX16" fmla="*/ 498861 w 1141507"/>
                <a:gd name="connsiteY16" fmla="*/ 674971 h 3383919"/>
                <a:gd name="connsiteX17" fmla="*/ 487777 w 1141507"/>
                <a:gd name="connsiteY17" fmla="*/ 623257 h 3383919"/>
                <a:gd name="connsiteX18" fmla="*/ 526572 w 1141507"/>
                <a:gd name="connsiteY18" fmla="*/ 574130 h 3383919"/>
                <a:gd name="connsiteX19" fmla="*/ 554282 w 1141507"/>
                <a:gd name="connsiteY19" fmla="*/ 545687 h 3383919"/>
                <a:gd name="connsiteX20" fmla="*/ 579222 w 1141507"/>
                <a:gd name="connsiteY20" fmla="*/ 509487 h 3383919"/>
                <a:gd name="connsiteX21" fmla="*/ 659582 w 1141507"/>
                <a:gd name="connsiteY21" fmla="*/ 504315 h 3383919"/>
                <a:gd name="connsiteX22" fmla="*/ 665123 w 1141507"/>
                <a:gd name="connsiteY22" fmla="*/ 483630 h 3383919"/>
                <a:gd name="connsiteX23" fmla="*/ 690063 w 1141507"/>
                <a:gd name="connsiteY23" fmla="*/ 447430 h 3383919"/>
                <a:gd name="connsiteX24" fmla="*/ 723867 w 1141507"/>
                <a:gd name="connsiteY24" fmla="*/ 429842 h 3383919"/>
                <a:gd name="connsiteX25" fmla="*/ 781507 w 1141507"/>
                <a:gd name="connsiteY25" fmla="*/ 442259 h 3383919"/>
                <a:gd name="connsiteX26" fmla="*/ 820300 w 1141507"/>
                <a:gd name="connsiteY26" fmla="*/ 462945 h 3383919"/>
                <a:gd name="connsiteX27" fmla="*/ 867408 w 1141507"/>
                <a:gd name="connsiteY27" fmla="*/ 470702 h 3383919"/>
                <a:gd name="connsiteX28" fmla="*/ 867408 w 1141507"/>
                <a:gd name="connsiteY28" fmla="*/ 475873 h 3383919"/>
                <a:gd name="connsiteX29" fmla="*/ 889577 w 1141507"/>
                <a:gd name="connsiteY29" fmla="*/ 416402 h 3383919"/>
                <a:gd name="connsiteX30" fmla="*/ 899552 w 1141507"/>
                <a:gd name="connsiteY30" fmla="*/ 382784 h 3383919"/>
                <a:gd name="connsiteX31" fmla="*/ 906203 w 1141507"/>
                <a:gd name="connsiteY31" fmla="*/ 364688 h 3383919"/>
                <a:gd name="connsiteX32" fmla="*/ 909140 w 1141507"/>
                <a:gd name="connsiteY32" fmla="*/ 333358 h 3383919"/>
                <a:gd name="connsiteX33" fmla="*/ 828614 w 1141507"/>
                <a:gd name="connsiteY33" fmla="*/ 287118 h 3383919"/>
                <a:gd name="connsiteX34" fmla="*/ 814759 w 1141507"/>
                <a:gd name="connsiteY34" fmla="*/ 214718 h 3383919"/>
                <a:gd name="connsiteX35" fmla="*/ 814759 w 1141507"/>
                <a:gd name="connsiteY35" fmla="*/ 196618 h 3383919"/>
                <a:gd name="connsiteX36" fmla="*/ 825842 w 1141507"/>
                <a:gd name="connsiteY36" fmla="*/ 173346 h 3383919"/>
                <a:gd name="connsiteX37" fmla="*/ 828614 w 1141507"/>
                <a:gd name="connsiteY37" fmla="*/ 157832 h 3383919"/>
                <a:gd name="connsiteX38" fmla="*/ 828613 w 1141507"/>
                <a:gd name="connsiteY38" fmla="*/ 100948 h 3383919"/>
                <a:gd name="connsiteX39" fmla="*/ 806445 w 1141507"/>
                <a:gd name="connsiteY39" fmla="*/ 77677 h 3383919"/>
                <a:gd name="connsiteX40" fmla="*/ 778735 w 1141507"/>
                <a:gd name="connsiteY40" fmla="*/ 46648 h 3383919"/>
                <a:gd name="connsiteX41" fmla="*/ 774567 w 1141507"/>
                <a:gd name="connsiteY41" fmla="*/ 22395 h 3383919"/>
                <a:gd name="connsiteX42" fmla="*/ 825843 w 1141507"/>
                <a:gd name="connsiteY42" fmla="*/ 104 h 3383919"/>
                <a:gd name="connsiteX43" fmla="*/ 879423 w 1141507"/>
                <a:gd name="connsiteY43" fmla="*/ 9976 h 3383919"/>
                <a:gd name="connsiteX44" fmla="*/ 958207 w 1141507"/>
                <a:gd name="connsiteY44" fmla="*/ 21886 h 3383919"/>
                <a:gd name="connsiteX45" fmla="*/ 1042530 w 1141507"/>
                <a:gd name="connsiteY45" fmla="*/ 91245 h 3383919"/>
                <a:gd name="connsiteX46" fmla="*/ 1104665 w 1141507"/>
                <a:gd name="connsiteY46" fmla="*/ 167341 h 3383919"/>
                <a:gd name="connsiteX47" fmla="*/ 1003694 w 1141507"/>
                <a:gd name="connsiteY47" fmla="*/ 196335 h 3383919"/>
                <a:gd name="connsiteX48" fmla="*/ 988160 w 1141507"/>
                <a:gd name="connsiteY48" fmla="*/ 243442 h 3383919"/>
                <a:gd name="connsiteX49" fmla="*/ 1045830 w 1141507"/>
                <a:gd name="connsiteY49" fmla="*/ 327932 h 3383919"/>
                <a:gd name="connsiteX50" fmla="*/ 1081364 w 1141507"/>
                <a:gd name="connsiteY50" fmla="*/ 334034 h 3383919"/>
                <a:gd name="connsiteX51" fmla="*/ 1133984 w 1141507"/>
                <a:gd name="connsiteY51" fmla="*/ 340374 h 3383919"/>
                <a:gd name="connsiteX52" fmla="*/ 1129021 w 1141507"/>
                <a:gd name="connsiteY52" fmla="*/ 451149 h 3383919"/>
                <a:gd name="connsiteX53" fmla="*/ 1140090 w 1141507"/>
                <a:gd name="connsiteY53" fmla="*/ 782117 h 3383919"/>
                <a:gd name="connsiteX54" fmla="*/ 1131222 w 1141507"/>
                <a:gd name="connsiteY54" fmla="*/ 1584716 h 3383919"/>
                <a:gd name="connsiteX55" fmla="*/ 1140089 w 1141507"/>
                <a:gd name="connsiteY55" fmla="*/ 2039798 h 3383919"/>
                <a:gd name="connsiteX56" fmla="*/ 1113641 w 1141507"/>
                <a:gd name="connsiteY56" fmla="*/ 3349763 h 3383919"/>
                <a:gd name="connsiteX57" fmla="*/ 855214 w 1141507"/>
                <a:gd name="connsiteY57" fmla="*/ 3306168 h 3383919"/>
                <a:gd name="connsiteX58" fmla="*/ 686736 w 1141507"/>
                <a:gd name="connsiteY58" fmla="*/ 3239973 h 3383919"/>
                <a:gd name="connsiteX59" fmla="*/ 509390 w 1141507"/>
                <a:gd name="connsiteY59" fmla="*/ 3148957 h 3383919"/>
                <a:gd name="connsiteX60" fmla="*/ 411092 w 1141507"/>
                <a:gd name="connsiteY60" fmla="*/ 3068440 h 3383919"/>
                <a:gd name="connsiteX61" fmla="*/ 705354 w 1141507"/>
                <a:gd name="connsiteY61" fmla="*/ 2760804 h 3383919"/>
                <a:gd name="connsiteX62" fmla="*/ 421600 w 1141507"/>
                <a:gd name="connsiteY62" fmla="*/ 2222980 h 3383919"/>
                <a:gd name="connsiteX63" fmla="*/ 563950 w 1141507"/>
                <a:gd name="connsiteY63" fmla="*/ 1983895 h 3383919"/>
                <a:gd name="connsiteX64" fmla="*/ 377263 w 1141507"/>
                <a:gd name="connsiteY64" fmla="*/ 1445204 h 3383919"/>
                <a:gd name="connsiteX65" fmla="*/ 128979 w 1141507"/>
                <a:gd name="connsiteY65" fmla="*/ 1213526 h 3383919"/>
                <a:gd name="connsiteX66" fmla="*/ 120112 w 1141507"/>
                <a:gd name="connsiteY66" fmla="*/ 1097687 h 3383919"/>
                <a:gd name="connsiteX67" fmla="*/ 0 w 1141507"/>
                <a:gd name="connsiteY67"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83207 w 1141507"/>
                <a:gd name="connsiteY3" fmla="*/ 744784 h 3383919"/>
                <a:gd name="connsiteX4" fmla="*/ 180032 w 1141507"/>
                <a:gd name="connsiteY4" fmla="*/ 787726 h 3383919"/>
                <a:gd name="connsiteX5" fmla="*/ 199430 w 1141507"/>
                <a:gd name="connsiteY5" fmla="*/ 790312 h 3383919"/>
                <a:gd name="connsiteX6" fmla="*/ 224370 w 1141507"/>
                <a:gd name="connsiteY6" fmla="*/ 816169 h 3383919"/>
                <a:gd name="connsiteX7" fmla="*/ 221599 w 1141507"/>
                <a:gd name="connsiteY7" fmla="*/ 818755 h 3383919"/>
                <a:gd name="connsiteX8" fmla="*/ 260392 w 1141507"/>
                <a:gd name="connsiteY8" fmla="*/ 813584 h 3383919"/>
                <a:gd name="connsiteX9" fmla="*/ 268706 w 1141507"/>
                <a:gd name="connsiteY9" fmla="*/ 777384 h 3383919"/>
                <a:gd name="connsiteX10" fmla="*/ 229911 w 1141507"/>
                <a:gd name="connsiteY10" fmla="*/ 699813 h 3383919"/>
                <a:gd name="connsiteX11" fmla="*/ 299187 w 1141507"/>
                <a:gd name="connsiteY11" fmla="*/ 653270 h 3383919"/>
                <a:gd name="connsiteX12" fmla="*/ 366959 w 1141507"/>
                <a:gd name="connsiteY12" fmla="*/ 661004 h 3383919"/>
                <a:gd name="connsiteX13" fmla="*/ 390792 w 1141507"/>
                <a:gd name="connsiteY13" fmla="*/ 693071 h 3383919"/>
                <a:gd name="connsiteX14" fmla="*/ 546521 w 1141507"/>
                <a:gd name="connsiteY14" fmla="*/ 749434 h 3383919"/>
                <a:gd name="connsiteX15" fmla="*/ 532113 w 1141507"/>
                <a:gd name="connsiteY15" fmla="*/ 713757 h 3383919"/>
                <a:gd name="connsiteX16" fmla="*/ 498861 w 1141507"/>
                <a:gd name="connsiteY16" fmla="*/ 674971 h 3383919"/>
                <a:gd name="connsiteX17" fmla="*/ 487777 w 1141507"/>
                <a:gd name="connsiteY17" fmla="*/ 623257 h 3383919"/>
                <a:gd name="connsiteX18" fmla="*/ 526572 w 1141507"/>
                <a:gd name="connsiteY18" fmla="*/ 574130 h 3383919"/>
                <a:gd name="connsiteX19" fmla="*/ 554282 w 1141507"/>
                <a:gd name="connsiteY19" fmla="*/ 545687 h 3383919"/>
                <a:gd name="connsiteX20" fmla="*/ 579222 w 1141507"/>
                <a:gd name="connsiteY20" fmla="*/ 509487 h 3383919"/>
                <a:gd name="connsiteX21" fmla="*/ 659582 w 1141507"/>
                <a:gd name="connsiteY21" fmla="*/ 504315 h 3383919"/>
                <a:gd name="connsiteX22" fmla="*/ 665123 w 1141507"/>
                <a:gd name="connsiteY22" fmla="*/ 483630 h 3383919"/>
                <a:gd name="connsiteX23" fmla="*/ 690063 w 1141507"/>
                <a:gd name="connsiteY23" fmla="*/ 447430 h 3383919"/>
                <a:gd name="connsiteX24" fmla="*/ 723867 w 1141507"/>
                <a:gd name="connsiteY24" fmla="*/ 429842 h 3383919"/>
                <a:gd name="connsiteX25" fmla="*/ 781507 w 1141507"/>
                <a:gd name="connsiteY25" fmla="*/ 442259 h 3383919"/>
                <a:gd name="connsiteX26" fmla="*/ 820300 w 1141507"/>
                <a:gd name="connsiteY26" fmla="*/ 462945 h 3383919"/>
                <a:gd name="connsiteX27" fmla="*/ 867408 w 1141507"/>
                <a:gd name="connsiteY27" fmla="*/ 470702 h 3383919"/>
                <a:gd name="connsiteX28" fmla="*/ 867408 w 1141507"/>
                <a:gd name="connsiteY28" fmla="*/ 475873 h 3383919"/>
                <a:gd name="connsiteX29" fmla="*/ 889577 w 1141507"/>
                <a:gd name="connsiteY29" fmla="*/ 416402 h 3383919"/>
                <a:gd name="connsiteX30" fmla="*/ 899552 w 1141507"/>
                <a:gd name="connsiteY30" fmla="*/ 382784 h 3383919"/>
                <a:gd name="connsiteX31" fmla="*/ 906203 w 1141507"/>
                <a:gd name="connsiteY31" fmla="*/ 364688 h 3383919"/>
                <a:gd name="connsiteX32" fmla="*/ 909140 w 1141507"/>
                <a:gd name="connsiteY32" fmla="*/ 333358 h 3383919"/>
                <a:gd name="connsiteX33" fmla="*/ 828614 w 1141507"/>
                <a:gd name="connsiteY33" fmla="*/ 287118 h 3383919"/>
                <a:gd name="connsiteX34" fmla="*/ 814759 w 1141507"/>
                <a:gd name="connsiteY34" fmla="*/ 214718 h 3383919"/>
                <a:gd name="connsiteX35" fmla="*/ 814759 w 1141507"/>
                <a:gd name="connsiteY35" fmla="*/ 196618 h 3383919"/>
                <a:gd name="connsiteX36" fmla="*/ 825842 w 1141507"/>
                <a:gd name="connsiteY36" fmla="*/ 173346 h 3383919"/>
                <a:gd name="connsiteX37" fmla="*/ 828614 w 1141507"/>
                <a:gd name="connsiteY37" fmla="*/ 157832 h 3383919"/>
                <a:gd name="connsiteX38" fmla="*/ 828613 w 1141507"/>
                <a:gd name="connsiteY38" fmla="*/ 100948 h 3383919"/>
                <a:gd name="connsiteX39" fmla="*/ 806445 w 1141507"/>
                <a:gd name="connsiteY39" fmla="*/ 77677 h 3383919"/>
                <a:gd name="connsiteX40" fmla="*/ 778735 w 1141507"/>
                <a:gd name="connsiteY40" fmla="*/ 46648 h 3383919"/>
                <a:gd name="connsiteX41" fmla="*/ 774567 w 1141507"/>
                <a:gd name="connsiteY41" fmla="*/ 22395 h 3383919"/>
                <a:gd name="connsiteX42" fmla="*/ 825843 w 1141507"/>
                <a:gd name="connsiteY42" fmla="*/ 104 h 3383919"/>
                <a:gd name="connsiteX43" fmla="*/ 879423 w 1141507"/>
                <a:gd name="connsiteY43" fmla="*/ 9976 h 3383919"/>
                <a:gd name="connsiteX44" fmla="*/ 958207 w 1141507"/>
                <a:gd name="connsiteY44" fmla="*/ 21886 h 3383919"/>
                <a:gd name="connsiteX45" fmla="*/ 1042530 w 1141507"/>
                <a:gd name="connsiteY45" fmla="*/ 91245 h 3383919"/>
                <a:gd name="connsiteX46" fmla="*/ 1104665 w 1141507"/>
                <a:gd name="connsiteY46" fmla="*/ 167341 h 3383919"/>
                <a:gd name="connsiteX47" fmla="*/ 1003694 w 1141507"/>
                <a:gd name="connsiteY47" fmla="*/ 196335 h 3383919"/>
                <a:gd name="connsiteX48" fmla="*/ 988160 w 1141507"/>
                <a:gd name="connsiteY48" fmla="*/ 243442 h 3383919"/>
                <a:gd name="connsiteX49" fmla="*/ 1045830 w 1141507"/>
                <a:gd name="connsiteY49" fmla="*/ 327932 h 3383919"/>
                <a:gd name="connsiteX50" fmla="*/ 1081364 w 1141507"/>
                <a:gd name="connsiteY50" fmla="*/ 334034 h 3383919"/>
                <a:gd name="connsiteX51" fmla="*/ 1133984 w 1141507"/>
                <a:gd name="connsiteY51" fmla="*/ 340374 h 3383919"/>
                <a:gd name="connsiteX52" fmla="*/ 1129021 w 1141507"/>
                <a:gd name="connsiteY52" fmla="*/ 451149 h 3383919"/>
                <a:gd name="connsiteX53" fmla="*/ 1140090 w 1141507"/>
                <a:gd name="connsiteY53" fmla="*/ 782117 h 3383919"/>
                <a:gd name="connsiteX54" fmla="*/ 1131222 w 1141507"/>
                <a:gd name="connsiteY54" fmla="*/ 1584716 h 3383919"/>
                <a:gd name="connsiteX55" fmla="*/ 1140089 w 1141507"/>
                <a:gd name="connsiteY55" fmla="*/ 2039798 h 3383919"/>
                <a:gd name="connsiteX56" fmla="*/ 1113641 w 1141507"/>
                <a:gd name="connsiteY56" fmla="*/ 3349763 h 3383919"/>
                <a:gd name="connsiteX57" fmla="*/ 855214 w 1141507"/>
                <a:gd name="connsiteY57" fmla="*/ 3306168 h 3383919"/>
                <a:gd name="connsiteX58" fmla="*/ 686736 w 1141507"/>
                <a:gd name="connsiteY58" fmla="*/ 3239973 h 3383919"/>
                <a:gd name="connsiteX59" fmla="*/ 509390 w 1141507"/>
                <a:gd name="connsiteY59" fmla="*/ 3148957 h 3383919"/>
                <a:gd name="connsiteX60" fmla="*/ 411092 w 1141507"/>
                <a:gd name="connsiteY60" fmla="*/ 3068440 h 3383919"/>
                <a:gd name="connsiteX61" fmla="*/ 705354 w 1141507"/>
                <a:gd name="connsiteY61" fmla="*/ 2760804 h 3383919"/>
                <a:gd name="connsiteX62" fmla="*/ 421600 w 1141507"/>
                <a:gd name="connsiteY62" fmla="*/ 2222980 h 3383919"/>
                <a:gd name="connsiteX63" fmla="*/ 563950 w 1141507"/>
                <a:gd name="connsiteY63" fmla="*/ 1983895 h 3383919"/>
                <a:gd name="connsiteX64" fmla="*/ 377263 w 1141507"/>
                <a:gd name="connsiteY64" fmla="*/ 1445204 h 3383919"/>
                <a:gd name="connsiteX65" fmla="*/ 128979 w 1141507"/>
                <a:gd name="connsiteY65" fmla="*/ 1213526 h 3383919"/>
                <a:gd name="connsiteX66" fmla="*/ 120112 w 1141507"/>
                <a:gd name="connsiteY66" fmla="*/ 1097687 h 3383919"/>
                <a:gd name="connsiteX67" fmla="*/ 0 w 1141507"/>
                <a:gd name="connsiteY67" fmla="*/ 304041 h 3383919"/>
                <a:gd name="connsiteX0" fmla="*/ 0 w 1141507"/>
                <a:gd name="connsiteY0" fmla="*/ 304041 h 3383919"/>
                <a:gd name="connsiteX1" fmla="*/ 235627 w 1141507"/>
                <a:gd name="connsiteY1" fmla="*/ 310487 h 3383919"/>
                <a:gd name="connsiteX2" fmla="*/ 130314 w 1141507"/>
                <a:gd name="connsiteY2" fmla="*/ 584472 h 3383919"/>
                <a:gd name="connsiteX3" fmla="*/ 83207 w 1141507"/>
                <a:gd name="connsiteY3" fmla="*/ 744784 h 3383919"/>
                <a:gd name="connsiteX4" fmla="*/ 110757 w 1141507"/>
                <a:gd name="connsiteY4" fmla="*/ 821340 h 3383919"/>
                <a:gd name="connsiteX5" fmla="*/ 180032 w 1141507"/>
                <a:gd name="connsiteY5" fmla="*/ 787726 h 3383919"/>
                <a:gd name="connsiteX6" fmla="*/ 199430 w 1141507"/>
                <a:gd name="connsiteY6" fmla="*/ 790312 h 3383919"/>
                <a:gd name="connsiteX7" fmla="*/ 224370 w 1141507"/>
                <a:gd name="connsiteY7" fmla="*/ 816169 h 3383919"/>
                <a:gd name="connsiteX8" fmla="*/ 221599 w 1141507"/>
                <a:gd name="connsiteY8" fmla="*/ 818755 h 3383919"/>
                <a:gd name="connsiteX9" fmla="*/ 260392 w 1141507"/>
                <a:gd name="connsiteY9" fmla="*/ 813584 h 3383919"/>
                <a:gd name="connsiteX10" fmla="*/ 268706 w 1141507"/>
                <a:gd name="connsiteY10" fmla="*/ 777384 h 3383919"/>
                <a:gd name="connsiteX11" fmla="*/ 229911 w 1141507"/>
                <a:gd name="connsiteY11" fmla="*/ 699813 h 3383919"/>
                <a:gd name="connsiteX12" fmla="*/ 299187 w 1141507"/>
                <a:gd name="connsiteY12" fmla="*/ 653270 h 3383919"/>
                <a:gd name="connsiteX13" fmla="*/ 366959 w 1141507"/>
                <a:gd name="connsiteY13" fmla="*/ 661004 h 3383919"/>
                <a:gd name="connsiteX14" fmla="*/ 390792 w 1141507"/>
                <a:gd name="connsiteY14" fmla="*/ 693071 h 3383919"/>
                <a:gd name="connsiteX15" fmla="*/ 546521 w 1141507"/>
                <a:gd name="connsiteY15" fmla="*/ 749434 h 3383919"/>
                <a:gd name="connsiteX16" fmla="*/ 532113 w 1141507"/>
                <a:gd name="connsiteY16" fmla="*/ 713757 h 3383919"/>
                <a:gd name="connsiteX17" fmla="*/ 498861 w 1141507"/>
                <a:gd name="connsiteY17" fmla="*/ 674971 h 3383919"/>
                <a:gd name="connsiteX18" fmla="*/ 487777 w 1141507"/>
                <a:gd name="connsiteY18" fmla="*/ 623257 h 3383919"/>
                <a:gd name="connsiteX19" fmla="*/ 526572 w 1141507"/>
                <a:gd name="connsiteY19" fmla="*/ 574130 h 3383919"/>
                <a:gd name="connsiteX20" fmla="*/ 554282 w 1141507"/>
                <a:gd name="connsiteY20" fmla="*/ 545687 h 3383919"/>
                <a:gd name="connsiteX21" fmla="*/ 579222 w 1141507"/>
                <a:gd name="connsiteY21" fmla="*/ 509487 h 3383919"/>
                <a:gd name="connsiteX22" fmla="*/ 659582 w 1141507"/>
                <a:gd name="connsiteY22" fmla="*/ 504315 h 3383919"/>
                <a:gd name="connsiteX23" fmla="*/ 665123 w 1141507"/>
                <a:gd name="connsiteY23" fmla="*/ 483630 h 3383919"/>
                <a:gd name="connsiteX24" fmla="*/ 690063 w 1141507"/>
                <a:gd name="connsiteY24" fmla="*/ 447430 h 3383919"/>
                <a:gd name="connsiteX25" fmla="*/ 723867 w 1141507"/>
                <a:gd name="connsiteY25" fmla="*/ 429842 h 3383919"/>
                <a:gd name="connsiteX26" fmla="*/ 781507 w 1141507"/>
                <a:gd name="connsiteY26" fmla="*/ 442259 h 3383919"/>
                <a:gd name="connsiteX27" fmla="*/ 820300 w 1141507"/>
                <a:gd name="connsiteY27" fmla="*/ 462945 h 3383919"/>
                <a:gd name="connsiteX28" fmla="*/ 867408 w 1141507"/>
                <a:gd name="connsiteY28" fmla="*/ 470702 h 3383919"/>
                <a:gd name="connsiteX29" fmla="*/ 867408 w 1141507"/>
                <a:gd name="connsiteY29" fmla="*/ 475873 h 3383919"/>
                <a:gd name="connsiteX30" fmla="*/ 889577 w 1141507"/>
                <a:gd name="connsiteY30" fmla="*/ 416402 h 3383919"/>
                <a:gd name="connsiteX31" fmla="*/ 899552 w 1141507"/>
                <a:gd name="connsiteY31" fmla="*/ 382784 h 3383919"/>
                <a:gd name="connsiteX32" fmla="*/ 906203 w 1141507"/>
                <a:gd name="connsiteY32" fmla="*/ 364688 h 3383919"/>
                <a:gd name="connsiteX33" fmla="*/ 909140 w 1141507"/>
                <a:gd name="connsiteY33" fmla="*/ 333358 h 3383919"/>
                <a:gd name="connsiteX34" fmla="*/ 828614 w 1141507"/>
                <a:gd name="connsiteY34" fmla="*/ 287118 h 3383919"/>
                <a:gd name="connsiteX35" fmla="*/ 814759 w 1141507"/>
                <a:gd name="connsiteY35" fmla="*/ 214718 h 3383919"/>
                <a:gd name="connsiteX36" fmla="*/ 814759 w 1141507"/>
                <a:gd name="connsiteY36" fmla="*/ 196618 h 3383919"/>
                <a:gd name="connsiteX37" fmla="*/ 825842 w 1141507"/>
                <a:gd name="connsiteY37" fmla="*/ 173346 h 3383919"/>
                <a:gd name="connsiteX38" fmla="*/ 828614 w 1141507"/>
                <a:gd name="connsiteY38" fmla="*/ 157832 h 3383919"/>
                <a:gd name="connsiteX39" fmla="*/ 828613 w 1141507"/>
                <a:gd name="connsiteY39" fmla="*/ 100948 h 3383919"/>
                <a:gd name="connsiteX40" fmla="*/ 806445 w 1141507"/>
                <a:gd name="connsiteY40" fmla="*/ 77677 h 3383919"/>
                <a:gd name="connsiteX41" fmla="*/ 778735 w 1141507"/>
                <a:gd name="connsiteY41" fmla="*/ 46648 h 3383919"/>
                <a:gd name="connsiteX42" fmla="*/ 774567 w 1141507"/>
                <a:gd name="connsiteY42" fmla="*/ 22395 h 3383919"/>
                <a:gd name="connsiteX43" fmla="*/ 825843 w 1141507"/>
                <a:gd name="connsiteY43" fmla="*/ 104 h 3383919"/>
                <a:gd name="connsiteX44" fmla="*/ 879423 w 1141507"/>
                <a:gd name="connsiteY44" fmla="*/ 9976 h 3383919"/>
                <a:gd name="connsiteX45" fmla="*/ 958207 w 1141507"/>
                <a:gd name="connsiteY45" fmla="*/ 21886 h 3383919"/>
                <a:gd name="connsiteX46" fmla="*/ 1042530 w 1141507"/>
                <a:gd name="connsiteY46" fmla="*/ 91245 h 3383919"/>
                <a:gd name="connsiteX47" fmla="*/ 1104665 w 1141507"/>
                <a:gd name="connsiteY47" fmla="*/ 167341 h 3383919"/>
                <a:gd name="connsiteX48" fmla="*/ 1003694 w 1141507"/>
                <a:gd name="connsiteY48" fmla="*/ 196335 h 3383919"/>
                <a:gd name="connsiteX49" fmla="*/ 988160 w 1141507"/>
                <a:gd name="connsiteY49" fmla="*/ 243442 h 3383919"/>
                <a:gd name="connsiteX50" fmla="*/ 1045830 w 1141507"/>
                <a:gd name="connsiteY50" fmla="*/ 327932 h 3383919"/>
                <a:gd name="connsiteX51" fmla="*/ 1081364 w 1141507"/>
                <a:gd name="connsiteY51" fmla="*/ 334034 h 3383919"/>
                <a:gd name="connsiteX52" fmla="*/ 1133984 w 1141507"/>
                <a:gd name="connsiteY52" fmla="*/ 340374 h 3383919"/>
                <a:gd name="connsiteX53" fmla="*/ 1129021 w 1141507"/>
                <a:gd name="connsiteY53" fmla="*/ 451149 h 3383919"/>
                <a:gd name="connsiteX54" fmla="*/ 1140090 w 1141507"/>
                <a:gd name="connsiteY54" fmla="*/ 782117 h 3383919"/>
                <a:gd name="connsiteX55" fmla="*/ 1131222 w 1141507"/>
                <a:gd name="connsiteY55" fmla="*/ 1584716 h 3383919"/>
                <a:gd name="connsiteX56" fmla="*/ 1140089 w 1141507"/>
                <a:gd name="connsiteY56" fmla="*/ 2039798 h 3383919"/>
                <a:gd name="connsiteX57" fmla="*/ 1113641 w 1141507"/>
                <a:gd name="connsiteY57" fmla="*/ 3349763 h 3383919"/>
                <a:gd name="connsiteX58" fmla="*/ 855214 w 1141507"/>
                <a:gd name="connsiteY58" fmla="*/ 3306168 h 3383919"/>
                <a:gd name="connsiteX59" fmla="*/ 686736 w 1141507"/>
                <a:gd name="connsiteY59" fmla="*/ 3239973 h 3383919"/>
                <a:gd name="connsiteX60" fmla="*/ 509390 w 1141507"/>
                <a:gd name="connsiteY60" fmla="*/ 3148957 h 3383919"/>
                <a:gd name="connsiteX61" fmla="*/ 411092 w 1141507"/>
                <a:gd name="connsiteY61" fmla="*/ 3068440 h 3383919"/>
                <a:gd name="connsiteX62" fmla="*/ 705354 w 1141507"/>
                <a:gd name="connsiteY62" fmla="*/ 2760804 h 3383919"/>
                <a:gd name="connsiteX63" fmla="*/ 421600 w 1141507"/>
                <a:gd name="connsiteY63" fmla="*/ 2222980 h 3383919"/>
                <a:gd name="connsiteX64" fmla="*/ 563950 w 1141507"/>
                <a:gd name="connsiteY64" fmla="*/ 1983895 h 3383919"/>
                <a:gd name="connsiteX65" fmla="*/ 377263 w 1141507"/>
                <a:gd name="connsiteY65" fmla="*/ 1445204 h 3383919"/>
                <a:gd name="connsiteX66" fmla="*/ 128979 w 1141507"/>
                <a:gd name="connsiteY66" fmla="*/ 1213526 h 3383919"/>
                <a:gd name="connsiteX67" fmla="*/ 120112 w 1141507"/>
                <a:gd name="connsiteY67" fmla="*/ 1097687 h 3383919"/>
                <a:gd name="connsiteX68" fmla="*/ 0 w 1141507"/>
                <a:gd name="connsiteY68" fmla="*/ 304041 h 3383919"/>
                <a:gd name="connsiteX0" fmla="*/ 0 w 1141507"/>
                <a:gd name="connsiteY0" fmla="*/ 304041 h 3383919"/>
                <a:gd name="connsiteX1" fmla="*/ 235627 w 1141507"/>
                <a:gd name="connsiteY1" fmla="*/ 310487 h 3383919"/>
                <a:gd name="connsiteX2" fmla="*/ 80276 w 1141507"/>
                <a:gd name="connsiteY2" fmla="*/ 492958 h 3383919"/>
                <a:gd name="connsiteX3" fmla="*/ 130314 w 1141507"/>
                <a:gd name="connsiteY3" fmla="*/ 584472 h 3383919"/>
                <a:gd name="connsiteX4" fmla="*/ 83207 w 1141507"/>
                <a:gd name="connsiteY4" fmla="*/ 744784 h 3383919"/>
                <a:gd name="connsiteX5" fmla="*/ 110757 w 1141507"/>
                <a:gd name="connsiteY5" fmla="*/ 821340 h 3383919"/>
                <a:gd name="connsiteX6" fmla="*/ 180032 w 1141507"/>
                <a:gd name="connsiteY6" fmla="*/ 787726 h 3383919"/>
                <a:gd name="connsiteX7" fmla="*/ 199430 w 1141507"/>
                <a:gd name="connsiteY7" fmla="*/ 790312 h 3383919"/>
                <a:gd name="connsiteX8" fmla="*/ 224370 w 1141507"/>
                <a:gd name="connsiteY8" fmla="*/ 816169 h 3383919"/>
                <a:gd name="connsiteX9" fmla="*/ 221599 w 1141507"/>
                <a:gd name="connsiteY9" fmla="*/ 818755 h 3383919"/>
                <a:gd name="connsiteX10" fmla="*/ 260392 w 1141507"/>
                <a:gd name="connsiteY10" fmla="*/ 813584 h 3383919"/>
                <a:gd name="connsiteX11" fmla="*/ 268706 w 1141507"/>
                <a:gd name="connsiteY11" fmla="*/ 777384 h 3383919"/>
                <a:gd name="connsiteX12" fmla="*/ 229911 w 1141507"/>
                <a:gd name="connsiteY12" fmla="*/ 699813 h 3383919"/>
                <a:gd name="connsiteX13" fmla="*/ 299187 w 1141507"/>
                <a:gd name="connsiteY13" fmla="*/ 653270 h 3383919"/>
                <a:gd name="connsiteX14" fmla="*/ 366959 w 1141507"/>
                <a:gd name="connsiteY14" fmla="*/ 661004 h 3383919"/>
                <a:gd name="connsiteX15" fmla="*/ 390792 w 1141507"/>
                <a:gd name="connsiteY15" fmla="*/ 693071 h 3383919"/>
                <a:gd name="connsiteX16" fmla="*/ 546521 w 1141507"/>
                <a:gd name="connsiteY16" fmla="*/ 749434 h 3383919"/>
                <a:gd name="connsiteX17" fmla="*/ 532113 w 1141507"/>
                <a:gd name="connsiteY17" fmla="*/ 713757 h 3383919"/>
                <a:gd name="connsiteX18" fmla="*/ 498861 w 1141507"/>
                <a:gd name="connsiteY18" fmla="*/ 674971 h 3383919"/>
                <a:gd name="connsiteX19" fmla="*/ 487777 w 1141507"/>
                <a:gd name="connsiteY19" fmla="*/ 623257 h 3383919"/>
                <a:gd name="connsiteX20" fmla="*/ 526572 w 1141507"/>
                <a:gd name="connsiteY20" fmla="*/ 574130 h 3383919"/>
                <a:gd name="connsiteX21" fmla="*/ 554282 w 1141507"/>
                <a:gd name="connsiteY21" fmla="*/ 545687 h 3383919"/>
                <a:gd name="connsiteX22" fmla="*/ 579222 w 1141507"/>
                <a:gd name="connsiteY22" fmla="*/ 509487 h 3383919"/>
                <a:gd name="connsiteX23" fmla="*/ 659582 w 1141507"/>
                <a:gd name="connsiteY23" fmla="*/ 504315 h 3383919"/>
                <a:gd name="connsiteX24" fmla="*/ 665123 w 1141507"/>
                <a:gd name="connsiteY24" fmla="*/ 483630 h 3383919"/>
                <a:gd name="connsiteX25" fmla="*/ 690063 w 1141507"/>
                <a:gd name="connsiteY25" fmla="*/ 447430 h 3383919"/>
                <a:gd name="connsiteX26" fmla="*/ 723867 w 1141507"/>
                <a:gd name="connsiteY26" fmla="*/ 429842 h 3383919"/>
                <a:gd name="connsiteX27" fmla="*/ 781507 w 1141507"/>
                <a:gd name="connsiteY27" fmla="*/ 442259 h 3383919"/>
                <a:gd name="connsiteX28" fmla="*/ 820300 w 1141507"/>
                <a:gd name="connsiteY28" fmla="*/ 462945 h 3383919"/>
                <a:gd name="connsiteX29" fmla="*/ 867408 w 1141507"/>
                <a:gd name="connsiteY29" fmla="*/ 470702 h 3383919"/>
                <a:gd name="connsiteX30" fmla="*/ 867408 w 1141507"/>
                <a:gd name="connsiteY30" fmla="*/ 475873 h 3383919"/>
                <a:gd name="connsiteX31" fmla="*/ 889577 w 1141507"/>
                <a:gd name="connsiteY31" fmla="*/ 416402 h 3383919"/>
                <a:gd name="connsiteX32" fmla="*/ 899552 w 1141507"/>
                <a:gd name="connsiteY32" fmla="*/ 382784 h 3383919"/>
                <a:gd name="connsiteX33" fmla="*/ 906203 w 1141507"/>
                <a:gd name="connsiteY33" fmla="*/ 364688 h 3383919"/>
                <a:gd name="connsiteX34" fmla="*/ 909140 w 1141507"/>
                <a:gd name="connsiteY34" fmla="*/ 333358 h 3383919"/>
                <a:gd name="connsiteX35" fmla="*/ 828614 w 1141507"/>
                <a:gd name="connsiteY35" fmla="*/ 287118 h 3383919"/>
                <a:gd name="connsiteX36" fmla="*/ 814759 w 1141507"/>
                <a:gd name="connsiteY36" fmla="*/ 214718 h 3383919"/>
                <a:gd name="connsiteX37" fmla="*/ 814759 w 1141507"/>
                <a:gd name="connsiteY37" fmla="*/ 196618 h 3383919"/>
                <a:gd name="connsiteX38" fmla="*/ 825842 w 1141507"/>
                <a:gd name="connsiteY38" fmla="*/ 173346 h 3383919"/>
                <a:gd name="connsiteX39" fmla="*/ 828614 w 1141507"/>
                <a:gd name="connsiteY39" fmla="*/ 157832 h 3383919"/>
                <a:gd name="connsiteX40" fmla="*/ 828613 w 1141507"/>
                <a:gd name="connsiteY40" fmla="*/ 100948 h 3383919"/>
                <a:gd name="connsiteX41" fmla="*/ 806445 w 1141507"/>
                <a:gd name="connsiteY41" fmla="*/ 77677 h 3383919"/>
                <a:gd name="connsiteX42" fmla="*/ 778735 w 1141507"/>
                <a:gd name="connsiteY42" fmla="*/ 46648 h 3383919"/>
                <a:gd name="connsiteX43" fmla="*/ 774567 w 1141507"/>
                <a:gd name="connsiteY43" fmla="*/ 22395 h 3383919"/>
                <a:gd name="connsiteX44" fmla="*/ 825843 w 1141507"/>
                <a:gd name="connsiteY44" fmla="*/ 104 h 3383919"/>
                <a:gd name="connsiteX45" fmla="*/ 879423 w 1141507"/>
                <a:gd name="connsiteY45" fmla="*/ 9976 h 3383919"/>
                <a:gd name="connsiteX46" fmla="*/ 958207 w 1141507"/>
                <a:gd name="connsiteY46" fmla="*/ 21886 h 3383919"/>
                <a:gd name="connsiteX47" fmla="*/ 1042530 w 1141507"/>
                <a:gd name="connsiteY47" fmla="*/ 91245 h 3383919"/>
                <a:gd name="connsiteX48" fmla="*/ 1104665 w 1141507"/>
                <a:gd name="connsiteY48" fmla="*/ 167341 h 3383919"/>
                <a:gd name="connsiteX49" fmla="*/ 1003694 w 1141507"/>
                <a:gd name="connsiteY49" fmla="*/ 196335 h 3383919"/>
                <a:gd name="connsiteX50" fmla="*/ 988160 w 1141507"/>
                <a:gd name="connsiteY50" fmla="*/ 243442 h 3383919"/>
                <a:gd name="connsiteX51" fmla="*/ 1045830 w 1141507"/>
                <a:gd name="connsiteY51" fmla="*/ 327932 h 3383919"/>
                <a:gd name="connsiteX52" fmla="*/ 1081364 w 1141507"/>
                <a:gd name="connsiteY52" fmla="*/ 334034 h 3383919"/>
                <a:gd name="connsiteX53" fmla="*/ 1133984 w 1141507"/>
                <a:gd name="connsiteY53" fmla="*/ 340374 h 3383919"/>
                <a:gd name="connsiteX54" fmla="*/ 1129021 w 1141507"/>
                <a:gd name="connsiteY54" fmla="*/ 451149 h 3383919"/>
                <a:gd name="connsiteX55" fmla="*/ 1140090 w 1141507"/>
                <a:gd name="connsiteY55" fmla="*/ 782117 h 3383919"/>
                <a:gd name="connsiteX56" fmla="*/ 1131222 w 1141507"/>
                <a:gd name="connsiteY56" fmla="*/ 1584716 h 3383919"/>
                <a:gd name="connsiteX57" fmla="*/ 1140089 w 1141507"/>
                <a:gd name="connsiteY57" fmla="*/ 2039798 h 3383919"/>
                <a:gd name="connsiteX58" fmla="*/ 1113641 w 1141507"/>
                <a:gd name="connsiteY58" fmla="*/ 3349763 h 3383919"/>
                <a:gd name="connsiteX59" fmla="*/ 855214 w 1141507"/>
                <a:gd name="connsiteY59" fmla="*/ 3306168 h 3383919"/>
                <a:gd name="connsiteX60" fmla="*/ 686736 w 1141507"/>
                <a:gd name="connsiteY60" fmla="*/ 3239973 h 3383919"/>
                <a:gd name="connsiteX61" fmla="*/ 509390 w 1141507"/>
                <a:gd name="connsiteY61" fmla="*/ 3148957 h 3383919"/>
                <a:gd name="connsiteX62" fmla="*/ 411092 w 1141507"/>
                <a:gd name="connsiteY62" fmla="*/ 3068440 h 3383919"/>
                <a:gd name="connsiteX63" fmla="*/ 705354 w 1141507"/>
                <a:gd name="connsiteY63" fmla="*/ 2760804 h 3383919"/>
                <a:gd name="connsiteX64" fmla="*/ 421600 w 1141507"/>
                <a:gd name="connsiteY64" fmla="*/ 2222980 h 3383919"/>
                <a:gd name="connsiteX65" fmla="*/ 563950 w 1141507"/>
                <a:gd name="connsiteY65" fmla="*/ 1983895 h 3383919"/>
                <a:gd name="connsiteX66" fmla="*/ 377263 w 1141507"/>
                <a:gd name="connsiteY66" fmla="*/ 1445204 h 3383919"/>
                <a:gd name="connsiteX67" fmla="*/ 128979 w 1141507"/>
                <a:gd name="connsiteY67" fmla="*/ 1213526 h 3383919"/>
                <a:gd name="connsiteX68" fmla="*/ 120112 w 1141507"/>
                <a:gd name="connsiteY68" fmla="*/ 1097687 h 3383919"/>
                <a:gd name="connsiteX69" fmla="*/ 0 w 1141507"/>
                <a:gd name="connsiteY69" fmla="*/ 304041 h 3383919"/>
                <a:gd name="connsiteX0" fmla="*/ 0 w 1141507"/>
                <a:gd name="connsiteY0" fmla="*/ 304041 h 3383919"/>
                <a:gd name="connsiteX1" fmla="*/ 235627 w 1141507"/>
                <a:gd name="connsiteY1" fmla="*/ 310487 h 3383919"/>
                <a:gd name="connsiteX2" fmla="*/ 80276 w 1141507"/>
                <a:gd name="connsiteY2" fmla="*/ 492958 h 3383919"/>
                <a:gd name="connsiteX3" fmla="*/ 130314 w 1141507"/>
                <a:gd name="connsiteY3" fmla="*/ 584472 h 3383919"/>
                <a:gd name="connsiteX4" fmla="*/ 83207 w 1141507"/>
                <a:gd name="connsiteY4" fmla="*/ 744784 h 3383919"/>
                <a:gd name="connsiteX5" fmla="*/ 110757 w 1141507"/>
                <a:gd name="connsiteY5" fmla="*/ 821340 h 3383919"/>
                <a:gd name="connsiteX6" fmla="*/ 182802 w 1141507"/>
                <a:gd name="connsiteY6" fmla="*/ 774798 h 3383919"/>
                <a:gd name="connsiteX7" fmla="*/ 199430 w 1141507"/>
                <a:gd name="connsiteY7" fmla="*/ 790312 h 3383919"/>
                <a:gd name="connsiteX8" fmla="*/ 224370 w 1141507"/>
                <a:gd name="connsiteY8" fmla="*/ 816169 h 3383919"/>
                <a:gd name="connsiteX9" fmla="*/ 221599 w 1141507"/>
                <a:gd name="connsiteY9" fmla="*/ 818755 h 3383919"/>
                <a:gd name="connsiteX10" fmla="*/ 260392 w 1141507"/>
                <a:gd name="connsiteY10" fmla="*/ 813584 h 3383919"/>
                <a:gd name="connsiteX11" fmla="*/ 268706 w 1141507"/>
                <a:gd name="connsiteY11" fmla="*/ 777384 h 3383919"/>
                <a:gd name="connsiteX12" fmla="*/ 229911 w 1141507"/>
                <a:gd name="connsiteY12" fmla="*/ 699813 h 3383919"/>
                <a:gd name="connsiteX13" fmla="*/ 299187 w 1141507"/>
                <a:gd name="connsiteY13" fmla="*/ 653270 h 3383919"/>
                <a:gd name="connsiteX14" fmla="*/ 366959 w 1141507"/>
                <a:gd name="connsiteY14" fmla="*/ 661004 h 3383919"/>
                <a:gd name="connsiteX15" fmla="*/ 390792 w 1141507"/>
                <a:gd name="connsiteY15" fmla="*/ 693071 h 3383919"/>
                <a:gd name="connsiteX16" fmla="*/ 546521 w 1141507"/>
                <a:gd name="connsiteY16" fmla="*/ 749434 h 3383919"/>
                <a:gd name="connsiteX17" fmla="*/ 532113 w 1141507"/>
                <a:gd name="connsiteY17" fmla="*/ 713757 h 3383919"/>
                <a:gd name="connsiteX18" fmla="*/ 498861 w 1141507"/>
                <a:gd name="connsiteY18" fmla="*/ 674971 h 3383919"/>
                <a:gd name="connsiteX19" fmla="*/ 487777 w 1141507"/>
                <a:gd name="connsiteY19" fmla="*/ 623257 h 3383919"/>
                <a:gd name="connsiteX20" fmla="*/ 526572 w 1141507"/>
                <a:gd name="connsiteY20" fmla="*/ 574130 h 3383919"/>
                <a:gd name="connsiteX21" fmla="*/ 554282 w 1141507"/>
                <a:gd name="connsiteY21" fmla="*/ 545687 h 3383919"/>
                <a:gd name="connsiteX22" fmla="*/ 579222 w 1141507"/>
                <a:gd name="connsiteY22" fmla="*/ 509487 h 3383919"/>
                <a:gd name="connsiteX23" fmla="*/ 659582 w 1141507"/>
                <a:gd name="connsiteY23" fmla="*/ 504315 h 3383919"/>
                <a:gd name="connsiteX24" fmla="*/ 665123 w 1141507"/>
                <a:gd name="connsiteY24" fmla="*/ 483630 h 3383919"/>
                <a:gd name="connsiteX25" fmla="*/ 690063 w 1141507"/>
                <a:gd name="connsiteY25" fmla="*/ 447430 h 3383919"/>
                <a:gd name="connsiteX26" fmla="*/ 723867 w 1141507"/>
                <a:gd name="connsiteY26" fmla="*/ 429842 h 3383919"/>
                <a:gd name="connsiteX27" fmla="*/ 781507 w 1141507"/>
                <a:gd name="connsiteY27" fmla="*/ 442259 h 3383919"/>
                <a:gd name="connsiteX28" fmla="*/ 820300 w 1141507"/>
                <a:gd name="connsiteY28" fmla="*/ 462945 h 3383919"/>
                <a:gd name="connsiteX29" fmla="*/ 867408 w 1141507"/>
                <a:gd name="connsiteY29" fmla="*/ 470702 h 3383919"/>
                <a:gd name="connsiteX30" fmla="*/ 867408 w 1141507"/>
                <a:gd name="connsiteY30" fmla="*/ 475873 h 3383919"/>
                <a:gd name="connsiteX31" fmla="*/ 889577 w 1141507"/>
                <a:gd name="connsiteY31" fmla="*/ 416402 h 3383919"/>
                <a:gd name="connsiteX32" fmla="*/ 899552 w 1141507"/>
                <a:gd name="connsiteY32" fmla="*/ 382784 h 3383919"/>
                <a:gd name="connsiteX33" fmla="*/ 906203 w 1141507"/>
                <a:gd name="connsiteY33" fmla="*/ 364688 h 3383919"/>
                <a:gd name="connsiteX34" fmla="*/ 909140 w 1141507"/>
                <a:gd name="connsiteY34" fmla="*/ 333358 h 3383919"/>
                <a:gd name="connsiteX35" fmla="*/ 828614 w 1141507"/>
                <a:gd name="connsiteY35" fmla="*/ 287118 h 3383919"/>
                <a:gd name="connsiteX36" fmla="*/ 814759 w 1141507"/>
                <a:gd name="connsiteY36" fmla="*/ 214718 h 3383919"/>
                <a:gd name="connsiteX37" fmla="*/ 814759 w 1141507"/>
                <a:gd name="connsiteY37" fmla="*/ 196618 h 3383919"/>
                <a:gd name="connsiteX38" fmla="*/ 825842 w 1141507"/>
                <a:gd name="connsiteY38" fmla="*/ 173346 h 3383919"/>
                <a:gd name="connsiteX39" fmla="*/ 828614 w 1141507"/>
                <a:gd name="connsiteY39" fmla="*/ 157832 h 3383919"/>
                <a:gd name="connsiteX40" fmla="*/ 828613 w 1141507"/>
                <a:gd name="connsiteY40" fmla="*/ 100948 h 3383919"/>
                <a:gd name="connsiteX41" fmla="*/ 806445 w 1141507"/>
                <a:gd name="connsiteY41" fmla="*/ 77677 h 3383919"/>
                <a:gd name="connsiteX42" fmla="*/ 778735 w 1141507"/>
                <a:gd name="connsiteY42" fmla="*/ 46648 h 3383919"/>
                <a:gd name="connsiteX43" fmla="*/ 774567 w 1141507"/>
                <a:gd name="connsiteY43" fmla="*/ 22395 h 3383919"/>
                <a:gd name="connsiteX44" fmla="*/ 825843 w 1141507"/>
                <a:gd name="connsiteY44" fmla="*/ 104 h 3383919"/>
                <a:gd name="connsiteX45" fmla="*/ 879423 w 1141507"/>
                <a:gd name="connsiteY45" fmla="*/ 9976 h 3383919"/>
                <a:gd name="connsiteX46" fmla="*/ 958207 w 1141507"/>
                <a:gd name="connsiteY46" fmla="*/ 21886 h 3383919"/>
                <a:gd name="connsiteX47" fmla="*/ 1042530 w 1141507"/>
                <a:gd name="connsiteY47" fmla="*/ 91245 h 3383919"/>
                <a:gd name="connsiteX48" fmla="*/ 1104665 w 1141507"/>
                <a:gd name="connsiteY48" fmla="*/ 167341 h 3383919"/>
                <a:gd name="connsiteX49" fmla="*/ 1003694 w 1141507"/>
                <a:gd name="connsiteY49" fmla="*/ 196335 h 3383919"/>
                <a:gd name="connsiteX50" fmla="*/ 988160 w 1141507"/>
                <a:gd name="connsiteY50" fmla="*/ 243442 h 3383919"/>
                <a:gd name="connsiteX51" fmla="*/ 1045830 w 1141507"/>
                <a:gd name="connsiteY51" fmla="*/ 327932 h 3383919"/>
                <a:gd name="connsiteX52" fmla="*/ 1081364 w 1141507"/>
                <a:gd name="connsiteY52" fmla="*/ 334034 h 3383919"/>
                <a:gd name="connsiteX53" fmla="*/ 1133984 w 1141507"/>
                <a:gd name="connsiteY53" fmla="*/ 340374 h 3383919"/>
                <a:gd name="connsiteX54" fmla="*/ 1129021 w 1141507"/>
                <a:gd name="connsiteY54" fmla="*/ 451149 h 3383919"/>
                <a:gd name="connsiteX55" fmla="*/ 1140090 w 1141507"/>
                <a:gd name="connsiteY55" fmla="*/ 782117 h 3383919"/>
                <a:gd name="connsiteX56" fmla="*/ 1131222 w 1141507"/>
                <a:gd name="connsiteY56" fmla="*/ 1584716 h 3383919"/>
                <a:gd name="connsiteX57" fmla="*/ 1140089 w 1141507"/>
                <a:gd name="connsiteY57" fmla="*/ 2039798 h 3383919"/>
                <a:gd name="connsiteX58" fmla="*/ 1113641 w 1141507"/>
                <a:gd name="connsiteY58" fmla="*/ 3349763 h 3383919"/>
                <a:gd name="connsiteX59" fmla="*/ 855214 w 1141507"/>
                <a:gd name="connsiteY59" fmla="*/ 3306168 h 3383919"/>
                <a:gd name="connsiteX60" fmla="*/ 686736 w 1141507"/>
                <a:gd name="connsiteY60" fmla="*/ 3239973 h 3383919"/>
                <a:gd name="connsiteX61" fmla="*/ 509390 w 1141507"/>
                <a:gd name="connsiteY61" fmla="*/ 3148957 h 3383919"/>
                <a:gd name="connsiteX62" fmla="*/ 411092 w 1141507"/>
                <a:gd name="connsiteY62" fmla="*/ 3068440 h 3383919"/>
                <a:gd name="connsiteX63" fmla="*/ 705354 w 1141507"/>
                <a:gd name="connsiteY63" fmla="*/ 2760804 h 3383919"/>
                <a:gd name="connsiteX64" fmla="*/ 421600 w 1141507"/>
                <a:gd name="connsiteY64" fmla="*/ 2222980 h 3383919"/>
                <a:gd name="connsiteX65" fmla="*/ 563950 w 1141507"/>
                <a:gd name="connsiteY65" fmla="*/ 1983895 h 3383919"/>
                <a:gd name="connsiteX66" fmla="*/ 377263 w 1141507"/>
                <a:gd name="connsiteY66" fmla="*/ 1445204 h 3383919"/>
                <a:gd name="connsiteX67" fmla="*/ 128979 w 1141507"/>
                <a:gd name="connsiteY67" fmla="*/ 1213526 h 3383919"/>
                <a:gd name="connsiteX68" fmla="*/ 120112 w 1141507"/>
                <a:gd name="connsiteY68" fmla="*/ 1097687 h 3383919"/>
                <a:gd name="connsiteX69" fmla="*/ 0 w 1141507"/>
                <a:gd name="connsiteY69" fmla="*/ 304041 h 3383919"/>
                <a:gd name="connsiteX0" fmla="*/ 0 w 1141507"/>
                <a:gd name="connsiteY0" fmla="*/ 304041 h 3383919"/>
                <a:gd name="connsiteX1" fmla="*/ 235627 w 1141507"/>
                <a:gd name="connsiteY1" fmla="*/ 310487 h 3383919"/>
                <a:gd name="connsiteX2" fmla="*/ 80276 w 1141507"/>
                <a:gd name="connsiteY2" fmla="*/ 492958 h 3383919"/>
                <a:gd name="connsiteX3" fmla="*/ 130314 w 1141507"/>
                <a:gd name="connsiteY3" fmla="*/ 584472 h 3383919"/>
                <a:gd name="connsiteX4" fmla="*/ 83207 w 1141507"/>
                <a:gd name="connsiteY4" fmla="*/ 744784 h 3383919"/>
                <a:gd name="connsiteX5" fmla="*/ 110757 w 1141507"/>
                <a:gd name="connsiteY5" fmla="*/ 821340 h 3383919"/>
                <a:gd name="connsiteX6" fmla="*/ 182802 w 1141507"/>
                <a:gd name="connsiteY6" fmla="*/ 774798 h 3383919"/>
                <a:gd name="connsiteX7" fmla="*/ 199430 w 1141507"/>
                <a:gd name="connsiteY7" fmla="*/ 790312 h 3383919"/>
                <a:gd name="connsiteX8" fmla="*/ 224370 w 1141507"/>
                <a:gd name="connsiteY8" fmla="*/ 816169 h 3383919"/>
                <a:gd name="connsiteX9" fmla="*/ 221599 w 1141507"/>
                <a:gd name="connsiteY9" fmla="*/ 818755 h 3383919"/>
                <a:gd name="connsiteX10" fmla="*/ 260392 w 1141507"/>
                <a:gd name="connsiteY10" fmla="*/ 813584 h 3383919"/>
                <a:gd name="connsiteX11" fmla="*/ 268706 w 1141507"/>
                <a:gd name="connsiteY11" fmla="*/ 777384 h 3383919"/>
                <a:gd name="connsiteX12" fmla="*/ 229911 w 1141507"/>
                <a:gd name="connsiteY12" fmla="*/ 699813 h 3383919"/>
                <a:gd name="connsiteX13" fmla="*/ 299187 w 1141507"/>
                <a:gd name="connsiteY13" fmla="*/ 653270 h 3383919"/>
                <a:gd name="connsiteX14" fmla="*/ 366959 w 1141507"/>
                <a:gd name="connsiteY14" fmla="*/ 661004 h 3383919"/>
                <a:gd name="connsiteX15" fmla="*/ 390792 w 1141507"/>
                <a:gd name="connsiteY15" fmla="*/ 693071 h 3383919"/>
                <a:gd name="connsiteX16" fmla="*/ 546521 w 1141507"/>
                <a:gd name="connsiteY16" fmla="*/ 749434 h 3383919"/>
                <a:gd name="connsiteX17" fmla="*/ 532113 w 1141507"/>
                <a:gd name="connsiteY17" fmla="*/ 713757 h 3383919"/>
                <a:gd name="connsiteX18" fmla="*/ 498861 w 1141507"/>
                <a:gd name="connsiteY18" fmla="*/ 674971 h 3383919"/>
                <a:gd name="connsiteX19" fmla="*/ 487777 w 1141507"/>
                <a:gd name="connsiteY19" fmla="*/ 623257 h 3383919"/>
                <a:gd name="connsiteX20" fmla="*/ 526572 w 1141507"/>
                <a:gd name="connsiteY20" fmla="*/ 574130 h 3383919"/>
                <a:gd name="connsiteX21" fmla="*/ 554282 w 1141507"/>
                <a:gd name="connsiteY21" fmla="*/ 545687 h 3383919"/>
                <a:gd name="connsiteX22" fmla="*/ 579222 w 1141507"/>
                <a:gd name="connsiteY22" fmla="*/ 509487 h 3383919"/>
                <a:gd name="connsiteX23" fmla="*/ 659582 w 1141507"/>
                <a:gd name="connsiteY23" fmla="*/ 504315 h 3383919"/>
                <a:gd name="connsiteX24" fmla="*/ 665123 w 1141507"/>
                <a:gd name="connsiteY24" fmla="*/ 483630 h 3383919"/>
                <a:gd name="connsiteX25" fmla="*/ 690063 w 1141507"/>
                <a:gd name="connsiteY25" fmla="*/ 447430 h 3383919"/>
                <a:gd name="connsiteX26" fmla="*/ 723867 w 1141507"/>
                <a:gd name="connsiteY26" fmla="*/ 429842 h 3383919"/>
                <a:gd name="connsiteX27" fmla="*/ 781507 w 1141507"/>
                <a:gd name="connsiteY27" fmla="*/ 442259 h 3383919"/>
                <a:gd name="connsiteX28" fmla="*/ 820300 w 1141507"/>
                <a:gd name="connsiteY28" fmla="*/ 462945 h 3383919"/>
                <a:gd name="connsiteX29" fmla="*/ 867408 w 1141507"/>
                <a:gd name="connsiteY29" fmla="*/ 470702 h 3383919"/>
                <a:gd name="connsiteX30" fmla="*/ 867408 w 1141507"/>
                <a:gd name="connsiteY30" fmla="*/ 475873 h 3383919"/>
                <a:gd name="connsiteX31" fmla="*/ 889577 w 1141507"/>
                <a:gd name="connsiteY31" fmla="*/ 416402 h 3383919"/>
                <a:gd name="connsiteX32" fmla="*/ 899552 w 1141507"/>
                <a:gd name="connsiteY32" fmla="*/ 382784 h 3383919"/>
                <a:gd name="connsiteX33" fmla="*/ 906203 w 1141507"/>
                <a:gd name="connsiteY33" fmla="*/ 364688 h 3383919"/>
                <a:gd name="connsiteX34" fmla="*/ 909140 w 1141507"/>
                <a:gd name="connsiteY34" fmla="*/ 333358 h 3383919"/>
                <a:gd name="connsiteX35" fmla="*/ 828614 w 1141507"/>
                <a:gd name="connsiteY35" fmla="*/ 287118 h 3383919"/>
                <a:gd name="connsiteX36" fmla="*/ 814759 w 1141507"/>
                <a:gd name="connsiteY36" fmla="*/ 214718 h 3383919"/>
                <a:gd name="connsiteX37" fmla="*/ 814759 w 1141507"/>
                <a:gd name="connsiteY37" fmla="*/ 196618 h 3383919"/>
                <a:gd name="connsiteX38" fmla="*/ 825842 w 1141507"/>
                <a:gd name="connsiteY38" fmla="*/ 173346 h 3383919"/>
                <a:gd name="connsiteX39" fmla="*/ 828614 w 1141507"/>
                <a:gd name="connsiteY39" fmla="*/ 157832 h 3383919"/>
                <a:gd name="connsiteX40" fmla="*/ 828613 w 1141507"/>
                <a:gd name="connsiteY40" fmla="*/ 100948 h 3383919"/>
                <a:gd name="connsiteX41" fmla="*/ 806445 w 1141507"/>
                <a:gd name="connsiteY41" fmla="*/ 77677 h 3383919"/>
                <a:gd name="connsiteX42" fmla="*/ 778735 w 1141507"/>
                <a:gd name="connsiteY42" fmla="*/ 46648 h 3383919"/>
                <a:gd name="connsiteX43" fmla="*/ 774567 w 1141507"/>
                <a:gd name="connsiteY43" fmla="*/ 22395 h 3383919"/>
                <a:gd name="connsiteX44" fmla="*/ 825843 w 1141507"/>
                <a:gd name="connsiteY44" fmla="*/ 104 h 3383919"/>
                <a:gd name="connsiteX45" fmla="*/ 879423 w 1141507"/>
                <a:gd name="connsiteY45" fmla="*/ 9976 h 3383919"/>
                <a:gd name="connsiteX46" fmla="*/ 958207 w 1141507"/>
                <a:gd name="connsiteY46" fmla="*/ 21886 h 3383919"/>
                <a:gd name="connsiteX47" fmla="*/ 1042530 w 1141507"/>
                <a:gd name="connsiteY47" fmla="*/ 91245 h 3383919"/>
                <a:gd name="connsiteX48" fmla="*/ 1104665 w 1141507"/>
                <a:gd name="connsiteY48" fmla="*/ 167341 h 3383919"/>
                <a:gd name="connsiteX49" fmla="*/ 1003694 w 1141507"/>
                <a:gd name="connsiteY49" fmla="*/ 196335 h 3383919"/>
                <a:gd name="connsiteX50" fmla="*/ 988160 w 1141507"/>
                <a:gd name="connsiteY50" fmla="*/ 243442 h 3383919"/>
                <a:gd name="connsiteX51" fmla="*/ 1045830 w 1141507"/>
                <a:gd name="connsiteY51" fmla="*/ 327932 h 3383919"/>
                <a:gd name="connsiteX52" fmla="*/ 1081364 w 1141507"/>
                <a:gd name="connsiteY52" fmla="*/ 334034 h 3383919"/>
                <a:gd name="connsiteX53" fmla="*/ 1133984 w 1141507"/>
                <a:gd name="connsiteY53" fmla="*/ 340374 h 3383919"/>
                <a:gd name="connsiteX54" fmla="*/ 1129021 w 1141507"/>
                <a:gd name="connsiteY54" fmla="*/ 451149 h 3383919"/>
                <a:gd name="connsiteX55" fmla="*/ 1140090 w 1141507"/>
                <a:gd name="connsiteY55" fmla="*/ 782117 h 3383919"/>
                <a:gd name="connsiteX56" fmla="*/ 1131222 w 1141507"/>
                <a:gd name="connsiteY56" fmla="*/ 1584716 h 3383919"/>
                <a:gd name="connsiteX57" fmla="*/ 1140089 w 1141507"/>
                <a:gd name="connsiteY57" fmla="*/ 2039798 h 3383919"/>
                <a:gd name="connsiteX58" fmla="*/ 1113641 w 1141507"/>
                <a:gd name="connsiteY58" fmla="*/ 3349763 h 3383919"/>
                <a:gd name="connsiteX59" fmla="*/ 855214 w 1141507"/>
                <a:gd name="connsiteY59" fmla="*/ 3306168 h 3383919"/>
                <a:gd name="connsiteX60" fmla="*/ 686736 w 1141507"/>
                <a:gd name="connsiteY60" fmla="*/ 3239973 h 3383919"/>
                <a:gd name="connsiteX61" fmla="*/ 509390 w 1141507"/>
                <a:gd name="connsiteY61" fmla="*/ 3148957 h 3383919"/>
                <a:gd name="connsiteX62" fmla="*/ 411092 w 1141507"/>
                <a:gd name="connsiteY62" fmla="*/ 3068440 h 3383919"/>
                <a:gd name="connsiteX63" fmla="*/ 705354 w 1141507"/>
                <a:gd name="connsiteY63" fmla="*/ 2760804 h 3383919"/>
                <a:gd name="connsiteX64" fmla="*/ 421600 w 1141507"/>
                <a:gd name="connsiteY64" fmla="*/ 2222980 h 3383919"/>
                <a:gd name="connsiteX65" fmla="*/ 563950 w 1141507"/>
                <a:gd name="connsiteY65" fmla="*/ 1983895 h 3383919"/>
                <a:gd name="connsiteX66" fmla="*/ 377263 w 1141507"/>
                <a:gd name="connsiteY66" fmla="*/ 1445204 h 3383919"/>
                <a:gd name="connsiteX67" fmla="*/ 128979 w 1141507"/>
                <a:gd name="connsiteY67" fmla="*/ 1213526 h 3383919"/>
                <a:gd name="connsiteX68" fmla="*/ 120112 w 1141507"/>
                <a:gd name="connsiteY68" fmla="*/ 1097687 h 3383919"/>
                <a:gd name="connsiteX69" fmla="*/ 0 w 1141507"/>
                <a:gd name="connsiteY69" fmla="*/ 304041 h 3383919"/>
                <a:gd name="connsiteX0" fmla="*/ 0 w 1141507"/>
                <a:gd name="connsiteY0" fmla="*/ 304041 h 3383919"/>
                <a:gd name="connsiteX1" fmla="*/ 235627 w 1141507"/>
                <a:gd name="connsiteY1" fmla="*/ 310487 h 3383919"/>
                <a:gd name="connsiteX2" fmla="*/ 80276 w 1141507"/>
                <a:gd name="connsiteY2" fmla="*/ 492958 h 3383919"/>
                <a:gd name="connsiteX3" fmla="*/ 130314 w 1141507"/>
                <a:gd name="connsiteY3" fmla="*/ 584472 h 3383919"/>
                <a:gd name="connsiteX4" fmla="*/ 83207 w 1141507"/>
                <a:gd name="connsiteY4" fmla="*/ 744784 h 3383919"/>
                <a:gd name="connsiteX5" fmla="*/ 113528 w 1141507"/>
                <a:gd name="connsiteY5" fmla="*/ 759283 h 3383919"/>
                <a:gd name="connsiteX6" fmla="*/ 182802 w 1141507"/>
                <a:gd name="connsiteY6" fmla="*/ 774798 h 3383919"/>
                <a:gd name="connsiteX7" fmla="*/ 199430 w 1141507"/>
                <a:gd name="connsiteY7" fmla="*/ 790312 h 3383919"/>
                <a:gd name="connsiteX8" fmla="*/ 224370 w 1141507"/>
                <a:gd name="connsiteY8" fmla="*/ 816169 h 3383919"/>
                <a:gd name="connsiteX9" fmla="*/ 221599 w 1141507"/>
                <a:gd name="connsiteY9" fmla="*/ 818755 h 3383919"/>
                <a:gd name="connsiteX10" fmla="*/ 260392 w 1141507"/>
                <a:gd name="connsiteY10" fmla="*/ 813584 h 3383919"/>
                <a:gd name="connsiteX11" fmla="*/ 268706 w 1141507"/>
                <a:gd name="connsiteY11" fmla="*/ 777384 h 3383919"/>
                <a:gd name="connsiteX12" fmla="*/ 229911 w 1141507"/>
                <a:gd name="connsiteY12" fmla="*/ 699813 h 3383919"/>
                <a:gd name="connsiteX13" fmla="*/ 299187 w 1141507"/>
                <a:gd name="connsiteY13" fmla="*/ 653270 h 3383919"/>
                <a:gd name="connsiteX14" fmla="*/ 366959 w 1141507"/>
                <a:gd name="connsiteY14" fmla="*/ 661004 h 3383919"/>
                <a:gd name="connsiteX15" fmla="*/ 390792 w 1141507"/>
                <a:gd name="connsiteY15" fmla="*/ 693071 h 3383919"/>
                <a:gd name="connsiteX16" fmla="*/ 546521 w 1141507"/>
                <a:gd name="connsiteY16" fmla="*/ 749434 h 3383919"/>
                <a:gd name="connsiteX17" fmla="*/ 532113 w 1141507"/>
                <a:gd name="connsiteY17" fmla="*/ 713757 h 3383919"/>
                <a:gd name="connsiteX18" fmla="*/ 498861 w 1141507"/>
                <a:gd name="connsiteY18" fmla="*/ 674971 h 3383919"/>
                <a:gd name="connsiteX19" fmla="*/ 487777 w 1141507"/>
                <a:gd name="connsiteY19" fmla="*/ 623257 h 3383919"/>
                <a:gd name="connsiteX20" fmla="*/ 526572 w 1141507"/>
                <a:gd name="connsiteY20" fmla="*/ 574130 h 3383919"/>
                <a:gd name="connsiteX21" fmla="*/ 554282 w 1141507"/>
                <a:gd name="connsiteY21" fmla="*/ 545687 h 3383919"/>
                <a:gd name="connsiteX22" fmla="*/ 579222 w 1141507"/>
                <a:gd name="connsiteY22" fmla="*/ 509487 h 3383919"/>
                <a:gd name="connsiteX23" fmla="*/ 659582 w 1141507"/>
                <a:gd name="connsiteY23" fmla="*/ 504315 h 3383919"/>
                <a:gd name="connsiteX24" fmla="*/ 665123 w 1141507"/>
                <a:gd name="connsiteY24" fmla="*/ 483630 h 3383919"/>
                <a:gd name="connsiteX25" fmla="*/ 690063 w 1141507"/>
                <a:gd name="connsiteY25" fmla="*/ 447430 h 3383919"/>
                <a:gd name="connsiteX26" fmla="*/ 723867 w 1141507"/>
                <a:gd name="connsiteY26" fmla="*/ 429842 h 3383919"/>
                <a:gd name="connsiteX27" fmla="*/ 781507 w 1141507"/>
                <a:gd name="connsiteY27" fmla="*/ 442259 h 3383919"/>
                <a:gd name="connsiteX28" fmla="*/ 820300 w 1141507"/>
                <a:gd name="connsiteY28" fmla="*/ 462945 h 3383919"/>
                <a:gd name="connsiteX29" fmla="*/ 867408 w 1141507"/>
                <a:gd name="connsiteY29" fmla="*/ 470702 h 3383919"/>
                <a:gd name="connsiteX30" fmla="*/ 867408 w 1141507"/>
                <a:gd name="connsiteY30" fmla="*/ 475873 h 3383919"/>
                <a:gd name="connsiteX31" fmla="*/ 889577 w 1141507"/>
                <a:gd name="connsiteY31" fmla="*/ 416402 h 3383919"/>
                <a:gd name="connsiteX32" fmla="*/ 899552 w 1141507"/>
                <a:gd name="connsiteY32" fmla="*/ 382784 h 3383919"/>
                <a:gd name="connsiteX33" fmla="*/ 906203 w 1141507"/>
                <a:gd name="connsiteY33" fmla="*/ 364688 h 3383919"/>
                <a:gd name="connsiteX34" fmla="*/ 909140 w 1141507"/>
                <a:gd name="connsiteY34" fmla="*/ 333358 h 3383919"/>
                <a:gd name="connsiteX35" fmla="*/ 828614 w 1141507"/>
                <a:gd name="connsiteY35" fmla="*/ 287118 h 3383919"/>
                <a:gd name="connsiteX36" fmla="*/ 814759 w 1141507"/>
                <a:gd name="connsiteY36" fmla="*/ 214718 h 3383919"/>
                <a:gd name="connsiteX37" fmla="*/ 814759 w 1141507"/>
                <a:gd name="connsiteY37" fmla="*/ 196618 h 3383919"/>
                <a:gd name="connsiteX38" fmla="*/ 825842 w 1141507"/>
                <a:gd name="connsiteY38" fmla="*/ 173346 h 3383919"/>
                <a:gd name="connsiteX39" fmla="*/ 828614 w 1141507"/>
                <a:gd name="connsiteY39" fmla="*/ 157832 h 3383919"/>
                <a:gd name="connsiteX40" fmla="*/ 828613 w 1141507"/>
                <a:gd name="connsiteY40" fmla="*/ 100948 h 3383919"/>
                <a:gd name="connsiteX41" fmla="*/ 806445 w 1141507"/>
                <a:gd name="connsiteY41" fmla="*/ 77677 h 3383919"/>
                <a:gd name="connsiteX42" fmla="*/ 778735 w 1141507"/>
                <a:gd name="connsiteY42" fmla="*/ 46648 h 3383919"/>
                <a:gd name="connsiteX43" fmla="*/ 774567 w 1141507"/>
                <a:gd name="connsiteY43" fmla="*/ 22395 h 3383919"/>
                <a:gd name="connsiteX44" fmla="*/ 825843 w 1141507"/>
                <a:gd name="connsiteY44" fmla="*/ 104 h 3383919"/>
                <a:gd name="connsiteX45" fmla="*/ 879423 w 1141507"/>
                <a:gd name="connsiteY45" fmla="*/ 9976 h 3383919"/>
                <a:gd name="connsiteX46" fmla="*/ 958207 w 1141507"/>
                <a:gd name="connsiteY46" fmla="*/ 21886 h 3383919"/>
                <a:gd name="connsiteX47" fmla="*/ 1042530 w 1141507"/>
                <a:gd name="connsiteY47" fmla="*/ 91245 h 3383919"/>
                <a:gd name="connsiteX48" fmla="*/ 1104665 w 1141507"/>
                <a:gd name="connsiteY48" fmla="*/ 167341 h 3383919"/>
                <a:gd name="connsiteX49" fmla="*/ 1003694 w 1141507"/>
                <a:gd name="connsiteY49" fmla="*/ 196335 h 3383919"/>
                <a:gd name="connsiteX50" fmla="*/ 988160 w 1141507"/>
                <a:gd name="connsiteY50" fmla="*/ 243442 h 3383919"/>
                <a:gd name="connsiteX51" fmla="*/ 1045830 w 1141507"/>
                <a:gd name="connsiteY51" fmla="*/ 327932 h 3383919"/>
                <a:gd name="connsiteX52" fmla="*/ 1081364 w 1141507"/>
                <a:gd name="connsiteY52" fmla="*/ 334034 h 3383919"/>
                <a:gd name="connsiteX53" fmla="*/ 1133984 w 1141507"/>
                <a:gd name="connsiteY53" fmla="*/ 340374 h 3383919"/>
                <a:gd name="connsiteX54" fmla="*/ 1129021 w 1141507"/>
                <a:gd name="connsiteY54" fmla="*/ 451149 h 3383919"/>
                <a:gd name="connsiteX55" fmla="*/ 1140090 w 1141507"/>
                <a:gd name="connsiteY55" fmla="*/ 782117 h 3383919"/>
                <a:gd name="connsiteX56" fmla="*/ 1131222 w 1141507"/>
                <a:gd name="connsiteY56" fmla="*/ 1584716 h 3383919"/>
                <a:gd name="connsiteX57" fmla="*/ 1140089 w 1141507"/>
                <a:gd name="connsiteY57" fmla="*/ 2039798 h 3383919"/>
                <a:gd name="connsiteX58" fmla="*/ 1113641 w 1141507"/>
                <a:gd name="connsiteY58" fmla="*/ 3349763 h 3383919"/>
                <a:gd name="connsiteX59" fmla="*/ 855214 w 1141507"/>
                <a:gd name="connsiteY59" fmla="*/ 3306168 h 3383919"/>
                <a:gd name="connsiteX60" fmla="*/ 686736 w 1141507"/>
                <a:gd name="connsiteY60" fmla="*/ 3239973 h 3383919"/>
                <a:gd name="connsiteX61" fmla="*/ 509390 w 1141507"/>
                <a:gd name="connsiteY61" fmla="*/ 3148957 h 3383919"/>
                <a:gd name="connsiteX62" fmla="*/ 411092 w 1141507"/>
                <a:gd name="connsiteY62" fmla="*/ 3068440 h 3383919"/>
                <a:gd name="connsiteX63" fmla="*/ 705354 w 1141507"/>
                <a:gd name="connsiteY63" fmla="*/ 2760804 h 3383919"/>
                <a:gd name="connsiteX64" fmla="*/ 421600 w 1141507"/>
                <a:gd name="connsiteY64" fmla="*/ 2222980 h 3383919"/>
                <a:gd name="connsiteX65" fmla="*/ 563950 w 1141507"/>
                <a:gd name="connsiteY65" fmla="*/ 1983895 h 3383919"/>
                <a:gd name="connsiteX66" fmla="*/ 377263 w 1141507"/>
                <a:gd name="connsiteY66" fmla="*/ 1445204 h 3383919"/>
                <a:gd name="connsiteX67" fmla="*/ 128979 w 1141507"/>
                <a:gd name="connsiteY67" fmla="*/ 1213526 h 3383919"/>
                <a:gd name="connsiteX68" fmla="*/ 120112 w 1141507"/>
                <a:gd name="connsiteY68" fmla="*/ 1097687 h 3383919"/>
                <a:gd name="connsiteX69" fmla="*/ 0 w 1141507"/>
                <a:gd name="connsiteY69" fmla="*/ 304041 h 3383919"/>
                <a:gd name="connsiteX0" fmla="*/ 0 w 1141507"/>
                <a:gd name="connsiteY0" fmla="*/ 304041 h 3383919"/>
                <a:gd name="connsiteX1" fmla="*/ 235627 w 1141507"/>
                <a:gd name="connsiteY1" fmla="*/ 310487 h 3383919"/>
                <a:gd name="connsiteX2" fmla="*/ 80276 w 1141507"/>
                <a:gd name="connsiteY2" fmla="*/ 492958 h 3383919"/>
                <a:gd name="connsiteX3" fmla="*/ 130314 w 1141507"/>
                <a:gd name="connsiteY3" fmla="*/ 584472 h 3383919"/>
                <a:gd name="connsiteX4" fmla="*/ 155253 w 1141507"/>
                <a:gd name="connsiteY4" fmla="*/ 693070 h 3383919"/>
                <a:gd name="connsiteX5" fmla="*/ 113528 w 1141507"/>
                <a:gd name="connsiteY5" fmla="*/ 759283 h 3383919"/>
                <a:gd name="connsiteX6" fmla="*/ 182802 w 1141507"/>
                <a:gd name="connsiteY6" fmla="*/ 774798 h 3383919"/>
                <a:gd name="connsiteX7" fmla="*/ 199430 w 1141507"/>
                <a:gd name="connsiteY7" fmla="*/ 790312 h 3383919"/>
                <a:gd name="connsiteX8" fmla="*/ 224370 w 1141507"/>
                <a:gd name="connsiteY8" fmla="*/ 816169 h 3383919"/>
                <a:gd name="connsiteX9" fmla="*/ 221599 w 1141507"/>
                <a:gd name="connsiteY9" fmla="*/ 818755 h 3383919"/>
                <a:gd name="connsiteX10" fmla="*/ 260392 w 1141507"/>
                <a:gd name="connsiteY10" fmla="*/ 813584 h 3383919"/>
                <a:gd name="connsiteX11" fmla="*/ 268706 w 1141507"/>
                <a:gd name="connsiteY11" fmla="*/ 777384 h 3383919"/>
                <a:gd name="connsiteX12" fmla="*/ 229911 w 1141507"/>
                <a:gd name="connsiteY12" fmla="*/ 699813 h 3383919"/>
                <a:gd name="connsiteX13" fmla="*/ 299187 w 1141507"/>
                <a:gd name="connsiteY13" fmla="*/ 653270 h 3383919"/>
                <a:gd name="connsiteX14" fmla="*/ 366959 w 1141507"/>
                <a:gd name="connsiteY14" fmla="*/ 661004 h 3383919"/>
                <a:gd name="connsiteX15" fmla="*/ 390792 w 1141507"/>
                <a:gd name="connsiteY15" fmla="*/ 693071 h 3383919"/>
                <a:gd name="connsiteX16" fmla="*/ 546521 w 1141507"/>
                <a:gd name="connsiteY16" fmla="*/ 749434 h 3383919"/>
                <a:gd name="connsiteX17" fmla="*/ 532113 w 1141507"/>
                <a:gd name="connsiteY17" fmla="*/ 713757 h 3383919"/>
                <a:gd name="connsiteX18" fmla="*/ 498861 w 1141507"/>
                <a:gd name="connsiteY18" fmla="*/ 674971 h 3383919"/>
                <a:gd name="connsiteX19" fmla="*/ 487777 w 1141507"/>
                <a:gd name="connsiteY19" fmla="*/ 623257 h 3383919"/>
                <a:gd name="connsiteX20" fmla="*/ 526572 w 1141507"/>
                <a:gd name="connsiteY20" fmla="*/ 574130 h 3383919"/>
                <a:gd name="connsiteX21" fmla="*/ 554282 w 1141507"/>
                <a:gd name="connsiteY21" fmla="*/ 545687 h 3383919"/>
                <a:gd name="connsiteX22" fmla="*/ 579222 w 1141507"/>
                <a:gd name="connsiteY22" fmla="*/ 509487 h 3383919"/>
                <a:gd name="connsiteX23" fmla="*/ 659582 w 1141507"/>
                <a:gd name="connsiteY23" fmla="*/ 504315 h 3383919"/>
                <a:gd name="connsiteX24" fmla="*/ 665123 w 1141507"/>
                <a:gd name="connsiteY24" fmla="*/ 483630 h 3383919"/>
                <a:gd name="connsiteX25" fmla="*/ 690063 w 1141507"/>
                <a:gd name="connsiteY25" fmla="*/ 447430 h 3383919"/>
                <a:gd name="connsiteX26" fmla="*/ 723867 w 1141507"/>
                <a:gd name="connsiteY26" fmla="*/ 429842 h 3383919"/>
                <a:gd name="connsiteX27" fmla="*/ 781507 w 1141507"/>
                <a:gd name="connsiteY27" fmla="*/ 442259 h 3383919"/>
                <a:gd name="connsiteX28" fmla="*/ 820300 w 1141507"/>
                <a:gd name="connsiteY28" fmla="*/ 462945 h 3383919"/>
                <a:gd name="connsiteX29" fmla="*/ 867408 w 1141507"/>
                <a:gd name="connsiteY29" fmla="*/ 470702 h 3383919"/>
                <a:gd name="connsiteX30" fmla="*/ 867408 w 1141507"/>
                <a:gd name="connsiteY30" fmla="*/ 475873 h 3383919"/>
                <a:gd name="connsiteX31" fmla="*/ 889577 w 1141507"/>
                <a:gd name="connsiteY31" fmla="*/ 416402 h 3383919"/>
                <a:gd name="connsiteX32" fmla="*/ 899552 w 1141507"/>
                <a:gd name="connsiteY32" fmla="*/ 382784 h 3383919"/>
                <a:gd name="connsiteX33" fmla="*/ 906203 w 1141507"/>
                <a:gd name="connsiteY33" fmla="*/ 364688 h 3383919"/>
                <a:gd name="connsiteX34" fmla="*/ 909140 w 1141507"/>
                <a:gd name="connsiteY34" fmla="*/ 333358 h 3383919"/>
                <a:gd name="connsiteX35" fmla="*/ 828614 w 1141507"/>
                <a:gd name="connsiteY35" fmla="*/ 287118 h 3383919"/>
                <a:gd name="connsiteX36" fmla="*/ 814759 w 1141507"/>
                <a:gd name="connsiteY36" fmla="*/ 214718 h 3383919"/>
                <a:gd name="connsiteX37" fmla="*/ 814759 w 1141507"/>
                <a:gd name="connsiteY37" fmla="*/ 196618 h 3383919"/>
                <a:gd name="connsiteX38" fmla="*/ 825842 w 1141507"/>
                <a:gd name="connsiteY38" fmla="*/ 173346 h 3383919"/>
                <a:gd name="connsiteX39" fmla="*/ 828614 w 1141507"/>
                <a:gd name="connsiteY39" fmla="*/ 157832 h 3383919"/>
                <a:gd name="connsiteX40" fmla="*/ 828613 w 1141507"/>
                <a:gd name="connsiteY40" fmla="*/ 100948 h 3383919"/>
                <a:gd name="connsiteX41" fmla="*/ 806445 w 1141507"/>
                <a:gd name="connsiteY41" fmla="*/ 77677 h 3383919"/>
                <a:gd name="connsiteX42" fmla="*/ 778735 w 1141507"/>
                <a:gd name="connsiteY42" fmla="*/ 46648 h 3383919"/>
                <a:gd name="connsiteX43" fmla="*/ 774567 w 1141507"/>
                <a:gd name="connsiteY43" fmla="*/ 22395 h 3383919"/>
                <a:gd name="connsiteX44" fmla="*/ 825843 w 1141507"/>
                <a:gd name="connsiteY44" fmla="*/ 104 h 3383919"/>
                <a:gd name="connsiteX45" fmla="*/ 879423 w 1141507"/>
                <a:gd name="connsiteY45" fmla="*/ 9976 h 3383919"/>
                <a:gd name="connsiteX46" fmla="*/ 958207 w 1141507"/>
                <a:gd name="connsiteY46" fmla="*/ 21886 h 3383919"/>
                <a:gd name="connsiteX47" fmla="*/ 1042530 w 1141507"/>
                <a:gd name="connsiteY47" fmla="*/ 91245 h 3383919"/>
                <a:gd name="connsiteX48" fmla="*/ 1104665 w 1141507"/>
                <a:gd name="connsiteY48" fmla="*/ 167341 h 3383919"/>
                <a:gd name="connsiteX49" fmla="*/ 1003694 w 1141507"/>
                <a:gd name="connsiteY49" fmla="*/ 196335 h 3383919"/>
                <a:gd name="connsiteX50" fmla="*/ 988160 w 1141507"/>
                <a:gd name="connsiteY50" fmla="*/ 243442 h 3383919"/>
                <a:gd name="connsiteX51" fmla="*/ 1045830 w 1141507"/>
                <a:gd name="connsiteY51" fmla="*/ 327932 h 3383919"/>
                <a:gd name="connsiteX52" fmla="*/ 1081364 w 1141507"/>
                <a:gd name="connsiteY52" fmla="*/ 334034 h 3383919"/>
                <a:gd name="connsiteX53" fmla="*/ 1133984 w 1141507"/>
                <a:gd name="connsiteY53" fmla="*/ 340374 h 3383919"/>
                <a:gd name="connsiteX54" fmla="*/ 1129021 w 1141507"/>
                <a:gd name="connsiteY54" fmla="*/ 451149 h 3383919"/>
                <a:gd name="connsiteX55" fmla="*/ 1140090 w 1141507"/>
                <a:gd name="connsiteY55" fmla="*/ 782117 h 3383919"/>
                <a:gd name="connsiteX56" fmla="*/ 1131222 w 1141507"/>
                <a:gd name="connsiteY56" fmla="*/ 1584716 h 3383919"/>
                <a:gd name="connsiteX57" fmla="*/ 1140089 w 1141507"/>
                <a:gd name="connsiteY57" fmla="*/ 2039798 h 3383919"/>
                <a:gd name="connsiteX58" fmla="*/ 1113641 w 1141507"/>
                <a:gd name="connsiteY58" fmla="*/ 3349763 h 3383919"/>
                <a:gd name="connsiteX59" fmla="*/ 855214 w 1141507"/>
                <a:gd name="connsiteY59" fmla="*/ 3306168 h 3383919"/>
                <a:gd name="connsiteX60" fmla="*/ 686736 w 1141507"/>
                <a:gd name="connsiteY60" fmla="*/ 3239973 h 3383919"/>
                <a:gd name="connsiteX61" fmla="*/ 509390 w 1141507"/>
                <a:gd name="connsiteY61" fmla="*/ 3148957 h 3383919"/>
                <a:gd name="connsiteX62" fmla="*/ 411092 w 1141507"/>
                <a:gd name="connsiteY62" fmla="*/ 3068440 h 3383919"/>
                <a:gd name="connsiteX63" fmla="*/ 705354 w 1141507"/>
                <a:gd name="connsiteY63" fmla="*/ 2760804 h 3383919"/>
                <a:gd name="connsiteX64" fmla="*/ 421600 w 1141507"/>
                <a:gd name="connsiteY64" fmla="*/ 2222980 h 3383919"/>
                <a:gd name="connsiteX65" fmla="*/ 563950 w 1141507"/>
                <a:gd name="connsiteY65" fmla="*/ 1983895 h 3383919"/>
                <a:gd name="connsiteX66" fmla="*/ 377263 w 1141507"/>
                <a:gd name="connsiteY66" fmla="*/ 1445204 h 3383919"/>
                <a:gd name="connsiteX67" fmla="*/ 128979 w 1141507"/>
                <a:gd name="connsiteY67" fmla="*/ 1213526 h 3383919"/>
                <a:gd name="connsiteX68" fmla="*/ 120112 w 1141507"/>
                <a:gd name="connsiteY68" fmla="*/ 1097687 h 3383919"/>
                <a:gd name="connsiteX69" fmla="*/ 0 w 1141507"/>
                <a:gd name="connsiteY69" fmla="*/ 304041 h 3383919"/>
                <a:gd name="connsiteX0" fmla="*/ 0 w 1141507"/>
                <a:gd name="connsiteY0" fmla="*/ 304041 h 3383919"/>
                <a:gd name="connsiteX1" fmla="*/ 235627 w 1141507"/>
                <a:gd name="connsiteY1" fmla="*/ 310487 h 3383919"/>
                <a:gd name="connsiteX2" fmla="*/ 80276 w 1141507"/>
                <a:gd name="connsiteY2" fmla="*/ 492958 h 3383919"/>
                <a:gd name="connsiteX3" fmla="*/ 130314 w 1141507"/>
                <a:gd name="connsiteY3" fmla="*/ 584472 h 3383919"/>
                <a:gd name="connsiteX4" fmla="*/ 155253 w 1141507"/>
                <a:gd name="connsiteY4" fmla="*/ 693070 h 3383919"/>
                <a:gd name="connsiteX5" fmla="*/ 127383 w 1141507"/>
                <a:gd name="connsiteY5" fmla="*/ 754113 h 3383919"/>
                <a:gd name="connsiteX6" fmla="*/ 182802 w 1141507"/>
                <a:gd name="connsiteY6" fmla="*/ 774798 h 3383919"/>
                <a:gd name="connsiteX7" fmla="*/ 199430 w 1141507"/>
                <a:gd name="connsiteY7" fmla="*/ 790312 h 3383919"/>
                <a:gd name="connsiteX8" fmla="*/ 224370 w 1141507"/>
                <a:gd name="connsiteY8" fmla="*/ 816169 h 3383919"/>
                <a:gd name="connsiteX9" fmla="*/ 221599 w 1141507"/>
                <a:gd name="connsiteY9" fmla="*/ 818755 h 3383919"/>
                <a:gd name="connsiteX10" fmla="*/ 260392 w 1141507"/>
                <a:gd name="connsiteY10" fmla="*/ 813584 h 3383919"/>
                <a:gd name="connsiteX11" fmla="*/ 268706 w 1141507"/>
                <a:gd name="connsiteY11" fmla="*/ 777384 h 3383919"/>
                <a:gd name="connsiteX12" fmla="*/ 229911 w 1141507"/>
                <a:gd name="connsiteY12" fmla="*/ 699813 h 3383919"/>
                <a:gd name="connsiteX13" fmla="*/ 299187 w 1141507"/>
                <a:gd name="connsiteY13" fmla="*/ 653270 h 3383919"/>
                <a:gd name="connsiteX14" fmla="*/ 366959 w 1141507"/>
                <a:gd name="connsiteY14" fmla="*/ 661004 h 3383919"/>
                <a:gd name="connsiteX15" fmla="*/ 390792 w 1141507"/>
                <a:gd name="connsiteY15" fmla="*/ 693071 h 3383919"/>
                <a:gd name="connsiteX16" fmla="*/ 546521 w 1141507"/>
                <a:gd name="connsiteY16" fmla="*/ 749434 h 3383919"/>
                <a:gd name="connsiteX17" fmla="*/ 532113 w 1141507"/>
                <a:gd name="connsiteY17" fmla="*/ 713757 h 3383919"/>
                <a:gd name="connsiteX18" fmla="*/ 498861 w 1141507"/>
                <a:gd name="connsiteY18" fmla="*/ 674971 h 3383919"/>
                <a:gd name="connsiteX19" fmla="*/ 487777 w 1141507"/>
                <a:gd name="connsiteY19" fmla="*/ 623257 h 3383919"/>
                <a:gd name="connsiteX20" fmla="*/ 526572 w 1141507"/>
                <a:gd name="connsiteY20" fmla="*/ 574130 h 3383919"/>
                <a:gd name="connsiteX21" fmla="*/ 554282 w 1141507"/>
                <a:gd name="connsiteY21" fmla="*/ 545687 h 3383919"/>
                <a:gd name="connsiteX22" fmla="*/ 579222 w 1141507"/>
                <a:gd name="connsiteY22" fmla="*/ 509487 h 3383919"/>
                <a:gd name="connsiteX23" fmla="*/ 659582 w 1141507"/>
                <a:gd name="connsiteY23" fmla="*/ 504315 h 3383919"/>
                <a:gd name="connsiteX24" fmla="*/ 665123 w 1141507"/>
                <a:gd name="connsiteY24" fmla="*/ 483630 h 3383919"/>
                <a:gd name="connsiteX25" fmla="*/ 690063 w 1141507"/>
                <a:gd name="connsiteY25" fmla="*/ 447430 h 3383919"/>
                <a:gd name="connsiteX26" fmla="*/ 723867 w 1141507"/>
                <a:gd name="connsiteY26" fmla="*/ 429842 h 3383919"/>
                <a:gd name="connsiteX27" fmla="*/ 781507 w 1141507"/>
                <a:gd name="connsiteY27" fmla="*/ 442259 h 3383919"/>
                <a:gd name="connsiteX28" fmla="*/ 820300 w 1141507"/>
                <a:gd name="connsiteY28" fmla="*/ 462945 h 3383919"/>
                <a:gd name="connsiteX29" fmla="*/ 867408 w 1141507"/>
                <a:gd name="connsiteY29" fmla="*/ 470702 h 3383919"/>
                <a:gd name="connsiteX30" fmla="*/ 867408 w 1141507"/>
                <a:gd name="connsiteY30" fmla="*/ 475873 h 3383919"/>
                <a:gd name="connsiteX31" fmla="*/ 889577 w 1141507"/>
                <a:gd name="connsiteY31" fmla="*/ 416402 h 3383919"/>
                <a:gd name="connsiteX32" fmla="*/ 899552 w 1141507"/>
                <a:gd name="connsiteY32" fmla="*/ 382784 h 3383919"/>
                <a:gd name="connsiteX33" fmla="*/ 906203 w 1141507"/>
                <a:gd name="connsiteY33" fmla="*/ 364688 h 3383919"/>
                <a:gd name="connsiteX34" fmla="*/ 909140 w 1141507"/>
                <a:gd name="connsiteY34" fmla="*/ 333358 h 3383919"/>
                <a:gd name="connsiteX35" fmla="*/ 828614 w 1141507"/>
                <a:gd name="connsiteY35" fmla="*/ 287118 h 3383919"/>
                <a:gd name="connsiteX36" fmla="*/ 814759 w 1141507"/>
                <a:gd name="connsiteY36" fmla="*/ 214718 h 3383919"/>
                <a:gd name="connsiteX37" fmla="*/ 814759 w 1141507"/>
                <a:gd name="connsiteY37" fmla="*/ 196618 h 3383919"/>
                <a:gd name="connsiteX38" fmla="*/ 825842 w 1141507"/>
                <a:gd name="connsiteY38" fmla="*/ 173346 h 3383919"/>
                <a:gd name="connsiteX39" fmla="*/ 828614 w 1141507"/>
                <a:gd name="connsiteY39" fmla="*/ 157832 h 3383919"/>
                <a:gd name="connsiteX40" fmla="*/ 828613 w 1141507"/>
                <a:gd name="connsiteY40" fmla="*/ 100948 h 3383919"/>
                <a:gd name="connsiteX41" fmla="*/ 806445 w 1141507"/>
                <a:gd name="connsiteY41" fmla="*/ 77677 h 3383919"/>
                <a:gd name="connsiteX42" fmla="*/ 778735 w 1141507"/>
                <a:gd name="connsiteY42" fmla="*/ 46648 h 3383919"/>
                <a:gd name="connsiteX43" fmla="*/ 774567 w 1141507"/>
                <a:gd name="connsiteY43" fmla="*/ 22395 h 3383919"/>
                <a:gd name="connsiteX44" fmla="*/ 825843 w 1141507"/>
                <a:gd name="connsiteY44" fmla="*/ 104 h 3383919"/>
                <a:gd name="connsiteX45" fmla="*/ 879423 w 1141507"/>
                <a:gd name="connsiteY45" fmla="*/ 9976 h 3383919"/>
                <a:gd name="connsiteX46" fmla="*/ 958207 w 1141507"/>
                <a:gd name="connsiteY46" fmla="*/ 21886 h 3383919"/>
                <a:gd name="connsiteX47" fmla="*/ 1042530 w 1141507"/>
                <a:gd name="connsiteY47" fmla="*/ 91245 h 3383919"/>
                <a:gd name="connsiteX48" fmla="*/ 1104665 w 1141507"/>
                <a:gd name="connsiteY48" fmla="*/ 167341 h 3383919"/>
                <a:gd name="connsiteX49" fmla="*/ 1003694 w 1141507"/>
                <a:gd name="connsiteY49" fmla="*/ 196335 h 3383919"/>
                <a:gd name="connsiteX50" fmla="*/ 988160 w 1141507"/>
                <a:gd name="connsiteY50" fmla="*/ 243442 h 3383919"/>
                <a:gd name="connsiteX51" fmla="*/ 1045830 w 1141507"/>
                <a:gd name="connsiteY51" fmla="*/ 327932 h 3383919"/>
                <a:gd name="connsiteX52" fmla="*/ 1081364 w 1141507"/>
                <a:gd name="connsiteY52" fmla="*/ 334034 h 3383919"/>
                <a:gd name="connsiteX53" fmla="*/ 1133984 w 1141507"/>
                <a:gd name="connsiteY53" fmla="*/ 340374 h 3383919"/>
                <a:gd name="connsiteX54" fmla="*/ 1129021 w 1141507"/>
                <a:gd name="connsiteY54" fmla="*/ 451149 h 3383919"/>
                <a:gd name="connsiteX55" fmla="*/ 1140090 w 1141507"/>
                <a:gd name="connsiteY55" fmla="*/ 782117 h 3383919"/>
                <a:gd name="connsiteX56" fmla="*/ 1131222 w 1141507"/>
                <a:gd name="connsiteY56" fmla="*/ 1584716 h 3383919"/>
                <a:gd name="connsiteX57" fmla="*/ 1140089 w 1141507"/>
                <a:gd name="connsiteY57" fmla="*/ 2039798 h 3383919"/>
                <a:gd name="connsiteX58" fmla="*/ 1113641 w 1141507"/>
                <a:gd name="connsiteY58" fmla="*/ 3349763 h 3383919"/>
                <a:gd name="connsiteX59" fmla="*/ 855214 w 1141507"/>
                <a:gd name="connsiteY59" fmla="*/ 3306168 h 3383919"/>
                <a:gd name="connsiteX60" fmla="*/ 686736 w 1141507"/>
                <a:gd name="connsiteY60" fmla="*/ 3239973 h 3383919"/>
                <a:gd name="connsiteX61" fmla="*/ 509390 w 1141507"/>
                <a:gd name="connsiteY61" fmla="*/ 3148957 h 3383919"/>
                <a:gd name="connsiteX62" fmla="*/ 411092 w 1141507"/>
                <a:gd name="connsiteY62" fmla="*/ 3068440 h 3383919"/>
                <a:gd name="connsiteX63" fmla="*/ 705354 w 1141507"/>
                <a:gd name="connsiteY63" fmla="*/ 2760804 h 3383919"/>
                <a:gd name="connsiteX64" fmla="*/ 421600 w 1141507"/>
                <a:gd name="connsiteY64" fmla="*/ 2222980 h 3383919"/>
                <a:gd name="connsiteX65" fmla="*/ 563950 w 1141507"/>
                <a:gd name="connsiteY65" fmla="*/ 1983895 h 3383919"/>
                <a:gd name="connsiteX66" fmla="*/ 377263 w 1141507"/>
                <a:gd name="connsiteY66" fmla="*/ 1445204 h 3383919"/>
                <a:gd name="connsiteX67" fmla="*/ 128979 w 1141507"/>
                <a:gd name="connsiteY67" fmla="*/ 1213526 h 3383919"/>
                <a:gd name="connsiteX68" fmla="*/ 120112 w 1141507"/>
                <a:gd name="connsiteY68" fmla="*/ 1097687 h 3383919"/>
                <a:gd name="connsiteX69" fmla="*/ 0 w 1141507"/>
                <a:gd name="connsiteY69" fmla="*/ 304041 h 3383919"/>
                <a:gd name="connsiteX0" fmla="*/ 0 w 1141507"/>
                <a:gd name="connsiteY0" fmla="*/ 304041 h 3383919"/>
                <a:gd name="connsiteX1" fmla="*/ 235627 w 1141507"/>
                <a:gd name="connsiteY1" fmla="*/ 310487 h 3383919"/>
                <a:gd name="connsiteX2" fmla="*/ 80276 w 1141507"/>
                <a:gd name="connsiteY2" fmla="*/ 492958 h 3383919"/>
                <a:gd name="connsiteX3" fmla="*/ 149712 w 1141507"/>
                <a:gd name="connsiteY3" fmla="*/ 566371 h 3383919"/>
                <a:gd name="connsiteX4" fmla="*/ 155253 w 1141507"/>
                <a:gd name="connsiteY4" fmla="*/ 693070 h 3383919"/>
                <a:gd name="connsiteX5" fmla="*/ 127383 w 1141507"/>
                <a:gd name="connsiteY5" fmla="*/ 754113 h 3383919"/>
                <a:gd name="connsiteX6" fmla="*/ 182802 w 1141507"/>
                <a:gd name="connsiteY6" fmla="*/ 774798 h 3383919"/>
                <a:gd name="connsiteX7" fmla="*/ 199430 w 1141507"/>
                <a:gd name="connsiteY7" fmla="*/ 790312 h 3383919"/>
                <a:gd name="connsiteX8" fmla="*/ 224370 w 1141507"/>
                <a:gd name="connsiteY8" fmla="*/ 816169 h 3383919"/>
                <a:gd name="connsiteX9" fmla="*/ 221599 w 1141507"/>
                <a:gd name="connsiteY9" fmla="*/ 818755 h 3383919"/>
                <a:gd name="connsiteX10" fmla="*/ 260392 w 1141507"/>
                <a:gd name="connsiteY10" fmla="*/ 813584 h 3383919"/>
                <a:gd name="connsiteX11" fmla="*/ 268706 w 1141507"/>
                <a:gd name="connsiteY11" fmla="*/ 777384 h 3383919"/>
                <a:gd name="connsiteX12" fmla="*/ 229911 w 1141507"/>
                <a:gd name="connsiteY12" fmla="*/ 699813 h 3383919"/>
                <a:gd name="connsiteX13" fmla="*/ 299187 w 1141507"/>
                <a:gd name="connsiteY13" fmla="*/ 653270 h 3383919"/>
                <a:gd name="connsiteX14" fmla="*/ 366959 w 1141507"/>
                <a:gd name="connsiteY14" fmla="*/ 661004 h 3383919"/>
                <a:gd name="connsiteX15" fmla="*/ 390792 w 1141507"/>
                <a:gd name="connsiteY15" fmla="*/ 693071 h 3383919"/>
                <a:gd name="connsiteX16" fmla="*/ 546521 w 1141507"/>
                <a:gd name="connsiteY16" fmla="*/ 749434 h 3383919"/>
                <a:gd name="connsiteX17" fmla="*/ 532113 w 1141507"/>
                <a:gd name="connsiteY17" fmla="*/ 713757 h 3383919"/>
                <a:gd name="connsiteX18" fmla="*/ 498861 w 1141507"/>
                <a:gd name="connsiteY18" fmla="*/ 674971 h 3383919"/>
                <a:gd name="connsiteX19" fmla="*/ 487777 w 1141507"/>
                <a:gd name="connsiteY19" fmla="*/ 623257 h 3383919"/>
                <a:gd name="connsiteX20" fmla="*/ 526572 w 1141507"/>
                <a:gd name="connsiteY20" fmla="*/ 574130 h 3383919"/>
                <a:gd name="connsiteX21" fmla="*/ 554282 w 1141507"/>
                <a:gd name="connsiteY21" fmla="*/ 545687 h 3383919"/>
                <a:gd name="connsiteX22" fmla="*/ 579222 w 1141507"/>
                <a:gd name="connsiteY22" fmla="*/ 509487 h 3383919"/>
                <a:gd name="connsiteX23" fmla="*/ 659582 w 1141507"/>
                <a:gd name="connsiteY23" fmla="*/ 504315 h 3383919"/>
                <a:gd name="connsiteX24" fmla="*/ 665123 w 1141507"/>
                <a:gd name="connsiteY24" fmla="*/ 483630 h 3383919"/>
                <a:gd name="connsiteX25" fmla="*/ 690063 w 1141507"/>
                <a:gd name="connsiteY25" fmla="*/ 447430 h 3383919"/>
                <a:gd name="connsiteX26" fmla="*/ 723867 w 1141507"/>
                <a:gd name="connsiteY26" fmla="*/ 429842 h 3383919"/>
                <a:gd name="connsiteX27" fmla="*/ 781507 w 1141507"/>
                <a:gd name="connsiteY27" fmla="*/ 442259 h 3383919"/>
                <a:gd name="connsiteX28" fmla="*/ 820300 w 1141507"/>
                <a:gd name="connsiteY28" fmla="*/ 462945 h 3383919"/>
                <a:gd name="connsiteX29" fmla="*/ 867408 w 1141507"/>
                <a:gd name="connsiteY29" fmla="*/ 470702 h 3383919"/>
                <a:gd name="connsiteX30" fmla="*/ 867408 w 1141507"/>
                <a:gd name="connsiteY30" fmla="*/ 475873 h 3383919"/>
                <a:gd name="connsiteX31" fmla="*/ 889577 w 1141507"/>
                <a:gd name="connsiteY31" fmla="*/ 416402 h 3383919"/>
                <a:gd name="connsiteX32" fmla="*/ 899552 w 1141507"/>
                <a:gd name="connsiteY32" fmla="*/ 382784 h 3383919"/>
                <a:gd name="connsiteX33" fmla="*/ 906203 w 1141507"/>
                <a:gd name="connsiteY33" fmla="*/ 364688 h 3383919"/>
                <a:gd name="connsiteX34" fmla="*/ 909140 w 1141507"/>
                <a:gd name="connsiteY34" fmla="*/ 333358 h 3383919"/>
                <a:gd name="connsiteX35" fmla="*/ 828614 w 1141507"/>
                <a:gd name="connsiteY35" fmla="*/ 287118 h 3383919"/>
                <a:gd name="connsiteX36" fmla="*/ 814759 w 1141507"/>
                <a:gd name="connsiteY36" fmla="*/ 214718 h 3383919"/>
                <a:gd name="connsiteX37" fmla="*/ 814759 w 1141507"/>
                <a:gd name="connsiteY37" fmla="*/ 196618 h 3383919"/>
                <a:gd name="connsiteX38" fmla="*/ 825842 w 1141507"/>
                <a:gd name="connsiteY38" fmla="*/ 173346 h 3383919"/>
                <a:gd name="connsiteX39" fmla="*/ 828614 w 1141507"/>
                <a:gd name="connsiteY39" fmla="*/ 157832 h 3383919"/>
                <a:gd name="connsiteX40" fmla="*/ 828613 w 1141507"/>
                <a:gd name="connsiteY40" fmla="*/ 100948 h 3383919"/>
                <a:gd name="connsiteX41" fmla="*/ 806445 w 1141507"/>
                <a:gd name="connsiteY41" fmla="*/ 77677 h 3383919"/>
                <a:gd name="connsiteX42" fmla="*/ 778735 w 1141507"/>
                <a:gd name="connsiteY42" fmla="*/ 46648 h 3383919"/>
                <a:gd name="connsiteX43" fmla="*/ 774567 w 1141507"/>
                <a:gd name="connsiteY43" fmla="*/ 22395 h 3383919"/>
                <a:gd name="connsiteX44" fmla="*/ 825843 w 1141507"/>
                <a:gd name="connsiteY44" fmla="*/ 104 h 3383919"/>
                <a:gd name="connsiteX45" fmla="*/ 879423 w 1141507"/>
                <a:gd name="connsiteY45" fmla="*/ 9976 h 3383919"/>
                <a:gd name="connsiteX46" fmla="*/ 958207 w 1141507"/>
                <a:gd name="connsiteY46" fmla="*/ 21886 h 3383919"/>
                <a:gd name="connsiteX47" fmla="*/ 1042530 w 1141507"/>
                <a:gd name="connsiteY47" fmla="*/ 91245 h 3383919"/>
                <a:gd name="connsiteX48" fmla="*/ 1104665 w 1141507"/>
                <a:gd name="connsiteY48" fmla="*/ 167341 h 3383919"/>
                <a:gd name="connsiteX49" fmla="*/ 1003694 w 1141507"/>
                <a:gd name="connsiteY49" fmla="*/ 196335 h 3383919"/>
                <a:gd name="connsiteX50" fmla="*/ 988160 w 1141507"/>
                <a:gd name="connsiteY50" fmla="*/ 243442 h 3383919"/>
                <a:gd name="connsiteX51" fmla="*/ 1045830 w 1141507"/>
                <a:gd name="connsiteY51" fmla="*/ 327932 h 3383919"/>
                <a:gd name="connsiteX52" fmla="*/ 1081364 w 1141507"/>
                <a:gd name="connsiteY52" fmla="*/ 334034 h 3383919"/>
                <a:gd name="connsiteX53" fmla="*/ 1133984 w 1141507"/>
                <a:gd name="connsiteY53" fmla="*/ 340374 h 3383919"/>
                <a:gd name="connsiteX54" fmla="*/ 1129021 w 1141507"/>
                <a:gd name="connsiteY54" fmla="*/ 451149 h 3383919"/>
                <a:gd name="connsiteX55" fmla="*/ 1140090 w 1141507"/>
                <a:gd name="connsiteY55" fmla="*/ 782117 h 3383919"/>
                <a:gd name="connsiteX56" fmla="*/ 1131222 w 1141507"/>
                <a:gd name="connsiteY56" fmla="*/ 1584716 h 3383919"/>
                <a:gd name="connsiteX57" fmla="*/ 1140089 w 1141507"/>
                <a:gd name="connsiteY57" fmla="*/ 2039798 h 3383919"/>
                <a:gd name="connsiteX58" fmla="*/ 1113641 w 1141507"/>
                <a:gd name="connsiteY58" fmla="*/ 3349763 h 3383919"/>
                <a:gd name="connsiteX59" fmla="*/ 855214 w 1141507"/>
                <a:gd name="connsiteY59" fmla="*/ 3306168 h 3383919"/>
                <a:gd name="connsiteX60" fmla="*/ 686736 w 1141507"/>
                <a:gd name="connsiteY60" fmla="*/ 3239973 h 3383919"/>
                <a:gd name="connsiteX61" fmla="*/ 509390 w 1141507"/>
                <a:gd name="connsiteY61" fmla="*/ 3148957 h 3383919"/>
                <a:gd name="connsiteX62" fmla="*/ 411092 w 1141507"/>
                <a:gd name="connsiteY62" fmla="*/ 3068440 h 3383919"/>
                <a:gd name="connsiteX63" fmla="*/ 705354 w 1141507"/>
                <a:gd name="connsiteY63" fmla="*/ 2760804 h 3383919"/>
                <a:gd name="connsiteX64" fmla="*/ 421600 w 1141507"/>
                <a:gd name="connsiteY64" fmla="*/ 2222980 h 3383919"/>
                <a:gd name="connsiteX65" fmla="*/ 563950 w 1141507"/>
                <a:gd name="connsiteY65" fmla="*/ 1983895 h 3383919"/>
                <a:gd name="connsiteX66" fmla="*/ 377263 w 1141507"/>
                <a:gd name="connsiteY66" fmla="*/ 1445204 h 3383919"/>
                <a:gd name="connsiteX67" fmla="*/ 128979 w 1141507"/>
                <a:gd name="connsiteY67" fmla="*/ 1213526 h 3383919"/>
                <a:gd name="connsiteX68" fmla="*/ 120112 w 1141507"/>
                <a:gd name="connsiteY68" fmla="*/ 1097687 h 3383919"/>
                <a:gd name="connsiteX69" fmla="*/ 0 w 1141507"/>
                <a:gd name="connsiteY69" fmla="*/ 304041 h 3383919"/>
                <a:gd name="connsiteX0" fmla="*/ 0 w 1141507"/>
                <a:gd name="connsiteY0" fmla="*/ 304041 h 3383919"/>
                <a:gd name="connsiteX1" fmla="*/ 235627 w 1141507"/>
                <a:gd name="connsiteY1" fmla="*/ 310487 h 3383919"/>
                <a:gd name="connsiteX2" fmla="*/ 107985 w 1141507"/>
                <a:gd name="connsiteY2" fmla="*/ 454172 h 3383919"/>
                <a:gd name="connsiteX3" fmla="*/ 149712 w 1141507"/>
                <a:gd name="connsiteY3" fmla="*/ 566371 h 3383919"/>
                <a:gd name="connsiteX4" fmla="*/ 155253 w 1141507"/>
                <a:gd name="connsiteY4" fmla="*/ 693070 h 3383919"/>
                <a:gd name="connsiteX5" fmla="*/ 127383 w 1141507"/>
                <a:gd name="connsiteY5" fmla="*/ 754113 h 3383919"/>
                <a:gd name="connsiteX6" fmla="*/ 182802 w 1141507"/>
                <a:gd name="connsiteY6" fmla="*/ 774798 h 3383919"/>
                <a:gd name="connsiteX7" fmla="*/ 199430 w 1141507"/>
                <a:gd name="connsiteY7" fmla="*/ 790312 h 3383919"/>
                <a:gd name="connsiteX8" fmla="*/ 224370 w 1141507"/>
                <a:gd name="connsiteY8" fmla="*/ 816169 h 3383919"/>
                <a:gd name="connsiteX9" fmla="*/ 221599 w 1141507"/>
                <a:gd name="connsiteY9" fmla="*/ 818755 h 3383919"/>
                <a:gd name="connsiteX10" fmla="*/ 260392 w 1141507"/>
                <a:gd name="connsiteY10" fmla="*/ 813584 h 3383919"/>
                <a:gd name="connsiteX11" fmla="*/ 268706 w 1141507"/>
                <a:gd name="connsiteY11" fmla="*/ 777384 h 3383919"/>
                <a:gd name="connsiteX12" fmla="*/ 229911 w 1141507"/>
                <a:gd name="connsiteY12" fmla="*/ 699813 h 3383919"/>
                <a:gd name="connsiteX13" fmla="*/ 299187 w 1141507"/>
                <a:gd name="connsiteY13" fmla="*/ 653270 h 3383919"/>
                <a:gd name="connsiteX14" fmla="*/ 366959 w 1141507"/>
                <a:gd name="connsiteY14" fmla="*/ 661004 h 3383919"/>
                <a:gd name="connsiteX15" fmla="*/ 390792 w 1141507"/>
                <a:gd name="connsiteY15" fmla="*/ 693071 h 3383919"/>
                <a:gd name="connsiteX16" fmla="*/ 546521 w 1141507"/>
                <a:gd name="connsiteY16" fmla="*/ 749434 h 3383919"/>
                <a:gd name="connsiteX17" fmla="*/ 532113 w 1141507"/>
                <a:gd name="connsiteY17" fmla="*/ 713757 h 3383919"/>
                <a:gd name="connsiteX18" fmla="*/ 498861 w 1141507"/>
                <a:gd name="connsiteY18" fmla="*/ 674971 h 3383919"/>
                <a:gd name="connsiteX19" fmla="*/ 487777 w 1141507"/>
                <a:gd name="connsiteY19" fmla="*/ 623257 h 3383919"/>
                <a:gd name="connsiteX20" fmla="*/ 526572 w 1141507"/>
                <a:gd name="connsiteY20" fmla="*/ 574130 h 3383919"/>
                <a:gd name="connsiteX21" fmla="*/ 554282 w 1141507"/>
                <a:gd name="connsiteY21" fmla="*/ 545687 h 3383919"/>
                <a:gd name="connsiteX22" fmla="*/ 579222 w 1141507"/>
                <a:gd name="connsiteY22" fmla="*/ 509487 h 3383919"/>
                <a:gd name="connsiteX23" fmla="*/ 659582 w 1141507"/>
                <a:gd name="connsiteY23" fmla="*/ 504315 h 3383919"/>
                <a:gd name="connsiteX24" fmla="*/ 665123 w 1141507"/>
                <a:gd name="connsiteY24" fmla="*/ 483630 h 3383919"/>
                <a:gd name="connsiteX25" fmla="*/ 690063 w 1141507"/>
                <a:gd name="connsiteY25" fmla="*/ 447430 h 3383919"/>
                <a:gd name="connsiteX26" fmla="*/ 723867 w 1141507"/>
                <a:gd name="connsiteY26" fmla="*/ 429842 h 3383919"/>
                <a:gd name="connsiteX27" fmla="*/ 781507 w 1141507"/>
                <a:gd name="connsiteY27" fmla="*/ 442259 h 3383919"/>
                <a:gd name="connsiteX28" fmla="*/ 820300 w 1141507"/>
                <a:gd name="connsiteY28" fmla="*/ 462945 h 3383919"/>
                <a:gd name="connsiteX29" fmla="*/ 867408 w 1141507"/>
                <a:gd name="connsiteY29" fmla="*/ 470702 h 3383919"/>
                <a:gd name="connsiteX30" fmla="*/ 867408 w 1141507"/>
                <a:gd name="connsiteY30" fmla="*/ 475873 h 3383919"/>
                <a:gd name="connsiteX31" fmla="*/ 889577 w 1141507"/>
                <a:gd name="connsiteY31" fmla="*/ 416402 h 3383919"/>
                <a:gd name="connsiteX32" fmla="*/ 899552 w 1141507"/>
                <a:gd name="connsiteY32" fmla="*/ 382784 h 3383919"/>
                <a:gd name="connsiteX33" fmla="*/ 906203 w 1141507"/>
                <a:gd name="connsiteY33" fmla="*/ 364688 h 3383919"/>
                <a:gd name="connsiteX34" fmla="*/ 909140 w 1141507"/>
                <a:gd name="connsiteY34" fmla="*/ 333358 h 3383919"/>
                <a:gd name="connsiteX35" fmla="*/ 828614 w 1141507"/>
                <a:gd name="connsiteY35" fmla="*/ 287118 h 3383919"/>
                <a:gd name="connsiteX36" fmla="*/ 814759 w 1141507"/>
                <a:gd name="connsiteY36" fmla="*/ 214718 h 3383919"/>
                <a:gd name="connsiteX37" fmla="*/ 814759 w 1141507"/>
                <a:gd name="connsiteY37" fmla="*/ 196618 h 3383919"/>
                <a:gd name="connsiteX38" fmla="*/ 825842 w 1141507"/>
                <a:gd name="connsiteY38" fmla="*/ 173346 h 3383919"/>
                <a:gd name="connsiteX39" fmla="*/ 828614 w 1141507"/>
                <a:gd name="connsiteY39" fmla="*/ 157832 h 3383919"/>
                <a:gd name="connsiteX40" fmla="*/ 828613 w 1141507"/>
                <a:gd name="connsiteY40" fmla="*/ 100948 h 3383919"/>
                <a:gd name="connsiteX41" fmla="*/ 806445 w 1141507"/>
                <a:gd name="connsiteY41" fmla="*/ 77677 h 3383919"/>
                <a:gd name="connsiteX42" fmla="*/ 778735 w 1141507"/>
                <a:gd name="connsiteY42" fmla="*/ 46648 h 3383919"/>
                <a:gd name="connsiteX43" fmla="*/ 774567 w 1141507"/>
                <a:gd name="connsiteY43" fmla="*/ 22395 h 3383919"/>
                <a:gd name="connsiteX44" fmla="*/ 825843 w 1141507"/>
                <a:gd name="connsiteY44" fmla="*/ 104 h 3383919"/>
                <a:gd name="connsiteX45" fmla="*/ 879423 w 1141507"/>
                <a:gd name="connsiteY45" fmla="*/ 9976 h 3383919"/>
                <a:gd name="connsiteX46" fmla="*/ 958207 w 1141507"/>
                <a:gd name="connsiteY46" fmla="*/ 21886 h 3383919"/>
                <a:gd name="connsiteX47" fmla="*/ 1042530 w 1141507"/>
                <a:gd name="connsiteY47" fmla="*/ 91245 h 3383919"/>
                <a:gd name="connsiteX48" fmla="*/ 1104665 w 1141507"/>
                <a:gd name="connsiteY48" fmla="*/ 167341 h 3383919"/>
                <a:gd name="connsiteX49" fmla="*/ 1003694 w 1141507"/>
                <a:gd name="connsiteY49" fmla="*/ 196335 h 3383919"/>
                <a:gd name="connsiteX50" fmla="*/ 988160 w 1141507"/>
                <a:gd name="connsiteY50" fmla="*/ 243442 h 3383919"/>
                <a:gd name="connsiteX51" fmla="*/ 1045830 w 1141507"/>
                <a:gd name="connsiteY51" fmla="*/ 327932 h 3383919"/>
                <a:gd name="connsiteX52" fmla="*/ 1081364 w 1141507"/>
                <a:gd name="connsiteY52" fmla="*/ 334034 h 3383919"/>
                <a:gd name="connsiteX53" fmla="*/ 1133984 w 1141507"/>
                <a:gd name="connsiteY53" fmla="*/ 340374 h 3383919"/>
                <a:gd name="connsiteX54" fmla="*/ 1129021 w 1141507"/>
                <a:gd name="connsiteY54" fmla="*/ 451149 h 3383919"/>
                <a:gd name="connsiteX55" fmla="*/ 1140090 w 1141507"/>
                <a:gd name="connsiteY55" fmla="*/ 782117 h 3383919"/>
                <a:gd name="connsiteX56" fmla="*/ 1131222 w 1141507"/>
                <a:gd name="connsiteY56" fmla="*/ 1584716 h 3383919"/>
                <a:gd name="connsiteX57" fmla="*/ 1140089 w 1141507"/>
                <a:gd name="connsiteY57" fmla="*/ 2039798 h 3383919"/>
                <a:gd name="connsiteX58" fmla="*/ 1113641 w 1141507"/>
                <a:gd name="connsiteY58" fmla="*/ 3349763 h 3383919"/>
                <a:gd name="connsiteX59" fmla="*/ 855214 w 1141507"/>
                <a:gd name="connsiteY59" fmla="*/ 3306168 h 3383919"/>
                <a:gd name="connsiteX60" fmla="*/ 686736 w 1141507"/>
                <a:gd name="connsiteY60" fmla="*/ 3239973 h 3383919"/>
                <a:gd name="connsiteX61" fmla="*/ 509390 w 1141507"/>
                <a:gd name="connsiteY61" fmla="*/ 3148957 h 3383919"/>
                <a:gd name="connsiteX62" fmla="*/ 411092 w 1141507"/>
                <a:gd name="connsiteY62" fmla="*/ 3068440 h 3383919"/>
                <a:gd name="connsiteX63" fmla="*/ 705354 w 1141507"/>
                <a:gd name="connsiteY63" fmla="*/ 2760804 h 3383919"/>
                <a:gd name="connsiteX64" fmla="*/ 421600 w 1141507"/>
                <a:gd name="connsiteY64" fmla="*/ 2222980 h 3383919"/>
                <a:gd name="connsiteX65" fmla="*/ 563950 w 1141507"/>
                <a:gd name="connsiteY65" fmla="*/ 1983895 h 3383919"/>
                <a:gd name="connsiteX66" fmla="*/ 377263 w 1141507"/>
                <a:gd name="connsiteY66" fmla="*/ 1445204 h 3383919"/>
                <a:gd name="connsiteX67" fmla="*/ 128979 w 1141507"/>
                <a:gd name="connsiteY67" fmla="*/ 1213526 h 3383919"/>
                <a:gd name="connsiteX68" fmla="*/ 120112 w 1141507"/>
                <a:gd name="connsiteY68" fmla="*/ 1097687 h 3383919"/>
                <a:gd name="connsiteX69" fmla="*/ 0 w 1141507"/>
                <a:gd name="connsiteY69" fmla="*/ 304041 h 3383919"/>
                <a:gd name="connsiteX0" fmla="*/ 0 w 1141507"/>
                <a:gd name="connsiteY0" fmla="*/ 304041 h 3383919"/>
                <a:gd name="connsiteX1" fmla="*/ 235627 w 1141507"/>
                <a:gd name="connsiteY1" fmla="*/ 310487 h 3383919"/>
                <a:gd name="connsiteX2" fmla="*/ 107985 w 1141507"/>
                <a:gd name="connsiteY2" fmla="*/ 454172 h 3383919"/>
                <a:gd name="connsiteX3" fmla="*/ 96901 w 1141507"/>
                <a:gd name="connsiteY3" fmla="*/ 511057 h 3383919"/>
                <a:gd name="connsiteX4" fmla="*/ 149712 w 1141507"/>
                <a:gd name="connsiteY4" fmla="*/ 566371 h 3383919"/>
                <a:gd name="connsiteX5" fmla="*/ 155253 w 1141507"/>
                <a:gd name="connsiteY5" fmla="*/ 693070 h 3383919"/>
                <a:gd name="connsiteX6" fmla="*/ 127383 w 1141507"/>
                <a:gd name="connsiteY6" fmla="*/ 754113 h 3383919"/>
                <a:gd name="connsiteX7" fmla="*/ 182802 w 1141507"/>
                <a:gd name="connsiteY7" fmla="*/ 774798 h 3383919"/>
                <a:gd name="connsiteX8" fmla="*/ 199430 w 1141507"/>
                <a:gd name="connsiteY8" fmla="*/ 790312 h 3383919"/>
                <a:gd name="connsiteX9" fmla="*/ 224370 w 1141507"/>
                <a:gd name="connsiteY9" fmla="*/ 816169 h 3383919"/>
                <a:gd name="connsiteX10" fmla="*/ 221599 w 1141507"/>
                <a:gd name="connsiteY10" fmla="*/ 818755 h 3383919"/>
                <a:gd name="connsiteX11" fmla="*/ 260392 w 1141507"/>
                <a:gd name="connsiteY11" fmla="*/ 813584 h 3383919"/>
                <a:gd name="connsiteX12" fmla="*/ 268706 w 1141507"/>
                <a:gd name="connsiteY12" fmla="*/ 777384 h 3383919"/>
                <a:gd name="connsiteX13" fmla="*/ 229911 w 1141507"/>
                <a:gd name="connsiteY13" fmla="*/ 699813 h 3383919"/>
                <a:gd name="connsiteX14" fmla="*/ 299187 w 1141507"/>
                <a:gd name="connsiteY14" fmla="*/ 653270 h 3383919"/>
                <a:gd name="connsiteX15" fmla="*/ 366959 w 1141507"/>
                <a:gd name="connsiteY15" fmla="*/ 661004 h 3383919"/>
                <a:gd name="connsiteX16" fmla="*/ 390792 w 1141507"/>
                <a:gd name="connsiteY16" fmla="*/ 693071 h 3383919"/>
                <a:gd name="connsiteX17" fmla="*/ 546521 w 1141507"/>
                <a:gd name="connsiteY17" fmla="*/ 749434 h 3383919"/>
                <a:gd name="connsiteX18" fmla="*/ 532113 w 1141507"/>
                <a:gd name="connsiteY18" fmla="*/ 713757 h 3383919"/>
                <a:gd name="connsiteX19" fmla="*/ 498861 w 1141507"/>
                <a:gd name="connsiteY19" fmla="*/ 674971 h 3383919"/>
                <a:gd name="connsiteX20" fmla="*/ 487777 w 1141507"/>
                <a:gd name="connsiteY20" fmla="*/ 623257 h 3383919"/>
                <a:gd name="connsiteX21" fmla="*/ 526572 w 1141507"/>
                <a:gd name="connsiteY21" fmla="*/ 574130 h 3383919"/>
                <a:gd name="connsiteX22" fmla="*/ 554282 w 1141507"/>
                <a:gd name="connsiteY22" fmla="*/ 545687 h 3383919"/>
                <a:gd name="connsiteX23" fmla="*/ 579222 w 1141507"/>
                <a:gd name="connsiteY23" fmla="*/ 509487 h 3383919"/>
                <a:gd name="connsiteX24" fmla="*/ 659582 w 1141507"/>
                <a:gd name="connsiteY24" fmla="*/ 504315 h 3383919"/>
                <a:gd name="connsiteX25" fmla="*/ 665123 w 1141507"/>
                <a:gd name="connsiteY25" fmla="*/ 483630 h 3383919"/>
                <a:gd name="connsiteX26" fmla="*/ 690063 w 1141507"/>
                <a:gd name="connsiteY26" fmla="*/ 447430 h 3383919"/>
                <a:gd name="connsiteX27" fmla="*/ 723867 w 1141507"/>
                <a:gd name="connsiteY27" fmla="*/ 429842 h 3383919"/>
                <a:gd name="connsiteX28" fmla="*/ 781507 w 1141507"/>
                <a:gd name="connsiteY28" fmla="*/ 442259 h 3383919"/>
                <a:gd name="connsiteX29" fmla="*/ 820300 w 1141507"/>
                <a:gd name="connsiteY29" fmla="*/ 462945 h 3383919"/>
                <a:gd name="connsiteX30" fmla="*/ 867408 w 1141507"/>
                <a:gd name="connsiteY30" fmla="*/ 470702 h 3383919"/>
                <a:gd name="connsiteX31" fmla="*/ 867408 w 1141507"/>
                <a:gd name="connsiteY31" fmla="*/ 475873 h 3383919"/>
                <a:gd name="connsiteX32" fmla="*/ 889577 w 1141507"/>
                <a:gd name="connsiteY32" fmla="*/ 416402 h 3383919"/>
                <a:gd name="connsiteX33" fmla="*/ 899552 w 1141507"/>
                <a:gd name="connsiteY33" fmla="*/ 382784 h 3383919"/>
                <a:gd name="connsiteX34" fmla="*/ 906203 w 1141507"/>
                <a:gd name="connsiteY34" fmla="*/ 364688 h 3383919"/>
                <a:gd name="connsiteX35" fmla="*/ 909140 w 1141507"/>
                <a:gd name="connsiteY35" fmla="*/ 333358 h 3383919"/>
                <a:gd name="connsiteX36" fmla="*/ 828614 w 1141507"/>
                <a:gd name="connsiteY36" fmla="*/ 287118 h 3383919"/>
                <a:gd name="connsiteX37" fmla="*/ 814759 w 1141507"/>
                <a:gd name="connsiteY37" fmla="*/ 214718 h 3383919"/>
                <a:gd name="connsiteX38" fmla="*/ 814759 w 1141507"/>
                <a:gd name="connsiteY38" fmla="*/ 196618 h 3383919"/>
                <a:gd name="connsiteX39" fmla="*/ 825842 w 1141507"/>
                <a:gd name="connsiteY39" fmla="*/ 173346 h 3383919"/>
                <a:gd name="connsiteX40" fmla="*/ 828614 w 1141507"/>
                <a:gd name="connsiteY40" fmla="*/ 157832 h 3383919"/>
                <a:gd name="connsiteX41" fmla="*/ 828613 w 1141507"/>
                <a:gd name="connsiteY41" fmla="*/ 100948 h 3383919"/>
                <a:gd name="connsiteX42" fmla="*/ 806445 w 1141507"/>
                <a:gd name="connsiteY42" fmla="*/ 77677 h 3383919"/>
                <a:gd name="connsiteX43" fmla="*/ 778735 w 1141507"/>
                <a:gd name="connsiteY43" fmla="*/ 46648 h 3383919"/>
                <a:gd name="connsiteX44" fmla="*/ 774567 w 1141507"/>
                <a:gd name="connsiteY44" fmla="*/ 22395 h 3383919"/>
                <a:gd name="connsiteX45" fmla="*/ 825843 w 1141507"/>
                <a:gd name="connsiteY45" fmla="*/ 104 h 3383919"/>
                <a:gd name="connsiteX46" fmla="*/ 879423 w 1141507"/>
                <a:gd name="connsiteY46" fmla="*/ 9976 h 3383919"/>
                <a:gd name="connsiteX47" fmla="*/ 958207 w 1141507"/>
                <a:gd name="connsiteY47" fmla="*/ 21886 h 3383919"/>
                <a:gd name="connsiteX48" fmla="*/ 1042530 w 1141507"/>
                <a:gd name="connsiteY48" fmla="*/ 91245 h 3383919"/>
                <a:gd name="connsiteX49" fmla="*/ 1104665 w 1141507"/>
                <a:gd name="connsiteY49" fmla="*/ 167341 h 3383919"/>
                <a:gd name="connsiteX50" fmla="*/ 1003694 w 1141507"/>
                <a:gd name="connsiteY50" fmla="*/ 196335 h 3383919"/>
                <a:gd name="connsiteX51" fmla="*/ 988160 w 1141507"/>
                <a:gd name="connsiteY51" fmla="*/ 243442 h 3383919"/>
                <a:gd name="connsiteX52" fmla="*/ 1045830 w 1141507"/>
                <a:gd name="connsiteY52" fmla="*/ 327932 h 3383919"/>
                <a:gd name="connsiteX53" fmla="*/ 1081364 w 1141507"/>
                <a:gd name="connsiteY53" fmla="*/ 334034 h 3383919"/>
                <a:gd name="connsiteX54" fmla="*/ 1133984 w 1141507"/>
                <a:gd name="connsiteY54" fmla="*/ 340374 h 3383919"/>
                <a:gd name="connsiteX55" fmla="*/ 1129021 w 1141507"/>
                <a:gd name="connsiteY55" fmla="*/ 451149 h 3383919"/>
                <a:gd name="connsiteX56" fmla="*/ 1140090 w 1141507"/>
                <a:gd name="connsiteY56" fmla="*/ 782117 h 3383919"/>
                <a:gd name="connsiteX57" fmla="*/ 1131222 w 1141507"/>
                <a:gd name="connsiteY57" fmla="*/ 1584716 h 3383919"/>
                <a:gd name="connsiteX58" fmla="*/ 1140089 w 1141507"/>
                <a:gd name="connsiteY58" fmla="*/ 2039798 h 3383919"/>
                <a:gd name="connsiteX59" fmla="*/ 1113641 w 1141507"/>
                <a:gd name="connsiteY59" fmla="*/ 3349763 h 3383919"/>
                <a:gd name="connsiteX60" fmla="*/ 855214 w 1141507"/>
                <a:gd name="connsiteY60" fmla="*/ 3306168 h 3383919"/>
                <a:gd name="connsiteX61" fmla="*/ 686736 w 1141507"/>
                <a:gd name="connsiteY61" fmla="*/ 3239973 h 3383919"/>
                <a:gd name="connsiteX62" fmla="*/ 509390 w 1141507"/>
                <a:gd name="connsiteY62" fmla="*/ 3148957 h 3383919"/>
                <a:gd name="connsiteX63" fmla="*/ 411092 w 1141507"/>
                <a:gd name="connsiteY63" fmla="*/ 3068440 h 3383919"/>
                <a:gd name="connsiteX64" fmla="*/ 705354 w 1141507"/>
                <a:gd name="connsiteY64" fmla="*/ 2760804 h 3383919"/>
                <a:gd name="connsiteX65" fmla="*/ 421600 w 1141507"/>
                <a:gd name="connsiteY65" fmla="*/ 2222980 h 3383919"/>
                <a:gd name="connsiteX66" fmla="*/ 563950 w 1141507"/>
                <a:gd name="connsiteY66" fmla="*/ 1983895 h 3383919"/>
                <a:gd name="connsiteX67" fmla="*/ 377263 w 1141507"/>
                <a:gd name="connsiteY67" fmla="*/ 1445204 h 3383919"/>
                <a:gd name="connsiteX68" fmla="*/ 128979 w 1141507"/>
                <a:gd name="connsiteY68" fmla="*/ 1213526 h 3383919"/>
                <a:gd name="connsiteX69" fmla="*/ 120112 w 1141507"/>
                <a:gd name="connsiteY69" fmla="*/ 1097687 h 3383919"/>
                <a:gd name="connsiteX70" fmla="*/ 0 w 1141507"/>
                <a:gd name="connsiteY70" fmla="*/ 304041 h 3383919"/>
                <a:gd name="connsiteX0" fmla="*/ 0 w 1141507"/>
                <a:gd name="connsiteY0" fmla="*/ 304041 h 3383919"/>
                <a:gd name="connsiteX1" fmla="*/ 235627 w 1141507"/>
                <a:gd name="connsiteY1" fmla="*/ 310487 h 3383919"/>
                <a:gd name="connsiteX2" fmla="*/ 107985 w 1141507"/>
                <a:gd name="connsiteY2" fmla="*/ 454172 h 3383919"/>
                <a:gd name="connsiteX3" fmla="*/ 107985 w 1141507"/>
                <a:gd name="connsiteY3" fmla="*/ 495543 h 3383919"/>
                <a:gd name="connsiteX4" fmla="*/ 149712 w 1141507"/>
                <a:gd name="connsiteY4" fmla="*/ 566371 h 3383919"/>
                <a:gd name="connsiteX5" fmla="*/ 155253 w 1141507"/>
                <a:gd name="connsiteY5" fmla="*/ 693070 h 3383919"/>
                <a:gd name="connsiteX6" fmla="*/ 127383 w 1141507"/>
                <a:gd name="connsiteY6" fmla="*/ 754113 h 3383919"/>
                <a:gd name="connsiteX7" fmla="*/ 182802 w 1141507"/>
                <a:gd name="connsiteY7" fmla="*/ 774798 h 3383919"/>
                <a:gd name="connsiteX8" fmla="*/ 199430 w 1141507"/>
                <a:gd name="connsiteY8" fmla="*/ 790312 h 3383919"/>
                <a:gd name="connsiteX9" fmla="*/ 224370 w 1141507"/>
                <a:gd name="connsiteY9" fmla="*/ 816169 h 3383919"/>
                <a:gd name="connsiteX10" fmla="*/ 221599 w 1141507"/>
                <a:gd name="connsiteY10" fmla="*/ 818755 h 3383919"/>
                <a:gd name="connsiteX11" fmla="*/ 260392 w 1141507"/>
                <a:gd name="connsiteY11" fmla="*/ 813584 h 3383919"/>
                <a:gd name="connsiteX12" fmla="*/ 268706 w 1141507"/>
                <a:gd name="connsiteY12" fmla="*/ 777384 h 3383919"/>
                <a:gd name="connsiteX13" fmla="*/ 229911 w 1141507"/>
                <a:gd name="connsiteY13" fmla="*/ 699813 h 3383919"/>
                <a:gd name="connsiteX14" fmla="*/ 299187 w 1141507"/>
                <a:gd name="connsiteY14" fmla="*/ 653270 h 3383919"/>
                <a:gd name="connsiteX15" fmla="*/ 366959 w 1141507"/>
                <a:gd name="connsiteY15" fmla="*/ 661004 h 3383919"/>
                <a:gd name="connsiteX16" fmla="*/ 390792 w 1141507"/>
                <a:gd name="connsiteY16" fmla="*/ 693071 h 3383919"/>
                <a:gd name="connsiteX17" fmla="*/ 546521 w 1141507"/>
                <a:gd name="connsiteY17" fmla="*/ 749434 h 3383919"/>
                <a:gd name="connsiteX18" fmla="*/ 532113 w 1141507"/>
                <a:gd name="connsiteY18" fmla="*/ 713757 h 3383919"/>
                <a:gd name="connsiteX19" fmla="*/ 498861 w 1141507"/>
                <a:gd name="connsiteY19" fmla="*/ 674971 h 3383919"/>
                <a:gd name="connsiteX20" fmla="*/ 487777 w 1141507"/>
                <a:gd name="connsiteY20" fmla="*/ 623257 h 3383919"/>
                <a:gd name="connsiteX21" fmla="*/ 526572 w 1141507"/>
                <a:gd name="connsiteY21" fmla="*/ 574130 h 3383919"/>
                <a:gd name="connsiteX22" fmla="*/ 554282 w 1141507"/>
                <a:gd name="connsiteY22" fmla="*/ 545687 h 3383919"/>
                <a:gd name="connsiteX23" fmla="*/ 579222 w 1141507"/>
                <a:gd name="connsiteY23" fmla="*/ 509487 h 3383919"/>
                <a:gd name="connsiteX24" fmla="*/ 659582 w 1141507"/>
                <a:gd name="connsiteY24" fmla="*/ 504315 h 3383919"/>
                <a:gd name="connsiteX25" fmla="*/ 665123 w 1141507"/>
                <a:gd name="connsiteY25" fmla="*/ 483630 h 3383919"/>
                <a:gd name="connsiteX26" fmla="*/ 690063 w 1141507"/>
                <a:gd name="connsiteY26" fmla="*/ 447430 h 3383919"/>
                <a:gd name="connsiteX27" fmla="*/ 723867 w 1141507"/>
                <a:gd name="connsiteY27" fmla="*/ 429842 h 3383919"/>
                <a:gd name="connsiteX28" fmla="*/ 781507 w 1141507"/>
                <a:gd name="connsiteY28" fmla="*/ 442259 h 3383919"/>
                <a:gd name="connsiteX29" fmla="*/ 820300 w 1141507"/>
                <a:gd name="connsiteY29" fmla="*/ 462945 h 3383919"/>
                <a:gd name="connsiteX30" fmla="*/ 867408 w 1141507"/>
                <a:gd name="connsiteY30" fmla="*/ 470702 h 3383919"/>
                <a:gd name="connsiteX31" fmla="*/ 867408 w 1141507"/>
                <a:gd name="connsiteY31" fmla="*/ 475873 h 3383919"/>
                <a:gd name="connsiteX32" fmla="*/ 889577 w 1141507"/>
                <a:gd name="connsiteY32" fmla="*/ 416402 h 3383919"/>
                <a:gd name="connsiteX33" fmla="*/ 899552 w 1141507"/>
                <a:gd name="connsiteY33" fmla="*/ 382784 h 3383919"/>
                <a:gd name="connsiteX34" fmla="*/ 906203 w 1141507"/>
                <a:gd name="connsiteY34" fmla="*/ 364688 h 3383919"/>
                <a:gd name="connsiteX35" fmla="*/ 909140 w 1141507"/>
                <a:gd name="connsiteY35" fmla="*/ 333358 h 3383919"/>
                <a:gd name="connsiteX36" fmla="*/ 828614 w 1141507"/>
                <a:gd name="connsiteY36" fmla="*/ 287118 h 3383919"/>
                <a:gd name="connsiteX37" fmla="*/ 814759 w 1141507"/>
                <a:gd name="connsiteY37" fmla="*/ 214718 h 3383919"/>
                <a:gd name="connsiteX38" fmla="*/ 814759 w 1141507"/>
                <a:gd name="connsiteY38" fmla="*/ 196618 h 3383919"/>
                <a:gd name="connsiteX39" fmla="*/ 825842 w 1141507"/>
                <a:gd name="connsiteY39" fmla="*/ 173346 h 3383919"/>
                <a:gd name="connsiteX40" fmla="*/ 828614 w 1141507"/>
                <a:gd name="connsiteY40" fmla="*/ 157832 h 3383919"/>
                <a:gd name="connsiteX41" fmla="*/ 828613 w 1141507"/>
                <a:gd name="connsiteY41" fmla="*/ 100948 h 3383919"/>
                <a:gd name="connsiteX42" fmla="*/ 806445 w 1141507"/>
                <a:gd name="connsiteY42" fmla="*/ 77677 h 3383919"/>
                <a:gd name="connsiteX43" fmla="*/ 778735 w 1141507"/>
                <a:gd name="connsiteY43" fmla="*/ 46648 h 3383919"/>
                <a:gd name="connsiteX44" fmla="*/ 774567 w 1141507"/>
                <a:gd name="connsiteY44" fmla="*/ 22395 h 3383919"/>
                <a:gd name="connsiteX45" fmla="*/ 825843 w 1141507"/>
                <a:gd name="connsiteY45" fmla="*/ 104 h 3383919"/>
                <a:gd name="connsiteX46" fmla="*/ 879423 w 1141507"/>
                <a:gd name="connsiteY46" fmla="*/ 9976 h 3383919"/>
                <a:gd name="connsiteX47" fmla="*/ 958207 w 1141507"/>
                <a:gd name="connsiteY47" fmla="*/ 21886 h 3383919"/>
                <a:gd name="connsiteX48" fmla="*/ 1042530 w 1141507"/>
                <a:gd name="connsiteY48" fmla="*/ 91245 h 3383919"/>
                <a:gd name="connsiteX49" fmla="*/ 1104665 w 1141507"/>
                <a:gd name="connsiteY49" fmla="*/ 167341 h 3383919"/>
                <a:gd name="connsiteX50" fmla="*/ 1003694 w 1141507"/>
                <a:gd name="connsiteY50" fmla="*/ 196335 h 3383919"/>
                <a:gd name="connsiteX51" fmla="*/ 988160 w 1141507"/>
                <a:gd name="connsiteY51" fmla="*/ 243442 h 3383919"/>
                <a:gd name="connsiteX52" fmla="*/ 1045830 w 1141507"/>
                <a:gd name="connsiteY52" fmla="*/ 327932 h 3383919"/>
                <a:gd name="connsiteX53" fmla="*/ 1081364 w 1141507"/>
                <a:gd name="connsiteY53" fmla="*/ 334034 h 3383919"/>
                <a:gd name="connsiteX54" fmla="*/ 1133984 w 1141507"/>
                <a:gd name="connsiteY54" fmla="*/ 340374 h 3383919"/>
                <a:gd name="connsiteX55" fmla="*/ 1129021 w 1141507"/>
                <a:gd name="connsiteY55" fmla="*/ 451149 h 3383919"/>
                <a:gd name="connsiteX56" fmla="*/ 1140090 w 1141507"/>
                <a:gd name="connsiteY56" fmla="*/ 782117 h 3383919"/>
                <a:gd name="connsiteX57" fmla="*/ 1131222 w 1141507"/>
                <a:gd name="connsiteY57" fmla="*/ 1584716 h 3383919"/>
                <a:gd name="connsiteX58" fmla="*/ 1140089 w 1141507"/>
                <a:gd name="connsiteY58" fmla="*/ 2039798 h 3383919"/>
                <a:gd name="connsiteX59" fmla="*/ 1113641 w 1141507"/>
                <a:gd name="connsiteY59" fmla="*/ 3349763 h 3383919"/>
                <a:gd name="connsiteX60" fmla="*/ 855214 w 1141507"/>
                <a:gd name="connsiteY60" fmla="*/ 3306168 h 3383919"/>
                <a:gd name="connsiteX61" fmla="*/ 686736 w 1141507"/>
                <a:gd name="connsiteY61" fmla="*/ 3239973 h 3383919"/>
                <a:gd name="connsiteX62" fmla="*/ 509390 w 1141507"/>
                <a:gd name="connsiteY62" fmla="*/ 3148957 h 3383919"/>
                <a:gd name="connsiteX63" fmla="*/ 411092 w 1141507"/>
                <a:gd name="connsiteY63" fmla="*/ 3068440 h 3383919"/>
                <a:gd name="connsiteX64" fmla="*/ 705354 w 1141507"/>
                <a:gd name="connsiteY64" fmla="*/ 2760804 h 3383919"/>
                <a:gd name="connsiteX65" fmla="*/ 421600 w 1141507"/>
                <a:gd name="connsiteY65" fmla="*/ 2222980 h 3383919"/>
                <a:gd name="connsiteX66" fmla="*/ 563950 w 1141507"/>
                <a:gd name="connsiteY66" fmla="*/ 1983895 h 3383919"/>
                <a:gd name="connsiteX67" fmla="*/ 377263 w 1141507"/>
                <a:gd name="connsiteY67" fmla="*/ 1445204 h 3383919"/>
                <a:gd name="connsiteX68" fmla="*/ 128979 w 1141507"/>
                <a:gd name="connsiteY68" fmla="*/ 1213526 h 3383919"/>
                <a:gd name="connsiteX69" fmla="*/ 120112 w 1141507"/>
                <a:gd name="connsiteY69" fmla="*/ 1097687 h 3383919"/>
                <a:gd name="connsiteX70" fmla="*/ 0 w 1141507"/>
                <a:gd name="connsiteY70" fmla="*/ 304041 h 3383919"/>
                <a:gd name="connsiteX0" fmla="*/ 0 w 1141507"/>
                <a:gd name="connsiteY0" fmla="*/ 304041 h 3383919"/>
                <a:gd name="connsiteX1" fmla="*/ 235627 w 1141507"/>
                <a:gd name="connsiteY1" fmla="*/ 310487 h 3383919"/>
                <a:gd name="connsiteX2" fmla="*/ 451593 w 1141507"/>
                <a:gd name="connsiteY2" fmla="*/ 508471 h 3383919"/>
                <a:gd name="connsiteX3" fmla="*/ 107985 w 1141507"/>
                <a:gd name="connsiteY3" fmla="*/ 454172 h 3383919"/>
                <a:gd name="connsiteX4" fmla="*/ 107985 w 1141507"/>
                <a:gd name="connsiteY4" fmla="*/ 495543 h 3383919"/>
                <a:gd name="connsiteX5" fmla="*/ 149712 w 1141507"/>
                <a:gd name="connsiteY5" fmla="*/ 566371 h 3383919"/>
                <a:gd name="connsiteX6" fmla="*/ 155253 w 1141507"/>
                <a:gd name="connsiteY6" fmla="*/ 693070 h 3383919"/>
                <a:gd name="connsiteX7" fmla="*/ 127383 w 1141507"/>
                <a:gd name="connsiteY7" fmla="*/ 754113 h 3383919"/>
                <a:gd name="connsiteX8" fmla="*/ 182802 w 1141507"/>
                <a:gd name="connsiteY8" fmla="*/ 774798 h 3383919"/>
                <a:gd name="connsiteX9" fmla="*/ 199430 w 1141507"/>
                <a:gd name="connsiteY9" fmla="*/ 790312 h 3383919"/>
                <a:gd name="connsiteX10" fmla="*/ 224370 w 1141507"/>
                <a:gd name="connsiteY10" fmla="*/ 816169 h 3383919"/>
                <a:gd name="connsiteX11" fmla="*/ 221599 w 1141507"/>
                <a:gd name="connsiteY11" fmla="*/ 818755 h 3383919"/>
                <a:gd name="connsiteX12" fmla="*/ 260392 w 1141507"/>
                <a:gd name="connsiteY12" fmla="*/ 813584 h 3383919"/>
                <a:gd name="connsiteX13" fmla="*/ 268706 w 1141507"/>
                <a:gd name="connsiteY13" fmla="*/ 777384 h 3383919"/>
                <a:gd name="connsiteX14" fmla="*/ 229911 w 1141507"/>
                <a:gd name="connsiteY14" fmla="*/ 699813 h 3383919"/>
                <a:gd name="connsiteX15" fmla="*/ 299187 w 1141507"/>
                <a:gd name="connsiteY15" fmla="*/ 653270 h 3383919"/>
                <a:gd name="connsiteX16" fmla="*/ 366959 w 1141507"/>
                <a:gd name="connsiteY16" fmla="*/ 661004 h 3383919"/>
                <a:gd name="connsiteX17" fmla="*/ 390792 w 1141507"/>
                <a:gd name="connsiteY17" fmla="*/ 693071 h 3383919"/>
                <a:gd name="connsiteX18" fmla="*/ 546521 w 1141507"/>
                <a:gd name="connsiteY18" fmla="*/ 749434 h 3383919"/>
                <a:gd name="connsiteX19" fmla="*/ 532113 w 1141507"/>
                <a:gd name="connsiteY19" fmla="*/ 713757 h 3383919"/>
                <a:gd name="connsiteX20" fmla="*/ 498861 w 1141507"/>
                <a:gd name="connsiteY20" fmla="*/ 674971 h 3383919"/>
                <a:gd name="connsiteX21" fmla="*/ 487777 w 1141507"/>
                <a:gd name="connsiteY21" fmla="*/ 623257 h 3383919"/>
                <a:gd name="connsiteX22" fmla="*/ 526572 w 1141507"/>
                <a:gd name="connsiteY22" fmla="*/ 574130 h 3383919"/>
                <a:gd name="connsiteX23" fmla="*/ 554282 w 1141507"/>
                <a:gd name="connsiteY23" fmla="*/ 545687 h 3383919"/>
                <a:gd name="connsiteX24" fmla="*/ 579222 w 1141507"/>
                <a:gd name="connsiteY24" fmla="*/ 509487 h 3383919"/>
                <a:gd name="connsiteX25" fmla="*/ 659582 w 1141507"/>
                <a:gd name="connsiteY25" fmla="*/ 504315 h 3383919"/>
                <a:gd name="connsiteX26" fmla="*/ 665123 w 1141507"/>
                <a:gd name="connsiteY26" fmla="*/ 483630 h 3383919"/>
                <a:gd name="connsiteX27" fmla="*/ 690063 w 1141507"/>
                <a:gd name="connsiteY27" fmla="*/ 447430 h 3383919"/>
                <a:gd name="connsiteX28" fmla="*/ 723867 w 1141507"/>
                <a:gd name="connsiteY28" fmla="*/ 429842 h 3383919"/>
                <a:gd name="connsiteX29" fmla="*/ 781507 w 1141507"/>
                <a:gd name="connsiteY29" fmla="*/ 442259 h 3383919"/>
                <a:gd name="connsiteX30" fmla="*/ 820300 w 1141507"/>
                <a:gd name="connsiteY30" fmla="*/ 462945 h 3383919"/>
                <a:gd name="connsiteX31" fmla="*/ 867408 w 1141507"/>
                <a:gd name="connsiteY31" fmla="*/ 470702 h 3383919"/>
                <a:gd name="connsiteX32" fmla="*/ 867408 w 1141507"/>
                <a:gd name="connsiteY32" fmla="*/ 475873 h 3383919"/>
                <a:gd name="connsiteX33" fmla="*/ 889577 w 1141507"/>
                <a:gd name="connsiteY33" fmla="*/ 416402 h 3383919"/>
                <a:gd name="connsiteX34" fmla="*/ 899552 w 1141507"/>
                <a:gd name="connsiteY34" fmla="*/ 382784 h 3383919"/>
                <a:gd name="connsiteX35" fmla="*/ 906203 w 1141507"/>
                <a:gd name="connsiteY35" fmla="*/ 364688 h 3383919"/>
                <a:gd name="connsiteX36" fmla="*/ 909140 w 1141507"/>
                <a:gd name="connsiteY36" fmla="*/ 333358 h 3383919"/>
                <a:gd name="connsiteX37" fmla="*/ 828614 w 1141507"/>
                <a:gd name="connsiteY37" fmla="*/ 287118 h 3383919"/>
                <a:gd name="connsiteX38" fmla="*/ 814759 w 1141507"/>
                <a:gd name="connsiteY38" fmla="*/ 214718 h 3383919"/>
                <a:gd name="connsiteX39" fmla="*/ 814759 w 1141507"/>
                <a:gd name="connsiteY39" fmla="*/ 196618 h 3383919"/>
                <a:gd name="connsiteX40" fmla="*/ 825842 w 1141507"/>
                <a:gd name="connsiteY40" fmla="*/ 173346 h 3383919"/>
                <a:gd name="connsiteX41" fmla="*/ 828614 w 1141507"/>
                <a:gd name="connsiteY41" fmla="*/ 157832 h 3383919"/>
                <a:gd name="connsiteX42" fmla="*/ 828613 w 1141507"/>
                <a:gd name="connsiteY42" fmla="*/ 100948 h 3383919"/>
                <a:gd name="connsiteX43" fmla="*/ 806445 w 1141507"/>
                <a:gd name="connsiteY43" fmla="*/ 77677 h 3383919"/>
                <a:gd name="connsiteX44" fmla="*/ 778735 w 1141507"/>
                <a:gd name="connsiteY44" fmla="*/ 46648 h 3383919"/>
                <a:gd name="connsiteX45" fmla="*/ 774567 w 1141507"/>
                <a:gd name="connsiteY45" fmla="*/ 22395 h 3383919"/>
                <a:gd name="connsiteX46" fmla="*/ 825843 w 1141507"/>
                <a:gd name="connsiteY46" fmla="*/ 104 h 3383919"/>
                <a:gd name="connsiteX47" fmla="*/ 879423 w 1141507"/>
                <a:gd name="connsiteY47" fmla="*/ 9976 h 3383919"/>
                <a:gd name="connsiteX48" fmla="*/ 958207 w 1141507"/>
                <a:gd name="connsiteY48" fmla="*/ 21886 h 3383919"/>
                <a:gd name="connsiteX49" fmla="*/ 1042530 w 1141507"/>
                <a:gd name="connsiteY49" fmla="*/ 91245 h 3383919"/>
                <a:gd name="connsiteX50" fmla="*/ 1104665 w 1141507"/>
                <a:gd name="connsiteY50" fmla="*/ 167341 h 3383919"/>
                <a:gd name="connsiteX51" fmla="*/ 1003694 w 1141507"/>
                <a:gd name="connsiteY51" fmla="*/ 196335 h 3383919"/>
                <a:gd name="connsiteX52" fmla="*/ 988160 w 1141507"/>
                <a:gd name="connsiteY52" fmla="*/ 243442 h 3383919"/>
                <a:gd name="connsiteX53" fmla="*/ 1045830 w 1141507"/>
                <a:gd name="connsiteY53" fmla="*/ 327932 h 3383919"/>
                <a:gd name="connsiteX54" fmla="*/ 1081364 w 1141507"/>
                <a:gd name="connsiteY54" fmla="*/ 334034 h 3383919"/>
                <a:gd name="connsiteX55" fmla="*/ 1133984 w 1141507"/>
                <a:gd name="connsiteY55" fmla="*/ 340374 h 3383919"/>
                <a:gd name="connsiteX56" fmla="*/ 1129021 w 1141507"/>
                <a:gd name="connsiteY56" fmla="*/ 451149 h 3383919"/>
                <a:gd name="connsiteX57" fmla="*/ 1140090 w 1141507"/>
                <a:gd name="connsiteY57" fmla="*/ 782117 h 3383919"/>
                <a:gd name="connsiteX58" fmla="*/ 1131222 w 1141507"/>
                <a:gd name="connsiteY58" fmla="*/ 1584716 h 3383919"/>
                <a:gd name="connsiteX59" fmla="*/ 1140089 w 1141507"/>
                <a:gd name="connsiteY59" fmla="*/ 2039798 h 3383919"/>
                <a:gd name="connsiteX60" fmla="*/ 1113641 w 1141507"/>
                <a:gd name="connsiteY60" fmla="*/ 3349763 h 3383919"/>
                <a:gd name="connsiteX61" fmla="*/ 855214 w 1141507"/>
                <a:gd name="connsiteY61" fmla="*/ 3306168 h 3383919"/>
                <a:gd name="connsiteX62" fmla="*/ 686736 w 1141507"/>
                <a:gd name="connsiteY62" fmla="*/ 3239973 h 3383919"/>
                <a:gd name="connsiteX63" fmla="*/ 509390 w 1141507"/>
                <a:gd name="connsiteY63" fmla="*/ 3148957 h 3383919"/>
                <a:gd name="connsiteX64" fmla="*/ 411092 w 1141507"/>
                <a:gd name="connsiteY64" fmla="*/ 3068440 h 3383919"/>
                <a:gd name="connsiteX65" fmla="*/ 705354 w 1141507"/>
                <a:gd name="connsiteY65" fmla="*/ 2760804 h 3383919"/>
                <a:gd name="connsiteX66" fmla="*/ 421600 w 1141507"/>
                <a:gd name="connsiteY66" fmla="*/ 2222980 h 3383919"/>
                <a:gd name="connsiteX67" fmla="*/ 563950 w 1141507"/>
                <a:gd name="connsiteY67" fmla="*/ 1983895 h 3383919"/>
                <a:gd name="connsiteX68" fmla="*/ 377263 w 1141507"/>
                <a:gd name="connsiteY68" fmla="*/ 1445204 h 3383919"/>
                <a:gd name="connsiteX69" fmla="*/ 128979 w 1141507"/>
                <a:gd name="connsiteY69" fmla="*/ 1213526 h 3383919"/>
                <a:gd name="connsiteX70" fmla="*/ 120112 w 1141507"/>
                <a:gd name="connsiteY70" fmla="*/ 1097687 h 3383919"/>
                <a:gd name="connsiteX71" fmla="*/ 0 w 1141507"/>
                <a:gd name="connsiteY71" fmla="*/ 304041 h 3383919"/>
                <a:gd name="connsiteX0" fmla="*/ 0 w 1141507"/>
                <a:gd name="connsiteY0" fmla="*/ 304041 h 3383919"/>
                <a:gd name="connsiteX1" fmla="*/ 235627 w 1141507"/>
                <a:gd name="connsiteY1" fmla="*/ 310487 h 3383919"/>
                <a:gd name="connsiteX2" fmla="*/ 451593 w 1141507"/>
                <a:gd name="connsiteY2" fmla="*/ 508471 h 3383919"/>
                <a:gd name="connsiteX3" fmla="*/ 229911 w 1141507"/>
                <a:gd name="connsiteY3" fmla="*/ 492958 h 3383919"/>
                <a:gd name="connsiteX4" fmla="*/ 107985 w 1141507"/>
                <a:gd name="connsiteY4" fmla="*/ 454172 h 3383919"/>
                <a:gd name="connsiteX5" fmla="*/ 107985 w 1141507"/>
                <a:gd name="connsiteY5" fmla="*/ 495543 h 3383919"/>
                <a:gd name="connsiteX6" fmla="*/ 149712 w 1141507"/>
                <a:gd name="connsiteY6" fmla="*/ 566371 h 3383919"/>
                <a:gd name="connsiteX7" fmla="*/ 155253 w 1141507"/>
                <a:gd name="connsiteY7" fmla="*/ 693070 h 3383919"/>
                <a:gd name="connsiteX8" fmla="*/ 127383 w 1141507"/>
                <a:gd name="connsiteY8" fmla="*/ 754113 h 3383919"/>
                <a:gd name="connsiteX9" fmla="*/ 182802 w 1141507"/>
                <a:gd name="connsiteY9" fmla="*/ 774798 h 3383919"/>
                <a:gd name="connsiteX10" fmla="*/ 199430 w 1141507"/>
                <a:gd name="connsiteY10" fmla="*/ 790312 h 3383919"/>
                <a:gd name="connsiteX11" fmla="*/ 224370 w 1141507"/>
                <a:gd name="connsiteY11" fmla="*/ 816169 h 3383919"/>
                <a:gd name="connsiteX12" fmla="*/ 221599 w 1141507"/>
                <a:gd name="connsiteY12" fmla="*/ 818755 h 3383919"/>
                <a:gd name="connsiteX13" fmla="*/ 260392 w 1141507"/>
                <a:gd name="connsiteY13" fmla="*/ 813584 h 3383919"/>
                <a:gd name="connsiteX14" fmla="*/ 268706 w 1141507"/>
                <a:gd name="connsiteY14" fmla="*/ 777384 h 3383919"/>
                <a:gd name="connsiteX15" fmla="*/ 229911 w 1141507"/>
                <a:gd name="connsiteY15" fmla="*/ 699813 h 3383919"/>
                <a:gd name="connsiteX16" fmla="*/ 299187 w 1141507"/>
                <a:gd name="connsiteY16" fmla="*/ 653270 h 3383919"/>
                <a:gd name="connsiteX17" fmla="*/ 366959 w 1141507"/>
                <a:gd name="connsiteY17" fmla="*/ 661004 h 3383919"/>
                <a:gd name="connsiteX18" fmla="*/ 390792 w 1141507"/>
                <a:gd name="connsiteY18" fmla="*/ 693071 h 3383919"/>
                <a:gd name="connsiteX19" fmla="*/ 546521 w 1141507"/>
                <a:gd name="connsiteY19" fmla="*/ 749434 h 3383919"/>
                <a:gd name="connsiteX20" fmla="*/ 532113 w 1141507"/>
                <a:gd name="connsiteY20" fmla="*/ 713757 h 3383919"/>
                <a:gd name="connsiteX21" fmla="*/ 498861 w 1141507"/>
                <a:gd name="connsiteY21" fmla="*/ 674971 h 3383919"/>
                <a:gd name="connsiteX22" fmla="*/ 487777 w 1141507"/>
                <a:gd name="connsiteY22" fmla="*/ 623257 h 3383919"/>
                <a:gd name="connsiteX23" fmla="*/ 526572 w 1141507"/>
                <a:gd name="connsiteY23" fmla="*/ 574130 h 3383919"/>
                <a:gd name="connsiteX24" fmla="*/ 554282 w 1141507"/>
                <a:gd name="connsiteY24" fmla="*/ 545687 h 3383919"/>
                <a:gd name="connsiteX25" fmla="*/ 579222 w 1141507"/>
                <a:gd name="connsiteY25" fmla="*/ 509487 h 3383919"/>
                <a:gd name="connsiteX26" fmla="*/ 659582 w 1141507"/>
                <a:gd name="connsiteY26" fmla="*/ 504315 h 3383919"/>
                <a:gd name="connsiteX27" fmla="*/ 665123 w 1141507"/>
                <a:gd name="connsiteY27" fmla="*/ 483630 h 3383919"/>
                <a:gd name="connsiteX28" fmla="*/ 690063 w 1141507"/>
                <a:gd name="connsiteY28" fmla="*/ 447430 h 3383919"/>
                <a:gd name="connsiteX29" fmla="*/ 723867 w 1141507"/>
                <a:gd name="connsiteY29" fmla="*/ 429842 h 3383919"/>
                <a:gd name="connsiteX30" fmla="*/ 781507 w 1141507"/>
                <a:gd name="connsiteY30" fmla="*/ 442259 h 3383919"/>
                <a:gd name="connsiteX31" fmla="*/ 820300 w 1141507"/>
                <a:gd name="connsiteY31" fmla="*/ 462945 h 3383919"/>
                <a:gd name="connsiteX32" fmla="*/ 867408 w 1141507"/>
                <a:gd name="connsiteY32" fmla="*/ 470702 h 3383919"/>
                <a:gd name="connsiteX33" fmla="*/ 867408 w 1141507"/>
                <a:gd name="connsiteY33" fmla="*/ 475873 h 3383919"/>
                <a:gd name="connsiteX34" fmla="*/ 889577 w 1141507"/>
                <a:gd name="connsiteY34" fmla="*/ 416402 h 3383919"/>
                <a:gd name="connsiteX35" fmla="*/ 899552 w 1141507"/>
                <a:gd name="connsiteY35" fmla="*/ 382784 h 3383919"/>
                <a:gd name="connsiteX36" fmla="*/ 906203 w 1141507"/>
                <a:gd name="connsiteY36" fmla="*/ 364688 h 3383919"/>
                <a:gd name="connsiteX37" fmla="*/ 909140 w 1141507"/>
                <a:gd name="connsiteY37" fmla="*/ 333358 h 3383919"/>
                <a:gd name="connsiteX38" fmla="*/ 828614 w 1141507"/>
                <a:gd name="connsiteY38" fmla="*/ 287118 h 3383919"/>
                <a:gd name="connsiteX39" fmla="*/ 814759 w 1141507"/>
                <a:gd name="connsiteY39" fmla="*/ 214718 h 3383919"/>
                <a:gd name="connsiteX40" fmla="*/ 814759 w 1141507"/>
                <a:gd name="connsiteY40" fmla="*/ 196618 h 3383919"/>
                <a:gd name="connsiteX41" fmla="*/ 825842 w 1141507"/>
                <a:gd name="connsiteY41" fmla="*/ 173346 h 3383919"/>
                <a:gd name="connsiteX42" fmla="*/ 828614 w 1141507"/>
                <a:gd name="connsiteY42" fmla="*/ 157832 h 3383919"/>
                <a:gd name="connsiteX43" fmla="*/ 828613 w 1141507"/>
                <a:gd name="connsiteY43" fmla="*/ 100948 h 3383919"/>
                <a:gd name="connsiteX44" fmla="*/ 806445 w 1141507"/>
                <a:gd name="connsiteY44" fmla="*/ 77677 h 3383919"/>
                <a:gd name="connsiteX45" fmla="*/ 778735 w 1141507"/>
                <a:gd name="connsiteY45" fmla="*/ 46648 h 3383919"/>
                <a:gd name="connsiteX46" fmla="*/ 774567 w 1141507"/>
                <a:gd name="connsiteY46" fmla="*/ 22395 h 3383919"/>
                <a:gd name="connsiteX47" fmla="*/ 825843 w 1141507"/>
                <a:gd name="connsiteY47" fmla="*/ 104 h 3383919"/>
                <a:gd name="connsiteX48" fmla="*/ 879423 w 1141507"/>
                <a:gd name="connsiteY48" fmla="*/ 9976 h 3383919"/>
                <a:gd name="connsiteX49" fmla="*/ 958207 w 1141507"/>
                <a:gd name="connsiteY49" fmla="*/ 21886 h 3383919"/>
                <a:gd name="connsiteX50" fmla="*/ 1042530 w 1141507"/>
                <a:gd name="connsiteY50" fmla="*/ 91245 h 3383919"/>
                <a:gd name="connsiteX51" fmla="*/ 1104665 w 1141507"/>
                <a:gd name="connsiteY51" fmla="*/ 167341 h 3383919"/>
                <a:gd name="connsiteX52" fmla="*/ 1003694 w 1141507"/>
                <a:gd name="connsiteY52" fmla="*/ 196335 h 3383919"/>
                <a:gd name="connsiteX53" fmla="*/ 988160 w 1141507"/>
                <a:gd name="connsiteY53" fmla="*/ 243442 h 3383919"/>
                <a:gd name="connsiteX54" fmla="*/ 1045830 w 1141507"/>
                <a:gd name="connsiteY54" fmla="*/ 327932 h 3383919"/>
                <a:gd name="connsiteX55" fmla="*/ 1081364 w 1141507"/>
                <a:gd name="connsiteY55" fmla="*/ 334034 h 3383919"/>
                <a:gd name="connsiteX56" fmla="*/ 1133984 w 1141507"/>
                <a:gd name="connsiteY56" fmla="*/ 340374 h 3383919"/>
                <a:gd name="connsiteX57" fmla="*/ 1129021 w 1141507"/>
                <a:gd name="connsiteY57" fmla="*/ 451149 h 3383919"/>
                <a:gd name="connsiteX58" fmla="*/ 1140090 w 1141507"/>
                <a:gd name="connsiteY58" fmla="*/ 782117 h 3383919"/>
                <a:gd name="connsiteX59" fmla="*/ 1131222 w 1141507"/>
                <a:gd name="connsiteY59" fmla="*/ 1584716 h 3383919"/>
                <a:gd name="connsiteX60" fmla="*/ 1140089 w 1141507"/>
                <a:gd name="connsiteY60" fmla="*/ 2039798 h 3383919"/>
                <a:gd name="connsiteX61" fmla="*/ 1113641 w 1141507"/>
                <a:gd name="connsiteY61" fmla="*/ 3349763 h 3383919"/>
                <a:gd name="connsiteX62" fmla="*/ 855214 w 1141507"/>
                <a:gd name="connsiteY62" fmla="*/ 3306168 h 3383919"/>
                <a:gd name="connsiteX63" fmla="*/ 686736 w 1141507"/>
                <a:gd name="connsiteY63" fmla="*/ 3239973 h 3383919"/>
                <a:gd name="connsiteX64" fmla="*/ 509390 w 1141507"/>
                <a:gd name="connsiteY64" fmla="*/ 3148957 h 3383919"/>
                <a:gd name="connsiteX65" fmla="*/ 411092 w 1141507"/>
                <a:gd name="connsiteY65" fmla="*/ 3068440 h 3383919"/>
                <a:gd name="connsiteX66" fmla="*/ 705354 w 1141507"/>
                <a:gd name="connsiteY66" fmla="*/ 2760804 h 3383919"/>
                <a:gd name="connsiteX67" fmla="*/ 421600 w 1141507"/>
                <a:gd name="connsiteY67" fmla="*/ 2222980 h 3383919"/>
                <a:gd name="connsiteX68" fmla="*/ 563950 w 1141507"/>
                <a:gd name="connsiteY68" fmla="*/ 1983895 h 3383919"/>
                <a:gd name="connsiteX69" fmla="*/ 377263 w 1141507"/>
                <a:gd name="connsiteY69" fmla="*/ 1445204 h 3383919"/>
                <a:gd name="connsiteX70" fmla="*/ 128979 w 1141507"/>
                <a:gd name="connsiteY70" fmla="*/ 1213526 h 3383919"/>
                <a:gd name="connsiteX71" fmla="*/ 120112 w 1141507"/>
                <a:gd name="connsiteY71" fmla="*/ 1097687 h 3383919"/>
                <a:gd name="connsiteX72" fmla="*/ 0 w 1141507"/>
                <a:gd name="connsiteY72" fmla="*/ 304041 h 3383919"/>
                <a:gd name="connsiteX0" fmla="*/ 0 w 1141507"/>
                <a:gd name="connsiteY0" fmla="*/ 304041 h 3383919"/>
                <a:gd name="connsiteX1" fmla="*/ 235627 w 1141507"/>
                <a:gd name="connsiteY1" fmla="*/ 310487 h 3383919"/>
                <a:gd name="connsiteX2" fmla="*/ 451593 w 1141507"/>
                <a:gd name="connsiteY2" fmla="*/ 508471 h 3383919"/>
                <a:gd name="connsiteX3" fmla="*/ 229911 w 1141507"/>
                <a:gd name="connsiteY3" fmla="*/ 492958 h 3383919"/>
                <a:gd name="connsiteX4" fmla="*/ 130154 w 1141507"/>
                <a:gd name="connsiteY4" fmla="*/ 464515 h 3383919"/>
                <a:gd name="connsiteX5" fmla="*/ 107985 w 1141507"/>
                <a:gd name="connsiteY5" fmla="*/ 495543 h 3383919"/>
                <a:gd name="connsiteX6" fmla="*/ 149712 w 1141507"/>
                <a:gd name="connsiteY6" fmla="*/ 566371 h 3383919"/>
                <a:gd name="connsiteX7" fmla="*/ 155253 w 1141507"/>
                <a:gd name="connsiteY7" fmla="*/ 693070 h 3383919"/>
                <a:gd name="connsiteX8" fmla="*/ 127383 w 1141507"/>
                <a:gd name="connsiteY8" fmla="*/ 754113 h 3383919"/>
                <a:gd name="connsiteX9" fmla="*/ 182802 w 1141507"/>
                <a:gd name="connsiteY9" fmla="*/ 774798 h 3383919"/>
                <a:gd name="connsiteX10" fmla="*/ 199430 w 1141507"/>
                <a:gd name="connsiteY10" fmla="*/ 790312 h 3383919"/>
                <a:gd name="connsiteX11" fmla="*/ 224370 w 1141507"/>
                <a:gd name="connsiteY11" fmla="*/ 816169 h 3383919"/>
                <a:gd name="connsiteX12" fmla="*/ 221599 w 1141507"/>
                <a:gd name="connsiteY12" fmla="*/ 818755 h 3383919"/>
                <a:gd name="connsiteX13" fmla="*/ 260392 w 1141507"/>
                <a:gd name="connsiteY13" fmla="*/ 813584 h 3383919"/>
                <a:gd name="connsiteX14" fmla="*/ 268706 w 1141507"/>
                <a:gd name="connsiteY14" fmla="*/ 777384 h 3383919"/>
                <a:gd name="connsiteX15" fmla="*/ 229911 w 1141507"/>
                <a:gd name="connsiteY15" fmla="*/ 699813 h 3383919"/>
                <a:gd name="connsiteX16" fmla="*/ 299187 w 1141507"/>
                <a:gd name="connsiteY16" fmla="*/ 653270 h 3383919"/>
                <a:gd name="connsiteX17" fmla="*/ 366959 w 1141507"/>
                <a:gd name="connsiteY17" fmla="*/ 661004 h 3383919"/>
                <a:gd name="connsiteX18" fmla="*/ 390792 w 1141507"/>
                <a:gd name="connsiteY18" fmla="*/ 693071 h 3383919"/>
                <a:gd name="connsiteX19" fmla="*/ 546521 w 1141507"/>
                <a:gd name="connsiteY19" fmla="*/ 749434 h 3383919"/>
                <a:gd name="connsiteX20" fmla="*/ 532113 w 1141507"/>
                <a:gd name="connsiteY20" fmla="*/ 713757 h 3383919"/>
                <a:gd name="connsiteX21" fmla="*/ 498861 w 1141507"/>
                <a:gd name="connsiteY21" fmla="*/ 674971 h 3383919"/>
                <a:gd name="connsiteX22" fmla="*/ 487777 w 1141507"/>
                <a:gd name="connsiteY22" fmla="*/ 623257 h 3383919"/>
                <a:gd name="connsiteX23" fmla="*/ 526572 w 1141507"/>
                <a:gd name="connsiteY23" fmla="*/ 574130 h 3383919"/>
                <a:gd name="connsiteX24" fmla="*/ 554282 w 1141507"/>
                <a:gd name="connsiteY24" fmla="*/ 545687 h 3383919"/>
                <a:gd name="connsiteX25" fmla="*/ 579222 w 1141507"/>
                <a:gd name="connsiteY25" fmla="*/ 509487 h 3383919"/>
                <a:gd name="connsiteX26" fmla="*/ 659582 w 1141507"/>
                <a:gd name="connsiteY26" fmla="*/ 504315 h 3383919"/>
                <a:gd name="connsiteX27" fmla="*/ 665123 w 1141507"/>
                <a:gd name="connsiteY27" fmla="*/ 483630 h 3383919"/>
                <a:gd name="connsiteX28" fmla="*/ 690063 w 1141507"/>
                <a:gd name="connsiteY28" fmla="*/ 447430 h 3383919"/>
                <a:gd name="connsiteX29" fmla="*/ 723867 w 1141507"/>
                <a:gd name="connsiteY29" fmla="*/ 429842 h 3383919"/>
                <a:gd name="connsiteX30" fmla="*/ 781507 w 1141507"/>
                <a:gd name="connsiteY30" fmla="*/ 442259 h 3383919"/>
                <a:gd name="connsiteX31" fmla="*/ 820300 w 1141507"/>
                <a:gd name="connsiteY31" fmla="*/ 462945 h 3383919"/>
                <a:gd name="connsiteX32" fmla="*/ 867408 w 1141507"/>
                <a:gd name="connsiteY32" fmla="*/ 470702 h 3383919"/>
                <a:gd name="connsiteX33" fmla="*/ 867408 w 1141507"/>
                <a:gd name="connsiteY33" fmla="*/ 475873 h 3383919"/>
                <a:gd name="connsiteX34" fmla="*/ 889577 w 1141507"/>
                <a:gd name="connsiteY34" fmla="*/ 416402 h 3383919"/>
                <a:gd name="connsiteX35" fmla="*/ 899552 w 1141507"/>
                <a:gd name="connsiteY35" fmla="*/ 382784 h 3383919"/>
                <a:gd name="connsiteX36" fmla="*/ 906203 w 1141507"/>
                <a:gd name="connsiteY36" fmla="*/ 364688 h 3383919"/>
                <a:gd name="connsiteX37" fmla="*/ 909140 w 1141507"/>
                <a:gd name="connsiteY37" fmla="*/ 333358 h 3383919"/>
                <a:gd name="connsiteX38" fmla="*/ 828614 w 1141507"/>
                <a:gd name="connsiteY38" fmla="*/ 287118 h 3383919"/>
                <a:gd name="connsiteX39" fmla="*/ 814759 w 1141507"/>
                <a:gd name="connsiteY39" fmla="*/ 214718 h 3383919"/>
                <a:gd name="connsiteX40" fmla="*/ 814759 w 1141507"/>
                <a:gd name="connsiteY40" fmla="*/ 196618 h 3383919"/>
                <a:gd name="connsiteX41" fmla="*/ 825842 w 1141507"/>
                <a:gd name="connsiteY41" fmla="*/ 173346 h 3383919"/>
                <a:gd name="connsiteX42" fmla="*/ 828614 w 1141507"/>
                <a:gd name="connsiteY42" fmla="*/ 157832 h 3383919"/>
                <a:gd name="connsiteX43" fmla="*/ 828613 w 1141507"/>
                <a:gd name="connsiteY43" fmla="*/ 100948 h 3383919"/>
                <a:gd name="connsiteX44" fmla="*/ 806445 w 1141507"/>
                <a:gd name="connsiteY44" fmla="*/ 77677 h 3383919"/>
                <a:gd name="connsiteX45" fmla="*/ 778735 w 1141507"/>
                <a:gd name="connsiteY45" fmla="*/ 46648 h 3383919"/>
                <a:gd name="connsiteX46" fmla="*/ 774567 w 1141507"/>
                <a:gd name="connsiteY46" fmla="*/ 22395 h 3383919"/>
                <a:gd name="connsiteX47" fmla="*/ 825843 w 1141507"/>
                <a:gd name="connsiteY47" fmla="*/ 104 h 3383919"/>
                <a:gd name="connsiteX48" fmla="*/ 879423 w 1141507"/>
                <a:gd name="connsiteY48" fmla="*/ 9976 h 3383919"/>
                <a:gd name="connsiteX49" fmla="*/ 958207 w 1141507"/>
                <a:gd name="connsiteY49" fmla="*/ 21886 h 3383919"/>
                <a:gd name="connsiteX50" fmla="*/ 1042530 w 1141507"/>
                <a:gd name="connsiteY50" fmla="*/ 91245 h 3383919"/>
                <a:gd name="connsiteX51" fmla="*/ 1104665 w 1141507"/>
                <a:gd name="connsiteY51" fmla="*/ 167341 h 3383919"/>
                <a:gd name="connsiteX52" fmla="*/ 1003694 w 1141507"/>
                <a:gd name="connsiteY52" fmla="*/ 196335 h 3383919"/>
                <a:gd name="connsiteX53" fmla="*/ 988160 w 1141507"/>
                <a:gd name="connsiteY53" fmla="*/ 243442 h 3383919"/>
                <a:gd name="connsiteX54" fmla="*/ 1045830 w 1141507"/>
                <a:gd name="connsiteY54" fmla="*/ 327932 h 3383919"/>
                <a:gd name="connsiteX55" fmla="*/ 1081364 w 1141507"/>
                <a:gd name="connsiteY55" fmla="*/ 334034 h 3383919"/>
                <a:gd name="connsiteX56" fmla="*/ 1133984 w 1141507"/>
                <a:gd name="connsiteY56" fmla="*/ 340374 h 3383919"/>
                <a:gd name="connsiteX57" fmla="*/ 1129021 w 1141507"/>
                <a:gd name="connsiteY57" fmla="*/ 451149 h 3383919"/>
                <a:gd name="connsiteX58" fmla="*/ 1140090 w 1141507"/>
                <a:gd name="connsiteY58" fmla="*/ 782117 h 3383919"/>
                <a:gd name="connsiteX59" fmla="*/ 1131222 w 1141507"/>
                <a:gd name="connsiteY59" fmla="*/ 1584716 h 3383919"/>
                <a:gd name="connsiteX60" fmla="*/ 1140089 w 1141507"/>
                <a:gd name="connsiteY60" fmla="*/ 2039798 h 3383919"/>
                <a:gd name="connsiteX61" fmla="*/ 1113641 w 1141507"/>
                <a:gd name="connsiteY61" fmla="*/ 3349763 h 3383919"/>
                <a:gd name="connsiteX62" fmla="*/ 855214 w 1141507"/>
                <a:gd name="connsiteY62" fmla="*/ 3306168 h 3383919"/>
                <a:gd name="connsiteX63" fmla="*/ 686736 w 1141507"/>
                <a:gd name="connsiteY63" fmla="*/ 3239973 h 3383919"/>
                <a:gd name="connsiteX64" fmla="*/ 509390 w 1141507"/>
                <a:gd name="connsiteY64" fmla="*/ 3148957 h 3383919"/>
                <a:gd name="connsiteX65" fmla="*/ 411092 w 1141507"/>
                <a:gd name="connsiteY65" fmla="*/ 3068440 h 3383919"/>
                <a:gd name="connsiteX66" fmla="*/ 705354 w 1141507"/>
                <a:gd name="connsiteY66" fmla="*/ 2760804 h 3383919"/>
                <a:gd name="connsiteX67" fmla="*/ 421600 w 1141507"/>
                <a:gd name="connsiteY67" fmla="*/ 2222980 h 3383919"/>
                <a:gd name="connsiteX68" fmla="*/ 563950 w 1141507"/>
                <a:gd name="connsiteY68" fmla="*/ 1983895 h 3383919"/>
                <a:gd name="connsiteX69" fmla="*/ 377263 w 1141507"/>
                <a:gd name="connsiteY69" fmla="*/ 1445204 h 3383919"/>
                <a:gd name="connsiteX70" fmla="*/ 128979 w 1141507"/>
                <a:gd name="connsiteY70" fmla="*/ 1213526 h 3383919"/>
                <a:gd name="connsiteX71" fmla="*/ 120112 w 1141507"/>
                <a:gd name="connsiteY71" fmla="*/ 1097687 h 3383919"/>
                <a:gd name="connsiteX72" fmla="*/ 0 w 1141507"/>
                <a:gd name="connsiteY72" fmla="*/ 304041 h 3383919"/>
                <a:gd name="connsiteX0" fmla="*/ 0 w 1141507"/>
                <a:gd name="connsiteY0" fmla="*/ 304041 h 3383919"/>
                <a:gd name="connsiteX1" fmla="*/ 235627 w 1141507"/>
                <a:gd name="connsiteY1" fmla="*/ 310487 h 3383919"/>
                <a:gd name="connsiteX2" fmla="*/ 451593 w 1141507"/>
                <a:gd name="connsiteY2" fmla="*/ 508471 h 3383919"/>
                <a:gd name="connsiteX3" fmla="*/ 229911 w 1141507"/>
                <a:gd name="connsiteY3" fmla="*/ 492958 h 3383919"/>
                <a:gd name="connsiteX4" fmla="*/ 130154 w 1141507"/>
                <a:gd name="connsiteY4" fmla="*/ 464515 h 3383919"/>
                <a:gd name="connsiteX5" fmla="*/ 119070 w 1141507"/>
                <a:gd name="connsiteY5" fmla="*/ 492958 h 3383919"/>
                <a:gd name="connsiteX6" fmla="*/ 149712 w 1141507"/>
                <a:gd name="connsiteY6" fmla="*/ 566371 h 3383919"/>
                <a:gd name="connsiteX7" fmla="*/ 155253 w 1141507"/>
                <a:gd name="connsiteY7" fmla="*/ 693070 h 3383919"/>
                <a:gd name="connsiteX8" fmla="*/ 127383 w 1141507"/>
                <a:gd name="connsiteY8" fmla="*/ 754113 h 3383919"/>
                <a:gd name="connsiteX9" fmla="*/ 182802 w 1141507"/>
                <a:gd name="connsiteY9" fmla="*/ 774798 h 3383919"/>
                <a:gd name="connsiteX10" fmla="*/ 199430 w 1141507"/>
                <a:gd name="connsiteY10" fmla="*/ 790312 h 3383919"/>
                <a:gd name="connsiteX11" fmla="*/ 224370 w 1141507"/>
                <a:gd name="connsiteY11" fmla="*/ 816169 h 3383919"/>
                <a:gd name="connsiteX12" fmla="*/ 221599 w 1141507"/>
                <a:gd name="connsiteY12" fmla="*/ 818755 h 3383919"/>
                <a:gd name="connsiteX13" fmla="*/ 260392 w 1141507"/>
                <a:gd name="connsiteY13" fmla="*/ 813584 h 3383919"/>
                <a:gd name="connsiteX14" fmla="*/ 268706 w 1141507"/>
                <a:gd name="connsiteY14" fmla="*/ 777384 h 3383919"/>
                <a:gd name="connsiteX15" fmla="*/ 229911 w 1141507"/>
                <a:gd name="connsiteY15" fmla="*/ 699813 h 3383919"/>
                <a:gd name="connsiteX16" fmla="*/ 299187 w 1141507"/>
                <a:gd name="connsiteY16" fmla="*/ 653270 h 3383919"/>
                <a:gd name="connsiteX17" fmla="*/ 366959 w 1141507"/>
                <a:gd name="connsiteY17" fmla="*/ 661004 h 3383919"/>
                <a:gd name="connsiteX18" fmla="*/ 390792 w 1141507"/>
                <a:gd name="connsiteY18" fmla="*/ 693071 h 3383919"/>
                <a:gd name="connsiteX19" fmla="*/ 546521 w 1141507"/>
                <a:gd name="connsiteY19" fmla="*/ 749434 h 3383919"/>
                <a:gd name="connsiteX20" fmla="*/ 532113 w 1141507"/>
                <a:gd name="connsiteY20" fmla="*/ 713757 h 3383919"/>
                <a:gd name="connsiteX21" fmla="*/ 498861 w 1141507"/>
                <a:gd name="connsiteY21" fmla="*/ 674971 h 3383919"/>
                <a:gd name="connsiteX22" fmla="*/ 487777 w 1141507"/>
                <a:gd name="connsiteY22" fmla="*/ 623257 h 3383919"/>
                <a:gd name="connsiteX23" fmla="*/ 526572 w 1141507"/>
                <a:gd name="connsiteY23" fmla="*/ 574130 h 3383919"/>
                <a:gd name="connsiteX24" fmla="*/ 554282 w 1141507"/>
                <a:gd name="connsiteY24" fmla="*/ 545687 h 3383919"/>
                <a:gd name="connsiteX25" fmla="*/ 579222 w 1141507"/>
                <a:gd name="connsiteY25" fmla="*/ 509487 h 3383919"/>
                <a:gd name="connsiteX26" fmla="*/ 659582 w 1141507"/>
                <a:gd name="connsiteY26" fmla="*/ 504315 h 3383919"/>
                <a:gd name="connsiteX27" fmla="*/ 665123 w 1141507"/>
                <a:gd name="connsiteY27" fmla="*/ 483630 h 3383919"/>
                <a:gd name="connsiteX28" fmla="*/ 690063 w 1141507"/>
                <a:gd name="connsiteY28" fmla="*/ 447430 h 3383919"/>
                <a:gd name="connsiteX29" fmla="*/ 723867 w 1141507"/>
                <a:gd name="connsiteY29" fmla="*/ 429842 h 3383919"/>
                <a:gd name="connsiteX30" fmla="*/ 781507 w 1141507"/>
                <a:gd name="connsiteY30" fmla="*/ 442259 h 3383919"/>
                <a:gd name="connsiteX31" fmla="*/ 820300 w 1141507"/>
                <a:gd name="connsiteY31" fmla="*/ 462945 h 3383919"/>
                <a:gd name="connsiteX32" fmla="*/ 867408 w 1141507"/>
                <a:gd name="connsiteY32" fmla="*/ 470702 h 3383919"/>
                <a:gd name="connsiteX33" fmla="*/ 867408 w 1141507"/>
                <a:gd name="connsiteY33" fmla="*/ 475873 h 3383919"/>
                <a:gd name="connsiteX34" fmla="*/ 889577 w 1141507"/>
                <a:gd name="connsiteY34" fmla="*/ 416402 h 3383919"/>
                <a:gd name="connsiteX35" fmla="*/ 899552 w 1141507"/>
                <a:gd name="connsiteY35" fmla="*/ 382784 h 3383919"/>
                <a:gd name="connsiteX36" fmla="*/ 906203 w 1141507"/>
                <a:gd name="connsiteY36" fmla="*/ 364688 h 3383919"/>
                <a:gd name="connsiteX37" fmla="*/ 909140 w 1141507"/>
                <a:gd name="connsiteY37" fmla="*/ 333358 h 3383919"/>
                <a:gd name="connsiteX38" fmla="*/ 828614 w 1141507"/>
                <a:gd name="connsiteY38" fmla="*/ 287118 h 3383919"/>
                <a:gd name="connsiteX39" fmla="*/ 814759 w 1141507"/>
                <a:gd name="connsiteY39" fmla="*/ 214718 h 3383919"/>
                <a:gd name="connsiteX40" fmla="*/ 814759 w 1141507"/>
                <a:gd name="connsiteY40" fmla="*/ 196618 h 3383919"/>
                <a:gd name="connsiteX41" fmla="*/ 825842 w 1141507"/>
                <a:gd name="connsiteY41" fmla="*/ 173346 h 3383919"/>
                <a:gd name="connsiteX42" fmla="*/ 828614 w 1141507"/>
                <a:gd name="connsiteY42" fmla="*/ 157832 h 3383919"/>
                <a:gd name="connsiteX43" fmla="*/ 828613 w 1141507"/>
                <a:gd name="connsiteY43" fmla="*/ 100948 h 3383919"/>
                <a:gd name="connsiteX44" fmla="*/ 806445 w 1141507"/>
                <a:gd name="connsiteY44" fmla="*/ 77677 h 3383919"/>
                <a:gd name="connsiteX45" fmla="*/ 778735 w 1141507"/>
                <a:gd name="connsiteY45" fmla="*/ 46648 h 3383919"/>
                <a:gd name="connsiteX46" fmla="*/ 774567 w 1141507"/>
                <a:gd name="connsiteY46" fmla="*/ 22395 h 3383919"/>
                <a:gd name="connsiteX47" fmla="*/ 825843 w 1141507"/>
                <a:gd name="connsiteY47" fmla="*/ 104 h 3383919"/>
                <a:gd name="connsiteX48" fmla="*/ 879423 w 1141507"/>
                <a:gd name="connsiteY48" fmla="*/ 9976 h 3383919"/>
                <a:gd name="connsiteX49" fmla="*/ 958207 w 1141507"/>
                <a:gd name="connsiteY49" fmla="*/ 21886 h 3383919"/>
                <a:gd name="connsiteX50" fmla="*/ 1042530 w 1141507"/>
                <a:gd name="connsiteY50" fmla="*/ 91245 h 3383919"/>
                <a:gd name="connsiteX51" fmla="*/ 1104665 w 1141507"/>
                <a:gd name="connsiteY51" fmla="*/ 167341 h 3383919"/>
                <a:gd name="connsiteX52" fmla="*/ 1003694 w 1141507"/>
                <a:gd name="connsiteY52" fmla="*/ 196335 h 3383919"/>
                <a:gd name="connsiteX53" fmla="*/ 988160 w 1141507"/>
                <a:gd name="connsiteY53" fmla="*/ 243442 h 3383919"/>
                <a:gd name="connsiteX54" fmla="*/ 1045830 w 1141507"/>
                <a:gd name="connsiteY54" fmla="*/ 327932 h 3383919"/>
                <a:gd name="connsiteX55" fmla="*/ 1081364 w 1141507"/>
                <a:gd name="connsiteY55" fmla="*/ 334034 h 3383919"/>
                <a:gd name="connsiteX56" fmla="*/ 1133984 w 1141507"/>
                <a:gd name="connsiteY56" fmla="*/ 340374 h 3383919"/>
                <a:gd name="connsiteX57" fmla="*/ 1129021 w 1141507"/>
                <a:gd name="connsiteY57" fmla="*/ 451149 h 3383919"/>
                <a:gd name="connsiteX58" fmla="*/ 1140090 w 1141507"/>
                <a:gd name="connsiteY58" fmla="*/ 782117 h 3383919"/>
                <a:gd name="connsiteX59" fmla="*/ 1131222 w 1141507"/>
                <a:gd name="connsiteY59" fmla="*/ 1584716 h 3383919"/>
                <a:gd name="connsiteX60" fmla="*/ 1140089 w 1141507"/>
                <a:gd name="connsiteY60" fmla="*/ 2039798 h 3383919"/>
                <a:gd name="connsiteX61" fmla="*/ 1113641 w 1141507"/>
                <a:gd name="connsiteY61" fmla="*/ 3349763 h 3383919"/>
                <a:gd name="connsiteX62" fmla="*/ 855214 w 1141507"/>
                <a:gd name="connsiteY62" fmla="*/ 3306168 h 3383919"/>
                <a:gd name="connsiteX63" fmla="*/ 686736 w 1141507"/>
                <a:gd name="connsiteY63" fmla="*/ 3239973 h 3383919"/>
                <a:gd name="connsiteX64" fmla="*/ 509390 w 1141507"/>
                <a:gd name="connsiteY64" fmla="*/ 3148957 h 3383919"/>
                <a:gd name="connsiteX65" fmla="*/ 411092 w 1141507"/>
                <a:gd name="connsiteY65" fmla="*/ 3068440 h 3383919"/>
                <a:gd name="connsiteX66" fmla="*/ 705354 w 1141507"/>
                <a:gd name="connsiteY66" fmla="*/ 2760804 h 3383919"/>
                <a:gd name="connsiteX67" fmla="*/ 421600 w 1141507"/>
                <a:gd name="connsiteY67" fmla="*/ 2222980 h 3383919"/>
                <a:gd name="connsiteX68" fmla="*/ 563950 w 1141507"/>
                <a:gd name="connsiteY68" fmla="*/ 1983895 h 3383919"/>
                <a:gd name="connsiteX69" fmla="*/ 377263 w 1141507"/>
                <a:gd name="connsiteY69" fmla="*/ 1445204 h 3383919"/>
                <a:gd name="connsiteX70" fmla="*/ 128979 w 1141507"/>
                <a:gd name="connsiteY70" fmla="*/ 1213526 h 3383919"/>
                <a:gd name="connsiteX71" fmla="*/ 120112 w 1141507"/>
                <a:gd name="connsiteY71" fmla="*/ 1097687 h 3383919"/>
                <a:gd name="connsiteX72" fmla="*/ 0 w 1141507"/>
                <a:gd name="connsiteY72" fmla="*/ 304041 h 3383919"/>
                <a:gd name="connsiteX0" fmla="*/ 0 w 1141507"/>
                <a:gd name="connsiteY0" fmla="*/ 304041 h 3383919"/>
                <a:gd name="connsiteX1" fmla="*/ 235627 w 1141507"/>
                <a:gd name="connsiteY1" fmla="*/ 310487 h 3383919"/>
                <a:gd name="connsiteX2" fmla="*/ 451593 w 1141507"/>
                <a:gd name="connsiteY2" fmla="*/ 508471 h 3383919"/>
                <a:gd name="connsiteX3" fmla="*/ 229911 w 1141507"/>
                <a:gd name="connsiteY3" fmla="*/ 500715 h 3383919"/>
                <a:gd name="connsiteX4" fmla="*/ 130154 w 1141507"/>
                <a:gd name="connsiteY4" fmla="*/ 464515 h 3383919"/>
                <a:gd name="connsiteX5" fmla="*/ 119070 w 1141507"/>
                <a:gd name="connsiteY5" fmla="*/ 492958 h 3383919"/>
                <a:gd name="connsiteX6" fmla="*/ 149712 w 1141507"/>
                <a:gd name="connsiteY6" fmla="*/ 566371 h 3383919"/>
                <a:gd name="connsiteX7" fmla="*/ 155253 w 1141507"/>
                <a:gd name="connsiteY7" fmla="*/ 693070 h 3383919"/>
                <a:gd name="connsiteX8" fmla="*/ 127383 w 1141507"/>
                <a:gd name="connsiteY8" fmla="*/ 754113 h 3383919"/>
                <a:gd name="connsiteX9" fmla="*/ 182802 w 1141507"/>
                <a:gd name="connsiteY9" fmla="*/ 774798 h 3383919"/>
                <a:gd name="connsiteX10" fmla="*/ 199430 w 1141507"/>
                <a:gd name="connsiteY10" fmla="*/ 790312 h 3383919"/>
                <a:gd name="connsiteX11" fmla="*/ 224370 w 1141507"/>
                <a:gd name="connsiteY11" fmla="*/ 816169 h 3383919"/>
                <a:gd name="connsiteX12" fmla="*/ 221599 w 1141507"/>
                <a:gd name="connsiteY12" fmla="*/ 818755 h 3383919"/>
                <a:gd name="connsiteX13" fmla="*/ 260392 w 1141507"/>
                <a:gd name="connsiteY13" fmla="*/ 813584 h 3383919"/>
                <a:gd name="connsiteX14" fmla="*/ 268706 w 1141507"/>
                <a:gd name="connsiteY14" fmla="*/ 777384 h 3383919"/>
                <a:gd name="connsiteX15" fmla="*/ 229911 w 1141507"/>
                <a:gd name="connsiteY15" fmla="*/ 699813 h 3383919"/>
                <a:gd name="connsiteX16" fmla="*/ 299187 w 1141507"/>
                <a:gd name="connsiteY16" fmla="*/ 653270 h 3383919"/>
                <a:gd name="connsiteX17" fmla="*/ 366959 w 1141507"/>
                <a:gd name="connsiteY17" fmla="*/ 661004 h 3383919"/>
                <a:gd name="connsiteX18" fmla="*/ 390792 w 1141507"/>
                <a:gd name="connsiteY18" fmla="*/ 693071 h 3383919"/>
                <a:gd name="connsiteX19" fmla="*/ 546521 w 1141507"/>
                <a:gd name="connsiteY19" fmla="*/ 749434 h 3383919"/>
                <a:gd name="connsiteX20" fmla="*/ 532113 w 1141507"/>
                <a:gd name="connsiteY20" fmla="*/ 713757 h 3383919"/>
                <a:gd name="connsiteX21" fmla="*/ 498861 w 1141507"/>
                <a:gd name="connsiteY21" fmla="*/ 674971 h 3383919"/>
                <a:gd name="connsiteX22" fmla="*/ 487777 w 1141507"/>
                <a:gd name="connsiteY22" fmla="*/ 623257 h 3383919"/>
                <a:gd name="connsiteX23" fmla="*/ 526572 w 1141507"/>
                <a:gd name="connsiteY23" fmla="*/ 574130 h 3383919"/>
                <a:gd name="connsiteX24" fmla="*/ 554282 w 1141507"/>
                <a:gd name="connsiteY24" fmla="*/ 545687 h 3383919"/>
                <a:gd name="connsiteX25" fmla="*/ 579222 w 1141507"/>
                <a:gd name="connsiteY25" fmla="*/ 509487 h 3383919"/>
                <a:gd name="connsiteX26" fmla="*/ 659582 w 1141507"/>
                <a:gd name="connsiteY26" fmla="*/ 504315 h 3383919"/>
                <a:gd name="connsiteX27" fmla="*/ 665123 w 1141507"/>
                <a:gd name="connsiteY27" fmla="*/ 483630 h 3383919"/>
                <a:gd name="connsiteX28" fmla="*/ 690063 w 1141507"/>
                <a:gd name="connsiteY28" fmla="*/ 447430 h 3383919"/>
                <a:gd name="connsiteX29" fmla="*/ 723867 w 1141507"/>
                <a:gd name="connsiteY29" fmla="*/ 429842 h 3383919"/>
                <a:gd name="connsiteX30" fmla="*/ 781507 w 1141507"/>
                <a:gd name="connsiteY30" fmla="*/ 442259 h 3383919"/>
                <a:gd name="connsiteX31" fmla="*/ 820300 w 1141507"/>
                <a:gd name="connsiteY31" fmla="*/ 462945 h 3383919"/>
                <a:gd name="connsiteX32" fmla="*/ 867408 w 1141507"/>
                <a:gd name="connsiteY32" fmla="*/ 470702 h 3383919"/>
                <a:gd name="connsiteX33" fmla="*/ 867408 w 1141507"/>
                <a:gd name="connsiteY33" fmla="*/ 475873 h 3383919"/>
                <a:gd name="connsiteX34" fmla="*/ 889577 w 1141507"/>
                <a:gd name="connsiteY34" fmla="*/ 416402 h 3383919"/>
                <a:gd name="connsiteX35" fmla="*/ 899552 w 1141507"/>
                <a:gd name="connsiteY35" fmla="*/ 382784 h 3383919"/>
                <a:gd name="connsiteX36" fmla="*/ 906203 w 1141507"/>
                <a:gd name="connsiteY36" fmla="*/ 364688 h 3383919"/>
                <a:gd name="connsiteX37" fmla="*/ 909140 w 1141507"/>
                <a:gd name="connsiteY37" fmla="*/ 333358 h 3383919"/>
                <a:gd name="connsiteX38" fmla="*/ 828614 w 1141507"/>
                <a:gd name="connsiteY38" fmla="*/ 287118 h 3383919"/>
                <a:gd name="connsiteX39" fmla="*/ 814759 w 1141507"/>
                <a:gd name="connsiteY39" fmla="*/ 214718 h 3383919"/>
                <a:gd name="connsiteX40" fmla="*/ 814759 w 1141507"/>
                <a:gd name="connsiteY40" fmla="*/ 196618 h 3383919"/>
                <a:gd name="connsiteX41" fmla="*/ 825842 w 1141507"/>
                <a:gd name="connsiteY41" fmla="*/ 173346 h 3383919"/>
                <a:gd name="connsiteX42" fmla="*/ 828614 w 1141507"/>
                <a:gd name="connsiteY42" fmla="*/ 157832 h 3383919"/>
                <a:gd name="connsiteX43" fmla="*/ 828613 w 1141507"/>
                <a:gd name="connsiteY43" fmla="*/ 100948 h 3383919"/>
                <a:gd name="connsiteX44" fmla="*/ 806445 w 1141507"/>
                <a:gd name="connsiteY44" fmla="*/ 77677 h 3383919"/>
                <a:gd name="connsiteX45" fmla="*/ 778735 w 1141507"/>
                <a:gd name="connsiteY45" fmla="*/ 46648 h 3383919"/>
                <a:gd name="connsiteX46" fmla="*/ 774567 w 1141507"/>
                <a:gd name="connsiteY46" fmla="*/ 22395 h 3383919"/>
                <a:gd name="connsiteX47" fmla="*/ 825843 w 1141507"/>
                <a:gd name="connsiteY47" fmla="*/ 104 h 3383919"/>
                <a:gd name="connsiteX48" fmla="*/ 879423 w 1141507"/>
                <a:gd name="connsiteY48" fmla="*/ 9976 h 3383919"/>
                <a:gd name="connsiteX49" fmla="*/ 958207 w 1141507"/>
                <a:gd name="connsiteY49" fmla="*/ 21886 h 3383919"/>
                <a:gd name="connsiteX50" fmla="*/ 1042530 w 1141507"/>
                <a:gd name="connsiteY50" fmla="*/ 91245 h 3383919"/>
                <a:gd name="connsiteX51" fmla="*/ 1104665 w 1141507"/>
                <a:gd name="connsiteY51" fmla="*/ 167341 h 3383919"/>
                <a:gd name="connsiteX52" fmla="*/ 1003694 w 1141507"/>
                <a:gd name="connsiteY52" fmla="*/ 196335 h 3383919"/>
                <a:gd name="connsiteX53" fmla="*/ 988160 w 1141507"/>
                <a:gd name="connsiteY53" fmla="*/ 243442 h 3383919"/>
                <a:gd name="connsiteX54" fmla="*/ 1045830 w 1141507"/>
                <a:gd name="connsiteY54" fmla="*/ 327932 h 3383919"/>
                <a:gd name="connsiteX55" fmla="*/ 1081364 w 1141507"/>
                <a:gd name="connsiteY55" fmla="*/ 334034 h 3383919"/>
                <a:gd name="connsiteX56" fmla="*/ 1133984 w 1141507"/>
                <a:gd name="connsiteY56" fmla="*/ 340374 h 3383919"/>
                <a:gd name="connsiteX57" fmla="*/ 1129021 w 1141507"/>
                <a:gd name="connsiteY57" fmla="*/ 451149 h 3383919"/>
                <a:gd name="connsiteX58" fmla="*/ 1140090 w 1141507"/>
                <a:gd name="connsiteY58" fmla="*/ 782117 h 3383919"/>
                <a:gd name="connsiteX59" fmla="*/ 1131222 w 1141507"/>
                <a:gd name="connsiteY59" fmla="*/ 1584716 h 3383919"/>
                <a:gd name="connsiteX60" fmla="*/ 1140089 w 1141507"/>
                <a:gd name="connsiteY60" fmla="*/ 2039798 h 3383919"/>
                <a:gd name="connsiteX61" fmla="*/ 1113641 w 1141507"/>
                <a:gd name="connsiteY61" fmla="*/ 3349763 h 3383919"/>
                <a:gd name="connsiteX62" fmla="*/ 855214 w 1141507"/>
                <a:gd name="connsiteY62" fmla="*/ 3306168 h 3383919"/>
                <a:gd name="connsiteX63" fmla="*/ 686736 w 1141507"/>
                <a:gd name="connsiteY63" fmla="*/ 3239973 h 3383919"/>
                <a:gd name="connsiteX64" fmla="*/ 509390 w 1141507"/>
                <a:gd name="connsiteY64" fmla="*/ 3148957 h 3383919"/>
                <a:gd name="connsiteX65" fmla="*/ 411092 w 1141507"/>
                <a:gd name="connsiteY65" fmla="*/ 3068440 h 3383919"/>
                <a:gd name="connsiteX66" fmla="*/ 705354 w 1141507"/>
                <a:gd name="connsiteY66" fmla="*/ 2760804 h 3383919"/>
                <a:gd name="connsiteX67" fmla="*/ 421600 w 1141507"/>
                <a:gd name="connsiteY67" fmla="*/ 2222980 h 3383919"/>
                <a:gd name="connsiteX68" fmla="*/ 563950 w 1141507"/>
                <a:gd name="connsiteY68" fmla="*/ 1983895 h 3383919"/>
                <a:gd name="connsiteX69" fmla="*/ 377263 w 1141507"/>
                <a:gd name="connsiteY69" fmla="*/ 1445204 h 3383919"/>
                <a:gd name="connsiteX70" fmla="*/ 128979 w 1141507"/>
                <a:gd name="connsiteY70" fmla="*/ 1213526 h 3383919"/>
                <a:gd name="connsiteX71" fmla="*/ 120112 w 1141507"/>
                <a:gd name="connsiteY71" fmla="*/ 1097687 h 3383919"/>
                <a:gd name="connsiteX72" fmla="*/ 0 w 1141507"/>
                <a:gd name="connsiteY72" fmla="*/ 304041 h 3383919"/>
                <a:gd name="connsiteX0" fmla="*/ 0 w 1141507"/>
                <a:gd name="connsiteY0" fmla="*/ 304041 h 3383919"/>
                <a:gd name="connsiteX1" fmla="*/ 235627 w 1141507"/>
                <a:gd name="connsiteY1" fmla="*/ 310487 h 3383919"/>
                <a:gd name="connsiteX2" fmla="*/ 451593 w 1141507"/>
                <a:gd name="connsiteY2" fmla="*/ 508471 h 3383919"/>
                <a:gd name="connsiteX3" fmla="*/ 229911 w 1141507"/>
                <a:gd name="connsiteY3" fmla="*/ 500715 h 3383919"/>
                <a:gd name="connsiteX4" fmla="*/ 138467 w 1141507"/>
                <a:gd name="connsiteY4" fmla="*/ 464515 h 3383919"/>
                <a:gd name="connsiteX5" fmla="*/ 119070 w 1141507"/>
                <a:gd name="connsiteY5" fmla="*/ 492958 h 3383919"/>
                <a:gd name="connsiteX6" fmla="*/ 149712 w 1141507"/>
                <a:gd name="connsiteY6" fmla="*/ 566371 h 3383919"/>
                <a:gd name="connsiteX7" fmla="*/ 155253 w 1141507"/>
                <a:gd name="connsiteY7" fmla="*/ 693070 h 3383919"/>
                <a:gd name="connsiteX8" fmla="*/ 127383 w 1141507"/>
                <a:gd name="connsiteY8" fmla="*/ 754113 h 3383919"/>
                <a:gd name="connsiteX9" fmla="*/ 182802 w 1141507"/>
                <a:gd name="connsiteY9" fmla="*/ 774798 h 3383919"/>
                <a:gd name="connsiteX10" fmla="*/ 199430 w 1141507"/>
                <a:gd name="connsiteY10" fmla="*/ 790312 h 3383919"/>
                <a:gd name="connsiteX11" fmla="*/ 224370 w 1141507"/>
                <a:gd name="connsiteY11" fmla="*/ 816169 h 3383919"/>
                <a:gd name="connsiteX12" fmla="*/ 221599 w 1141507"/>
                <a:gd name="connsiteY12" fmla="*/ 818755 h 3383919"/>
                <a:gd name="connsiteX13" fmla="*/ 260392 w 1141507"/>
                <a:gd name="connsiteY13" fmla="*/ 813584 h 3383919"/>
                <a:gd name="connsiteX14" fmla="*/ 268706 w 1141507"/>
                <a:gd name="connsiteY14" fmla="*/ 777384 h 3383919"/>
                <a:gd name="connsiteX15" fmla="*/ 229911 w 1141507"/>
                <a:gd name="connsiteY15" fmla="*/ 699813 h 3383919"/>
                <a:gd name="connsiteX16" fmla="*/ 299187 w 1141507"/>
                <a:gd name="connsiteY16" fmla="*/ 653270 h 3383919"/>
                <a:gd name="connsiteX17" fmla="*/ 366959 w 1141507"/>
                <a:gd name="connsiteY17" fmla="*/ 661004 h 3383919"/>
                <a:gd name="connsiteX18" fmla="*/ 390792 w 1141507"/>
                <a:gd name="connsiteY18" fmla="*/ 693071 h 3383919"/>
                <a:gd name="connsiteX19" fmla="*/ 546521 w 1141507"/>
                <a:gd name="connsiteY19" fmla="*/ 749434 h 3383919"/>
                <a:gd name="connsiteX20" fmla="*/ 532113 w 1141507"/>
                <a:gd name="connsiteY20" fmla="*/ 713757 h 3383919"/>
                <a:gd name="connsiteX21" fmla="*/ 498861 w 1141507"/>
                <a:gd name="connsiteY21" fmla="*/ 674971 h 3383919"/>
                <a:gd name="connsiteX22" fmla="*/ 487777 w 1141507"/>
                <a:gd name="connsiteY22" fmla="*/ 623257 h 3383919"/>
                <a:gd name="connsiteX23" fmla="*/ 526572 w 1141507"/>
                <a:gd name="connsiteY23" fmla="*/ 574130 h 3383919"/>
                <a:gd name="connsiteX24" fmla="*/ 554282 w 1141507"/>
                <a:gd name="connsiteY24" fmla="*/ 545687 h 3383919"/>
                <a:gd name="connsiteX25" fmla="*/ 579222 w 1141507"/>
                <a:gd name="connsiteY25" fmla="*/ 509487 h 3383919"/>
                <a:gd name="connsiteX26" fmla="*/ 659582 w 1141507"/>
                <a:gd name="connsiteY26" fmla="*/ 504315 h 3383919"/>
                <a:gd name="connsiteX27" fmla="*/ 665123 w 1141507"/>
                <a:gd name="connsiteY27" fmla="*/ 483630 h 3383919"/>
                <a:gd name="connsiteX28" fmla="*/ 690063 w 1141507"/>
                <a:gd name="connsiteY28" fmla="*/ 447430 h 3383919"/>
                <a:gd name="connsiteX29" fmla="*/ 723867 w 1141507"/>
                <a:gd name="connsiteY29" fmla="*/ 429842 h 3383919"/>
                <a:gd name="connsiteX30" fmla="*/ 781507 w 1141507"/>
                <a:gd name="connsiteY30" fmla="*/ 442259 h 3383919"/>
                <a:gd name="connsiteX31" fmla="*/ 820300 w 1141507"/>
                <a:gd name="connsiteY31" fmla="*/ 462945 h 3383919"/>
                <a:gd name="connsiteX32" fmla="*/ 867408 w 1141507"/>
                <a:gd name="connsiteY32" fmla="*/ 470702 h 3383919"/>
                <a:gd name="connsiteX33" fmla="*/ 867408 w 1141507"/>
                <a:gd name="connsiteY33" fmla="*/ 475873 h 3383919"/>
                <a:gd name="connsiteX34" fmla="*/ 889577 w 1141507"/>
                <a:gd name="connsiteY34" fmla="*/ 416402 h 3383919"/>
                <a:gd name="connsiteX35" fmla="*/ 899552 w 1141507"/>
                <a:gd name="connsiteY35" fmla="*/ 382784 h 3383919"/>
                <a:gd name="connsiteX36" fmla="*/ 906203 w 1141507"/>
                <a:gd name="connsiteY36" fmla="*/ 364688 h 3383919"/>
                <a:gd name="connsiteX37" fmla="*/ 909140 w 1141507"/>
                <a:gd name="connsiteY37" fmla="*/ 333358 h 3383919"/>
                <a:gd name="connsiteX38" fmla="*/ 828614 w 1141507"/>
                <a:gd name="connsiteY38" fmla="*/ 287118 h 3383919"/>
                <a:gd name="connsiteX39" fmla="*/ 814759 w 1141507"/>
                <a:gd name="connsiteY39" fmla="*/ 214718 h 3383919"/>
                <a:gd name="connsiteX40" fmla="*/ 814759 w 1141507"/>
                <a:gd name="connsiteY40" fmla="*/ 196618 h 3383919"/>
                <a:gd name="connsiteX41" fmla="*/ 825842 w 1141507"/>
                <a:gd name="connsiteY41" fmla="*/ 173346 h 3383919"/>
                <a:gd name="connsiteX42" fmla="*/ 828614 w 1141507"/>
                <a:gd name="connsiteY42" fmla="*/ 157832 h 3383919"/>
                <a:gd name="connsiteX43" fmla="*/ 828613 w 1141507"/>
                <a:gd name="connsiteY43" fmla="*/ 100948 h 3383919"/>
                <a:gd name="connsiteX44" fmla="*/ 806445 w 1141507"/>
                <a:gd name="connsiteY44" fmla="*/ 77677 h 3383919"/>
                <a:gd name="connsiteX45" fmla="*/ 778735 w 1141507"/>
                <a:gd name="connsiteY45" fmla="*/ 46648 h 3383919"/>
                <a:gd name="connsiteX46" fmla="*/ 774567 w 1141507"/>
                <a:gd name="connsiteY46" fmla="*/ 22395 h 3383919"/>
                <a:gd name="connsiteX47" fmla="*/ 825843 w 1141507"/>
                <a:gd name="connsiteY47" fmla="*/ 104 h 3383919"/>
                <a:gd name="connsiteX48" fmla="*/ 879423 w 1141507"/>
                <a:gd name="connsiteY48" fmla="*/ 9976 h 3383919"/>
                <a:gd name="connsiteX49" fmla="*/ 958207 w 1141507"/>
                <a:gd name="connsiteY49" fmla="*/ 21886 h 3383919"/>
                <a:gd name="connsiteX50" fmla="*/ 1042530 w 1141507"/>
                <a:gd name="connsiteY50" fmla="*/ 91245 h 3383919"/>
                <a:gd name="connsiteX51" fmla="*/ 1104665 w 1141507"/>
                <a:gd name="connsiteY51" fmla="*/ 167341 h 3383919"/>
                <a:gd name="connsiteX52" fmla="*/ 1003694 w 1141507"/>
                <a:gd name="connsiteY52" fmla="*/ 196335 h 3383919"/>
                <a:gd name="connsiteX53" fmla="*/ 988160 w 1141507"/>
                <a:gd name="connsiteY53" fmla="*/ 243442 h 3383919"/>
                <a:gd name="connsiteX54" fmla="*/ 1045830 w 1141507"/>
                <a:gd name="connsiteY54" fmla="*/ 327932 h 3383919"/>
                <a:gd name="connsiteX55" fmla="*/ 1081364 w 1141507"/>
                <a:gd name="connsiteY55" fmla="*/ 334034 h 3383919"/>
                <a:gd name="connsiteX56" fmla="*/ 1133984 w 1141507"/>
                <a:gd name="connsiteY56" fmla="*/ 340374 h 3383919"/>
                <a:gd name="connsiteX57" fmla="*/ 1129021 w 1141507"/>
                <a:gd name="connsiteY57" fmla="*/ 451149 h 3383919"/>
                <a:gd name="connsiteX58" fmla="*/ 1140090 w 1141507"/>
                <a:gd name="connsiteY58" fmla="*/ 782117 h 3383919"/>
                <a:gd name="connsiteX59" fmla="*/ 1131222 w 1141507"/>
                <a:gd name="connsiteY59" fmla="*/ 1584716 h 3383919"/>
                <a:gd name="connsiteX60" fmla="*/ 1140089 w 1141507"/>
                <a:gd name="connsiteY60" fmla="*/ 2039798 h 3383919"/>
                <a:gd name="connsiteX61" fmla="*/ 1113641 w 1141507"/>
                <a:gd name="connsiteY61" fmla="*/ 3349763 h 3383919"/>
                <a:gd name="connsiteX62" fmla="*/ 855214 w 1141507"/>
                <a:gd name="connsiteY62" fmla="*/ 3306168 h 3383919"/>
                <a:gd name="connsiteX63" fmla="*/ 686736 w 1141507"/>
                <a:gd name="connsiteY63" fmla="*/ 3239973 h 3383919"/>
                <a:gd name="connsiteX64" fmla="*/ 509390 w 1141507"/>
                <a:gd name="connsiteY64" fmla="*/ 3148957 h 3383919"/>
                <a:gd name="connsiteX65" fmla="*/ 411092 w 1141507"/>
                <a:gd name="connsiteY65" fmla="*/ 3068440 h 3383919"/>
                <a:gd name="connsiteX66" fmla="*/ 705354 w 1141507"/>
                <a:gd name="connsiteY66" fmla="*/ 2760804 h 3383919"/>
                <a:gd name="connsiteX67" fmla="*/ 421600 w 1141507"/>
                <a:gd name="connsiteY67" fmla="*/ 2222980 h 3383919"/>
                <a:gd name="connsiteX68" fmla="*/ 563950 w 1141507"/>
                <a:gd name="connsiteY68" fmla="*/ 1983895 h 3383919"/>
                <a:gd name="connsiteX69" fmla="*/ 377263 w 1141507"/>
                <a:gd name="connsiteY69" fmla="*/ 1445204 h 3383919"/>
                <a:gd name="connsiteX70" fmla="*/ 128979 w 1141507"/>
                <a:gd name="connsiteY70" fmla="*/ 1213526 h 3383919"/>
                <a:gd name="connsiteX71" fmla="*/ 120112 w 1141507"/>
                <a:gd name="connsiteY71" fmla="*/ 1097687 h 3383919"/>
                <a:gd name="connsiteX72" fmla="*/ 0 w 1141507"/>
                <a:gd name="connsiteY72" fmla="*/ 304041 h 3383919"/>
                <a:gd name="connsiteX0" fmla="*/ 0 w 1141507"/>
                <a:gd name="connsiteY0" fmla="*/ 304041 h 3383919"/>
                <a:gd name="connsiteX1" fmla="*/ 235627 w 1141507"/>
                <a:gd name="connsiteY1" fmla="*/ 310487 h 3383919"/>
                <a:gd name="connsiteX2" fmla="*/ 609542 w 1141507"/>
                <a:gd name="connsiteY2" fmla="*/ 433487 h 3383919"/>
                <a:gd name="connsiteX3" fmla="*/ 229911 w 1141507"/>
                <a:gd name="connsiteY3" fmla="*/ 500715 h 3383919"/>
                <a:gd name="connsiteX4" fmla="*/ 138467 w 1141507"/>
                <a:gd name="connsiteY4" fmla="*/ 464515 h 3383919"/>
                <a:gd name="connsiteX5" fmla="*/ 119070 w 1141507"/>
                <a:gd name="connsiteY5" fmla="*/ 492958 h 3383919"/>
                <a:gd name="connsiteX6" fmla="*/ 149712 w 1141507"/>
                <a:gd name="connsiteY6" fmla="*/ 566371 h 3383919"/>
                <a:gd name="connsiteX7" fmla="*/ 155253 w 1141507"/>
                <a:gd name="connsiteY7" fmla="*/ 693070 h 3383919"/>
                <a:gd name="connsiteX8" fmla="*/ 127383 w 1141507"/>
                <a:gd name="connsiteY8" fmla="*/ 754113 h 3383919"/>
                <a:gd name="connsiteX9" fmla="*/ 182802 w 1141507"/>
                <a:gd name="connsiteY9" fmla="*/ 774798 h 3383919"/>
                <a:gd name="connsiteX10" fmla="*/ 199430 w 1141507"/>
                <a:gd name="connsiteY10" fmla="*/ 790312 h 3383919"/>
                <a:gd name="connsiteX11" fmla="*/ 224370 w 1141507"/>
                <a:gd name="connsiteY11" fmla="*/ 816169 h 3383919"/>
                <a:gd name="connsiteX12" fmla="*/ 221599 w 1141507"/>
                <a:gd name="connsiteY12" fmla="*/ 818755 h 3383919"/>
                <a:gd name="connsiteX13" fmla="*/ 260392 w 1141507"/>
                <a:gd name="connsiteY13" fmla="*/ 813584 h 3383919"/>
                <a:gd name="connsiteX14" fmla="*/ 268706 w 1141507"/>
                <a:gd name="connsiteY14" fmla="*/ 777384 h 3383919"/>
                <a:gd name="connsiteX15" fmla="*/ 229911 w 1141507"/>
                <a:gd name="connsiteY15" fmla="*/ 699813 h 3383919"/>
                <a:gd name="connsiteX16" fmla="*/ 299187 w 1141507"/>
                <a:gd name="connsiteY16" fmla="*/ 653270 h 3383919"/>
                <a:gd name="connsiteX17" fmla="*/ 366959 w 1141507"/>
                <a:gd name="connsiteY17" fmla="*/ 661004 h 3383919"/>
                <a:gd name="connsiteX18" fmla="*/ 390792 w 1141507"/>
                <a:gd name="connsiteY18" fmla="*/ 693071 h 3383919"/>
                <a:gd name="connsiteX19" fmla="*/ 546521 w 1141507"/>
                <a:gd name="connsiteY19" fmla="*/ 749434 h 3383919"/>
                <a:gd name="connsiteX20" fmla="*/ 532113 w 1141507"/>
                <a:gd name="connsiteY20" fmla="*/ 713757 h 3383919"/>
                <a:gd name="connsiteX21" fmla="*/ 498861 w 1141507"/>
                <a:gd name="connsiteY21" fmla="*/ 674971 h 3383919"/>
                <a:gd name="connsiteX22" fmla="*/ 487777 w 1141507"/>
                <a:gd name="connsiteY22" fmla="*/ 623257 h 3383919"/>
                <a:gd name="connsiteX23" fmla="*/ 526572 w 1141507"/>
                <a:gd name="connsiteY23" fmla="*/ 574130 h 3383919"/>
                <a:gd name="connsiteX24" fmla="*/ 554282 w 1141507"/>
                <a:gd name="connsiteY24" fmla="*/ 545687 h 3383919"/>
                <a:gd name="connsiteX25" fmla="*/ 579222 w 1141507"/>
                <a:gd name="connsiteY25" fmla="*/ 509487 h 3383919"/>
                <a:gd name="connsiteX26" fmla="*/ 659582 w 1141507"/>
                <a:gd name="connsiteY26" fmla="*/ 504315 h 3383919"/>
                <a:gd name="connsiteX27" fmla="*/ 665123 w 1141507"/>
                <a:gd name="connsiteY27" fmla="*/ 483630 h 3383919"/>
                <a:gd name="connsiteX28" fmla="*/ 690063 w 1141507"/>
                <a:gd name="connsiteY28" fmla="*/ 447430 h 3383919"/>
                <a:gd name="connsiteX29" fmla="*/ 723867 w 1141507"/>
                <a:gd name="connsiteY29" fmla="*/ 429842 h 3383919"/>
                <a:gd name="connsiteX30" fmla="*/ 781507 w 1141507"/>
                <a:gd name="connsiteY30" fmla="*/ 442259 h 3383919"/>
                <a:gd name="connsiteX31" fmla="*/ 820300 w 1141507"/>
                <a:gd name="connsiteY31" fmla="*/ 462945 h 3383919"/>
                <a:gd name="connsiteX32" fmla="*/ 867408 w 1141507"/>
                <a:gd name="connsiteY32" fmla="*/ 470702 h 3383919"/>
                <a:gd name="connsiteX33" fmla="*/ 867408 w 1141507"/>
                <a:gd name="connsiteY33" fmla="*/ 475873 h 3383919"/>
                <a:gd name="connsiteX34" fmla="*/ 889577 w 1141507"/>
                <a:gd name="connsiteY34" fmla="*/ 416402 h 3383919"/>
                <a:gd name="connsiteX35" fmla="*/ 899552 w 1141507"/>
                <a:gd name="connsiteY35" fmla="*/ 382784 h 3383919"/>
                <a:gd name="connsiteX36" fmla="*/ 906203 w 1141507"/>
                <a:gd name="connsiteY36" fmla="*/ 364688 h 3383919"/>
                <a:gd name="connsiteX37" fmla="*/ 909140 w 1141507"/>
                <a:gd name="connsiteY37" fmla="*/ 333358 h 3383919"/>
                <a:gd name="connsiteX38" fmla="*/ 828614 w 1141507"/>
                <a:gd name="connsiteY38" fmla="*/ 287118 h 3383919"/>
                <a:gd name="connsiteX39" fmla="*/ 814759 w 1141507"/>
                <a:gd name="connsiteY39" fmla="*/ 214718 h 3383919"/>
                <a:gd name="connsiteX40" fmla="*/ 814759 w 1141507"/>
                <a:gd name="connsiteY40" fmla="*/ 196618 h 3383919"/>
                <a:gd name="connsiteX41" fmla="*/ 825842 w 1141507"/>
                <a:gd name="connsiteY41" fmla="*/ 173346 h 3383919"/>
                <a:gd name="connsiteX42" fmla="*/ 828614 w 1141507"/>
                <a:gd name="connsiteY42" fmla="*/ 157832 h 3383919"/>
                <a:gd name="connsiteX43" fmla="*/ 828613 w 1141507"/>
                <a:gd name="connsiteY43" fmla="*/ 100948 h 3383919"/>
                <a:gd name="connsiteX44" fmla="*/ 806445 w 1141507"/>
                <a:gd name="connsiteY44" fmla="*/ 77677 h 3383919"/>
                <a:gd name="connsiteX45" fmla="*/ 778735 w 1141507"/>
                <a:gd name="connsiteY45" fmla="*/ 46648 h 3383919"/>
                <a:gd name="connsiteX46" fmla="*/ 774567 w 1141507"/>
                <a:gd name="connsiteY46" fmla="*/ 22395 h 3383919"/>
                <a:gd name="connsiteX47" fmla="*/ 825843 w 1141507"/>
                <a:gd name="connsiteY47" fmla="*/ 104 h 3383919"/>
                <a:gd name="connsiteX48" fmla="*/ 879423 w 1141507"/>
                <a:gd name="connsiteY48" fmla="*/ 9976 h 3383919"/>
                <a:gd name="connsiteX49" fmla="*/ 958207 w 1141507"/>
                <a:gd name="connsiteY49" fmla="*/ 21886 h 3383919"/>
                <a:gd name="connsiteX50" fmla="*/ 1042530 w 1141507"/>
                <a:gd name="connsiteY50" fmla="*/ 91245 h 3383919"/>
                <a:gd name="connsiteX51" fmla="*/ 1104665 w 1141507"/>
                <a:gd name="connsiteY51" fmla="*/ 167341 h 3383919"/>
                <a:gd name="connsiteX52" fmla="*/ 1003694 w 1141507"/>
                <a:gd name="connsiteY52" fmla="*/ 196335 h 3383919"/>
                <a:gd name="connsiteX53" fmla="*/ 988160 w 1141507"/>
                <a:gd name="connsiteY53" fmla="*/ 243442 h 3383919"/>
                <a:gd name="connsiteX54" fmla="*/ 1045830 w 1141507"/>
                <a:gd name="connsiteY54" fmla="*/ 327932 h 3383919"/>
                <a:gd name="connsiteX55" fmla="*/ 1081364 w 1141507"/>
                <a:gd name="connsiteY55" fmla="*/ 334034 h 3383919"/>
                <a:gd name="connsiteX56" fmla="*/ 1133984 w 1141507"/>
                <a:gd name="connsiteY56" fmla="*/ 340374 h 3383919"/>
                <a:gd name="connsiteX57" fmla="*/ 1129021 w 1141507"/>
                <a:gd name="connsiteY57" fmla="*/ 451149 h 3383919"/>
                <a:gd name="connsiteX58" fmla="*/ 1140090 w 1141507"/>
                <a:gd name="connsiteY58" fmla="*/ 782117 h 3383919"/>
                <a:gd name="connsiteX59" fmla="*/ 1131222 w 1141507"/>
                <a:gd name="connsiteY59" fmla="*/ 1584716 h 3383919"/>
                <a:gd name="connsiteX60" fmla="*/ 1140089 w 1141507"/>
                <a:gd name="connsiteY60" fmla="*/ 2039798 h 3383919"/>
                <a:gd name="connsiteX61" fmla="*/ 1113641 w 1141507"/>
                <a:gd name="connsiteY61" fmla="*/ 3349763 h 3383919"/>
                <a:gd name="connsiteX62" fmla="*/ 855214 w 1141507"/>
                <a:gd name="connsiteY62" fmla="*/ 3306168 h 3383919"/>
                <a:gd name="connsiteX63" fmla="*/ 686736 w 1141507"/>
                <a:gd name="connsiteY63" fmla="*/ 3239973 h 3383919"/>
                <a:gd name="connsiteX64" fmla="*/ 509390 w 1141507"/>
                <a:gd name="connsiteY64" fmla="*/ 3148957 h 3383919"/>
                <a:gd name="connsiteX65" fmla="*/ 411092 w 1141507"/>
                <a:gd name="connsiteY65" fmla="*/ 3068440 h 3383919"/>
                <a:gd name="connsiteX66" fmla="*/ 705354 w 1141507"/>
                <a:gd name="connsiteY66" fmla="*/ 2760804 h 3383919"/>
                <a:gd name="connsiteX67" fmla="*/ 421600 w 1141507"/>
                <a:gd name="connsiteY67" fmla="*/ 2222980 h 3383919"/>
                <a:gd name="connsiteX68" fmla="*/ 563950 w 1141507"/>
                <a:gd name="connsiteY68" fmla="*/ 1983895 h 3383919"/>
                <a:gd name="connsiteX69" fmla="*/ 377263 w 1141507"/>
                <a:gd name="connsiteY69" fmla="*/ 1445204 h 3383919"/>
                <a:gd name="connsiteX70" fmla="*/ 128979 w 1141507"/>
                <a:gd name="connsiteY70" fmla="*/ 1213526 h 3383919"/>
                <a:gd name="connsiteX71" fmla="*/ 120112 w 1141507"/>
                <a:gd name="connsiteY71" fmla="*/ 1097687 h 3383919"/>
                <a:gd name="connsiteX72" fmla="*/ 0 w 1141507"/>
                <a:gd name="connsiteY72" fmla="*/ 304041 h 3383919"/>
                <a:gd name="connsiteX0" fmla="*/ 0 w 1141507"/>
                <a:gd name="connsiteY0" fmla="*/ 319350 h 3399228"/>
                <a:gd name="connsiteX1" fmla="*/ 302132 w 1141507"/>
                <a:gd name="connsiteY1" fmla="*/ 0 h 3399228"/>
                <a:gd name="connsiteX2" fmla="*/ 609542 w 1141507"/>
                <a:gd name="connsiteY2" fmla="*/ 448796 h 3399228"/>
                <a:gd name="connsiteX3" fmla="*/ 229911 w 1141507"/>
                <a:gd name="connsiteY3" fmla="*/ 516024 h 3399228"/>
                <a:gd name="connsiteX4" fmla="*/ 138467 w 1141507"/>
                <a:gd name="connsiteY4" fmla="*/ 479824 h 3399228"/>
                <a:gd name="connsiteX5" fmla="*/ 119070 w 1141507"/>
                <a:gd name="connsiteY5" fmla="*/ 508267 h 3399228"/>
                <a:gd name="connsiteX6" fmla="*/ 149712 w 1141507"/>
                <a:gd name="connsiteY6" fmla="*/ 581680 h 3399228"/>
                <a:gd name="connsiteX7" fmla="*/ 155253 w 1141507"/>
                <a:gd name="connsiteY7" fmla="*/ 708379 h 3399228"/>
                <a:gd name="connsiteX8" fmla="*/ 127383 w 1141507"/>
                <a:gd name="connsiteY8" fmla="*/ 769422 h 3399228"/>
                <a:gd name="connsiteX9" fmla="*/ 182802 w 1141507"/>
                <a:gd name="connsiteY9" fmla="*/ 790107 h 3399228"/>
                <a:gd name="connsiteX10" fmla="*/ 199430 w 1141507"/>
                <a:gd name="connsiteY10" fmla="*/ 805621 h 3399228"/>
                <a:gd name="connsiteX11" fmla="*/ 224370 w 1141507"/>
                <a:gd name="connsiteY11" fmla="*/ 831478 h 3399228"/>
                <a:gd name="connsiteX12" fmla="*/ 221599 w 1141507"/>
                <a:gd name="connsiteY12" fmla="*/ 834064 h 3399228"/>
                <a:gd name="connsiteX13" fmla="*/ 260392 w 1141507"/>
                <a:gd name="connsiteY13" fmla="*/ 828893 h 3399228"/>
                <a:gd name="connsiteX14" fmla="*/ 268706 w 1141507"/>
                <a:gd name="connsiteY14" fmla="*/ 792693 h 3399228"/>
                <a:gd name="connsiteX15" fmla="*/ 229911 w 1141507"/>
                <a:gd name="connsiteY15" fmla="*/ 715122 h 3399228"/>
                <a:gd name="connsiteX16" fmla="*/ 299187 w 1141507"/>
                <a:gd name="connsiteY16" fmla="*/ 668579 h 3399228"/>
                <a:gd name="connsiteX17" fmla="*/ 366959 w 1141507"/>
                <a:gd name="connsiteY17" fmla="*/ 676313 h 3399228"/>
                <a:gd name="connsiteX18" fmla="*/ 390792 w 1141507"/>
                <a:gd name="connsiteY18" fmla="*/ 708380 h 3399228"/>
                <a:gd name="connsiteX19" fmla="*/ 546521 w 1141507"/>
                <a:gd name="connsiteY19" fmla="*/ 764743 h 3399228"/>
                <a:gd name="connsiteX20" fmla="*/ 532113 w 1141507"/>
                <a:gd name="connsiteY20" fmla="*/ 729066 h 3399228"/>
                <a:gd name="connsiteX21" fmla="*/ 498861 w 1141507"/>
                <a:gd name="connsiteY21" fmla="*/ 690280 h 3399228"/>
                <a:gd name="connsiteX22" fmla="*/ 487777 w 1141507"/>
                <a:gd name="connsiteY22" fmla="*/ 638566 h 3399228"/>
                <a:gd name="connsiteX23" fmla="*/ 526572 w 1141507"/>
                <a:gd name="connsiteY23" fmla="*/ 589439 h 3399228"/>
                <a:gd name="connsiteX24" fmla="*/ 554282 w 1141507"/>
                <a:gd name="connsiteY24" fmla="*/ 560996 h 3399228"/>
                <a:gd name="connsiteX25" fmla="*/ 579222 w 1141507"/>
                <a:gd name="connsiteY25" fmla="*/ 524796 h 3399228"/>
                <a:gd name="connsiteX26" fmla="*/ 659582 w 1141507"/>
                <a:gd name="connsiteY26" fmla="*/ 519624 h 3399228"/>
                <a:gd name="connsiteX27" fmla="*/ 665123 w 1141507"/>
                <a:gd name="connsiteY27" fmla="*/ 498939 h 3399228"/>
                <a:gd name="connsiteX28" fmla="*/ 690063 w 1141507"/>
                <a:gd name="connsiteY28" fmla="*/ 462739 h 3399228"/>
                <a:gd name="connsiteX29" fmla="*/ 723867 w 1141507"/>
                <a:gd name="connsiteY29" fmla="*/ 445151 h 3399228"/>
                <a:gd name="connsiteX30" fmla="*/ 781507 w 1141507"/>
                <a:gd name="connsiteY30" fmla="*/ 457568 h 3399228"/>
                <a:gd name="connsiteX31" fmla="*/ 820300 w 1141507"/>
                <a:gd name="connsiteY31" fmla="*/ 478254 h 3399228"/>
                <a:gd name="connsiteX32" fmla="*/ 867408 w 1141507"/>
                <a:gd name="connsiteY32" fmla="*/ 486011 h 3399228"/>
                <a:gd name="connsiteX33" fmla="*/ 867408 w 1141507"/>
                <a:gd name="connsiteY33" fmla="*/ 491182 h 3399228"/>
                <a:gd name="connsiteX34" fmla="*/ 889577 w 1141507"/>
                <a:gd name="connsiteY34" fmla="*/ 431711 h 3399228"/>
                <a:gd name="connsiteX35" fmla="*/ 899552 w 1141507"/>
                <a:gd name="connsiteY35" fmla="*/ 398093 h 3399228"/>
                <a:gd name="connsiteX36" fmla="*/ 906203 w 1141507"/>
                <a:gd name="connsiteY36" fmla="*/ 379997 h 3399228"/>
                <a:gd name="connsiteX37" fmla="*/ 909140 w 1141507"/>
                <a:gd name="connsiteY37" fmla="*/ 348667 h 3399228"/>
                <a:gd name="connsiteX38" fmla="*/ 828614 w 1141507"/>
                <a:gd name="connsiteY38" fmla="*/ 302427 h 3399228"/>
                <a:gd name="connsiteX39" fmla="*/ 814759 w 1141507"/>
                <a:gd name="connsiteY39" fmla="*/ 230027 h 3399228"/>
                <a:gd name="connsiteX40" fmla="*/ 814759 w 1141507"/>
                <a:gd name="connsiteY40" fmla="*/ 211927 h 3399228"/>
                <a:gd name="connsiteX41" fmla="*/ 825842 w 1141507"/>
                <a:gd name="connsiteY41" fmla="*/ 188655 h 3399228"/>
                <a:gd name="connsiteX42" fmla="*/ 828614 w 1141507"/>
                <a:gd name="connsiteY42" fmla="*/ 173141 h 3399228"/>
                <a:gd name="connsiteX43" fmla="*/ 828613 w 1141507"/>
                <a:gd name="connsiteY43" fmla="*/ 116257 h 3399228"/>
                <a:gd name="connsiteX44" fmla="*/ 806445 w 1141507"/>
                <a:gd name="connsiteY44" fmla="*/ 92986 h 3399228"/>
                <a:gd name="connsiteX45" fmla="*/ 778735 w 1141507"/>
                <a:gd name="connsiteY45" fmla="*/ 61957 h 3399228"/>
                <a:gd name="connsiteX46" fmla="*/ 774567 w 1141507"/>
                <a:gd name="connsiteY46" fmla="*/ 37704 h 3399228"/>
                <a:gd name="connsiteX47" fmla="*/ 825843 w 1141507"/>
                <a:gd name="connsiteY47" fmla="*/ 15413 h 3399228"/>
                <a:gd name="connsiteX48" fmla="*/ 879423 w 1141507"/>
                <a:gd name="connsiteY48" fmla="*/ 25285 h 3399228"/>
                <a:gd name="connsiteX49" fmla="*/ 958207 w 1141507"/>
                <a:gd name="connsiteY49" fmla="*/ 37195 h 3399228"/>
                <a:gd name="connsiteX50" fmla="*/ 1042530 w 1141507"/>
                <a:gd name="connsiteY50" fmla="*/ 106554 h 3399228"/>
                <a:gd name="connsiteX51" fmla="*/ 1104665 w 1141507"/>
                <a:gd name="connsiteY51" fmla="*/ 182650 h 3399228"/>
                <a:gd name="connsiteX52" fmla="*/ 1003694 w 1141507"/>
                <a:gd name="connsiteY52" fmla="*/ 211644 h 3399228"/>
                <a:gd name="connsiteX53" fmla="*/ 988160 w 1141507"/>
                <a:gd name="connsiteY53" fmla="*/ 258751 h 3399228"/>
                <a:gd name="connsiteX54" fmla="*/ 1045830 w 1141507"/>
                <a:gd name="connsiteY54" fmla="*/ 343241 h 3399228"/>
                <a:gd name="connsiteX55" fmla="*/ 1081364 w 1141507"/>
                <a:gd name="connsiteY55" fmla="*/ 349343 h 3399228"/>
                <a:gd name="connsiteX56" fmla="*/ 1133984 w 1141507"/>
                <a:gd name="connsiteY56" fmla="*/ 355683 h 3399228"/>
                <a:gd name="connsiteX57" fmla="*/ 1129021 w 1141507"/>
                <a:gd name="connsiteY57" fmla="*/ 466458 h 3399228"/>
                <a:gd name="connsiteX58" fmla="*/ 1140090 w 1141507"/>
                <a:gd name="connsiteY58" fmla="*/ 797426 h 3399228"/>
                <a:gd name="connsiteX59" fmla="*/ 1131222 w 1141507"/>
                <a:gd name="connsiteY59" fmla="*/ 1600025 h 3399228"/>
                <a:gd name="connsiteX60" fmla="*/ 1140089 w 1141507"/>
                <a:gd name="connsiteY60" fmla="*/ 2055107 h 3399228"/>
                <a:gd name="connsiteX61" fmla="*/ 1113641 w 1141507"/>
                <a:gd name="connsiteY61" fmla="*/ 3365072 h 3399228"/>
                <a:gd name="connsiteX62" fmla="*/ 855214 w 1141507"/>
                <a:gd name="connsiteY62" fmla="*/ 3321477 h 3399228"/>
                <a:gd name="connsiteX63" fmla="*/ 686736 w 1141507"/>
                <a:gd name="connsiteY63" fmla="*/ 3255282 h 3399228"/>
                <a:gd name="connsiteX64" fmla="*/ 509390 w 1141507"/>
                <a:gd name="connsiteY64" fmla="*/ 3164266 h 3399228"/>
                <a:gd name="connsiteX65" fmla="*/ 411092 w 1141507"/>
                <a:gd name="connsiteY65" fmla="*/ 3083749 h 3399228"/>
                <a:gd name="connsiteX66" fmla="*/ 705354 w 1141507"/>
                <a:gd name="connsiteY66" fmla="*/ 2776113 h 3399228"/>
                <a:gd name="connsiteX67" fmla="*/ 421600 w 1141507"/>
                <a:gd name="connsiteY67" fmla="*/ 2238289 h 3399228"/>
                <a:gd name="connsiteX68" fmla="*/ 563950 w 1141507"/>
                <a:gd name="connsiteY68" fmla="*/ 1999204 h 3399228"/>
                <a:gd name="connsiteX69" fmla="*/ 377263 w 1141507"/>
                <a:gd name="connsiteY69" fmla="*/ 1460513 h 3399228"/>
                <a:gd name="connsiteX70" fmla="*/ 128979 w 1141507"/>
                <a:gd name="connsiteY70" fmla="*/ 1228835 h 3399228"/>
                <a:gd name="connsiteX71" fmla="*/ 120112 w 1141507"/>
                <a:gd name="connsiteY71" fmla="*/ 1112996 h 3399228"/>
                <a:gd name="connsiteX72" fmla="*/ 0 w 1141507"/>
                <a:gd name="connsiteY72" fmla="*/ 319350 h 3399228"/>
                <a:gd name="connsiteX0" fmla="*/ 252941 w 1394448"/>
                <a:gd name="connsiteY0" fmla="*/ 400620 h 3480498"/>
                <a:gd name="connsiteX1" fmla="*/ 3464 w 1394448"/>
                <a:gd name="connsiteY1" fmla="*/ 0 h 3480498"/>
                <a:gd name="connsiteX2" fmla="*/ 555073 w 1394448"/>
                <a:gd name="connsiteY2" fmla="*/ 81270 h 3480498"/>
                <a:gd name="connsiteX3" fmla="*/ 862483 w 1394448"/>
                <a:gd name="connsiteY3" fmla="*/ 530066 h 3480498"/>
                <a:gd name="connsiteX4" fmla="*/ 482852 w 1394448"/>
                <a:gd name="connsiteY4" fmla="*/ 597294 h 3480498"/>
                <a:gd name="connsiteX5" fmla="*/ 391408 w 1394448"/>
                <a:gd name="connsiteY5" fmla="*/ 561094 h 3480498"/>
                <a:gd name="connsiteX6" fmla="*/ 372011 w 1394448"/>
                <a:gd name="connsiteY6" fmla="*/ 589537 h 3480498"/>
                <a:gd name="connsiteX7" fmla="*/ 402653 w 1394448"/>
                <a:gd name="connsiteY7" fmla="*/ 662950 h 3480498"/>
                <a:gd name="connsiteX8" fmla="*/ 408194 w 1394448"/>
                <a:gd name="connsiteY8" fmla="*/ 789649 h 3480498"/>
                <a:gd name="connsiteX9" fmla="*/ 380324 w 1394448"/>
                <a:gd name="connsiteY9" fmla="*/ 850692 h 3480498"/>
                <a:gd name="connsiteX10" fmla="*/ 435743 w 1394448"/>
                <a:gd name="connsiteY10" fmla="*/ 871377 h 3480498"/>
                <a:gd name="connsiteX11" fmla="*/ 452371 w 1394448"/>
                <a:gd name="connsiteY11" fmla="*/ 886891 h 3480498"/>
                <a:gd name="connsiteX12" fmla="*/ 477311 w 1394448"/>
                <a:gd name="connsiteY12" fmla="*/ 912748 h 3480498"/>
                <a:gd name="connsiteX13" fmla="*/ 474540 w 1394448"/>
                <a:gd name="connsiteY13" fmla="*/ 915334 h 3480498"/>
                <a:gd name="connsiteX14" fmla="*/ 513333 w 1394448"/>
                <a:gd name="connsiteY14" fmla="*/ 910163 h 3480498"/>
                <a:gd name="connsiteX15" fmla="*/ 521647 w 1394448"/>
                <a:gd name="connsiteY15" fmla="*/ 873963 h 3480498"/>
                <a:gd name="connsiteX16" fmla="*/ 482852 w 1394448"/>
                <a:gd name="connsiteY16" fmla="*/ 796392 h 3480498"/>
                <a:gd name="connsiteX17" fmla="*/ 552128 w 1394448"/>
                <a:gd name="connsiteY17" fmla="*/ 749849 h 3480498"/>
                <a:gd name="connsiteX18" fmla="*/ 619900 w 1394448"/>
                <a:gd name="connsiteY18" fmla="*/ 757583 h 3480498"/>
                <a:gd name="connsiteX19" fmla="*/ 643733 w 1394448"/>
                <a:gd name="connsiteY19" fmla="*/ 789650 h 3480498"/>
                <a:gd name="connsiteX20" fmla="*/ 799462 w 1394448"/>
                <a:gd name="connsiteY20" fmla="*/ 846013 h 3480498"/>
                <a:gd name="connsiteX21" fmla="*/ 785054 w 1394448"/>
                <a:gd name="connsiteY21" fmla="*/ 810336 h 3480498"/>
                <a:gd name="connsiteX22" fmla="*/ 751802 w 1394448"/>
                <a:gd name="connsiteY22" fmla="*/ 771550 h 3480498"/>
                <a:gd name="connsiteX23" fmla="*/ 740718 w 1394448"/>
                <a:gd name="connsiteY23" fmla="*/ 719836 h 3480498"/>
                <a:gd name="connsiteX24" fmla="*/ 779513 w 1394448"/>
                <a:gd name="connsiteY24" fmla="*/ 670709 h 3480498"/>
                <a:gd name="connsiteX25" fmla="*/ 807223 w 1394448"/>
                <a:gd name="connsiteY25" fmla="*/ 642266 h 3480498"/>
                <a:gd name="connsiteX26" fmla="*/ 832163 w 1394448"/>
                <a:gd name="connsiteY26" fmla="*/ 606066 h 3480498"/>
                <a:gd name="connsiteX27" fmla="*/ 912523 w 1394448"/>
                <a:gd name="connsiteY27" fmla="*/ 600894 h 3480498"/>
                <a:gd name="connsiteX28" fmla="*/ 918064 w 1394448"/>
                <a:gd name="connsiteY28" fmla="*/ 580209 h 3480498"/>
                <a:gd name="connsiteX29" fmla="*/ 943004 w 1394448"/>
                <a:gd name="connsiteY29" fmla="*/ 544009 h 3480498"/>
                <a:gd name="connsiteX30" fmla="*/ 976808 w 1394448"/>
                <a:gd name="connsiteY30" fmla="*/ 526421 h 3480498"/>
                <a:gd name="connsiteX31" fmla="*/ 1034448 w 1394448"/>
                <a:gd name="connsiteY31" fmla="*/ 538838 h 3480498"/>
                <a:gd name="connsiteX32" fmla="*/ 1073241 w 1394448"/>
                <a:gd name="connsiteY32" fmla="*/ 559524 h 3480498"/>
                <a:gd name="connsiteX33" fmla="*/ 1120349 w 1394448"/>
                <a:gd name="connsiteY33" fmla="*/ 567281 h 3480498"/>
                <a:gd name="connsiteX34" fmla="*/ 1120349 w 1394448"/>
                <a:gd name="connsiteY34" fmla="*/ 572452 h 3480498"/>
                <a:gd name="connsiteX35" fmla="*/ 1142518 w 1394448"/>
                <a:gd name="connsiteY35" fmla="*/ 512981 h 3480498"/>
                <a:gd name="connsiteX36" fmla="*/ 1152493 w 1394448"/>
                <a:gd name="connsiteY36" fmla="*/ 479363 h 3480498"/>
                <a:gd name="connsiteX37" fmla="*/ 1159144 w 1394448"/>
                <a:gd name="connsiteY37" fmla="*/ 461267 h 3480498"/>
                <a:gd name="connsiteX38" fmla="*/ 1162081 w 1394448"/>
                <a:gd name="connsiteY38" fmla="*/ 429937 h 3480498"/>
                <a:gd name="connsiteX39" fmla="*/ 1081555 w 1394448"/>
                <a:gd name="connsiteY39" fmla="*/ 383697 h 3480498"/>
                <a:gd name="connsiteX40" fmla="*/ 1067700 w 1394448"/>
                <a:gd name="connsiteY40" fmla="*/ 311297 h 3480498"/>
                <a:gd name="connsiteX41" fmla="*/ 1067700 w 1394448"/>
                <a:gd name="connsiteY41" fmla="*/ 293197 h 3480498"/>
                <a:gd name="connsiteX42" fmla="*/ 1078783 w 1394448"/>
                <a:gd name="connsiteY42" fmla="*/ 269925 h 3480498"/>
                <a:gd name="connsiteX43" fmla="*/ 1081555 w 1394448"/>
                <a:gd name="connsiteY43" fmla="*/ 254411 h 3480498"/>
                <a:gd name="connsiteX44" fmla="*/ 1081554 w 1394448"/>
                <a:gd name="connsiteY44" fmla="*/ 197527 h 3480498"/>
                <a:gd name="connsiteX45" fmla="*/ 1059386 w 1394448"/>
                <a:gd name="connsiteY45" fmla="*/ 174256 h 3480498"/>
                <a:gd name="connsiteX46" fmla="*/ 1031676 w 1394448"/>
                <a:gd name="connsiteY46" fmla="*/ 143227 h 3480498"/>
                <a:gd name="connsiteX47" fmla="*/ 1027508 w 1394448"/>
                <a:gd name="connsiteY47" fmla="*/ 118974 h 3480498"/>
                <a:gd name="connsiteX48" fmla="*/ 1078784 w 1394448"/>
                <a:gd name="connsiteY48" fmla="*/ 96683 h 3480498"/>
                <a:gd name="connsiteX49" fmla="*/ 1132364 w 1394448"/>
                <a:gd name="connsiteY49" fmla="*/ 106555 h 3480498"/>
                <a:gd name="connsiteX50" fmla="*/ 1211148 w 1394448"/>
                <a:gd name="connsiteY50" fmla="*/ 118465 h 3480498"/>
                <a:gd name="connsiteX51" fmla="*/ 1295471 w 1394448"/>
                <a:gd name="connsiteY51" fmla="*/ 187824 h 3480498"/>
                <a:gd name="connsiteX52" fmla="*/ 1357606 w 1394448"/>
                <a:gd name="connsiteY52" fmla="*/ 263920 h 3480498"/>
                <a:gd name="connsiteX53" fmla="*/ 1256635 w 1394448"/>
                <a:gd name="connsiteY53" fmla="*/ 292914 h 3480498"/>
                <a:gd name="connsiteX54" fmla="*/ 1241101 w 1394448"/>
                <a:gd name="connsiteY54" fmla="*/ 340021 h 3480498"/>
                <a:gd name="connsiteX55" fmla="*/ 1298771 w 1394448"/>
                <a:gd name="connsiteY55" fmla="*/ 424511 h 3480498"/>
                <a:gd name="connsiteX56" fmla="*/ 1334305 w 1394448"/>
                <a:gd name="connsiteY56" fmla="*/ 430613 h 3480498"/>
                <a:gd name="connsiteX57" fmla="*/ 1386925 w 1394448"/>
                <a:gd name="connsiteY57" fmla="*/ 436953 h 3480498"/>
                <a:gd name="connsiteX58" fmla="*/ 1381962 w 1394448"/>
                <a:gd name="connsiteY58" fmla="*/ 547728 h 3480498"/>
                <a:gd name="connsiteX59" fmla="*/ 1393031 w 1394448"/>
                <a:gd name="connsiteY59" fmla="*/ 878696 h 3480498"/>
                <a:gd name="connsiteX60" fmla="*/ 1384163 w 1394448"/>
                <a:gd name="connsiteY60" fmla="*/ 1681295 h 3480498"/>
                <a:gd name="connsiteX61" fmla="*/ 1393030 w 1394448"/>
                <a:gd name="connsiteY61" fmla="*/ 2136377 h 3480498"/>
                <a:gd name="connsiteX62" fmla="*/ 1366582 w 1394448"/>
                <a:gd name="connsiteY62" fmla="*/ 3446342 h 3480498"/>
                <a:gd name="connsiteX63" fmla="*/ 1108155 w 1394448"/>
                <a:gd name="connsiteY63" fmla="*/ 3402747 h 3480498"/>
                <a:gd name="connsiteX64" fmla="*/ 939677 w 1394448"/>
                <a:gd name="connsiteY64" fmla="*/ 3336552 h 3480498"/>
                <a:gd name="connsiteX65" fmla="*/ 762331 w 1394448"/>
                <a:gd name="connsiteY65" fmla="*/ 3245536 h 3480498"/>
                <a:gd name="connsiteX66" fmla="*/ 664033 w 1394448"/>
                <a:gd name="connsiteY66" fmla="*/ 3165019 h 3480498"/>
                <a:gd name="connsiteX67" fmla="*/ 958295 w 1394448"/>
                <a:gd name="connsiteY67" fmla="*/ 2857383 h 3480498"/>
                <a:gd name="connsiteX68" fmla="*/ 674541 w 1394448"/>
                <a:gd name="connsiteY68" fmla="*/ 2319559 h 3480498"/>
                <a:gd name="connsiteX69" fmla="*/ 816891 w 1394448"/>
                <a:gd name="connsiteY69" fmla="*/ 2080474 h 3480498"/>
                <a:gd name="connsiteX70" fmla="*/ 630204 w 1394448"/>
                <a:gd name="connsiteY70" fmla="*/ 1541783 h 3480498"/>
                <a:gd name="connsiteX71" fmla="*/ 381920 w 1394448"/>
                <a:gd name="connsiteY71" fmla="*/ 1310105 h 3480498"/>
                <a:gd name="connsiteX72" fmla="*/ 373053 w 1394448"/>
                <a:gd name="connsiteY72" fmla="*/ 1194266 h 3480498"/>
                <a:gd name="connsiteX73" fmla="*/ 252941 w 1394448"/>
                <a:gd name="connsiteY73" fmla="*/ 400620 h 3480498"/>
                <a:gd name="connsiteX0" fmla="*/ 0 w 1426923"/>
                <a:gd name="connsiteY0" fmla="*/ 390277 h 3480498"/>
                <a:gd name="connsiteX1" fmla="*/ 35939 w 1426923"/>
                <a:gd name="connsiteY1" fmla="*/ 0 h 3480498"/>
                <a:gd name="connsiteX2" fmla="*/ 587548 w 1426923"/>
                <a:gd name="connsiteY2" fmla="*/ 81270 h 3480498"/>
                <a:gd name="connsiteX3" fmla="*/ 894958 w 1426923"/>
                <a:gd name="connsiteY3" fmla="*/ 530066 h 3480498"/>
                <a:gd name="connsiteX4" fmla="*/ 515327 w 1426923"/>
                <a:gd name="connsiteY4" fmla="*/ 597294 h 3480498"/>
                <a:gd name="connsiteX5" fmla="*/ 423883 w 1426923"/>
                <a:gd name="connsiteY5" fmla="*/ 561094 h 3480498"/>
                <a:gd name="connsiteX6" fmla="*/ 404486 w 1426923"/>
                <a:gd name="connsiteY6" fmla="*/ 589537 h 3480498"/>
                <a:gd name="connsiteX7" fmla="*/ 435128 w 1426923"/>
                <a:gd name="connsiteY7" fmla="*/ 662950 h 3480498"/>
                <a:gd name="connsiteX8" fmla="*/ 440669 w 1426923"/>
                <a:gd name="connsiteY8" fmla="*/ 789649 h 3480498"/>
                <a:gd name="connsiteX9" fmla="*/ 412799 w 1426923"/>
                <a:gd name="connsiteY9" fmla="*/ 850692 h 3480498"/>
                <a:gd name="connsiteX10" fmla="*/ 468218 w 1426923"/>
                <a:gd name="connsiteY10" fmla="*/ 871377 h 3480498"/>
                <a:gd name="connsiteX11" fmla="*/ 484846 w 1426923"/>
                <a:gd name="connsiteY11" fmla="*/ 886891 h 3480498"/>
                <a:gd name="connsiteX12" fmla="*/ 509786 w 1426923"/>
                <a:gd name="connsiteY12" fmla="*/ 912748 h 3480498"/>
                <a:gd name="connsiteX13" fmla="*/ 507015 w 1426923"/>
                <a:gd name="connsiteY13" fmla="*/ 915334 h 3480498"/>
                <a:gd name="connsiteX14" fmla="*/ 545808 w 1426923"/>
                <a:gd name="connsiteY14" fmla="*/ 910163 h 3480498"/>
                <a:gd name="connsiteX15" fmla="*/ 554122 w 1426923"/>
                <a:gd name="connsiteY15" fmla="*/ 873963 h 3480498"/>
                <a:gd name="connsiteX16" fmla="*/ 515327 w 1426923"/>
                <a:gd name="connsiteY16" fmla="*/ 796392 h 3480498"/>
                <a:gd name="connsiteX17" fmla="*/ 584603 w 1426923"/>
                <a:gd name="connsiteY17" fmla="*/ 749849 h 3480498"/>
                <a:gd name="connsiteX18" fmla="*/ 652375 w 1426923"/>
                <a:gd name="connsiteY18" fmla="*/ 757583 h 3480498"/>
                <a:gd name="connsiteX19" fmla="*/ 676208 w 1426923"/>
                <a:gd name="connsiteY19" fmla="*/ 789650 h 3480498"/>
                <a:gd name="connsiteX20" fmla="*/ 831937 w 1426923"/>
                <a:gd name="connsiteY20" fmla="*/ 846013 h 3480498"/>
                <a:gd name="connsiteX21" fmla="*/ 817529 w 1426923"/>
                <a:gd name="connsiteY21" fmla="*/ 810336 h 3480498"/>
                <a:gd name="connsiteX22" fmla="*/ 784277 w 1426923"/>
                <a:gd name="connsiteY22" fmla="*/ 771550 h 3480498"/>
                <a:gd name="connsiteX23" fmla="*/ 773193 w 1426923"/>
                <a:gd name="connsiteY23" fmla="*/ 719836 h 3480498"/>
                <a:gd name="connsiteX24" fmla="*/ 811988 w 1426923"/>
                <a:gd name="connsiteY24" fmla="*/ 670709 h 3480498"/>
                <a:gd name="connsiteX25" fmla="*/ 839698 w 1426923"/>
                <a:gd name="connsiteY25" fmla="*/ 642266 h 3480498"/>
                <a:gd name="connsiteX26" fmla="*/ 864638 w 1426923"/>
                <a:gd name="connsiteY26" fmla="*/ 606066 h 3480498"/>
                <a:gd name="connsiteX27" fmla="*/ 944998 w 1426923"/>
                <a:gd name="connsiteY27" fmla="*/ 600894 h 3480498"/>
                <a:gd name="connsiteX28" fmla="*/ 950539 w 1426923"/>
                <a:gd name="connsiteY28" fmla="*/ 580209 h 3480498"/>
                <a:gd name="connsiteX29" fmla="*/ 975479 w 1426923"/>
                <a:gd name="connsiteY29" fmla="*/ 544009 h 3480498"/>
                <a:gd name="connsiteX30" fmla="*/ 1009283 w 1426923"/>
                <a:gd name="connsiteY30" fmla="*/ 526421 h 3480498"/>
                <a:gd name="connsiteX31" fmla="*/ 1066923 w 1426923"/>
                <a:gd name="connsiteY31" fmla="*/ 538838 h 3480498"/>
                <a:gd name="connsiteX32" fmla="*/ 1105716 w 1426923"/>
                <a:gd name="connsiteY32" fmla="*/ 559524 h 3480498"/>
                <a:gd name="connsiteX33" fmla="*/ 1152824 w 1426923"/>
                <a:gd name="connsiteY33" fmla="*/ 567281 h 3480498"/>
                <a:gd name="connsiteX34" fmla="*/ 1152824 w 1426923"/>
                <a:gd name="connsiteY34" fmla="*/ 572452 h 3480498"/>
                <a:gd name="connsiteX35" fmla="*/ 1174993 w 1426923"/>
                <a:gd name="connsiteY35" fmla="*/ 512981 h 3480498"/>
                <a:gd name="connsiteX36" fmla="*/ 1184968 w 1426923"/>
                <a:gd name="connsiteY36" fmla="*/ 479363 h 3480498"/>
                <a:gd name="connsiteX37" fmla="*/ 1191619 w 1426923"/>
                <a:gd name="connsiteY37" fmla="*/ 461267 h 3480498"/>
                <a:gd name="connsiteX38" fmla="*/ 1194556 w 1426923"/>
                <a:gd name="connsiteY38" fmla="*/ 429937 h 3480498"/>
                <a:gd name="connsiteX39" fmla="*/ 1114030 w 1426923"/>
                <a:gd name="connsiteY39" fmla="*/ 383697 h 3480498"/>
                <a:gd name="connsiteX40" fmla="*/ 1100175 w 1426923"/>
                <a:gd name="connsiteY40" fmla="*/ 311297 h 3480498"/>
                <a:gd name="connsiteX41" fmla="*/ 1100175 w 1426923"/>
                <a:gd name="connsiteY41" fmla="*/ 293197 h 3480498"/>
                <a:gd name="connsiteX42" fmla="*/ 1111258 w 1426923"/>
                <a:gd name="connsiteY42" fmla="*/ 269925 h 3480498"/>
                <a:gd name="connsiteX43" fmla="*/ 1114030 w 1426923"/>
                <a:gd name="connsiteY43" fmla="*/ 254411 h 3480498"/>
                <a:gd name="connsiteX44" fmla="*/ 1114029 w 1426923"/>
                <a:gd name="connsiteY44" fmla="*/ 197527 h 3480498"/>
                <a:gd name="connsiteX45" fmla="*/ 1091861 w 1426923"/>
                <a:gd name="connsiteY45" fmla="*/ 174256 h 3480498"/>
                <a:gd name="connsiteX46" fmla="*/ 1064151 w 1426923"/>
                <a:gd name="connsiteY46" fmla="*/ 143227 h 3480498"/>
                <a:gd name="connsiteX47" fmla="*/ 1059983 w 1426923"/>
                <a:gd name="connsiteY47" fmla="*/ 118974 h 3480498"/>
                <a:gd name="connsiteX48" fmla="*/ 1111259 w 1426923"/>
                <a:gd name="connsiteY48" fmla="*/ 96683 h 3480498"/>
                <a:gd name="connsiteX49" fmla="*/ 1164839 w 1426923"/>
                <a:gd name="connsiteY49" fmla="*/ 106555 h 3480498"/>
                <a:gd name="connsiteX50" fmla="*/ 1243623 w 1426923"/>
                <a:gd name="connsiteY50" fmla="*/ 118465 h 3480498"/>
                <a:gd name="connsiteX51" fmla="*/ 1327946 w 1426923"/>
                <a:gd name="connsiteY51" fmla="*/ 187824 h 3480498"/>
                <a:gd name="connsiteX52" fmla="*/ 1390081 w 1426923"/>
                <a:gd name="connsiteY52" fmla="*/ 263920 h 3480498"/>
                <a:gd name="connsiteX53" fmla="*/ 1289110 w 1426923"/>
                <a:gd name="connsiteY53" fmla="*/ 292914 h 3480498"/>
                <a:gd name="connsiteX54" fmla="*/ 1273576 w 1426923"/>
                <a:gd name="connsiteY54" fmla="*/ 340021 h 3480498"/>
                <a:gd name="connsiteX55" fmla="*/ 1331246 w 1426923"/>
                <a:gd name="connsiteY55" fmla="*/ 424511 h 3480498"/>
                <a:gd name="connsiteX56" fmla="*/ 1366780 w 1426923"/>
                <a:gd name="connsiteY56" fmla="*/ 430613 h 3480498"/>
                <a:gd name="connsiteX57" fmla="*/ 1419400 w 1426923"/>
                <a:gd name="connsiteY57" fmla="*/ 436953 h 3480498"/>
                <a:gd name="connsiteX58" fmla="*/ 1414437 w 1426923"/>
                <a:gd name="connsiteY58" fmla="*/ 547728 h 3480498"/>
                <a:gd name="connsiteX59" fmla="*/ 1425506 w 1426923"/>
                <a:gd name="connsiteY59" fmla="*/ 878696 h 3480498"/>
                <a:gd name="connsiteX60" fmla="*/ 1416638 w 1426923"/>
                <a:gd name="connsiteY60" fmla="*/ 1681295 h 3480498"/>
                <a:gd name="connsiteX61" fmla="*/ 1425505 w 1426923"/>
                <a:gd name="connsiteY61" fmla="*/ 2136377 h 3480498"/>
                <a:gd name="connsiteX62" fmla="*/ 1399057 w 1426923"/>
                <a:gd name="connsiteY62" fmla="*/ 3446342 h 3480498"/>
                <a:gd name="connsiteX63" fmla="*/ 1140630 w 1426923"/>
                <a:gd name="connsiteY63" fmla="*/ 3402747 h 3480498"/>
                <a:gd name="connsiteX64" fmla="*/ 972152 w 1426923"/>
                <a:gd name="connsiteY64" fmla="*/ 3336552 h 3480498"/>
                <a:gd name="connsiteX65" fmla="*/ 794806 w 1426923"/>
                <a:gd name="connsiteY65" fmla="*/ 3245536 h 3480498"/>
                <a:gd name="connsiteX66" fmla="*/ 696508 w 1426923"/>
                <a:gd name="connsiteY66" fmla="*/ 3165019 h 3480498"/>
                <a:gd name="connsiteX67" fmla="*/ 990770 w 1426923"/>
                <a:gd name="connsiteY67" fmla="*/ 2857383 h 3480498"/>
                <a:gd name="connsiteX68" fmla="*/ 707016 w 1426923"/>
                <a:gd name="connsiteY68" fmla="*/ 2319559 h 3480498"/>
                <a:gd name="connsiteX69" fmla="*/ 849366 w 1426923"/>
                <a:gd name="connsiteY69" fmla="*/ 2080474 h 3480498"/>
                <a:gd name="connsiteX70" fmla="*/ 662679 w 1426923"/>
                <a:gd name="connsiteY70" fmla="*/ 1541783 h 3480498"/>
                <a:gd name="connsiteX71" fmla="*/ 414395 w 1426923"/>
                <a:gd name="connsiteY71" fmla="*/ 1310105 h 3480498"/>
                <a:gd name="connsiteX72" fmla="*/ 405528 w 1426923"/>
                <a:gd name="connsiteY72" fmla="*/ 1194266 h 3480498"/>
                <a:gd name="connsiteX73" fmla="*/ 0 w 1426923"/>
                <a:gd name="connsiteY73" fmla="*/ 390277 h 3480498"/>
                <a:gd name="connsiteX0" fmla="*/ 0 w 1426923"/>
                <a:gd name="connsiteY0" fmla="*/ 390277 h 3480498"/>
                <a:gd name="connsiteX1" fmla="*/ 35939 w 1426923"/>
                <a:gd name="connsiteY1" fmla="*/ 0 h 3480498"/>
                <a:gd name="connsiteX2" fmla="*/ 587548 w 1426923"/>
                <a:gd name="connsiteY2" fmla="*/ 81270 h 3480498"/>
                <a:gd name="connsiteX3" fmla="*/ 856165 w 1426923"/>
                <a:gd name="connsiteY3" fmla="*/ 281840 h 3480498"/>
                <a:gd name="connsiteX4" fmla="*/ 894958 w 1426923"/>
                <a:gd name="connsiteY4" fmla="*/ 530066 h 3480498"/>
                <a:gd name="connsiteX5" fmla="*/ 515327 w 1426923"/>
                <a:gd name="connsiteY5" fmla="*/ 597294 h 3480498"/>
                <a:gd name="connsiteX6" fmla="*/ 423883 w 1426923"/>
                <a:gd name="connsiteY6" fmla="*/ 561094 h 3480498"/>
                <a:gd name="connsiteX7" fmla="*/ 404486 w 1426923"/>
                <a:gd name="connsiteY7" fmla="*/ 589537 h 3480498"/>
                <a:gd name="connsiteX8" fmla="*/ 435128 w 1426923"/>
                <a:gd name="connsiteY8" fmla="*/ 662950 h 3480498"/>
                <a:gd name="connsiteX9" fmla="*/ 440669 w 1426923"/>
                <a:gd name="connsiteY9" fmla="*/ 789649 h 3480498"/>
                <a:gd name="connsiteX10" fmla="*/ 412799 w 1426923"/>
                <a:gd name="connsiteY10" fmla="*/ 850692 h 3480498"/>
                <a:gd name="connsiteX11" fmla="*/ 468218 w 1426923"/>
                <a:gd name="connsiteY11" fmla="*/ 871377 h 3480498"/>
                <a:gd name="connsiteX12" fmla="*/ 484846 w 1426923"/>
                <a:gd name="connsiteY12" fmla="*/ 886891 h 3480498"/>
                <a:gd name="connsiteX13" fmla="*/ 509786 w 1426923"/>
                <a:gd name="connsiteY13" fmla="*/ 912748 h 3480498"/>
                <a:gd name="connsiteX14" fmla="*/ 507015 w 1426923"/>
                <a:gd name="connsiteY14" fmla="*/ 915334 h 3480498"/>
                <a:gd name="connsiteX15" fmla="*/ 545808 w 1426923"/>
                <a:gd name="connsiteY15" fmla="*/ 910163 h 3480498"/>
                <a:gd name="connsiteX16" fmla="*/ 554122 w 1426923"/>
                <a:gd name="connsiteY16" fmla="*/ 873963 h 3480498"/>
                <a:gd name="connsiteX17" fmla="*/ 515327 w 1426923"/>
                <a:gd name="connsiteY17" fmla="*/ 796392 h 3480498"/>
                <a:gd name="connsiteX18" fmla="*/ 584603 w 1426923"/>
                <a:gd name="connsiteY18" fmla="*/ 749849 h 3480498"/>
                <a:gd name="connsiteX19" fmla="*/ 652375 w 1426923"/>
                <a:gd name="connsiteY19" fmla="*/ 757583 h 3480498"/>
                <a:gd name="connsiteX20" fmla="*/ 676208 w 1426923"/>
                <a:gd name="connsiteY20" fmla="*/ 789650 h 3480498"/>
                <a:gd name="connsiteX21" fmla="*/ 831937 w 1426923"/>
                <a:gd name="connsiteY21" fmla="*/ 846013 h 3480498"/>
                <a:gd name="connsiteX22" fmla="*/ 817529 w 1426923"/>
                <a:gd name="connsiteY22" fmla="*/ 810336 h 3480498"/>
                <a:gd name="connsiteX23" fmla="*/ 784277 w 1426923"/>
                <a:gd name="connsiteY23" fmla="*/ 771550 h 3480498"/>
                <a:gd name="connsiteX24" fmla="*/ 773193 w 1426923"/>
                <a:gd name="connsiteY24" fmla="*/ 719836 h 3480498"/>
                <a:gd name="connsiteX25" fmla="*/ 811988 w 1426923"/>
                <a:gd name="connsiteY25" fmla="*/ 670709 h 3480498"/>
                <a:gd name="connsiteX26" fmla="*/ 839698 w 1426923"/>
                <a:gd name="connsiteY26" fmla="*/ 642266 h 3480498"/>
                <a:gd name="connsiteX27" fmla="*/ 864638 w 1426923"/>
                <a:gd name="connsiteY27" fmla="*/ 606066 h 3480498"/>
                <a:gd name="connsiteX28" fmla="*/ 944998 w 1426923"/>
                <a:gd name="connsiteY28" fmla="*/ 600894 h 3480498"/>
                <a:gd name="connsiteX29" fmla="*/ 950539 w 1426923"/>
                <a:gd name="connsiteY29" fmla="*/ 580209 h 3480498"/>
                <a:gd name="connsiteX30" fmla="*/ 975479 w 1426923"/>
                <a:gd name="connsiteY30" fmla="*/ 544009 h 3480498"/>
                <a:gd name="connsiteX31" fmla="*/ 1009283 w 1426923"/>
                <a:gd name="connsiteY31" fmla="*/ 526421 h 3480498"/>
                <a:gd name="connsiteX32" fmla="*/ 1066923 w 1426923"/>
                <a:gd name="connsiteY32" fmla="*/ 538838 h 3480498"/>
                <a:gd name="connsiteX33" fmla="*/ 1105716 w 1426923"/>
                <a:gd name="connsiteY33" fmla="*/ 559524 h 3480498"/>
                <a:gd name="connsiteX34" fmla="*/ 1152824 w 1426923"/>
                <a:gd name="connsiteY34" fmla="*/ 567281 h 3480498"/>
                <a:gd name="connsiteX35" fmla="*/ 1152824 w 1426923"/>
                <a:gd name="connsiteY35" fmla="*/ 572452 h 3480498"/>
                <a:gd name="connsiteX36" fmla="*/ 1174993 w 1426923"/>
                <a:gd name="connsiteY36" fmla="*/ 512981 h 3480498"/>
                <a:gd name="connsiteX37" fmla="*/ 1184968 w 1426923"/>
                <a:gd name="connsiteY37" fmla="*/ 479363 h 3480498"/>
                <a:gd name="connsiteX38" fmla="*/ 1191619 w 1426923"/>
                <a:gd name="connsiteY38" fmla="*/ 461267 h 3480498"/>
                <a:gd name="connsiteX39" fmla="*/ 1194556 w 1426923"/>
                <a:gd name="connsiteY39" fmla="*/ 429937 h 3480498"/>
                <a:gd name="connsiteX40" fmla="*/ 1114030 w 1426923"/>
                <a:gd name="connsiteY40" fmla="*/ 383697 h 3480498"/>
                <a:gd name="connsiteX41" fmla="*/ 1100175 w 1426923"/>
                <a:gd name="connsiteY41" fmla="*/ 311297 h 3480498"/>
                <a:gd name="connsiteX42" fmla="*/ 1100175 w 1426923"/>
                <a:gd name="connsiteY42" fmla="*/ 293197 h 3480498"/>
                <a:gd name="connsiteX43" fmla="*/ 1111258 w 1426923"/>
                <a:gd name="connsiteY43" fmla="*/ 269925 h 3480498"/>
                <a:gd name="connsiteX44" fmla="*/ 1114030 w 1426923"/>
                <a:gd name="connsiteY44" fmla="*/ 254411 h 3480498"/>
                <a:gd name="connsiteX45" fmla="*/ 1114029 w 1426923"/>
                <a:gd name="connsiteY45" fmla="*/ 197527 h 3480498"/>
                <a:gd name="connsiteX46" fmla="*/ 1091861 w 1426923"/>
                <a:gd name="connsiteY46" fmla="*/ 174256 h 3480498"/>
                <a:gd name="connsiteX47" fmla="*/ 1064151 w 1426923"/>
                <a:gd name="connsiteY47" fmla="*/ 143227 h 3480498"/>
                <a:gd name="connsiteX48" fmla="*/ 1059983 w 1426923"/>
                <a:gd name="connsiteY48" fmla="*/ 118974 h 3480498"/>
                <a:gd name="connsiteX49" fmla="*/ 1111259 w 1426923"/>
                <a:gd name="connsiteY49" fmla="*/ 96683 h 3480498"/>
                <a:gd name="connsiteX50" fmla="*/ 1164839 w 1426923"/>
                <a:gd name="connsiteY50" fmla="*/ 106555 h 3480498"/>
                <a:gd name="connsiteX51" fmla="*/ 1243623 w 1426923"/>
                <a:gd name="connsiteY51" fmla="*/ 118465 h 3480498"/>
                <a:gd name="connsiteX52" fmla="*/ 1327946 w 1426923"/>
                <a:gd name="connsiteY52" fmla="*/ 187824 h 3480498"/>
                <a:gd name="connsiteX53" fmla="*/ 1390081 w 1426923"/>
                <a:gd name="connsiteY53" fmla="*/ 263920 h 3480498"/>
                <a:gd name="connsiteX54" fmla="*/ 1289110 w 1426923"/>
                <a:gd name="connsiteY54" fmla="*/ 292914 h 3480498"/>
                <a:gd name="connsiteX55" fmla="*/ 1273576 w 1426923"/>
                <a:gd name="connsiteY55" fmla="*/ 340021 h 3480498"/>
                <a:gd name="connsiteX56" fmla="*/ 1331246 w 1426923"/>
                <a:gd name="connsiteY56" fmla="*/ 424511 h 3480498"/>
                <a:gd name="connsiteX57" fmla="*/ 1366780 w 1426923"/>
                <a:gd name="connsiteY57" fmla="*/ 430613 h 3480498"/>
                <a:gd name="connsiteX58" fmla="*/ 1419400 w 1426923"/>
                <a:gd name="connsiteY58" fmla="*/ 436953 h 3480498"/>
                <a:gd name="connsiteX59" fmla="*/ 1414437 w 1426923"/>
                <a:gd name="connsiteY59" fmla="*/ 547728 h 3480498"/>
                <a:gd name="connsiteX60" fmla="*/ 1425506 w 1426923"/>
                <a:gd name="connsiteY60" fmla="*/ 878696 h 3480498"/>
                <a:gd name="connsiteX61" fmla="*/ 1416638 w 1426923"/>
                <a:gd name="connsiteY61" fmla="*/ 1681295 h 3480498"/>
                <a:gd name="connsiteX62" fmla="*/ 1425505 w 1426923"/>
                <a:gd name="connsiteY62" fmla="*/ 2136377 h 3480498"/>
                <a:gd name="connsiteX63" fmla="*/ 1399057 w 1426923"/>
                <a:gd name="connsiteY63" fmla="*/ 3446342 h 3480498"/>
                <a:gd name="connsiteX64" fmla="*/ 1140630 w 1426923"/>
                <a:gd name="connsiteY64" fmla="*/ 3402747 h 3480498"/>
                <a:gd name="connsiteX65" fmla="*/ 972152 w 1426923"/>
                <a:gd name="connsiteY65" fmla="*/ 3336552 h 3480498"/>
                <a:gd name="connsiteX66" fmla="*/ 794806 w 1426923"/>
                <a:gd name="connsiteY66" fmla="*/ 3245536 h 3480498"/>
                <a:gd name="connsiteX67" fmla="*/ 696508 w 1426923"/>
                <a:gd name="connsiteY67" fmla="*/ 3165019 h 3480498"/>
                <a:gd name="connsiteX68" fmla="*/ 990770 w 1426923"/>
                <a:gd name="connsiteY68" fmla="*/ 2857383 h 3480498"/>
                <a:gd name="connsiteX69" fmla="*/ 707016 w 1426923"/>
                <a:gd name="connsiteY69" fmla="*/ 2319559 h 3480498"/>
                <a:gd name="connsiteX70" fmla="*/ 849366 w 1426923"/>
                <a:gd name="connsiteY70" fmla="*/ 2080474 h 3480498"/>
                <a:gd name="connsiteX71" fmla="*/ 662679 w 1426923"/>
                <a:gd name="connsiteY71" fmla="*/ 1541783 h 3480498"/>
                <a:gd name="connsiteX72" fmla="*/ 414395 w 1426923"/>
                <a:gd name="connsiteY72" fmla="*/ 1310105 h 3480498"/>
                <a:gd name="connsiteX73" fmla="*/ 405528 w 1426923"/>
                <a:gd name="connsiteY73" fmla="*/ 1194266 h 3480498"/>
                <a:gd name="connsiteX74" fmla="*/ 0 w 1426923"/>
                <a:gd name="connsiteY74" fmla="*/ 390277 h 3480498"/>
                <a:gd name="connsiteX0" fmla="*/ 0 w 1426923"/>
                <a:gd name="connsiteY0" fmla="*/ 390277 h 3480498"/>
                <a:gd name="connsiteX1" fmla="*/ 35939 w 1426923"/>
                <a:gd name="connsiteY1" fmla="*/ 0 h 3480498"/>
                <a:gd name="connsiteX2" fmla="*/ 587548 w 1426923"/>
                <a:gd name="connsiteY2" fmla="*/ 81270 h 3480498"/>
                <a:gd name="connsiteX3" fmla="*/ 878333 w 1426923"/>
                <a:gd name="connsiteY3" fmla="*/ 279255 h 3480498"/>
                <a:gd name="connsiteX4" fmla="*/ 894958 w 1426923"/>
                <a:gd name="connsiteY4" fmla="*/ 530066 h 3480498"/>
                <a:gd name="connsiteX5" fmla="*/ 515327 w 1426923"/>
                <a:gd name="connsiteY5" fmla="*/ 597294 h 3480498"/>
                <a:gd name="connsiteX6" fmla="*/ 423883 w 1426923"/>
                <a:gd name="connsiteY6" fmla="*/ 561094 h 3480498"/>
                <a:gd name="connsiteX7" fmla="*/ 404486 w 1426923"/>
                <a:gd name="connsiteY7" fmla="*/ 589537 h 3480498"/>
                <a:gd name="connsiteX8" fmla="*/ 435128 w 1426923"/>
                <a:gd name="connsiteY8" fmla="*/ 662950 h 3480498"/>
                <a:gd name="connsiteX9" fmla="*/ 440669 w 1426923"/>
                <a:gd name="connsiteY9" fmla="*/ 789649 h 3480498"/>
                <a:gd name="connsiteX10" fmla="*/ 412799 w 1426923"/>
                <a:gd name="connsiteY10" fmla="*/ 850692 h 3480498"/>
                <a:gd name="connsiteX11" fmla="*/ 468218 w 1426923"/>
                <a:gd name="connsiteY11" fmla="*/ 871377 h 3480498"/>
                <a:gd name="connsiteX12" fmla="*/ 484846 w 1426923"/>
                <a:gd name="connsiteY12" fmla="*/ 886891 h 3480498"/>
                <a:gd name="connsiteX13" fmla="*/ 509786 w 1426923"/>
                <a:gd name="connsiteY13" fmla="*/ 912748 h 3480498"/>
                <a:gd name="connsiteX14" fmla="*/ 507015 w 1426923"/>
                <a:gd name="connsiteY14" fmla="*/ 915334 h 3480498"/>
                <a:gd name="connsiteX15" fmla="*/ 545808 w 1426923"/>
                <a:gd name="connsiteY15" fmla="*/ 910163 h 3480498"/>
                <a:gd name="connsiteX16" fmla="*/ 554122 w 1426923"/>
                <a:gd name="connsiteY16" fmla="*/ 873963 h 3480498"/>
                <a:gd name="connsiteX17" fmla="*/ 515327 w 1426923"/>
                <a:gd name="connsiteY17" fmla="*/ 796392 h 3480498"/>
                <a:gd name="connsiteX18" fmla="*/ 584603 w 1426923"/>
                <a:gd name="connsiteY18" fmla="*/ 749849 h 3480498"/>
                <a:gd name="connsiteX19" fmla="*/ 652375 w 1426923"/>
                <a:gd name="connsiteY19" fmla="*/ 757583 h 3480498"/>
                <a:gd name="connsiteX20" fmla="*/ 676208 w 1426923"/>
                <a:gd name="connsiteY20" fmla="*/ 789650 h 3480498"/>
                <a:gd name="connsiteX21" fmla="*/ 831937 w 1426923"/>
                <a:gd name="connsiteY21" fmla="*/ 846013 h 3480498"/>
                <a:gd name="connsiteX22" fmla="*/ 817529 w 1426923"/>
                <a:gd name="connsiteY22" fmla="*/ 810336 h 3480498"/>
                <a:gd name="connsiteX23" fmla="*/ 784277 w 1426923"/>
                <a:gd name="connsiteY23" fmla="*/ 771550 h 3480498"/>
                <a:gd name="connsiteX24" fmla="*/ 773193 w 1426923"/>
                <a:gd name="connsiteY24" fmla="*/ 719836 h 3480498"/>
                <a:gd name="connsiteX25" fmla="*/ 811988 w 1426923"/>
                <a:gd name="connsiteY25" fmla="*/ 670709 h 3480498"/>
                <a:gd name="connsiteX26" fmla="*/ 839698 w 1426923"/>
                <a:gd name="connsiteY26" fmla="*/ 642266 h 3480498"/>
                <a:gd name="connsiteX27" fmla="*/ 864638 w 1426923"/>
                <a:gd name="connsiteY27" fmla="*/ 606066 h 3480498"/>
                <a:gd name="connsiteX28" fmla="*/ 944998 w 1426923"/>
                <a:gd name="connsiteY28" fmla="*/ 600894 h 3480498"/>
                <a:gd name="connsiteX29" fmla="*/ 950539 w 1426923"/>
                <a:gd name="connsiteY29" fmla="*/ 580209 h 3480498"/>
                <a:gd name="connsiteX30" fmla="*/ 975479 w 1426923"/>
                <a:gd name="connsiteY30" fmla="*/ 544009 h 3480498"/>
                <a:gd name="connsiteX31" fmla="*/ 1009283 w 1426923"/>
                <a:gd name="connsiteY31" fmla="*/ 526421 h 3480498"/>
                <a:gd name="connsiteX32" fmla="*/ 1066923 w 1426923"/>
                <a:gd name="connsiteY32" fmla="*/ 538838 h 3480498"/>
                <a:gd name="connsiteX33" fmla="*/ 1105716 w 1426923"/>
                <a:gd name="connsiteY33" fmla="*/ 559524 h 3480498"/>
                <a:gd name="connsiteX34" fmla="*/ 1152824 w 1426923"/>
                <a:gd name="connsiteY34" fmla="*/ 567281 h 3480498"/>
                <a:gd name="connsiteX35" fmla="*/ 1152824 w 1426923"/>
                <a:gd name="connsiteY35" fmla="*/ 572452 h 3480498"/>
                <a:gd name="connsiteX36" fmla="*/ 1174993 w 1426923"/>
                <a:gd name="connsiteY36" fmla="*/ 512981 h 3480498"/>
                <a:gd name="connsiteX37" fmla="*/ 1184968 w 1426923"/>
                <a:gd name="connsiteY37" fmla="*/ 479363 h 3480498"/>
                <a:gd name="connsiteX38" fmla="*/ 1191619 w 1426923"/>
                <a:gd name="connsiteY38" fmla="*/ 461267 h 3480498"/>
                <a:gd name="connsiteX39" fmla="*/ 1194556 w 1426923"/>
                <a:gd name="connsiteY39" fmla="*/ 429937 h 3480498"/>
                <a:gd name="connsiteX40" fmla="*/ 1114030 w 1426923"/>
                <a:gd name="connsiteY40" fmla="*/ 383697 h 3480498"/>
                <a:gd name="connsiteX41" fmla="*/ 1100175 w 1426923"/>
                <a:gd name="connsiteY41" fmla="*/ 311297 h 3480498"/>
                <a:gd name="connsiteX42" fmla="*/ 1100175 w 1426923"/>
                <a:gd name="connsiteY42" fmla="*/ 293197 h 3480498"/>
                <a:gd name="connsiteX43" fmla="*/ 1111258 w 1426923"/>
                <a:gd name="connsiteY43" fmla="*/ 269925 h 3480498"/>
                <a:gd name="connsiteX44" fmla="*/ 1114030 w 1426923"/>
                <a:gd name="connsiteY44" fmla="*/ 254411 h 3480498"/>
                <a:gd name="connsiteX45" fmla="*/ 1114029 w 1426923"/>
                <a:gd name="connsiteY45" fmla="*/ 197527 h 3480498"/>
                <a:gd name="connsiteX46" fmla="*/ 1091861 w 1426923"/>
                <a:gd name="connsiteY46" fmla="*/ 174256 h 3480498"/>
                <a:gd name="connsiteX47" fmla="*/ 1064151 w 1426923"/>
                <a:gd name="connsiteY47" fmla="*/ 143227 h 3480498"/>
                <a:gd name="connsiteX48" fmla="*/ 1059983 w 1426923"/>
                <a:gd name="connsiteY48" fmla="*/ 118974 h 3480498"/>
                <a:gd name="connsiteX49" fmla="*/ 1111259 w 1426923"/>
                <a:gd name="connsiteY49" fmla="*/ 96683 h 3480498"/>
                <a:gd name="connsiteX50" fmla="*/ 1164839 w 1426923"/>
                <a:gd name="connsiteY50" fmla="*/ 106555 h 3480498"/>
                <a:gd name="connsiteX51" fmla="*/ 1243623 w 1426923"/>
                <a:gd name="connsiteY51" fmla="*/ 118465 h 3480498"/>
                <a:gd name="connsiteX52" fmla="*/ 1327946 w 1426923"/>
                <a:gd name="connsiteY52" fmla="*/ 187824 h 3480498"/>
                <a:gd name="connsiteX53" fmla="*/ 1390081 w 1426923"/>
                <a:gd name="connsiteY53" fmla="*/ 263920 h 3480498"/>
                <a:gd name="connsiteX54" fmla="*/ 1289110 w 1426923"/>
                <a:gd name="connsiteY54" fmla="*/ 292914 h 3480498"/>
                <a:gd name="connsiteX55" fmla="*/ 1273576 w 1426923"/>
                <a:gd name="connsiteY55" fmla="*/ 340021 h 3480498"/>
                <a:gd name="connsiteX56" fmla="*/ 1331246 w 1426923"/>
                <a:gd name="connsiteY56" fmla="*/ 424511 h 3480498"/>
                <a:gd name="connsiteX57" fmla="*/ 1366780 w 1426923"/>
                <a:gd name="connsiteY57" fmla="*/ 430613 h 3480498"/>
                <a:gd name="connsiteX58" fmla="*/ 1419400 w 1426923"/>
                <a:gd name="connsiteY58" fmla="*/ 436953 h 3480498"/>
                <a:gd name="connsiteX59" fmla="*/ 1414437 w 1426923"/>
                <a:gd name="connsiteY59" fmla="*/ 547728 h 3480498"/>
                <a:gd name="connsiteX60" fmla="*/ 1425506 w 1426923"/>
                <a:gd name="connsiteY60" fmla="*/ 878696 h 3480498"/>
                <a:gd name="connsiteX61" fmla="*/ 1416638 w 1426923"/>
                <a:gd name="connsiteY61" fmla="*/ 1681295 h 3480498"/>
                <a:gd name="connsiteX62" fmla="*/ 1425505 w 1426923"/>
                <a:gd name="connsiteY62" fmla="*/ 2136377 h 3480498"/>
                <a:gd name="connsiteX63" fmla="*/ 1399057 w 1426923"/>
                <a:gd name="connsiteY63" fmla="*/ 3446342 h 3480498"/>
                <a:gd name="connsiteX64" fmla="*/ 1140630 w 1426923"/>
                <a:gd name="connsiteY64" fmla="*/ 3402747 h 3480498"/>
                <a:gd name="connsiteX65" fmla="*/ 972152 w 1426923"/>
                <a:gd name="connsiteY65" fmla="*/ 3336552 h 3480498"/>
                <a:gd name="connsiteX66" fmla="*/ 794806 w 1426923"/>
                <a:gd name="connsiteY66" fmla="*/ 3245536 h 3480498"/>
                <a:gd name="connsiteX67" fmla="*/ 696508 w 1426923"/>
                <a:gd name="connsiteY67" fmla="*/ 3165019 h 3480498"/>
                <a:gd name="connsiteX68" fmla="*/ 990770 w 1426923"/>
                <a:gd name="connsiteY68" fmla="*/ 2857383 h 3480498"/>
                <a:gd name="connsiteX69" fmla="*/ 707016 w 1426923"/>
                <a:gd name="connsiteY69" fmla="*/ 2319559 h 3480498"/>
                <a:gd name="connsiteX70" fmla="*/ 849366 w 1426923"/>
                <a:gd name="connsiteY70" fmla="*/ 2080474 h 3480498"/>
                <a:gd name="connsiteX71" fmla="*/ 662679 w 1426923"/>
                <a:gd name="connsiteY71" fmla="*/ 1541783 h 3480498"/>
                <a:gd name="connsiteX72" fmla="*/ 414395 w 1426923"/>
                <a:gd name="connsiteY72" fmla="*/ 1310105 h 3480498"/>
                <a:gd name="connsiteX73" fmla="*/ 405528 w 1426923"/>
                <a:gd name="connsiteY73" fmla="*/ 1194266 h 3480498"/>
                <a:gd name="connsiteX74" fmla="*/ 0 w 1426923"/>
                <a:gd name="connsiteY74" fmla="*/ 390277 h 3480498"/>
                <a:gd name="connsiteX0" fmla="*/ 0 w 1426923"/>
                <a:gd name="connsiteY0" fmla="*/ 390277 h 3480498"/>
                <a:gd name="connsiteX1" fmla="*/ 35939 w 1426923"/>
                <a:gd name="connsiteY1" fmla="*/ 0 h 3480498"/>
                <a:gd name="connsiteX2" fmla="*/ 587548 w 1426923"/>
                <a:gd name="connsiteY2" fmla="*/ 81270 h 3480498"/>
                <a:gd name="connsiteX3" fmla="*/ 878333 w 1426923"/>
                <a:gd name="connsiteY3" fmla="*/ 279255 h 3480498"/>
                <a:gd name="connsiteX4" fmla="*/ 911586 w 1426923"/>
                <a:gd name="connsiteY4" fmla="*/ 305111 h 3480498"/>
                <a:gd name="connsiteX5" fmla="*/ 894958 w 1426923"/>
                <a:gd name="connsiteY5" fmla="*/ 530066 h 3480498"/>
                <a:gd name="connsiteX6" fmla="*/ 515327 w 1426923"/>
                <a:gd name="connsiteY6" fmla="*/ 597294 h 3480498"/>
                <a:gd name="connsiteX7" fmla="*/ 423883 w 1426923"/>
                <a:gd name="connsiteY7" fmla="*/ 561094 h 3480498"/>
                <a:gd name="connsiteX8" fmla="*/ 404486 w 1426923"/>
                <a:gd name="connsiteY8" fmla="*/ 589537 h 3480498"/>
                <a:gd name="connsiteX9" fmla="*/ 435128 w 1426923"/>
                <a:gd name="connsiteY9" fmla="*/ 662950 h 3480498"/>
                <a:gd name="connsiteX10" fmla="*/ 440669 w 1426923"/>
                <a:gd name="connsiteY10" fmla="*/ 789649 h 3480498"/>
                <a:gd name="connsiteX11" fmla="*/ 412799 w 1426923"/>
                <a:gd name="connsiteY11" fmla="*/ 850692 h 3480498"/>
                <a:gd name="connsiteX12" fmla="*/ 468218 w 1426923"/>
                <a:gd name="connsiteY12" fmla="*/ 871377 h 3480498"/>
                <a:gd name="connsiteX13" fmla="*/ 484846 w 1426923"/>
                <a:gd name="connsiteY13" fmla="*/ 886891 h 3480498"/>
                <a:gd name="connsiteX14" fmla="*/ 509786 w 1426923"/>
                <a:gd name="connsiteY14" fmla="*/ 912748 h 3480498"/>
                <a:gd name="connsiteX15" fmla="*/ 507015 w 1426923"/>
                <a:gd name="connsiteY15" fmla="*/ 915334 h 3480498"/>
                <a:gd name="connsiteX16" fmla="*/ 545808 w 1426923"/>
                <a:gd name="connsiteY16" fmla="*/ 910163 h 3480498"/>
                <a:gd name="connsiteX17" fmla="*/ 554122 w 1426923"/>
                <a:gd name="connsiteY17" fmla="*/ 873963 h 3480498"/>
                <a:gd name="connsiteX18" fmla="*/ 515327 w 1426923"/>
                <a:gd name="connsiteY18" fmla="*/ 796392 h 3480498"/>
                <a:gd name="connsiteX19" fmla="*/ 584603 w 1426923"/>
                <a:gd name="connsiteY19" fmla="*/ 749849 h 3480498"/>
                <a:gd name="connsiteX20" fmla="*/ 652375 w 1426923"/>
                <a:gd name="connsiteY20" fmla="*/ 757583 h 3480498"/>
                <a:gd name="connsiteX21" fmla="*/ 676208 w 1426923"/>
                <a:gd name="connsiteY21" fmla="*/ 789650 h 3480498"/>
                <a:gd name="connsiteX22" fmla="*/ 831937 w 1426923"/>
                <a:gd name="connsiteY22" fmla="*/ 846013 h 3480498"/>
                <a:gd name="connsiteX23" fmla="*/ 817529 w 1426923"/>
                <a:gd name="connsiteY23" fmla="*/ 810336 h 3480498"/>
                <a:gd name="connsiteX24" fmla="*/ 784277 w 1426923"/>
                <a:gd name="connsiteY24" fmla="*/ 771550 h 3480498"/>
                <a:gd name="connsiteX25" fmla="*/ 773193 w 1426923"/>
                <a:gd name="connsiteY25" fmla="*/ 719836 h 3480498"/>
                <a:gd name="connsiteX26" fmla="*/ 811988 w 1426923"/>
                <a:gd name="connsiteY26" fmla="*/ 670709 h 3480498"/>
                <a:gd name="connsiteX27" fmla="*/ 839698 w 1426923"/>
                <a:gd name="connsiteY27" fmla="*/ 642266 h 3480498"/>
                <a:gd name="connsiteX28" fmla="*/ 864638 w 1426923"/>
                <a:gd name="connsiteY28" fmla="*/ 606066 h 3480498"/>
                <a:gd name="connsiteX29" fmla="*/ 944998 w 1426923"/>
                <a:gd name="connsiteY29" fmla="*/ 600894 h 3480498"/>
                <a:gd name="connsiteX30" fmla="*/ 950539 w 1426923"/>
                <a:gd name="connsiteY30" fmla="*/ 580209 h 3480498"/>
                <a:gd name="connsiteX31" fmla="*/ 975479 w 1426923"/>
                <a:gd name="connsiteY31" fmla="*/ 544009 h 3480498"/>
                <a:gd name="connsiteX32" fmla="*/ 1009283 w 1426923"/>
                <a:gd name="connsiteY32" fmla="*/ 526421 h 3480498"/>
                <a:gd name="connsiteX33" fmla="*/ 1066923 w 1426923"/>
                <a:gd name="connsiteY33" fmla="*/ 538838 h 3480498"/>
                <a:gd name="connsiteX34" fmla="*/ 1105716 w 1426923"/>
                <a:gd name="connsiteY34" fmla="*/ 559524 h 3480498"/>
                <a:gd name="connsiteX35" fmla="*/ 1152824 w 1426923"/>
                <a:gd name="connsiteY35" fmla="*/ 567281 h 3480498"/>
                <a:gd name="connsiteX36" fmla="*/ 1152824 w 1426923"/>
                <a:gd name="connsiteY36" fmla="*/ 572452 h 3480498"/>
                <a:gd name="connsiteX37" fmla="*/ 1174993 w 1426923"/>
                <a:gd name="connsiteY37" fmla="*/ 512981 h 3480498"/>
                <a:gd name="connsiteX38" fmla="*/ 1184968 w 1426923"/>
                <a:gd name="connsiteY38" fmla="*/ 479363 h 3480498"/>
                <a:gd name="connsiteX39" fmla="*/ 1191619 w 1426923"/>
                <a:gd name="connsiteY39" fmla="*/ 461267 h 3480498"/>
                <a:gd name="connsiteX40" fmla="*/ 1194556 w 1426923"/>
                <a:gd name="connsiteY40" fmla="*/ 429937 h 3480498"/>
                <a:gd name="connsiteX41" fmla="*/ 1114030 w 1426923"/>
                <a:gd name="connsiteY41" fmla="*/ 383697 h 3480498"/>
                <a:gd name="connsiteX42" fmla="*/ 1100175 w 1426923"/>
                <a:gd name="connsiteY42" fmla="*/ 311297 h 3480498"/>
                <a:gd name="connsiteX43" fmla="*/ 1100175 w 1426923"/>
                <a:gd name="connsiteY43" fmla="*/ 293197 h 3480498"/>
                <a:gd name="connsiteX44" fmla="*/ 1111258 w 1426923"/>
                <a:gd name="connsiteY44" fmla="*/ 269925 h 3480498"/>
                <a:gd name="connsiteX45" fmla="*/ 1114030 w 1426923"/>
                <a:gd name="connsiteY45" fmla="*/ 254411 h 3480498"/>
                <a:gd name="connsiteX46" fmla="*/ 1114029 w 1426923"/>
                <a:gd name="connsiteY46" fmla="*/ 197527 h 3480498"/>
                <a:gd name="connsiteX47" fmla="*/ 1091861 w 1426923"/>
                <a:gd name="connsiteY47" fmla="*/ 174256 h 3480498"/>
                <a:gd name="connsiteX48" fmla="*/ 1064151 w 1426923"/>
                <a:gd name="connsiteY48" fmla="*/ 143227 h 3480498"/>
                <a:gd name="connsiteX49" fmla="*/ 1059983 w 1426923"/>
                <a:gd name="connsiteY49" fmla="*/ 118974 h 3480498"/>
                <a:gd name="connsiteX50" fmla="*/ 1111259 w 1426923"/>
                <a:gd name="connsiteY50" fmla="*/ 96683 h 3480498"/>
                <a:gd name="connsiteX51" fmla="*/ 1164839 w 1426923"/>
                <a:gd name="connsiteY51" fmla="*/ 106555 h 3480498"/>
                <a:gd name="connsiteX52" fmla="*/ 1243623 w 1426923"/>
                <a:gd name="connsiteY52" fmla="*/ 118465 h 3480498"/>
                <a:gd name="connsiteX53" fmla="*/ 1327946 w 1426923"/>
                <a:gd name="connsiteY53" fmla="*/ 187824 h 3480498"/>
                <a:gd name="connsiteX54" fmla="*/ 1390081 w 1426923"/>
                <a:gd name="connsiteY54" fmla="*/ 263920 h 3480498"/>
                <a:gd name="connsiteX55" fmla="*/ 1289110 w 1426923"/>
                <a:gd name="connsiteY55" fmla="*/ 292914 h 3480498"/>
                <a:gd name="connsiteX56" fmla="*/ 1273576 w 1426923"/>
                <a:gd name="connsiteY56" fmla="*/ 340021 h 3480498"/>
                <a:gd name="connsiteX57" fmla="*/ 1331246 w 1426923"/>
                <a:gd name="connsiteY57" fmla="*/ 424511 h 3480498"/>
                <a:gd name="connsiteX58" fmla="*/ 1366780 w 1426923"/>
                <a:gd name="connsiteY58" fmla="*/ 430613 h 3480498"/>
                <a:gd name="connsiteX59" fmla="*/ 1419400 w 1426923"/>
                <a:gd name="connsiteY59" fmla="*/ 436953 h 3480498"/>
                <a:gd name="connsiteX60" fmla="*/ 1414437 w 1426923"/>
                <a:gd name="connsiteY60" fmla="*/ 547728 h 3480498"/>
                <a:gd name="connsiteX61" fmla="*/ 1425506 w 1426923"/>
                <a:gd name="connsiteY61" fmla="*/ 878696 h 3480498"/>
                <a:gd name="connsiteX62" fmla="*/ 1416638 w 1426923"/>
                <a:gd name="connsiteY62" fmla="*/ 1681295 h 3480498"/>
                <a:gd name="connsiteX63" fmla="*/ 1425505 w 1426923"/>
                <a:gd name="connsiteY63" fmla="*/ 2136377 h 3480498"/>
                <a:gd name="connsiteX64" fmla="*/ 1399057 w 1426923"/>
                <a:gd name="connsiteY64" fmla="*/ 3446342 h 3480498"/>
                <a:gd name="connsiteX65" fmla="*/ 1140630 w 1426923"/>
                <a:gd name="connsiteY65" fmla="*/ 3402747 h 3480498"/>
                <a:gd name="connsiteX66" fmla="*/ 972152 w 1426923"/>
                <a:gd name="connsiteY66" fmla="*/ 3336552 h 3480498"/>
                <a:gd name="connsiteX67" fmla="*/ 794806 w 1426923"/>
                <a:gd name="connsiteY67" fmla="*/ 3245536 h 3480498"/>
                <a:gd name="connsiteX68" fmla="*/ 696508 w 1426923"/>
                <a:gd name="connsiteY68" fmla="*/ 3165019 h 3480498"/>
                <a:gd name="connsiteX69" fmla="*/ 990770 w 1426923"/>
                <a:gd name="connsiteY69" fmla="*/ 2857383 h 3480498"/>
                <a:gd name="connsiteX70" fmla="*/ 707016 w 1426923"/>
                <a:gd name="connsiteY70" fmla="*/ 2319559 h 3480498"/>
                <a:gd name="connsiteX71" fmla="*/ 849366 w 1426923"/>
                <a:gd name="connsiteY71" fmla="*/ 2080474 h 3480498"/>
                <a:gd name="connsiteX72" fmla="*/ 662679 w 1426923"/>
                <a:gd name="connsiteY72" fmla="*/ 1541783 h 3480498"/>
                <a:gd name="connsiteX73" fmla="*/ 414395 w 1426923"/>
                <a:gd name="connsiteY73" fmla="*/ 1310105 h 3480498"/>
                <a:gd name="connsiteX74" fmla="*/ 405528 w 1426923"/>
                <a:gd name="connsiteY74" fmla="*/ 1194266 h 3480498"/>
                <a:gd name="connsiteX75" fmla="*/ 0 w 1426923"/>
                <a:gd name="connsiteY75" fmla="*/ 390277 h 3480498"/>
                <a:gd name="connsiteX0" fmla="*/ 0 w 1426923"/>
                <a:gd name="connsiteY0" fmla="*/ 390277 h 3480498"/>
                <a:gd name="connsiteX1" fmla="*/ 35939 w 1426923"/>
                <a:gd name="connsiteY1" fmla="*/ 0 h 3480498"/>
                <a:gd name="connsiteX2" fmla="*/ 587548 w 1426923"/>
                <a:gd name="connsiteY2" fmla="*/ 81270 h 3480498"/>
                <a:gd name="connsiteX3" fmla="*/ 878333 w 1426923"/>
                <a:gd name="connsiteY3" fmla="*/ 279255 h 3480498"/>
                <a:gd name="connsiteX4" fmla="*/ 911586 w 1426923"/>
                <a:gd name="connsiteY4" fmla="*/ 305111 h 3480498"/>
                <a:gd name="connsiteX5" fmla="*/ 894958 w 1426923"/>
                <a:gd name="connsiteY5" fmla="*/ 530066 h 3480498"/>
                <a:gd name="connsiteX6" fmla="*/ 767492 w 1426923"/>
                <a:gd name="connsiteY6" fmla="*/ 610224 h 3480498"/>
                <a:gd name="connsiteX7" fmla="*/ 515327 w 1426923"/>
                <a:gd name="connsiteY7" fmla="*/ 597294 h 3480498"/>
                <a:gd name="connsiteX8" fmla="*/ 423883 w 1426923"/>
                <a:gd name="connsiteY8" fmla="*/ 561094 h 3480498"/>
                <a:gd name="connsiteX9" fmla="*/ 404486 w 1426923"/>
                <a:gd name="connsiteY9" fmla="*/ 589537 h 3480498"/>
                <a:gd name="connsiteX10" fmla="*/ 435128 w 1426923"/>
                <a:gd name="connsiteY10" fmla="*/ 662950 h 3480498"/>
                <a:gd name="connsiteX11" fmla="*/ 440669 w 1426923"/>
                <a:gd name="connsiteY11" fmla="*/ 789649 h 3480498"/>
                <a:gd name="connsiteX12" fmla="*/ 412799 w 1426923"/>
                <a:gd name="connsiteY12" fmla="*/ 850692 h 3480498"/>
                <a:gd name="connsiteX13" fmla="*/ 468218 w 1426923"/>
                <a:gd name="connsiteY13" fmla="*/ 871377 h 3480498"/>
                <a:gd name="connsiteX14" fmla="*/ 484846 w 1426923"/>
                <a:gd name="connsiteY14" fmla="*/ 886891 h 3480498"/>
                <a:gd name="connsiteX15" fmla="*/ 509786 w 1426923"/>
                <a:gd name="connsiteY15" fmla="*/ 912748 h 3480498"/>
                <a:gd name="connsiteX16" fmla="*/ 507015 w 1426923"/>
                <a:gd name="connsiteY16" fmla="*/ 915334 h 3480498"/>
                <a:gd name="connsiteX17" fmla="*/ 545808 w 1426923"/>
                <a:gd name="connsiteY17" fmla="*/ 910163 h 3480498"/>
                <a:gd name="connsiteX18" fmla="*/ 554122 w 1426923"/>
                <a:gd name="connsiteY18" fmla="*/ 873963 h 3480498"/>
                <a:gd name="connsiteX19" fmla="*/ 515327 w 1426923"/>
                <a:gd name="connsiteY19" fmla="*/ 796392 h 3480498"/>
                <a:gd name="connsiteX20" fmla="*/ 584603 w 1426923"/>
                <a:gd name="connsiteY20" fmla="*/ 749849 h 3480498"/>
                <a:gd name="connsiteX21" fmla="*/ 652375 w 1426923"/>
                <a:gd name="connsiteY21" fmla="*/ 757583 h 3480498"/>
                <a:gd name="connsiteX22" fmla="*/ 676208 w 1426923"/>
                <a:gd name="connsiteY22" fmla="*/ 789650 h 3480498"/>
                <a:gd name="connsiteX23" fmla="*/ 831937 w 1426923"/>
                <a:gd name="connsiteY23" fmla="*/ 846013 h 3480498"/>
                <a:gd name="connsiteX24" fmla="*/ 817529 w 1426923"/>
                <a:gd name="connsiteY24" fmla="*/ 810336 h 3480498"/>
                <a:gd name="connsiteX25" fmla="*/ 784277 w 1426923"/>
                <a:gd name="connsiteY25" fmla="*/ 771550 h 3480498"/>
                <a:gd name="connsiteX26" fmla="*/ 773193 w 1426923"/>
                <a:gd name="connsiteY26" fmla="*/ 719836 h 3480498"/>
                <a:gd name="connsiteX27" fmla="*/ 811988 w 1426923"/>
                <a:gd name="connsiteY27" fmla="*/ 670709 h 3480498"/>
                <a:gd name="connsiteX28" fmla="*/ 839698 w 1426923"/>
                <a:gd name="connsiteY28" fmla="*/ 642266 h 3480498"/>
                <a:gd name="connsiteX29" fmla="*/ 864638 w 1426923"/>
                <a:gd name="connsiteY29" fmla="*/ 606066 h 3480498"/>
                <a:gd name="connsiteX30" fmla="*/ 944998 w 1426923"/>
                <a:gd name="connsiteY30" fmla="*/ 600894 h 3480498"/>
                <a:gd name="connsiteX31" fmla="*/ 950539 w 1426923"/>
                <a:gd name="connsiteY31" fmla="*/ 580209 h 3480498"/>
                <a:gd name="connsiteX32" fmla="*/ 975479 w 1426923"/>
                <a:gd name="connsiteY32" fmla="*/ 544009 h 3480498"/>
                <a:gd name="connsiteX33" fmla="*/ 1009283 w 1426923"/>
                <a:gd name="connsiteY33" fmla="*/ 526421 h 3480498"/>
                <a:gd name="connsiteX34" fmla="*/ 1066923 w 1426923"/>
                <a:gd name="connsiteY34" fmla="*/ 538838 h 3480498"/>
                <a:gd name="connsiteX35" fmla="*/ 1105716 w 1426923"/>
                <a:gd name="connsiteY35" fmla="*/ 559524 h 3480498"/>
                <a:gd name="connsiteX36" fmla="*/ 1152824 w 1426923"/>
                <a:gd name="connsiteY36" fmla="*/ 567281 h 3480498"/>
                <a:gd name="connsiteX37" fmla="*/ 1152824 w 1426923"/>
                <a:gd name="connsiteY37" fmla="*/ 572452 h 3480498"/>
                <a:gd name="connsiteX38" fmla="*/ 1174993 w 1426923"/>
                <a:gd name="connsiteY38" fmla="*/ 512981 h 3480498"/>
                <a:gd name="connsiteX39" fmla="*/ 1184968 w 1426923"/>
                <a:gd name="connsiteY39" fmla="*/ 479363 h 3480498"/>
                <a:gd name="connsiteX40" fmla="*/ 1191619 w 1426923"/>
                <a:gd name="connsiteY40" fmla="*/ 461267 h 3480498"/>
                <a:gd name="connsiteX41" fmla="*/ 1194556 w 1426923"/>
                <a:gd name="connsiteY41" fmla="*/ 429937 h 3480498"/>
                <a:gd name="connsiteX42" fmla="*/ 1114030 w 1426923"/>
                <a:gd name="connsiteY42" fmla="*/ 383697 h 3480498"/>
                <a:gd name="connsiteX43" fmla="*/ 1100175 w 1426923"/>
                <a:gd name="connsiteY43" fmla="*/ 311297 h 3480498"/>
                <a:gd name="connsiteX44" fmla="*/ 1100175 w 1426923"/>
                <a:gd name="connsiteY44" fmla="*/ 293197 h 3480498"/>
                <a:gd name="connsiteX45" fmla="*/ 1111258 w 1426923"/>
                <a:gd name="connsiteY45" fmla="*/ 269925 h 3480498"/>
                <a:gd name="connsiteX46" fmla="*/ 1114030 w 1426923"/>
                <a:gd name="connsiteY46" fmla="*/ 254411 h 3480498"/>
                <a:gd name="connsiteX47" fmla="*/ 1114029 w 1426923"/>
                <a:gd name="connsiteY47" fmla="*/ 197527 h 3480498"/>
                <a:gd name="connsiteX48" fmla="*/ 1091861 w 1426923"/>
                <a:gd name="connsiteY48" fmla="*/ 174256 h 3480498"/>
                <a:gd name="connsiteX49" fmla="*/ 1064151 w 1426923"/>
                <a:gd name="connsiteY49" fmla="*/ 143227 h 3480498"/>
                <a:gd name="connsiteX50" fmla="*/ 1059983 w 1426923"/>
                <a:gd name="connsiteY50" fmla="*/ 118974 h 3480498"/>
                <a:gd name="connsiteX51" fmla="*/ 1111259 w 1426923"/>
                <a:gd name="connsiteY51" fmla="*/ 96683 h 3480498"/>
                <a:gd name="connsiteX52" fmla="*/ 1164839 w 1426923"/>
                <a:gd name="connsiteY52" fmla="*/ 106555 h 3480498"/>
                <a:gd name="connsiteX53" fmla="*/ 1243623 w 1426923"/>
                <a:gd name="connsiteY53" fmla="*/ 118465 h 3480498"/>
                <a:gd name="connsiteX54" fmla="*/ 1327946 w 1426923"/>
                <a:gd name="connsiteY54" fmla="*/ 187824 h 3480498"/>
                <a:gd name="connsiteX55" fmla="*/ 1390081 w 1426923"/>
                <a:gd name="connsiteY55" fmla="*/ 263920 h 3480498"/>
                <a:gd name="connsiteX56" fmla="*/ 1289110 w 1426923"/>
                <a:gd name="connsiteY56" fmla="*/ 292914 h 3480498"/>
                <a:gd name="connsiteX57" fmla="*/ 1273576 w 1426923"/>
                <a:gd name="connsiteY57" fmla="*/ 340021 h 3480498"/>
                <a:gd name="connsiteX58" fmla="*/ 1331246 w 1426923"/>
                <a:gd name="connsiteY58" fmla="*/ 424511 h 3480498"/>
                <a:gd name="connsiteX59" fmla="*/ 1366780 w 1426923"/>
                <a:gd name="connsiteY59" fmla="*/ 430613 h 3480498"/>
                <a:gd name="connsiteX60" fmla="*/ 1419400 w 1426923"/>
                <a:gd name="connsiteY60" fmla="*/ 436953 h 3480498"/>
                <a:gd name="connsiteX61" fmla="*/ 1414437 w 1426923"/>
                <a:gd name="connsiteY61" fmla="*/ 547728 h 3480498"/>
                <a:gd name="connsiteX62" fmla="*/ 1425506 w 1426923"/>
                <a:gd name="connsiteY62" fmla="*/ 878696 h 3480498"/>
                <a:gd name="connsiteX63" fmla="*/ 1416638 w 1426923"/>
                <a:gd name="connsiteY63" fmla="*/ 1681295 h 3480498"/>
                <a:gd name="connsiteX64" fmla="*/ 1425505 w 1426923"/>
                <a:gd name="connsiteY64" fmla="*/ 2136377 h 3480498"/>
                <a:gd name="connsiteX65" fmla="*/ 1399057 w 1426923"/>
                <a:gd name="connsiteY65" fmla="*/ 3446342 h 3480498"/>
                <a:gd name="connsiteX66" fmla="*/ 1140630 w 1426923"/>
                <a:gd name="connsiteY66" fmla="*/ 3402747 h 3480498"/>
                <a:gd name="connsiteX67" fmla="*/ 972152 w 1426923"/>
                <a:gd name="connsiteY67" fmla="*/ 3336552 h 3480498"/>
                <a:gd name="connsiteX68" fmla="*/ 794806 w 1426923"/>
                <a:gd name="connsiteY68" fmla="*/ 3245536 h 3480498"/>
                <a:gd name="connsiteX69" fmla="*/ 696508 w 1426923"/>
                <a:gd name="connsiteY69" fmla="*/ 3165019 h 3480498"/>
                <a:gd name="connsiteX70" fmla="*/ 990770 w 1426923"/>
                <a:gd name="connsiteY70" fmla="*/ 2857383 h 3480498"/>
                <a:gd name="connsiteX71" fmla="*/ 707016 w 1426923"/>
                <a:gd name="connsiteY71" fmla="*/ 2319559 h 3480498"/>
                <a:gd name="connsiteX72" fmla="*/ 849366 w 1426923"/>
                <a:gd name="connsiteY72" fmla="*/ 2080474 h 3480498"/>
                <a:gd name="connsiteX73" fmla="*/ 662679 w 1426923"/>
                <a:gd name="connsiteY73" fmla="*/ 1541783 h 3480498"/>
                <a:gd name="connsiteX74" fmla="*/ 414395 w 1426923"/>
                <a:gd name="connsiteY74" fmla="*/ 1310105 h 3480498"/>
                <a:gd name="connsiteX75" fmla="*/ 405528 w 1426923"/>
                <a:gd name="connsiteY75" fmla="*/ 1194266 h 3480498"/>
                <a:gd name="connsiteX76" fmla="*/ 0 w 1426923"/>
                <a:gd name="connsiteY76" fmla="*/ 390277 h 3480498"/>
                <a:gd name="connsiteX0" fmla="*/ 0 w 1426923"/>
                <a:gd name="connsiteY0" fmla="*/ 390277 h 3480498"/>
                <a:gd name="connsiteX1" fmla="*/ 35939 w 1426923"/>
                <a:gd name="connsiteY1" fmla="*/ 0 h 3480498"/>
                <a:gd name="connsiteX2" fmla="*/ 587548 w 1426923"/>
                <a:gd name="connsiteY2" fmla="*/ 81270 h 3480498"/>
                <a:gd name="connsiteX3" fmla="*/ 634483 w 1426923"/>
                <a:gd name="connsiteY3" fmla="*/ 124113 h 3480498"/>
                <a:gd name="connsiteX4" fmla="*/ 878333 w 1426923"/>
                <a:gd name="connsiteY4" fmla="*/ 279255 h 3480498"/>
                <a:gd name="connsiteX5" fmla="*/ 911586 w 1426923"/>
                <a:gd name="connsiteY5" fmla="*/ 305111 h 3480498"/>
                <a:gd name="connsiteX6" fmla="*/ 894958 w 1426923"/>
                <a:gd name="connsiteY6" fmla="*/ 530066 h 3480498"/>
                <a:gd name="connsiteX7" fmla="*/ 767492 w 1426923"/>
                <a:gd name="connsiteY7" fmla="*/ 610224 h 3480498"/>
                <a:gd name="connsiteX8" fmla="*/ 515327 w 1426923"/>
                <a:gd name="connsiteY8" fmla="*/ 597294 h 3480498"/>
                <a:gd name="connsiteX9" fmla="*/ 423883 w 1426923"/>
                <a:gd name="connsiteY9" fmla="*/ 561094 h 3480498"/>
                <a:gd name="connsiteX10" fmla="*/ 404486 w 1426923"/>
                <a:gd name="connsiteY10" fmla="*/ 589537 h 3480498"/>
                <a:gd name="connsiteX11" fmla="*/ 435128 w 1426923"/>
                <a:gd name="connsiteY11" fmla="*/ 662950 h 3480498"/>
                <a:gd name="connsiteX12" fmla="*/ 440669 w 1426923"/>
                <a:gd name="connsiteY12" fmla="*/ 789649 h 3480498"/>
                <a:gd name="connsiteX13" fmla="*/ 412799 w 1426923"/>
                <a:gd name="connsiteY13" fmla="*/ 850692 h 3480498"/>
                <a:gd name="connsiteX14" fmla="*/ 468218 w 1426923"/>
                <a:gd name="connsiteY14" fmla="*/ 871377 h 3480498"/>
                <a:gd name="connsiteX15" fmla="*/ 484846 w 1426923"/>
                <a:gd name="connsiteY15" fmla="*/ 886891 h 3480498"/>
                <a:gd name="connsiteX16" fmla="*/ 509786 w 1426923"/>
                <a:gd name="connsiteY16" fmla="*/ 912748 h 3480498"/>
                <a:gd name="connsiteX17" fmla="*/ 507015 w 1426923"/>
                <a:gd name="connsiteY17" fmla="*/ 915334 h 3480498"/>
                <a:gd name="connsiteX18" fmla="*/ 545808 w 1426923"/>
                <a:gd name="connsiteY18" fmla="*/ 910163 h 3480498"/>
                <a:gd name="connsiteX19" fmla="*/ 554122 w 1426923"/>
                <a:gd name="connsiteY19" fmla="*/ 873963 h 3480498"/>
                <a:gd name="connsiteX20" fmla="*/ 515327 w 1426923"/>
                <a:gd name="connsiteY20" fmla="*/ 796392 h 3480498"/>
                <a:gd name="connsiteX21" fmla="*/ 584603 w 1426923"/>
                <a:gd name="connsiteY21" fmla="*/ 749849 h 3480498"/>
                <a:gd name="connsiteX22" fmla="*/ 652375 w 1426923"/>
                <a:gd name="connsiteY22" fmla="*/ 757583 h 3480498"/>
                <a:gd name="connsiteX23" fmla="*/ 676208 w 1426923"/>
                <a:gd name="connsiteY23" fmla="*/ 789650 h 3480498"/>
                <a:gd name="connsiteX24" fmla="*/ 831937 w 1426923"/>
                <a:gd name="connsiteY24" fmla="*/ 846013 h 3480498"/>
                <a:gd name="connsiteX25" fmla="*/ 817529 w 1426923"/>
                <a:gd name="connsiteY25" fmla="*/ 810336 h 3480498"/>
                <a:gd name="connsiteX26" fmla="*/ 784277 w 1426923"/>
                <a:gd name="connsiteY26" fmla="*/ 771550 h 3480498"/>
                <a:gd name="connsiteX27" fmla="*/ 773193 w 1426923"/>
                <a:gd name="connsiteY27" fmla="*/ 719836 h 3480498"/>
                <a:gd name="connsiteX28" fmla="*/ 811988 w 1426923"/>
                <a:gd name="connsiteY28" fmla="*/ 670709 h 3480498"/>
                <a:gd name="connsiteX29" fmla="*/ 839698 w 1426923"/>
                <a:gd name="connsiteY29" fmla="*/ 642266 h 3480498"/>
                <a:gd name="connsiteX30" fmla="*/ 864638 w 1426923"/>
                <a:gd name="connsiteY30" fmla="*/ 606066 h 3480498"/>
                <a:gd name="connsiteX31" fmla="*/ 944998 w 1426923"/>
                <a:gd name="connsiteY31" fmla="*/ 600894 h 3480498"/>
                <a:gd name="connsiteX32" fmla="*/ 950539 w 1426923"/>
                <a:gd name="connsiteY32" fmla="*/ 580209 h 3480498"/>
                <a:gd name="connsiteX33" fmla="*/ 975479 w 1426923"/>
                <a:gd name="connsiteY33" fmla="*/ 544009 h 3480498"/>
                <a:gd name="connsiteX34" fmla="*/ 1009283 w 1426923"/>
                <a:gd name="connsiteY34" fmla="*/ 526421 h 3480498"/>
                <a:gd name="connsiteX35" fmla="*/ 1066923 w 1426923"/>
                <a:gd name="connsiteY35" fmla="*/ 538838 h 3480498"/>
                <a:gd name="connsiteX36" fmla="*/ 1105716 w 1426923"/>
                <a:gd name="connsiteY36" fmla="*/ 559524 h 3480498"/>
                <a:gd name="connsiteX37" fmla="*/ 1152824 w 1426923"/>
                <a:gd name="connsiteY37" fmla="*/ 567281 h 3480498"/>
                <a:gd name="connsiteX38" fmla="*/ 1152824 w 1426923"/>
                <a:gd name="connsiteY38" fmla="*/ 572452 h 3480498"/>
                <a:gd name="connsiteX39" fmla="*/ 1174993 w 1426923"/>
                <a:gd name="connsiteY39" fmla="*/ 512981 h 3480498"/>
                <a:gd name="connsiteX40" fmla="*/ 1184968 w 1426923"/>
                <a:gd name="connsiteY40" fmla="*/ 479363 h 3480498"/>
                <a:gd name="connsiteX41" fmla="*/ 1191619 w 1426923"/>
                <a:gd name="connsiteY41" fmla="*/ 461267 h 3480498"/>
                <a:gd name="connsiteX42" fmla="*/ 1194556 w 1426923"/>
                <a:gd name="connsiteY42" fmla="*/ 429937 h 3480498"/>
                <a:gd name="connsiteX43" fmla="*/ 1114030 w 1426923"/>
                <a:gd name="connsiteY43" fmla="*/ 383697 h 3480498"/>
                <a:gd name="connsiteX44" fmla="*/ 1100175 w 1426923"/>
                <a:gd name="connsiteY44" fmla="*/ 311297 h 3480498"/>
                <a:gd name="connsiteX45" fmla="*/ 1100175 w 1426923"/>
                <a:gd name="connsiteY45" fmla="*/ 293197 h 3480498"/>
                <a:gd name="connsiteX46" fmla="*/ 1111258 w 1426923"/>
                <a:gd name="connsiteY46" fmla="*/ 269925 h 3480498"/>
                <a:gd name="connsiteX47" fmla="*/ 1114030 w 1426923"/>
                <a:gd name="connsiteY47" fmla="*/ 254411 h 3480498"/>
                <a:gd name="connsiteX48" fmla="*/ 1114029 w 1426923"/>
                <a:gd name="connsiteY48" fmla="*/ 197527 h 3480498"/>
                <a:gd name="connsiteX49" fmla="*/ 1091861 w 1426923"/>
                <a:gd name="connsiteY49" fmla="*/ 174256 h 3480498"/>
                <a:gd name="connsiteX50" fmla="*/ 1064151 w 1426923"/>
                <a:gd name="connsiteY50" fmla="*/ 143227 h 3480498"/>
                <a:gd name="connsiteX51" fmla="*/ 1059983 w 1426923"/>
                <a:gd name="connsiteY51" fmla="*/ 118974 h 3480498"/>
                <a:gd name="connsiteX52" fmla="*/ 1111259 w 1426923"/>
                <a:gd name="connsiteY52" fmla="*/ 96683 h 3480498"/>
                <a:gd name="connsiteX53" fmla="*/ 1164839 w 1426923"/>
                <a:gd name="connsiteY53" fmla="*/ 106555 h 3480498"/>
                <a:gd name="connsiteX54" fmla="*/ 1243623 w 1426923"/>
                <a:gd name="connsiteY54" fmla="*/ 118465 h 3480498"/>
                <a:gd name="connsiteX55" fmla="*/ 1327946 w 1426923"/>
                <a:gd name="connsiteY55" fmla="*/ 187824 h 3480498"/>
                <a:gd name="connsiteX56" fmla="*/ 1390081 w 1426923"/>
                <a:gd name="connsiteY56" fmla="*/ 263920 h 3480498"/>
                <a:gd name="connsiteX57" fmla="*/ 1289110 w 1426923"/>
                <a:gd name="connsiteY57" fmla="*/ 292914 h 3480498"/>
                <a:gd name="connsiteX58" fmla="*/ 1273576 w 1426923"/>
                <a:gd name="connsiteY58" fmla="*/ 340021 h 3480498"/>
                <a:gd name="connsiteX59" fmla="*/ 1331246 w 1426923"/>
                <a:gd name="connsiteY59" fmla="*/ 424511 h 3480498"/>
                <a:gd name="connsiteX60" fmla="*/ 1366780 w 1426923"/>
                <a:gd name="connsiteY60" fmla="*/ 430613 h 3480498"/>
                <a:gd name="connsiteX61" fmla="*/ 1419400 w 1426923"/>
                <a:gd name="connsiteY61" fmla="*/ 436953 h 3480498"/>
                <a:gd name="connsiteX62" fmla="*/ 1414437 w 1426923"/>
                <a:gd name="connsiteY62" fmla="*/ 547728 h 3480498"/>
                <a:gd name="connsiteX63" fmla="*/ 1425506 w 1426923"/>
                <a:gd name="connsiteY63" fmla="*/ 878696 h 3480498"/>
                <a:gd name="connsiteX64" fmla="*/ 1416638 w 1426923"/>
                <a:gd name="connsiteY64" fmla="*/ 1681295 h 3480498"/>
                <a:gd name="connsiteX65" fmla="*/ 1425505 w 1426923"/>
                <a:gd name="connsiteY65" fmla="*/ 2136377 h 3480498"/>
                <a:gd name="connsiteX66" fmla="*/ 1399057 w 1426923"/>
                <a:gd name="connsiteY66" fmla="*/ 3446342 h 3480498"/>
                <a:gd name="connsiteX67" fmla="*/ 1140630 w 1426923"/>
                <a:gd name="connsiteY67" fmla="*/ 3402747 h 3480498"/>
                <a:gd name="connsiteX68" fmla="*/ 972152 w 1426923"/>
                <a:gd name="connsiteY68" fmla="*/ 3336552 h 3480498"/>
                <a:gd name="connsiteX69" fmla="*/ 794806 w 1426923"/>
                <a:gd name="connsiteY69" fmla="*/ 3245536 h 3480498"/>
                <a:gd name="connsiteX70" fmla="*/ 696508 w 1426923"/>
                <a:gd name="connsiteY70" fmla="*/ 3165019 h 3480498"/>
                <a:gd name="connsiteX71" fmla="*/ 990770 w 1426923"/>
                <a:gd name="connsiteY71" fmla="*/ 2857383 h 3480498"/>
                <a:gd name="connsiteX72" fmla="*/ 707016 w 1426923"/>
                <a:gd name="connsiteY72" fmla="*/ 2319559 h 3480498"/>
                <a:gd name="connsiteX73" fmla="*/ 849366 w 1426923"/>
                <a:gd name="connsiteY73" fmla="*/ 2080474 h 3480498"/>
                <a:gd name="connsiteX74" fmla="*/ 662679 w 1426923"/>
                <a:gd name="connsiteY74" fmla="*/ 1541783 h 3480498"/>
                <a:gd name="connsiteX75" fmla="*/ 414395 w 1426923"/>
                <a:gd name="connsiteY75" fmla="*/ 1310105 h 3480498"/>
                <a:gd name="connsiteX76" fmla="*/ 405528 w 1426923"/>
                <a:gd name="connsiteY76" fmla="*/ 1194266 h 3480498"/>
                <a:gd name="connsiteX77" fmla="*/ 0 w 1426923"/>
                <a:gd name="connsiteY77" fmla="*/ 390277 h 3480498"/>
                <a:gd name="connsiteX0" fmla="*/ 0 w 1426923"/>
                <a:gd name="connsiteY0" fmla="*/ 390277 h 3480498"/>
                <a:gd name="connsiteX1" fmla="*/ 35939 w 1426923"/>
                <a:gd name="connsiteY1" fmla="*/ 0 h 3480498"/>
                <a:gd name="connsiteX2" fmla="*/ 587548 w 1426923"/>
                <a:gd name="connsiteY2" fmla="*/ 81270 h 3480498"/>
                <a:gd name="connsiteX3" fmla="*/ 634483 w 1426923"/>
                <a:gd name="connsiteY3" fmla="*/ 124113 h 3480498"/>
                <a:gd name="connsiteX4" fmla="*/ 803515 w 1426923"/>
                <a:gd name="connsiteY4" fmla="*/ 188755 h 3480498"/>
                <a:gd name="connsiteX5" fmla="*/ 878333 w 1426923"/>
                <a:gd name="connsiteY5" fmla="*/ 279255 h 3480498"/>
                <a:gd name="connsiteX6" fmla="*/ 911586 w 1426923"/>
                <a:gd name="connsiteY6" fmla="*/ 305111 h 3480498"/>
                <a:gd name="connsiteX7" fmla="*/ 894958 w 1426923"/>
                <a:gd name="connsiteY7" fmla="*/ 530066 h 3480498"/>
                <a:gd name="connsiteX8" fmla="*/ 767492 w 1426923"/>
                <a:gd name="connsiteY8" fmla="*/ 610224 h 3480498"/>
                <a:gd name="connsiteX9" fmla="*/ 515327 w 1426923"/>
                <a:gd name="connsiteY9" fmla="*/ 597294 h 3480498"/>
                <a:gd name="connsiteX10" fmla="*/ 423883 w 1426923"/>
                <a:gd name="connsiteY10" fmla="*/ 561094 h 3480498"/>
                <a:gd name="connsiteX11" fmla="*/ 404486 w 1426923"/>
                <a:gd name="connsiteY11" fmla="*/ 589537 h 3480498"/>
                <a:gd name="connsiteX12" fmla="*/ 435128 w 1426923"/>
                <a:gd name="connsiteY12" fmla="*/ 662950 h 3480498"/>
                <a:gd name="connsiteX13" fmla="*/ 440669 w 1426923"/>
                <a:gd name="connsiteY13" fmla="*/ 789649 h 3480498"/>
                <a:gd name="connsiteX14" fmla="*/ 412799 w 1426923"/>
                <a:gd name="connsiteY14" fmla="*/ 850692 h 3480498"/>
                <a:gd name="connsiteX15" fmla="*/ 468218 w 1426923"/>
                <a:gd name="connsiteY15" fmla="*/ 871377 h 3480498"/>
                <a:gd name="connsiteX16" fmla="*/ 484846 w 1426923"/>
                <a:gd name="connsiteY16" fmla="*/ 886891 h 3480498"/>
                <a:gd name="connsiteX17" fmla="*/ 509786 w 1426923"/>
                <a:gd name="connsiteY17" fmla="*/ 912748 h 3480498"/>
                <a:gd name="connsiteX18" fmla="*/ 507015 w 1426923"/>
                <a:gd name="connsiteY18" fmla="*/ 915334 h 3480498"/>
                <a:gd name="connsiteX19" fmla="*/ 545808 w 1426923"/>
                <a:gd name="connsiteY19" fmla="*/ 910163 h 3480498"/>
                <a:gd name="connsiteX20" fmla="*/ 554122 w 1426923"/>
                <a:gd name="connsiteY20" fmla="*/ 873963 h 3480498"/>
                <a:gd name="connsiteX21" fmla="*/ 515327 w 1426923"/>
                <a:gd name="connsiteY21" fmla="*/ 796392 h 3480498"/>
                <a:gd name="connsiteX22" fmla="*/ 584603 w 1426923"/>
                <a:gd name="connsiteY22" fmla="*/ 749849 h 3480498"/>
                <a:gd name="connsiteX23" fmla="*/ 652375 w 1426923"/>
                <a:gd name="connsiteY23" fmla="*/ 757583 h 3480498"/>
                <a:gd name="connsiteX24" fmla="*/ 676208 w 1426923"/>
                <a:gd name="connsiteY24" fmla="*/ 789650 h 3480498"/>
                <a:gd name="connsiteX25" fmla="*/ 831937 w 1426923"/>
                <a:gd name="connsiteY25" fmla="*/ 846013 h 3480498"/>
                <a:gd name="connsiteX26" fmla="*/ 817529 w 1426923"/>
                <a:gd name="connsiteY26" fmla="*/ 810336 h 3480498"/>
                <a:gd name="connsiteX27" fmla="*/ 784277 w 1426923"/>
                <a:gd name="connsiteY27" fmla="*/ 771550 h 3480498"/>
                <a:gd name="connsiteX28" fmla="*/ 773193 w 1426923"/>
                <a:gd name="connsiteY28" fmla="*/ 719836 h 3480498"/>
                <a:gd name="connsiteX29" fmla="*/ 811988 w 1426923"/>
                <a:gd name="connsiteY29" fmla="*/ 670709 h 3480498"/>
                <a:gd name="connsiteX30" fmla="*/ 839698 w 1426923"/>
                <a:gd name="connsiteY30" fmla="*/ 642266 h 3480498"/>
                <a:gd name="connsiteX31" fmla="*/ 864638 w 1426923"/>
                <a:gd name="connsiteY31" fmla="*/ 606066 h 3480498"/>
                <a:gd name="connsiteX32" fmla="*/ 944998 w 1426923"/>
                <a:gd name="connsiteY32" fmla="*/ 600894 h 3480498"/>
                <a:gd name="connsiteX33" fmla="*/ 950539 w 1426923"/>
                <a:gd name="connsiteY33" fmla="*/ 580209 h 3480498"/>
                <a:gd name="connsiteX34" fmla="*/ 975479 w 1426923"/>
                <a:gd name="connsiteY34" fmla="*/ 544009 h 3480498"/>
                <a:gd name="connsiteX35" fmla="*/ 1009283 w 1426923"/>
                <a:gd name="connsiteY35" fmla="*/ 526421 h 3480498"/>
                <a:gd name="connsiteX36" fmla="*/ 1066923 w 1426923"/>
                <a:gd name="connsiteY36" fmla="*/ 538838 h 3480498"/>
                <a:gd name="connsiteX37" fmla="*/ 1105716 w 1426923"/>
                <a:gd name="connsiteY37" fmla="*/ 559524 h 3480498"/>
                <a:gd name="connsiteX38" fmla="*/ 1152824 w 1426923"/>
                <a:gd name="connsiteY38" fmla="*/ 567281 h 3480498"/>
                <a:gd name="connsiteX39" fmla="*/ 1152824 w 1426923"/>
                <a:gd name="connsiteY39" fmla="*/ 572452 h 3480498"/>
                <a:gd name="connsiteX40" fmla="*/ 1174993 w 1426923"/>
                <a:gd name="connsiteY40" fmla="*/ 512981 h 3480498"/>
                <a:gd name="connsiteX41" fmla="*/ 1184968 w 1426923"/>
                <a:gd name="connsiteY41" fmla="*/ 479363 h 3480498"/>
                <a:gd name="connsiteX42" fmla="*/ 1191619 w 1426923"/>
                <a:gd name="connsiteY42" fmla="*/ 461267 h 3480498"/>
                <a:gd name="connsiteX43" fmla="*/ 1194556 w 1426923"/>
                <a:gd name="connsiteY43" fmla="*/ 429937 h 3480498"/>
                <a:gd name="connsiteX44" fmla="*/ 1114030 w 1426923"/>
                <a:gd name="connsiteY44" fmla="*/ 383697 h 3480498"/>
                <a:gd name="connsiteX45" fmla="*/ 1100175 w 1426923"/>
                <a:gd name="connsiteY45" fmla="*/ 311297 h 3480498"/>
                <a:gd name="connsiteX46" fmla="*/ 1100175 w 1426923"/>
                <a:gd name="connsiteY46" fmla="*/ 293197 h 3480498"/>
                <a:gd name="connsiteX47" fmla="*/ 1111258 w 1426923"/>
                <a:gd name="connsiteY47" fmla="*/ 269925 h 3480498"/>
                <a:gd name="connsiteX48" fmla="*/ 1114030 w 1426923"/>
                <a:gd name="connsiteY48" fmla="*/ 254411 h 3480498"/>
                <a:gd name="connsiteX49" fmla="*/ 1114029 w 1426923"/>
                <a:gd name="connsiteY49" fmla="*/ 197527 h 3480498"/>
                <a:gd name="connsiteX50" fmla="*/ 1091861 w 1426923"/>
                <a:gd name="connsiteY50" fmla="*/ 174256 h 3480498"/>
                <a:gd name="connsiteX51" fmla="*/ 1064151 w 1426923"/>
                <a:gd name="connsiteY51" fmla="*/ 143227 h 3480498"/>
                <a:gd name="connsiteX52" fmla="*/ 1059983 w 1426923"/>
                <a:gd name="connsiteY52" fmla="*/ 118974 h 3480498"/>
                <a:gd name="connsiteX53" fmla="*/ 1111259 w 1426923"/>
                <a:gd name="connsiteY53" fmla="*/ 96683 h 3480498"/>
                <a:gd name="connsiteX54" fmla="*/ 1164839 w 1426923"/>
                <a:gd name="connsiteY54" fmla="*/ 106555 h 3480498"/>
                <a:gd name="connsiteX55" fmla="*/ 1243623 w 1426923"/>
                <a:gd name="connsiteY55" fmla="*/ 118465 h 3480498"/>
                <a:gd name="connsiteX56" fmla="*/ 1327946 w 1426923"/>
                <a:gd name="connsiteY56" fmla="*/ 187824 h 3480498"/>
                <a:gd name="connsiteX57" fmla="*/ 1390081 w 1426923"/>
                <a:gd name="connsiteY57" fmla="*/ 263920 h 3480498"/>
                <a:gd name="connsiteX58" fmla="*/ 1289110 w 1426923"/>
                <a:gd name="connsiteY58" fmla="*/ 292914 h 3480498"/>
                <a:gd name="connsiteX59" fmla="*/ 1273576 w 1426923"/>
                <a:gd name="connsiteY59" fmla="*/ 340021 h 3480498"/>
                <a:gd name="connsiteX60" fmla="*/ 1331246 w 1426923"/>
                <a:gd name="connsiteY60" fmla="*/ 424511 h 3480498"/>
                <a:gd name="connsiteX61" fmla="*/ 1366780 w 1426923"/>
                <a:gd name="connsiteY61" fmla="*/ 430613 h 3480498"/>
                <a:gd name="connsiteX62" fmla="*/ 1419400 w 1426923"/>
                <a:gd name="connsiteY62" fmla="*/ 436953 h 3480498"/>
                <a:gd name="connsiteX63" fmla="*/ 1414437 w 1426923"/>
                <a:gd name="connsiteY63" fmla="*/ 547728 h 3480498"/>
                <a:gd name="connsiteX64" fmla="*/ 1425506 w 1426923"/>
                <a:gd name="connsiteY64" fmla="*/ 878696 h 3480498"/>
                <a:gd name="connsiteX65" fmla="*/ 1416638 w 1426923"/>
                <a:gd name="connsiteY65" fmla="*/ 1681295 h 3480498"/>
                <a:gd name="connsiteX66" fmla="*/ 1425505 w 1426923"/>
                <a:gd name="connsiteY66" fmla="*/ 2136377 h 3480498"/>
                <a:gd name="connsiteX67" fmla="*/ 1399057 w 1426923"/>
                <a:gd name="connsiteY67" fmla="*/ 3446342 h 3480498"/>
                <a:gd name="connsiteX68" fmla="*/ 1140630 w 1426923"/>
                <a:gd name="connsiteY68" fmla="*/ 3402747 h 3480498"/>
                <a:gd name="connsiteX69" fmla="*/ 972152 w 1426923"/>
                <a:gd name="connsiteY69" fmla="*/ 3336552 h 3480498"/>
                <a:gd name="connsiteX70" fmla="*/ 794806 w 1426923"/>
                <a:gd name="connsiteY70" fmla="*/ 3245536 h 3480498"/>
                <a:gd name="connsiteX71" fmla="*/ 696508 w 1426923"/>
                <a:gd name="connsiteY71" fmla="*/ 3165019 h 3480498"/>
                <a:gd name="connsiteX72" fmla="*/ 990770 w 1426923"/>
                <a:gd name="connsiteY72" fmla="*/ 2857383 h 3480498"/>
                <a:gd name="connsiteX73" fmla="*/ 707016 w 1426923"/>
                <a:gd name="connsiteY73" fmla="*/ 2319559 h 3480498"/>
                <a:gd name="connsiteX74" fmla="*/ 849366 w 1426923"/>
                <a:gd name="connsiteY74" fmla="*/ 2080474 h 3480498"/>
                <a:gd name="connsiteX75" fmla="*/ 662679 w 1426923"/>
                <a:gd name="connsiteY75" fmla="*/ 1541783 h 3480498"/>
                <a:gd name="connsiteX76" fmla="*/ 414395 w 1426923"/>
                <a:gd name="connsiteY76" fmla="*/ 1310105 h 3480498"/>
                <a:gd name="connsiteX77" fmla="*/ 405528 w 1426923"/>
                <a:gd name="connsiteY77" fmla="*/ 1194266 h 3480498"/>
                <a:gd name="connsiteX78" fmla="*/ 0 w 1426923"/>
                <a:gd name="connsiteY78" fmla="*/ 390277 h 3480498"/>
                <a:gd name="connsiteX0" fmla="*/ 0 w 1426923"/>
                <a:gd name="connsiteY0" fmla="*/ 390277 h 3480498"/>
                <a:gd name="connsiteX1" fmla="*/ 35939 w 1426923"/>
                <a:gd name="connsiteY1" fmla="*/ 0 h 3480498"/>
                <a:gd name="connsiteX2" fmla="*/ 587548 w 1426923"/>
                <a:gd name="connsiteY2" fmla="*/ 81270 h 3480498"/>
                <a:gd name="connsiteX3" fmla="*/ 634483 w 1426923"/>
                <a:gd name="connsiteY3" fmla="*/ 124113 h 3480498"/>
                <a:gd name="connsiteX4" fmla="*/ 803515 w 1426923"/>
                <a:gd name="connsiteY4" fmla="*/ 188755 h 3480498"/>
                <a:gd name="connsiteX5" fmla="*/ 853394 w 1426923"/>
                <a:gd name="connsiteY5" fmla="*/ 240469 h 3480498"/>
                <a:gd name="connsiteX6" fmla="*/ 878333 w 1426923"/>
                <a:gd name="connsiteY6" fmla="*/ 279255 h 3480498"/>
                <a:gd name="connsiteX7" fmla="*/ 911586 w 1426923"/>
                <a:gd name="connsiteY7" fmla="*/ 305111 h 3480498"/>
                <a:gd name="connsiteX8" fmla="*/ 894958 w 1426923"/>
                <a:gd name="connsiteY8" fmla="*/ 530066 h 3480498"/>
                <a:gd name="connsiteX9" fmla="*/ 767492 w 1426923"/>
                <a:gd name="connsiteY9" fmla="*/ 610224 h 3480498"/>
                <a:gd name="connsiteX10" fmla="*/ 515327 w 1426923"/>
                <a:gd name="connsiteY10" fmla="*/ 597294 h 3480498"/>
                <a:gd name="connsiteX11" fmla="*/ 423883 w 1426923"/>
                <a:gd name="connsiteY11" fmla="*/ 561094 h 3480498"/>
                <a:gd name="connsiteX12" fmla="*/ 404486 w 1426923"/>
                <a:gd name="connsiteY12" fmla="*/ 589537 h 3480498"/>
                <a:gd name="connsiteX13" fmla="*/ 435128 w 1426923"/>
                <a:gd name="connsiteY13" fmla="*/ 662950 h 3480498"/>
                <a:gd name="connsiteX14" fmla="*/ 440669 w 1426923"/>
                <a:gd name="connsiteY14" fmla="*/ 789649 h 3480498"/>
                <a:gd name="connsiteX15" fmla="*/ 412799 w 1426923"/>
                <a:gd name="connsiteY15" fmla="*/ 850692 h 3480498"/>
                <a:gd name="connsiteX16" fmla="*/ 468218 w 1426923"/>
                <a:gd name="connsiteY16" fmla="*/ 871377 h 3480498"/>
                <a:gd name="connsiteX17" fmla="*/ 484846 w 1426923"/>
                <a:gd name="connsiteY17" fmla="*/ 886891 h 3480498"/>
                <a:gd name="connsiteX18" fmla="*/ 509786 w 1426923"/>
                <a:gd name="connsiteY18" fmla="*/ 912748 h 3480498"/>
                <a:gd name="connsiteX19" fmla="*/ 507015 w 1426923"/>
                <a:gd name="connsiteY19" fmla="*/ 915334 h 3480498"/>
                <a:gd name="connsiteX20" fmla="*/ 545808 w 1426923"/>
                <a:gd name="connsiteY20" fmla="*/ 910163 h 3480498"/>
                <a:gd name="connsiteX21" fmla="*/ 554122 w 1426923"/>
                <a:gd name="connsiteY21" fmla="*/ 873963 h 3480498"/>
                <a:gd name="connsiteX22" fmla="*/ 515327 w 1426923"/>
                <a:gd name="connsiteY22" fmla="*/ 796392 h 3480498"/>
                <a:gd name="connsiteX23" fmla="*/ 584603 w 1426923"/>
                <a:gd name="connsiteY23" fmla="*/ 749849 h 3480498"/>
                <a:gd name="connsiteX24" fmla="*/ 652375 w 1426923"/>
                <a:gd name="connsiteY24" fmla="*/ 757583 h 3480498"/>
                <a:gd name="connsiteX25" fmla="*/ 676208 w 1426923"/>
                <a:gd name="connsiteY25" fmla="*/ 789650 h 3480498"/>
                <a:gd name="connsiteX26" fmla="*/ 831937 w 1426923"/>
                <a:gd name="connsiteY26" fmla="*/ 846013 h 3480498"/>
                <a:gd name="connsiteX27" fmla="*/ 817529 w 1426923"/>
                <a:gd name="connsiteY27" fmla="*/ 810336 h 3480498"/>
                <a:gd name="connsiteX28" fmla="*/ 784277 w 1426923"/>
                <a:gd name="connsiteY28" fmla="*/ 771550 h 3480498"/>
                <a:gd name="connsiteX29" fmla="*/ 773193 w 1426923"/>
                <a:gd name="connsiteY29" fmla="*/ 719836 h 3480498"/>
                <a:gd name="connsiteX30" fmla="*/ 811988 w 1426923"/>
                <a:gd name="connsiteY30" fmla="*/ 670709 h 3480498"/>
                <a:gd name="connsiteX31" fmla="*/ 839698 w 1426923"/>
                <a:gd name="connsiteY31" fmla="*/ 642266 h 3480498"/>
                <a:gd name="connsiteX32" fmla="*/ 864638 w 1426923"/>
                <a:gd name="connsiteY32" fmla="*/ 606066 h 3480498"/>
                <a:gd name="connsiteX33" fmla="*/ 944998 w 1426923"/>
                <a:gd name="connsiteY33" fmla="*/ 600894 h 3480498"/>
                <a:gd name="connsiteX34" fmla="*/ 950539 w 1426923"/>
                <a:gd name="connsiteY34" fmla="*/ 580209 h 3480498"/>
                <a:gd name="connsiteX35" fmla="*/ 975479 w 1426923"/>
                <a:gd name="connsiteY35" fmla="*/ 544009 h 3480498"/>
                <a:gd name="connsiteX36" fmla="*/ 1009283 w 1426923"/>
                <a:gd name="connsiteY36" fmla="*/ 526421 h 3480498"/>
                <a:gd name="connsiteX37" fmla="*/ 1066923 w 1426923"/>
                <a:gd name="connsiteY37" fmla="*/ 538838 h 3480498"/>
                <a:gd name="connsiteX38" fmla="*/ 1105716 w 1426923"/>
                <a:gd name="connsiteY38" fmla="*/ 559524 h 3480498"/>
                <a:gd name="connsiteX39" fmla="*/ 1152824 w 1426923"/>
                <a:gd name="connsiteY39" fmla="*/ 567281 h 3480498"/>
                <a:gd name="connsiteX40" fmla="*/ 1152824 w 1426923"/>
                <a:gd name="connsiteY40" fmla="*/ 572452 h 3480498"/>
                <a:gd name="connsiteX41" fmla="*/ 1174993 w 1426923"/>
                <a:gd name="connsiteY41" fmla="*/ 512981 h 3480498"/>
                <a:gd name="connsiteX42" fmla="*/ 1184968 w 1426923"/>
                <a:gd name="connsiteY42" fmla="*/ 479363 h 3480498"/>
                <a:gd name="connsiteX43" fmla="*/ 1191619 w 1426923"/>
                <a:gd name="connsiteY43" fmla="*/ 461267 h 3480498"/>
                <a:gd name="connsiteX44" fmla="*/ 1194556 w 1426923"/>
                <a:gd name="connsiteY44" fmla="*/ 429937 h 3480498"/>
                <a:gd name="connsiteX45" fmla="*/ 1114030 w 1426923"/>
                <a:gd name="connsiteY45" fmla="*/ 383697 h 3480498"/>
                <a:gd name="connsiteX46" fmla="*/ 1100175 w 1426923"/>
                <a:gd name="connsiteY46" fmla="*/ 311297 h 3480498"/>
                <a:gd name="connsiteX47" fmla="*/ 1100175 w 1426923"/>
                <a:gd name="connsiteY47" fmla="*/ 293197 h 3480498"/>
                <a:gd name="connsiteX48" fmla="*/ 1111258 w 1426923"/>
                <a:gd name="connsiteY48" fmla="*/ 269925 h 3480498"/>
                <a:gd name="connsiteX49" fmla="*/ 1114030 w 1426923"/>
                <a:gd name="connsiteY49" fmla="*/ 254411 h 3480498"/>
                <a:gd name="connsiteX50" fmla="*/ 1114029 w 1426923"/>
                <a:gd name="connsiteY50" fmla="*/ 197527 h 3480498"/>
                <a:gd name="connsiteX51" fmla="*/ 1091861 w 1426923"/>
                <a:gd name="connsiteY51" fmla="*/ 174256 h 3480498"/>
                <a:gd name="connsiteX52" fmla="*/ 1064151 w 1426923"/>
                <a:gd name="connsiteY52" fmla="*/ 143227 h 3480498"/>
                <a:gd name="connsiteX53" fmla="*/ 1059983 w 1426923"/>
                <a:gd name="connsiteY53" fmla="*/ 118974 h 3480498"/>
                <a:gd name="connsiteX54" fmla="*/ 1111259 w 1426923"/>
                <a:gd name="connsiteY54" fmla="*/ 96683 h 3480498"/>
                <a:gd name="connsiteX55" fmla="*/ 1164839 w 1426923"/>
                <a:gd name="connsiteY55" fmla="*/ 106555 h 3480498"/>
                <a:gd name="connsiteX56" fmla="*/ 1243623 w 1426923"/>
                <a:gd name="connsiteY56" fmla="*/ 118465 h 3480498"/>
                <a:gd name="connsiteX57" fmla="*/ 1327946 w 1426923"/>
                <a:gd name="connsiteY57" fmla="*/ 187824 h 3480498"/>
                <a:gd name="connsiteX58" fmla="*/ 1390081 w 1426923"/>
                <a:gd name="connsiteY58" fmla="*/ 263920 h 3480498"/>
                <a:gd name="connsiteX59" fmla="*/ 1289110 w 1426923"/>
                <a:gd name="connsiteY59" fmla="*/ 292914 h 3480498"/>
                <a:gd name="connsiteX60" fmla="*/ 1273576 w 1426923"/>
                <a:gd name="connsiteY60" fmla="*/ 340021 h 3480498"/>
                <a:gd name="connsiteX61" fmla="*/ 1331246 w 1426923"/>
                <a:gd name="connsiteY61" fmla="*/ 424511 h 3480498"/>
                <a:gd name="connsiteX62" fmla="*/ 1366780 w 1426923"/>
                <a:gd name="connsiteY62" fmla="*/ 430613 h 3480498"/>
                <a:gd name="connsiteX63" fmla="*/ 1419400 w 1426923"/>
                <a:gd name="connsiteY63" fmla="*/ 436953 h 3480498"/>
                <a:gd name="connsiteX64" fmla="*/ 1414437 w 1426923"/>
                <a:gd name="connsiteY64" fmla="*/ 547728 h 3480498"/>
                <a:gd name="connsiteX65" fmla="*/ 1425506 w 1426923"/>
                <a:gd name="connsiteY65" fmla="*/ 878696 h 3480498"/>
                <a:gd name="connsiteX66" fmla="*/ 1416638 w 1426923"/>
                <a:gd name="connsiteY66" fmla="*/ 1681295 h 3480498"/>
                <a:gd name="connsiteX67" fmla="*/ 1425505 w 1426923"/>
                <a:gd name="connsiteY67" fmla="*/ 2136377 h 3480498"/>
                <a:gd name="connsiteX68" fmla="*/ 1399057 w 1426923"/>
                <a:gd name="connsiteY68" fmla="*/ 3446342 h 3480498"/>
                <a:gd name="connsiteX69" fmla="*/ 1140630 w 1426923"/>
                <a:gd name="connsiteY69" fmla="*/ 3402747 h 3480498"/>
                <a:gd name="connsiteX70" fmla="*/ 972152 w 1426923"/>
                <a:gd name="connsiteY70" fmla="*/ 3336552 h 3480498"/>
                <a:gd name="connsiteX71" fmla="*/ 794806 w 1426923"/>
                <a:gd name="connsiteY71" fmla="*/ 3245536 h 3480498"/>
                <a:gd name="connsiteX72" fmla="*/ 696508 w 1426923"/>
                <a:gd name="connsiteY72" fmla="*/ 3165019 h 3480498"/>
                <a:gd name="connsiteX73" fmla="*/ 990770 w 1426923"/>
                <a:gd name="connsiteY73" fmla="*/ 2857383 h 3480498"/>
                <a:gd name="connsiteX74" fmla="*/ 707016 w 1426923"/>
                <a:gd name="connsiteY74" fmla="*/ 2319559 h 3480498"/>
                <a:gd name="connsiteX75" fmla="*/ 849366 w 1426923"/>
                <a:gd name="connsiteY75" fmla="*/ 2080474 h 3480498"/>
                <a:gd name="connsiteX76" fmla="*/ 662679 w 1426923"/>
                <a:gd name="connsiteY76" fmla="*/ 1541783 h 3480498"/>
                <a:gd name="connsiteX77" fmla="*/ 414395 w 1426923"/>
                <a:gd name="connsiteY77" fmla="*/ 1310105 h 3480498"/>
                <a:gd name="connsiteX78" fmla="*/ 405528 w 1426923"/>
                <a:gd name="connsiteY78" fmla="*/ 1194266 h 3480498"/>
                <a:gd name="connsiteX79" fmla="*/ 0 w 1426923"/>
                <a:gd name="connsiteY79" fmla="*/ 390277 h 3480498"/>
                <a:gd name="connsiteX0" fmla="*/ 0 w 1426923"/>
                <a:gd name="connsiteY0" fmla="*/ 390277 h 3480498"/>
                <a:gd name="connsiteX1" fmla="*/ 35939 w 1426923"/>
                <a:gd name="connsiteY1" fmla="*/ 0 h 3480498"/>
                <a:gd name="connsiteX2" fmla="*/ 587548 w 1426923"/>
                <a:gd name="connsiteY2" fmla="*/ 81270 h 3480498"/>
                <a:gd name="connsiteX3" fmla="*/ 634483 w 1426923"/>
                <a:gd name="connsiteY3" fmla="*/ 124113 h 3480498"/>
                <a:gd name="connsiteX4" fmla="*/ 803515 w 1426923"/>
                <a:gd name="connsiteY4" fmla="*/ 188755 h 3480498"/>
                <a:gd name="connsiteX5" fmla="*/ 853394 w 1426923"/>
                <a:gd name="connsiteY5" fmla="*/ 240469 h 3480498"/>
                <a:gd name="connsiteX6" fmla="*/ 878333 w 1426923"/>
                <a:gd name="connsiteY6" fmla="*/ 279255 h 3480498"/>
                <a:gd name="connsiteX7" fmla="*/ 911586 w 1426923"/>
                <a:gd name="connsiteY7" fmla="*/ 305111 h 3480498"/>
                <a:gd name="connsiteX8" fmla="*/ 894958 w 1426923"/>
                <a:gd name="connsiteY8" fmla="*/ 530066 h 3480498"/>
                <a:gd name="connsiteX9" fmla="*/ 767492 w 1426923"/>
                <a:gd name="connsiteY9" fmla="*/ 610224 h 3480498"/>
                <a:gd name="connsiteX10" fmla="*/ 653880 w 1426923"/>
                <a:gd name="connsiteY10" fmla="*/ 617980 h 3480498"/>
                <a:gd name="connsiteX11" fmla="*/ 515327 w 1426923"/>
                <a:gd name="connsiteY11" fmla="*/ 597294 h 3480498"/>
                <a:gd name="connsiteX12" fmla="*/ 423883 w 1426923"/>
                <a:gd name="connsiteY12" fmla="*/ 561094 h 3480498"/>
                <a:gd name="connsiteX13" fmla="*/ 404486 w 1426923"/>
                <a:gd name="connsiteY13" fmla="*/ 589537 h 3480498"/>
                <a:gd name="connsiteX14" fmla="*/ 435128 w 1426923"/>
                <a:gd name="connsiteY14" fmla="*/ 662950 h 3480498"/>
                <a:gd name="connsiteX15" fmla="*/ 440669 w 1426923"/>
                <a:gd name="connsiteY15" fmla="*/ 789649 h 3480498"/>
                <a:gd name="connsiteX16" fmla="*/ 412799 w 1426923"/>
                <a:gd name="connsiteY16" fmla="*/ 850692 h 3480498"/>
                <a:gd name="connsiteX17" fmla="*/ 468218 w 1426923"/>
                <a:gd name="connsiteY17" fmla="*/ 871377 h 3480498"/>
                <a:gd name="connsiteX18" fmla="*/ 484846 w 1426923"/>
                <a:gd name="connsiteY18" fmla="*/ 886891 h 3480498"/>
                <a:gd name="connsiteX19" fmla="*/ 509786 w 1426923"/>
                <a:gd name="connsiteY19" fmla="*/ 912748 h 3480498"/>
                <a:gd name="connsiteX20" fmla="*/ 507015 w 1426923"/>
                <a:gd name="connsiteY20" fmla="*/ 915334 h 3480498"/>
                <a:gd name="connsiteX21" fmla="*/ 545808 w 1426923"/>
                <a:gd name="connsiteY21" fmla="*/ 910163 h 3480498"/>
                <a:gd name="connsiteX22" fmla="*/ 554122 w 1426923"/>
                <a:gd name="connsiteY22" fmla="*/ 873963 h 3480498"/>
                <a:gd name="connsiteX23" fmla="*/ 515327 w 1426923"/>
                <a:gd name="connsiteY23" fmla="*/ 796392 h 3480498"/>
                <a:gd name="connsiteX24" fmla="*/ 584603 w 1426923"/>
                <a:gd name="connsiteY24" fmla="*/ 749849 h 3480498"/>
                <a:gd name="connsiteX25" fmla="*/ 652375 w 1426923"/>
                <a:gd name="connsiteY25" fmla="*/ 757583 h 3480498"/>
                <a:gd name="connsiteX26" fmla="*/ 676208 w 1426923"/>
                <a:gd name="connsiteY26" fmla="*/ 789650 h 3480498"/>
                <a:gd name="connsiteX27" fmla="*/ 831937 w 1426923"/>
                <a:gd name="connsiteY27" fmla="*/ 846013 h 3480498"/>
                <a:gd name="connsiteX28" fmla="*/ 817529 w 1426923"/>
                <a:gd name="connsiteY28" fmla="*/ 810336 h 3480498"/>
                <a:gd name="connsiteX29" fmla="*/ 784277 w 1426923"/>
                <a:gd name="connsiteY29" fmla="*/ 771550 h 3480498"/>
                <a:gd name="connsiteX30" fmla="*/ 773193 w 1426923"/>
                <a:gd name="connsiteY30" fmla="*/ 719836 h 3480498"/>
                <a:gd name="connsiteX31" fmla="*/ 811988 w 1426923"/>
                <a:gd name="connsiteY31" fmla="*/ 670709 h 3480498"/>
                <a:gd name="connsiteX32" fmla="*/ 839698 w 1426923"/>
                <a:gd name="connsiteY32" fmla="*/ 642266 h 3480498"/>
                <a:gd name="connsiteX33" fmla="*/ 864638 w 1426923"/>
                <a:gd name="connsiteY33" fmla="*/ 606066 h 3480498"/>
                <a:gd name="connsiteX34" fmla="*/ 944998 w 1426923"/>
                <a:gd name="connsiteY34" fmla="*/ 600894 h 3480498"/>
                <a:gd name="connsiteX35" fmla="*/ 950539 w 1426923"/>
                <a:gd name="connsiteY35" fmla="*/ 580209 h 3480498"/>
                <a:gd name="connsiteX36" fmla="*/ 975479 w 1426923"/>
                <a:gd name="connsiteY36" fmla="*/ 544009 h 3480498"/>
                <a:gd name="connsiteX37" fmla="*/ 1009283 w 1426923"/>
                <a:gd name="connsiteY37" fmla="*/ 526421 h 3480498"/>
                <a:gd name="connsiteX38" fmla="*/ 1066923 w 1426923"/>
                <a:gd name="connsiteY38" fmla="*/ 538838 h 3480498"/>
                <a:gd name="connsiteX39" fmla="*/ 1105716 w 1426923"/>
                <a:gd name="connsiteY39" fmla="*/ 559524 h 3480498"/>
                <a:gd name="connsiteX40" fmla="*/ 1152824 w 1426923"/>
                <a:gd name="connsiteY40" fmla="*/ 567281 h 3480498"/>
                <a:gd name="connsiteX41" fmla="*/ 1152824 w 1426923"/>
                <a:gd name="connsiteY41" fmla="*/ 572452 h 3480498"/>
                <a:gd name="connsiteX42" fmla="*/ 1174993 w 1426923"/>
                <a:gd name="connsiteY42" fmla="*/ 512981 h 3480498"/>
                <a:gd name="connsiteX43" fmla="*/ 1184968 w 1426923"/>
                <a:gd name="connsiteY43" fmla="*/ 479363 h 3480498"/>
                <a:gd name="connsiteX44" fmla="*/ 1191619 w 1426923"/>
                <a:gd name="connsiteY44" fmla="*/ 461267 h 3480498"/>
                <a:gd name="connsiteX45" fmla="*/ 1194556 w 1426923"/>
                <a:gd name="connsiteY45" fmla="*/ 429937 h 3480498"/>
                <a:gd name="connsiteX46" fmla="*/ 1114030 w 1426923"/>
                <a:gd name="connsiteY46" fmla="*/ 383697 h 3480498"/>
                <a:gd name="connsiteX47" fmla="*/ 1100175 w 1426923"/>
                <a:gd name="connsiteY47" fmla="*/ 311297 h 3480498"/>
                <a:gd name="connsiteX48" fmla="*/ 1100175 w 1426923"/>
                <a:gd name="connsiteY48" fmla="*/ 293197 h 3480498"/>
                <a:gd name="connsiteX49" fmla="*/ 1111258 w 1426923"/>
                <a:gd name="connsiteY49" fmla="*/ 269925 h 3480498"/>
                <a:gd name="connsiteX50" fmla="*/ 1114030 w 1426923"/>
                <a:gd name="connsiteY50" fmla="*/ 254411 h 3480498"/>
                <a:gd name="connsiteX51" fmla="*/ 1114029 w 1426923"/>
                <a:gd name="connsiteY51" fmla="*/ 197527 h 3480498"/>
                <a:gd name="connsiteX52" fmla="*/ 1091861 w 1426923"/>
                <a:gd name="connsiteY52" fmla="*/ 174256 h 3480498"/>
                <a:gd name="connsiteX53" fmla="*/ 1064151 w 1426923"/>
                <a:gd name="connsiteY53" fmla="*/ 143227 h 3480498"/>
                <a:gd name="connsiteX54" fmla="*/ 1059983 w 1426923"/>
                <a:gd name="connsiteY54" fmla="*/ 118974 h 3480498"/>
                <a:gd name="connsiteX55" fmla="*/ 1111259 w 1426923"/>
                <a:gd name="connsiteY55" fmla="*/ 96683 h 3480498"/>
                <a:gd name="connsiteX56" fmla="*/ 1164839 w 1426923"/>
                <a:gd name="connsiteY56" fmla="*/ 106555 h 3480498"/>
                <a:gd name="connsiteX57" fmla="*/ 1243623 w 1426923"/>
                <a:gd name="connsiteY57" fmla="*/ 118465 h 3480498"/>
                <a:gd name="connsiteX58" fmla="*/ 1327946 w 1426923"/>
                <a:gd name="connsiteY58" fmla="*/ 187824 h 3480498"/>
                <a:gd name="connsiteX59" fmla="*/ 1390081 w 1426923"/>
                <a:gd name="connsiteY59" fmla="*/ 263920 h 3480498"/>
                <a:gd name="connsiteX60" fmla="*/ 1289110 w 1426923"/>
                <a:gd name="connsiteY60" fmla="*/ 292914 h 3480498"/>
                <a:gd name="connsiteX61" fmla="*/ 1273576 w 1426923"/>
                <a:gd name="connsiteY61" fmla="*/ 340021 h 3480498"/>
                <a:gd name="connsiteX62" fmla="*/ 1331246 w 1426923"/>
                <a:gd name="connsiteY62" fmla="*/ 424511 h 3480498"/>
                <a:gd name="connsiteX63" fmla="*/ 1366780 w 1426923"/>
                <a:gd name="connsiteY63" fmla="*/ 430613 h 3480498"/>
                <a:gd name="connsiteX64" fmla="*/ 1419400 w 1426923"/>
                <a:gd name="connsiteY64" fmla="*/ 436953 h 3480498"/>
                <a:gd name="connsiteX65" fmla="*/ 1414437 w 1426923"/>
                <a:gd name="connsiteY65" fmla="*/ 547728 h 3480498"/>
                <a:gd name="connsiteX66" fmla="*/ 1425506 w 1426923"/>
                <a:gd name="connsiteY66" fmla="*/ 878696 h 3480498"/>
                <a:gd name="connsiteX67" fmla="*/ 1416638 w 1426923"/>
                <a:gd name="connsiteY67" fmla="*/ 1681295 h 3480498"/>
                <a:gd name="connsiteX68" fmla="*/ 1425505 w 1426923"/>
                <a:gd name="connsiteY68" fmla="*/ 2136377 h 3480498"/>
                <a:gd name="connsiteX69" fmla="*/ 1399057 w 1426923"/>
                <a:gd name="connsiteY69" fmla="*/ 3446342 h 3480498"/>
                <a:gd name="connsiteX70" fmla="*/ 1140630 w 1426923"/>
                <a:gd name="connsiteY70" fmla="*/ 3402747 h 3480498"/>
                <a:gd name="connsiteX71" fmla="*/ 972152 w 1426923"/>
                <a:gd name="connsiteY71" fmla="*/ 3336552 h 3480498"/>
                <a:gd name="connsiteX72" fmla="*/ 794806 w 1426923"/>
                <a:gd name="connsiteY72" fmla="*/ 3245536 h 3480498"/>
                <a:gd name="connsiteX73" fmla="*/ 696508 w 1426923"/>
                <a:gd name="connsiteY73" fmla="*/ 3165019 h 3480498"/>
                <a:gd name="connsiteX74" fmla="*/ 990770 w 1426923"/>
                <a:gd name="connsiteY74" fmla="*/ 2857383 h 3480498"/>
                <a:gd name="connsiteX75" fmla="*/ 707016 w 1426923"/>
                <a:gd name="connsiteY75" fmla="*/ 2319559 h 3480498"/>
                <a:gd name="connsiteX76" fmla="*/ 849366 w 1426923"/>
                <a:gd name="connsiteY76" fmla="*/ 2080474 h 3480498"/>
                <a:gd name="connsiteX77" fmla="*/ 662679 w 1426923"/>
                <a:gd name="connsiteY77" fmla="*/ 1541783 h 3480498"/>
                <a:gd name="connsiteX78" fmla="*/ 414395 w 1426923"/>
                <a:gd name="connsiteY78" fmla="*/ 1310105 h 3480498"/>
                <a:gd name="connsiteX79" fmla="*/ 405528 w 1426923"/>
                <a:gd name="connsiteY79" fmla="*/ 1194266 h 3480498"/>
                <a:gd name="connsiteX80" fmla="*/ 0 w 1426923"/>
                <a:gd name="connsiteY80" fmla="*/ 390277 h 3480498"/>
                <a:gd name="connsiteX0" fmla="*/ 0 w 1426923"/>
                <a:gd name="connsiteY0" fmla="*/ 391742 h 3481963"/>
                <a:gd name="connsiteX1" fmla="*/ 35939 w 1426923"/>
                <a:gd name="connsiteY1" fmla="*/ 1465 h 3481963"/>
                <a:gd name="connsiteX2" fmla="*/ 509787 w 1426923"/>
                <a:gd name="connsiteY2" fmla="*/ 6636 h 3481963"/>
                <a:gd name="connsiteX3" fmla="*/ 587548 w 1426923"/>
                <a:gd name="connsiteY3" fmla="*/ 82735 h 3481963"/>
                <a:gd name="connsiteX4" fmla="*/ 634483 w 1426923"/>
                <a:gd name="connsiteY4" fmla="*/ 125578 h 3481963"/>
                <a:gd name="connsiteX5" fmla="*/ 803515 w 1426923"/>
                <a:gd name="connsiteY5" fmla="*/ 190220 h 3481963"/>
                <a:gd name="connsiteX6" fmla="*/ 853394 w 1426923"/>
                <a:gd name="connsiteY6" fmla="*/ 241934 h 3481963"/>
                <a:gd name="connsiteX7" fmla="*/ 878333 w 1426923"/>
                <a:gd name="connsiteY7" fmla="*/ 280720 h 3481963"/>
                <a:gd name="connsiteX8" fmla="*/ 911586 w 1426923"/>
                <a:gd name="connsiteY8" fmla="*/ 306576 h 3481963"/>
                <a:gd name="connsiteX9" fmla="*/ 894958 w 1426923"/>
                <a:gd name="connsiteY9" fmla="*/ 531531 h 3481963"/>
                <a:gd name="connsiteX10" fmla="*/ 767492 w 1426923"/>
                <a:gd name="connsiteY10" fmla="*/ 611689 h 3481963"/>
                <a:gd name="connsiteX11" fmla="*/ 653880 w 1426923"/>
                <a:gd name="connsiteY11" fmla="*/ 619445 h 3481963"/>
                <a:gd name="connsiteX12" fmla="*/ 515327 w 1426923"/>
                <a:gd name="connsiteY12" fmla="*/ 598759 h 3481963"/>
                <a:gd name="connsiteX13" fmla="*/ 423883 w 1426923"/>
                <a:gd name="connsiteY13" fmla="*/ 562559 h 3481963"/>
                <a:gd name="connsiteX14" fmla="*/ 404486 w 1426923"/>
                <a:gd name="connsiteY14" fmla="*/ 591002 h 3481963"/>
                <a:gd name="connsiteX15" fmla="*/ 435128 w 1426923"/>
                <a:gd name="connsiteY15" fmla="*/ 664415 h 3481963"/>
                <a:gd name="connsiteX16" fmla="*/ 440669 w 1426923"/>
                <a:gd name="connsiteY16" fmla="*/ 791114 h 3481963"/>
                <a:gd name="connsiteX17" fmla="*/ 412799 w 1426923"/>
                <a:gd name="connsiteY17" fmla="*/ 852157 h 3481963"/>
                <a:gd name="connsiteX18" fmla="*/ 468218 w 1426923"/>
                <a:gd name="connsiteY18" fmla="*/ 872842 h 3481963"/>
                <a:gd name="connsiteX19" fmla="*/ 484846 w 1426923"/>
                <a:gd name="connsiteY19" fmla="*/ 888356 h 3481963"/>
                <a:gd name="connsiteX20" fmla="*/ 509786 w 1426923"/>
                <a:gd name="connsiteY20" fmla="*/ 914213 h 3481963"/>
                <a:gd name="connsiteX21" fmla="*/ 507015 w 1426923"/>
                <a:gd name="connsiteY21" fmla="*/ 916799 h 3481963"/>
                <a:gd name="connsiteX22" fmla="*/ 545808 w 1426923"/>
                <a:gd name="connsiteY22" fmla="*/ 911628 h 3481963"/>
                <a:gd name="connsiteX23" fmla="*/ 554122 w 1426923"/>
                <a:gd name="connsiteY23" fmla="*/ 875428 h 3481963"/>
                <a:gd name="connsiteX24" fmla="*/ 515327 w 1426923"/>
                <a:gd name="connsiteY24" fmla="*/ 797857 h 3481963"/>
                <a:gd name="connsiteX25" fmla="*/ 584603 w 1426923"/>
                <a:gd name="connsiteY25" fmla="*/ 751314 h 3481963"/>
                <a:gd name="connsiteX26" fmla="*/ 652375 w 1426923"/>
                <a:gd name="connsiteY26" fmla="*/ 759048 h 3481963"/>
                <a:gd name="connsiteX27" fmla="*/ 676208 w 1426923"/>
                <a:gd name="connsiteY27" fmla="*/ 791115 h 3481963"/>
                <a:gd name="connsiteX28" fmla="*/ 831937 w 1426923"/>
                <a:gd name="connsiteY28" fmla="*/ 847478 h 3481963"/>
                <a:gd name="connsiteX29" fmla="*/ 817529 w 1426923"/>
                <a:gd name="connsiteY29" fmla="*/ 811801 h 3481963"/>
                <a:gd name="connsiteX30" fmla="*/ 784277 w 1426923"/>
                <a:gd name="connsiteY30" fmla="*/ 773015 h 3481963"/>
                <a:gd name="connsiteX31" fmla="*/ 773193 w 1426923"/>
                <a:gd name="connsiteY31" fmla="*/ 721301 h 3481963"/>
                <a:gd name="connsiteX32" fmla="*/ 811988 w 1426923"/>
                <a:gd name="connsiteY32" fmla="*/ 672174 h 3481963"/>
                <a:gd name="connsiteX33" fmla="*/ 839698 w 1426923"/>
                <a:gd name="connsiteY33" fmla="*/ 643731 h 3481963"/>
                <a:gd name="connsiteX34" fmla="*/ 864638 w 1426923"/>
                <a:gd name="connsiteY34" fmla="*/ 607531 h 3481963"/>
                <a:gd name="connsiteX35" fmla="*/ 944998 w 1426923"/>
                <a:gd name="connsiteY35" fmla="*/ 602359 h 3481963"/>
                <a:gd name="connsiteX36" fmla="*/ 950539 w 1426923"/>
                <a:gd name="connsiteY36" fmla="*/ 581674 h 3481963"/>
                <a:gd name="connsiteX37" fmla="*/ 975479 w 1426923"/>
                <a:gd name="connsiteY37" fmla="*/ 545474 h 3481963"/>
                <a:gd name="connsiteX38" fmla="*/ 1009283 w 1426923"/>
                <a:gd name="connsiteY38" fmla="*/ 527886 h 3481963"/>
                <a:gd name="connsiteX39" fmla="*/ 1066923 w 1426923"/>
                <a:gd name="connsiteY39" fmla="*/ 540303 h 3481963"/>
                <a:gd name="connsiteX40" fmla="*/ 1105716 w 1426923"/>
                <a:gd name="connsiteY40" fmla="*/ 560989 h 3481963"/>
                <a:gd name="connsiteX41" fmla="*/ 1152824 w 1426923"/>
                <a:gd name="connsiteY41" fmla="*/ 568746 h 3481963"/>
                <a:gd name="connsiteX42" fmla="*/ 1152824 w 1426923"/>
                <a:gd name="connsiteY42" fmla="*/ 573917 h 3481963"/>
                <a:gd name="connsiteX43" fmla="*/ 1174993 w 1426923"/>
                <a:gd name="connsiteY43" fmla="*/ 514446 h 3481963"/>
                <a:gd name="connsiteX44" fmla="*/ 1184968 w 1426923"/>
                <a:gd name="connsiteY44" fmla="*/ 480828 h 3481963"/>
                <a:gd name="connsiteX45" fmla="*/ 1191619 w 1426923"/>
                <a:gd name="connsiteY45" fmla="*/ 462732 h 3481963"/>
                <a:gd name="connsiteX46" fmla="*/ 1194556 w 1426923"/>
                <a:gd name="connsiteY46" fmla="*/ 431402 h 3481963"/>
                <a:gd name="connsiteX47" fmla="*/ 1114030 w 1426923"/>
                <a:gd name="connsiteY47" fmla="*/ 385162 h 3481963"/>
                <a:gd name="connsiteX48" fmla="*/ 1100175 w 1426923"/>
                <a:gd name="connsiteY48" fmla="*/ 312762 h 3481963"/>
                <a:gd name="connsiteX49" fmla="*/ 1100175 w 1426923"/>
                <a:gd name="connsiteY49" fmla="*/ 294662 h 3481963"/>
                <a:gd name="connsiteX50" fmla="*/ 1111258 w 1426923"/>
                <a:gd name="connsiteY50" fmla="*/ 271390 h 3481963"/>
                <a:gd name="connsiteX51" fmla="*/ 1114030 w 1426923"/>
                <a:gd name="connsiteY51" fmla="*/ 255876 h 3481963"/>
                <a:gd name="connsiteX52" fmla="*/ 1114029 w 1426923"/>
                <a:gd name="connsiteY52" fmla="*/ 198992 h 3481963"/>
                <a:gd name="connsiteX53" fmla="*/ 1091861 w 1426923"/>
                <a:gd name="connsiteY53" fmla="*/ 175721 h 3481963"/>
                <a:gd name="connsiteX54" fmla="*/ 1064151 w 1426923"/>
                <a:gd name="connsiteY54" fmla="*/ 144692 h 3481963"/>
                <a:gd name="connsiteX55" fmla="*/ 1059983 w 1426923"/>
                <a:gd name="connsiteY55" fmla="*/ 120439 h 3481963"/>
                <a:gd name="connsiteX56" fmla="*/ 1111259 w 1426923"/>
                <a:gd name="connsiteY56" fmla="*/ 98148 h 3481963"/>
                <a:gd name="connsiteX57" fmla="*/ 1164839 w 1426923"/>
                <a:gd name="connsiteY57" fmla="*/ 108020 h 3481963"/>
                <a:gd name="connsiteX58" fmla="*/ 1243623 w 1426923"/>
                <a:gd name="connsiteY58" fmla="*/ 119930 h 3481963"/>
                <a:gd name="connsiteX59" fmla="*/ 1327946 w 1426923"/>
                <a:gd name="connsiteY59" fmla="*/ 189289 h 3481963"/>
                <a:gd name="connsiteX60" fmla="*/ 1390081 w 1426923"/>
                <a:gd name="connsiteY60" fmla="*/ 265385 h 3481963"/>
                <a:gd name="connsiteX61" fmla="*/ 1289110 w 1426923"/>
                <a:gd name="connsiteY61" fmla="*/ 294379 h 3481963"/>
                <a:gd name="connsiteX62" fmla="*/ 1273576 w 1426923"/>
                <a:gd name="connsiteY62" fmla="*/ 341486 h 3481963"/>
                <a:gd name="connsiteX63" fmla="*/ 1331246 w 1426923"/>
                <a:gd name="connsiteY63" fmla="*/ 425976 h 3481963"/>
                <a:gd name="connsiteX64" fmla="*/ 1366780 w 1426923"/>
                <a:gd name="connsiteY64" fmla="*/ 432078 h 3481963"/>
                <a:gd name="connsiteX65" fmla="*/ 1419400 w 1426923"/>
                <a:gd name="connsiteY65" fmla="*/ 438418 h 3481963"/>
                <a:gd name="connsiteX66" fmla="*/ 1414437 w 1426923"/>
                <a:gd name="connsiteY66" fmla="*/ 549193 h 3481963"/>
                <a:gd name="connsiteX67" fmla="*/ 1425506 w 1426923"/>
                <a:gd name="connsiteY67" fmla="*/ 880161 h 3481963"/>
                <a:gd name="connsiteX68" fmla="*/ 1416638 w 1426923"/>
                <a:gd name="connsiteY68" fmla="*/ 1682760 h 3481963"/>
                <a:gd name="connsiteX69" fmla="*/ 1425505 w 1426923"/>
                <a:gd name="connsiteY69" fmla="*/ 2137842 h 3481963"/>
                <a:gd name="connsiteX70" fmla="*/ 1399057 w 1426923"/>
                <a:gd name="connsiteY70" fmla="*/ 3447807 h 3481963"/>
                <a:gd name="connsiteX71" fmla="*/ 1140630 w 1426923"/>
                <a:gd name="connsiteY71" fmla="*/ 3404212 h 3481963"/>
                <a:gd name="connsiteX72" fmla="*/ 972152 w 1426923"/>
                <a:gd name="connsiteY72" fmla="*/ 3338017 h 3481963"/>
                <a:gd name="connsiteX73" fmla="*/ 794806 w 1426923"/>
                <a:gd name="connsiteY73" fmla="*/ 3247001 h 3481963"/>
                <a:gd name="connsiteX74" fmla="*/ 696508 w 1426923"/>
                <a:gd name="connsiteY74" fmla="*/ 3166484 h 3481963"/>
                <a:gd name="connsiteX75" fmla="*/ 990770 w 1426923"/>
                <a:gd name="connsiteY75" fmla="*/ 2858848 h 3481963"/>
                <a:gd name="connsiteX76" fmla="*/ 707016 w 1426923"/>
                <a:gd name="connsiteY76" fmla="*/ 2321024 h 3481963"/>
                <a:gd name="connsiteX77" fmla="*/ 849366 w 1426923"/>
                <a:gd name="connsiteY77" fmla="*/ 2081939 h 3481963"/>
                <a:gd name="connsiteX78" fmla="*/ 662679 w 1426923"/>
                <a:gd name="connsiteY78" fmla="*/ 1543248 h 3481963"/>
                <a:gd name="connsiteX79" fmla="*/ 414395 w 1426923"/>
                <a:gd name="connsiteY79" fmla="*/ 1311570 h 3481963"/>
                <a:gd name="connsiteX80" fmla="*/ 405528 w 1426923"/>
                <a:gd name="connsiteY80" fmla="*/ 1195731 h 3481963"/>
                <a:gd name="connsiteX81" fmla="*/ 0 w 1426923"/>
                <a:gd name="connsiteY81" fmla="*/ 391742 h 3481963"/>
                <a:gd name="connsiteX0" fmla="*/ 0 w 1426923"/>
                <a:gd name="connsiteY0" fmla="*/ 391742 h 3481963"/>
                <a:gd name="connsiteX1" fmla="*/ 35939 w 1426923"/>
                <a:gd name="connsiteY1" fmla="*/ 1465 h 3481963"/>
                <a:gd name="connsiteX2" fmla="*/ 509787 w 1426923"/>
                <a:gd name="connsiteY2" fmla="*/ 6636 h 3481963"/>
                <a:gd name="connsiteX3" fmla="*/ 587548 w 1426923"/>
                <a:gd name="connsiteY3" fmla="*/ 82735 h 3481963"/>
                <a:gd name="connsiteX4" fmla="*/ 634483 w 1426923"/>
                <a:gd name="connsiteY4" fmla="*/ 125578 h 3481963"/>
                <a:gd name="connsiteX5" fmla="*/ 731469 w 1426923"/>
                <a:gd name="connsiteY5" fmla="*/ 143677 h 3481963"/>
                <a:gd name="connsiteX6" fmla="*/ 803515 w 1426923"/>
                <a:gd name="connsiteY6" fmla="*/ 190220 h 3481963"/>
                <a:gd name="connsiteX7" fmla="*/ 853394 w 1426923"/>
                <a:gd name="connsiteY7" fmla="*/ 241934 h 3481963"/>
                <a:gd name="connsiteX8" fmla="*/ 878333 w 1426923"/>
                <a:gd name="connsiteY8" fmla="*/ 280720 h 3481963"/>
                <a:gd name="connsiteX9" fmla="*/ 911586 w 1426923"/>
                <a:gd name="connsiteY9" fmla="*/ 306576 h 3481963"/>
                <a:gd name="connsiteX10" fmla="*/ 894958 w 1426923"/>
                <a:gd name="connsiteY10" fmla="*/ 531531 h 3481963"/>
                <a:gd name="connsiteX11" fmla="*/ 767492 w 1426923"/>
                <a:gd name="connsiteY11" fmla="*/ 611689 h 3481963"/>
                <a:gd name="connsiteX12" fmla="*/ 653880 w 1426923"/>
                <a:gd name="connsiteY12" fmla="*/ 619445 h 3481963"/>
                <a:gd name="connsiteX13" fmla="*/ 515327 w 1426923"/>
                <a:gd name="connsiteY13" fmla="*/ 598759 h 3481963"/>
                <a:gd name="connsiteX14" fmla="*/ 423883 w 1426923"/>
                <a:gd name="connsiteY14" fmla="*/ 562559 h 3481963"/>
                <a:gd name="connsiteX15" fmla="*/ 404486 w 1426923"/>
                <a:gd name="connsiteY15" fmla="*/ 591002 h 3481963"/>
                <a:gd name="connsiteX16" fmla="*/ 435128 w 1426923"/>
                <a:gd name="connsiteY16" fmla="*/ 664415 h 3481963"/>
                <a:gd name="connsiteX17" fmla="*/ 440669 w 1426923"/>
                <a:gd name="connsiteY17" fmla="*/ 791114 h 3481963"/>
                <a:gd name="connsiteX18" fmla="*/ 412799 w 1426923"/>
                <a:gd name="connsiteY18" fmla="*/ 852157 h 3481963"/>
                <a:gd name="connsiteX19" fmla="*/ 468218 w 1426923"/>
                <a:gd name="connsiteY19" fmla="*/ 872842 h 3481963"/>
                <a:gd name="connsiteX20" fmla="*/ 484846 w 1426923"/>
                <a:gd name="connsiteY20" fmla="*/ 888356 h 3481963"/>
                <a:gd name="connsiteX21" fmla="*/ 509786 w 1426923"/>
                <a:gd name="connsiteY21" fmla="*/ 914213 h 3481963"/>
                <a:gd name="connsiteX22" fmla="*/ 507015 w 1426923"/>
                <a:gd name="connsiteY22" fmla="*/ 916799 h 3481963"/>
                <a:gd name="connsiteX23" fmla="*/ 545808 w 1426923"/>
                <a:gd name="connsiteY23" fmla="*/ 911628 h 3481963"/>
                <a:gd name="connsiteX24" fmla="*/ 554122 w 1426923"/>
                <a:gd name="connsiteY24" fmla="*/ 875428 h 3481963"/>
                <a:gd name="connsiteX25" fmla="*/ 515327 w 1426923"/>
                <a:gd name="connsiteY25" fmla="*/ 797857 h 3481963"/>
                <a:gd name="connsiteX26" fmla="*/ 584603 w 1426923"/>
                <a:gd name="connsiteY26" fmla="*/ 751314 h 3481963"/>
                <a:gd name="connsiteX27" fmla="*/ 652375 w 1426923"/>
                <a:gd name="connsiteY27" fmla="*/ 759048 h 3481963"/>
                <a:gd name="connsiteX28" fmla="*/ 676208 w 1426923"/>
                <a:gd name="connsiteY28" fmla="*/ 791115 h 3481963"/>
                <a:gd name="connsiteX29" fmla="*/ 831937 w 1426923"/>
                <a:gd name="connsiteY29" fmla="*/ 847478 h 3481963"/>
                <a:gd name="connsiteX30" fmla="*/ 817529 w 1426923"/>
                <a:gd name="connsiteY30" fmla="*/ 811801 h 3481963"/>
                <a:gd name="connsiteX31" fmla="*/ 784277 w 1426923"/>
                <a:gd name="connsiteY31" fmla="*/ 773015 h 3481963"/>
                <a:gd name="connsiteX32" fmla="*/ 773193 w 1426923"/>
                <a:gd name="connsiteY32" fmla="*/ 721301 h 3481963"/>
                <a:gd name="connsiteX33" fmla="*/ 811988 w 1426923"/>
                <a:gd name="connsiteY33" fmla="*/ 672174 h 3481963"/>
                <a:gd name="connsiteX34" fmla="*/ 839698 w 1426923"/>
                <a:gd name="connsiteY34" fmla="*/ 643731 h 3481963"/>
                <a:gd name="connsiteX35" fmla="*/ 864638 w 1426923"/>
                <a:gd name="connsiteY35" fmla="*/ 607531 h 3481963"/>
                <a:gd name="connsiteX36" fmla="*/ 944998 w 1426923"/>
                <a:gd name="connsiteY36" fmla="*/ 602359 h 3481963"/>
                <a:gd name="connsiteX37" fmla="*/ 950539 w 1426923"/>
                <a:gd name="connsiteY37" fmla="*/ 581674 h 3481963"/>
                <a:gd name="connsiteX38" fmla="*/ 975479 w 1426923"/>
                <a:gd name="connsiteY38" fmla="*/ 545474 h 3481963"/>
                <a:gd name="connsiteX39" fmla="*/ 1009283 w 1426923"/>
                <a:gd name="connsiteY39" fmla="*/ 527886 h 3481963"/>
                <a:gd name="connsiteX40" fmla="*/ 1066923 w 1426923"/>
                <a:gd name="connsiteY40" fmla="*/ 540303 h 3481963"/>
                <a:gd name="connsiteX41" fmla="*/ 1105716 w 1426923"/>
                <a:gd name="connsiteY41" fmla="*/ 560989 h 3481963"/>
                <a:gd name="connsiteX42" fmla="*/ 1152824 w 1426923"/>
                <a:gd name="connsiteY42" fmla="*/ 568746 h 3481963"/>
                <a:gd name="connsiteX43" fmla="*/ 1152824 w 1426923"/>
                <a:gd name="connsiteY43" fmla="*/ 573917 h 3481963"/>
                <a:gd name="connsiteX44" fmla="*/ 1174993 w 1426923"/>
                <a:gd name="connsiteY44" fmla="*/ 514446 h 3481963"/>
                <a:gd name="connsiteX45" fmla="*/ 1184968 w 1426923"/>
                <a:gd name="connsiteY45" fmla="*/ 480828 h 3481963"/>
                <a:gd name="connsiteX46" fmla="*/ 1191619 w 1426923"/>
                <a:gd name="connsiteY46" fmla="*/ 462732 h 3481963"/>
                <a:gd name="connsiteX47" fmla="*/ 1194556 w 1426923"/>
                <a:gd name="connsiteY47" fmla="*/ 431402 h 3481963"/>
                <a:gd name="connsiteX48" fmla="*/ 1114030 w 1426923"/>
                <a:gd name="connsiteY48" fmla="*/ 385162 h 3481963"/>
                <a:gd name="connsiteX49" fmla="*/ 1100175 w 1426923"/>
                <a:gd name="connsiteY49" fmla="*/ 312762 h 3481963"/>
                <a:gd name="connsiteX50" fmla="*/ 1100175 w 1426923"/>
                <a:gd name="connsiteY50" fmla="*/ 294662 h 3481963"/>
                <a:gd name="connsiteX51" fmla="*/ 1111258 w 1426923"/>
                <a:gd name="connsiteY51" fmla="*/ 271390 h 3481963"/>
                <a:gd name="connsiteX52" fmla="*/ 1114030 w 1426923"/>
                <a:gd name="connsiteY52" fmla="*/ 255876 h 3481963"/>
                <a:gd name="connsiteX53" fmla="*/ 1114029 w 1426923"/>
                <a:gd name="connsiteY53" fmla="*/ 198992 h 3481963"/>
                <a:gd name="connsiteX54" fmla="*/ 1091861 w 1426923"/>
                <a:gd name="connsiteY54" fmla="*/ 175721 h 3481963"/>
                <a:gd name="connsiteX55" fmla="*/ 1064151 w 1426923"/>
                <a:gd name="connsiteY55" fmla="*/ 144692 h 3481963"/>
                <a:gd name="connsiteX56" fmla="*/ 1059983 w 1426923"/>
                <a:gd name="connsiteY56" fmla="*/ 120439 h 3481963"/>
                <a:gd name="connsiteX57" fmla="*/ 1111259 w 1426923"/>
                <a:gd name="connsiteY57" fmla="*/ 98148 h 3481963"/>
                <a:gd name="connsiteX58" fmla="*/ 1164839 w 1426923"/>
                <a:gd name="connsiteY58" fmla="*/ 108020 h 3481963"/>
                <a:gd name="connsiteX59" fmla="*/ 1243623 w 1426923"/>
                <a:gd name="connsiteY59" fmla="*/ 119930 h 3481963"/>
                <a:gd name="connsiteX60" fmla="*/ 1327946 w 1426923"/>
                <a:gd name="connsiteY60" fmla="*/ 189289 h 3481963"/>
                <a:gd name="connsiteX61" fmla="*/ 1390081 w 1426923"/>
                <a:gd name="connsiteY61" fmla="*/ 265385 h 3481963"/>
                <a:gd name="connsiteX62" fmla="*/ 1289110 w 1426923"/>
                <a:gd name="connsiteY62" fmla="*/ 294379 h 3481963"/>
                <a:gd name="connsiteX63" fmla="*/ 1273576 w 1426923"/>
                <a:gd name="connsiteY63" fmla="*/ 341486 h 3481963"/>
                <a:gd name="connsiteX64" fmla="*/ 1331246 w 1426923"/>
                <a:gd name="connsiteY64" fmla="*/ 425976 h 3481963"/>
                <a:gd name="connsiteX65" fmla="*/ 1366780 w 1426923"/>
                <a:gd name="connsiteY65" fmla="*/ 432078 h 3481963"/>
                <a:gd name="connsiteX66" fmla="*/ 1419400 w 1426923"/>
                <a:gd name="connsiteY66" fmla="*/ 438418 h 3481963"/>
                <a:gd name="connsiteX67" fmla="*/ 1414437 w 1426923"/>
                <a:gd name="connsiteY67" fmla="*/ 549193 h 3481963"/>
                <a:gd name="connsiteX68" fmla="*/ 1425506 w 1426923"/>
                <a:gd name="connsiteY68" fmla="*/ 880161 h 3481963"/>
                <a:gd name="connsiteX69" fmla="*/ 1416638 w 1426923"/>
                <a:gd name="connsiteY69" fmla="*/ 1682760 h 3481963"/>
                <a:gd name="connsiteX70" fmla="*/ 1425505 w 1426923"/>
                <a:gd name="connsiteY70" fmla="*/ 2137842 h 3481963"/>
                <a:gd name="connsiteX71" fmla="*/ 1399057 w 1426923"/>
                <a:gd name="connsiteY71" fmla="*/ 3447807 h 3481963"/>
                <a:gd name="connsiteX72" fmla="*/ 1140630 w 1426923"/>
                <a:gd name="connsiteY72" fmla="*/ 3404212 h 3481963"/>
                <a:gd name="connsiteX73" fmla="*/ 972152 w 1426923"/>
                <a:gd name="connsiteY73" fmla="*/ 3338017 h 3481963"/>
                <a:gd name="connsiteX74" fmla="*/ 794806 w 1426923"/>
                <a:gd name="connsiteY74" fmla="*/ 3247001 h 3481963"/>
                <a:gd name="connsiteX75" fmla="*/ 696508 w 1426923"/>
                <a:gd name="connsiteY75" fmla="*/ 3166484 h 3481963"/>
                <a:gd name="connsiteX76" fmla="*/ 990770 w 1426923"/>
                <a:gd name="connsiteY76" fmla="*/ 2858848 h 3481963"/>
                <a:gd name="connsiteX77" fmla="*/ 707016 w 1426923"/>
                <a:gd name="connsiteY77" fmla="*/ 2321024 h 3481963"/>
                <a:gd name="connsiteX78" fmla="*/ 849366 w 1426923"/>
                <a:gd name="connsiteY78" fmla="*/ 2081939 h 3481963"/>
                <a:gd name="connsiteX79" fmla="*/ 662679 w 1426923"/>
                <a:gd name="connsiteY79" fmla="*/ 1543248 h 3481963"/>
                <a:gd name="connsiteX80" fmla="*/ 414395 w 1426923"/>
                <a:gd name="connsiteY80" fmla="*/ 1311570 h 3481963"/>
                <a:gd name="connsiteX81" fmla="*/ 405528 w 1426923"/>
                <a:gd name="connsiteY81" fmla="*/ 1195731 h 3481963"/>
                <a:gd name="connsiteX82" fmla="*/ 0 w 1426923"/>
                <a:gd name="connsiteY82" fmla="*/ 391742 h 3481963"/>
                <a:gd name="connsiteX0" fmla="*/ 0 w 1426923"/>
                <a:gd name="connsiteY0" fmla="*/ 391742 h 3481963"/>
                <a:gd name="connsiteX1" fmla="*/ 35939 w 1426923"/>
                <a:gd name="connsiteY1" fmla="*/ 1465 h 3481963"/>
                <a:gd name="connsiteX2" fmla="*/ 509787 w 1426923"/>
                <a:gd name="connsiteY2" fmla="*/ 6636 h 3481963"/>
                <a:gd name="connsiteX3" fmla="*/ 587548 w 1426923"/>
                <a:gd name="connsiteY3" fmla="*/ 82735 h 3481963"/>
                <a:gd name="connsiteX4" fmla="*/ 642795 w 1426923"/>
                <a:gd name="connsiteY4" fmla="*/ 117822 h 3481963"/>
                <a:gd name="connsiteX5" fmla="*/ 731469 w 1426923"/>
                <a:gd name="connsiteY5" fmla="*/ 143677 h 3481963"/>
                <a:gd name="connsiteX6" fmla="*/ 803515 w 1426923"/>
                <a:gd name="connsiteY6" fmla="*/ 190220 h 3481963"/>
                <a:gd name="connsiteX7" fmla="*/ 853394 w 1426923"/>
                <a:gd name="connsiteY7" fmla="*/ 241934 h 3481963"/>
                <a:gd name="connsiteX8" fmla="*/ 878333 w 1426923"/>
                <a:gd name="connsiteY8" fmla="*/ 280720 h 3481963"/>
                <a:gd name="connsiteX9" fmla="*/ 911586 w 1426923"/>
                <a:gd name="connsiteY9" fmla="*/ 306576 h 3481963"/>
                <a:gd name="connsiteX10" fmla="*/ 894958 w 1426923"/>
                <a:gd name="connsiteY10" fmla="*/ 531531 h 3481963"/>
                <a:gd name="connsiteX11" fmla="*/ 767492 w 1426923"/>
                <a:gd name="connsiteY11" fmla="*/ 611689 h 3481963"/>
                <a:gd name="connsiteX12" fmla="*/ 653880 w 1426923"/>
                <a:gd name="connsiteY12" fmla="*/ 619445 h 3481963"/>
                <a:gd name="connsiteX13" fmla="*/ 515327 w 1426923"/>
                <a:gd name="connsiteY13" fmla="*/ 598759 h 3481963"/>
                <a:gd name="connsiteX14" fmla="*/ 423883 w 1426923"/>
                <a:gd name="connsiteY14" fmla="*/ 562559 h 3481963"/>
                <a:gd name="connsiteX15" fmla="*/ 404486 w 1426923"/>
                <a:gd name="connsiteY15" fmla="*/ 591002 h 3481963"/>
                <a:gd name="connsiteX16" fmla="*/ 435128 w 1426923"/>
                <a:gd name="connsiteY16" fmla="*/ 664415 h 3481963"/>
                <a:gd name="connsiteX17" fmla="*/ 440669 w 1426923"/>
                <a:gd name="connsiteY17" fmla="*/ 791114 h 3481963"/>
                <a:gd name="connsiteX18" fmla="*/ 412799 w 1426923"/>
                <a:gd name="connsiteY18" fmla="*/ 852157 h 3481963"/>
                <a:gd name="connsiteX19" fmla="*/ 468218 w 1426923"/>
                <a:gd name="connsiteY19" fmla="*/ 872842 h 3481963"/>
                <a:gd name="connsiteX20" fmla="*/ 484846 w 1426923"/>
                <a:gd name="connsiteY20" fmla="*/ 888356 h 3481963"/>
                <a:gd name="connsiteX21" fmla="*/ 509786 w 1426923"/>
                <a:gd name="connsiteY21" fmla="*/ 914213 h 3481963"/>
                <a:gd name="connsiteX22" fmla="*/ 507015 w 1426923"/>
                <a:gd name="connsiteY22" fmla="*/ 916799 h 3481963"/>
                <a:gd name="connsiteX23" fmla="*/ 545808 w 1426923"/>
                <a:gd name="connsiteY23" fmla="*/ 911628 h 3481963"/>
                <a:gd name="connsiteX24" fmla="*/ 554122 w 1426923"/>
                <a:gd name="connsiteY24" fmla="*/ 875428 h 3481963"/>
                <a:gd name="connsiteX25" fmla="*/ 515327 w 1426923"/>
                <a:gd name="connsiteY25" fmla="*/ 797857 h 3481963"/>
                <a:gd name="connsiteX26" fmla="*/ 584603 w 1426923"/>
                <a:gd name="connsiteY26" fmla="*/ 751314 h 3481963"/>
                <a:gd name="connsiteX27" fmla="*/ 652375 w 1426923"/>
                <a:gd name="connsiteY27" fmla="*/ 759048 h 3481963"/>
                <a:gd name="connsiteX28" fmla="*/ 676208 w 1426923"/>
                <a:gd name="connsiteY28" fmla="*/ 791115 h 3481963"/>
                <a:gd name="connsiteX29" fmla="*/ 831937 w 1426923"/>
                <a:gd name="connsiteY29" fmla="*/ 847478 h 3481963"/>
                <a:gd name="connsiteX30" fmla="*/ 817529 w 1426923"/>
                <a:gd name="connsiteY30" fmla="*/ 811801 h 3481963"/>
                <a:gd name="connsiteX31" fmla="*/ 784277 w 1426923"/>
                <a:gd name="connsiteY31" fmla="*/ 773015 h 3481963"/>
                <a:gd name="connsiteX32" fmla="*/ 773193 w 1426923"/>
                <a:gd name="connsiteY32" fmla="*/ 721301 h 3481963"/>
                <a:gd name="connsiteX33" fmla="*/ 811988 w 1426923"/>
                <a:gd name="connsiteY33" fmla="*/ 672174 h 3481963"/>
                <a:gd name="connsiteX34" fmla="*/ 839698 w 1426923"/>
                <a:gd name="connsiteY34" fmla="*/ 643731 h 3481963"/>
                <a:gd name="connsiteX35" fmla="*/ 864638 w 1426923"/>
                <a:gd name="connsiteY35" fmla="*/ 607531 h 3481963"/>
                <a:gd name="connsiteX36" fmla="*/ 944998 w 1426923"/>
                <a:gd name="connsiteY36" fmla="*/ 602359 h 3481963"/>
                <a:gd name="connsiteX37" fmla="*/ 950539 w 1426923"/>
                <a:gd name="connsiteY37" fmla="*/ 581674 h 3481963"/>
                <a:gd name="connsiteX38" fmla="*/ 975479 w 1426923"/>
                <a:gd name="connsiteY38" fmla="*/ 545474 h 3481963"/>
                <a:gd name="connsiteX39" fmla="*/ 1009283 w 1426923"/>
                <a:gd name="connsiteY39" fmla="*/ 527886 h 3481963"/>
                <a:gd name="connsiteX40" fmla="*/ 1066923 w 1426923"/>
                <a:gd name="connsiteY40" fmla="*/ 540303 h 3481963"/>
                <a:gd name="connsiteX41" fmla="*/ 1105716 w 1426923"/>
                <a:gd name="connsiteY41" fmla="*/ 560989 h 3481963"/>
                <a:gd name="connsiteX42" fmla="*/ 1152824 w 1426923"/>
                <a:gd name="connsiteY42" fmla="*/ 568746 h 3481963"/>
                <a:gd name="connsiteX43" fmla="*/ 1152824 w 1426923"/>
                <a:gd name="connsiteY43" fmla="*/ 573917 h 3481963"/>
                <a:gd name="connsiteX44" fmla="*/ 1174993 w 1426923"/>
                <a:gd name="connsiteY44" fmla="*/ 514446 h 3481963"/>
                <a:gd name="connsiteX45" fmla="*/ 1184968 w 1426923"/>
                <a:gd name="connsiteY45" fmla="*/ 480828 h 3481963"/>
                <a:gd name="connsiteX46" fmla="*/ 1191619 w 1426923"/>
                <a:gd name="connsiteY46" fmla="*/ 462732 h 3481963"/>
                <a:gd name="connsiteX47" fmla="*/ 1194556 w 1426923"/>
                <a:gd name="connsiteY47" fmla="*/ 431402 h 3481963"/>
                <a:gd name="connsiteX48" fmla="*/ 1114030 w 1426923"/>
                <a:gd name="connsiteY48" fmla="*/ 385162 h 3481963"/>
                <a:gd name="connsiteX49" fmla="*/ 1100175 w 1426923"/>
                <a:gd name="connsiteY49" fmla="*/ 312762 h 3481963"/>
                <a:gd name="connsiteX50" fmla="*/ 1100175 w 1426923"/>
                <a:gd name="connsiteY50" fmla="*/ 294662 h 3481963"/>
                <a:gd name="connsiteX51" fmla="*/ 1111258 w 1426923"/>
                <a:gd name="connsiteY51" fmla="*/ 271390 h 3481963"/>
                <a:gd name="connsiteX52" fmla="*/ 1114030 w 1426923"/>
                <a:gd name="connsiteY52" fmla="*/ 255876 h 3481963"/>
                <a:gd name="connsiteX53" fmla="*/ 1114029 w 1426923"/>
                <a:gd name="connsiteY53" fmla="*/ 198992 h 3481963"/>
                <a:gd name="connsiteX54" fmla="*/ 1091861 w 1426923"/>
                <a:gd name="connsiteY54" fmla="*/ 175721 h 3481963"/>
                <a:gd name="connsiteX55" fmla="*/ 1064151 w 1426923"/>
                <a:gd name="connsiteY55" fmla="*/ 144692 h 3481963"/>
                <a:gd name="connsiteX56" fmla="*/ 1059983 w 1426923"/>
                <a:gd name="connsiteY56" fmla="*/ 120439 h 3481963"/>
                <a:gd name="connsiteX57" fmla="*/ 1111259 w 1426923"/>
                <a:gd name="connsiteY57" fmla="*/ 98148 h 3481963"/>
                <a:gd name="connsiteX58" fmla="*/ 1164839 w 1426923"/>
                <a:gd name="connsiteY58" fmla="*/ 108020 h 3481963"/>
                <a:gd name="connsiteX59" fmla="*/ 1243623 w 1426923"/>
                <a:gd name="connsiteY59" fmla="*/ 119930 h 3481963"/>
                <a:gd name="connsiteX60" fmla="*/ 1327946 w 1426923"/>
                <a:gd name="connsiteY60" fmla="*/ 189289 h 3481963"/>
                <a:gd name="connsiteX61" fmla="*/ 1390081 w 1426923"/>
                <a:gd name="connsiteY61" fmla="*/ 265385 h 3481963"/>
                <a:gd name="connsiteX62" fmla="*/ 1289110 w 1426923"/>
                <a:gd name="connsiteY62" fmla="*/ 294379 h 3481963"/>
                <a:gd name="connsiteX63" fmla="*/ 1273576 w 1426923"/>
                <a:gd name="connsiteY63" fmla="*/ 341486 h 3481963"/>
                <a:gd name="connsiteX64" fmla="*/ 1331246 w 1426923"/>
                <a:gd name="connsiteY64" fmla="*/ 425976 h 3481963"/>
                <a:gd name="connsiteX65" fmla="*/ 1366780 w 1426923"/>
                <a:gd name="connsiteY65" fmla="*/ 432078 h 3481963"/>
                <a:gd name="connsiteX66" fmla="*/ 1419400 w 1426923"/>
                <a:gd name="connsiteY66" fmla="*/ 438418 h 3481963"/>
                <a:gd name="connsiteX67" fmla="*/ 1414437 w 1426923"/>
                <a:gd name="connsiteY67" fmla="*/ 549193 h 3481963"/>
                <a:gd name="connsiteX68" fmla="*/ 1425506 w 1426923"/>
                <a:gd name="connsiteY68" fmla="*/ 880161 h 3481963"/>
                <a:gd name="connsiteX69" fmla="*/ 1416638 w 1426923"/>
                <a:gd name="connsiteY69" fmla="*/ 1682760 h 3481963"/>
                <a:gd name="connsiteX70" fmla="*/ 1425505 w 1426923"/>
                <a:gd name="connsiteY70" fmla="*/ 2137842 h 3481963"/>
                <a:gd name="connsiteX71" fmla="*/ 1399057 w 1426923"/>
                <a:gd name="connsiteY71" fmla="*/ 3447807 h 3481963"/>
                <a:gd name="connsiteX72" fmla="*/ 1140630 w 1426923"/>
                <a:gd name="connsiteY72" fmla="*/ 3404212 h 3481963"/>
                <a:gd name="connsiteX73" fmla="*/ 972152 w 1426923"/>
                <a:gd name="connsiteY73" fmla="*/ 3338017 h 3481963"/>
                <a:gd name="connsiteX74" fmla="*/ 794806 w 1426923"/>
                <a:gd name="connsiteY74" fmla="*/ 3247001 h 3481963"/>
                <a:gd name="connsiteX75" fmla="*/ 696508 w 1426923"/>
                <a:gd name="connsiteY75" fmla="*/ 3166484 h 3481963"/>
                <a:gd name="connsiteX76" fmla="*/ 990770 w 1426923"/>
                <a:gd name="connsiteY76" fmla="*/ 2858848 h 3481963"/>
                <a:gd name="connsiteX77" fmla="*/ 707016 w 1426923"/>
                <a:gd name="connsiteY77" fmla="*/ 2321024 h 3481963"/>
                <a:gd name="connsiteX78" fmla="*/ 849366 w 1426923"/>
                <a:gd name="connsiteY78" fmla="*/ 2081939 h 3481963"/>
                <a:gd name="connsiteX79" fmla="*/ 662679 w 1426923"/>
                <a:gd name="connsiteY79" fmla="*/ 1543248 h 3481963"/>
                <a:gd name="connsiteX80" fmla="*/ 414395 w 1426923"/>
                <a:gd name="connsiteY80" fmla="*/ 1311570 h 3481963"/>
                <a:gd name="connsiteX81" fmla="*/ 405528 w 1426923"/>
                <a:gd name="connsiteY81" fmla="*/ 1195731 h 3481963"/>
                <a:gd name="connsiteX82" fmla="*/ 0 w 1426923"/>
                <a:gd name="connsiteY82" fmla="*/ 391742 h 3481963"/>
                <a:gd name="connsiteX0" fmla="*/ 0 w 1426923"/>
                <a:gd name="connsiteY0" fmla="*/ 391742 h 3481963"/>
                <a:gd name="connsiteX1" fmla="*/ 35939 w 1426923"/>
                <a:gd name="connsiteY1" fmla="*/ 1465 h 3481963"/>
                <a:gd name="connsiteX2" fmla="*/ 509787 w 1426923"/>
                <a:gd name="connsiteY2" fmla="*/ 6636 h 3481963"/>
                <a:gd name="connsiteX3" fmla="*/ 573521 w 1426923"/>
                <a:gd name="connsiteY3" fmla="*/ 53179 h 3481963"/>
                <a:gd name="connsiteX4" fmla="*/ 587548 w 1426923"/>
                <a:gd name="connsiteY4" fmla="*/ 82735 h 3481963"/>
                <a:gd name="connsiteX5" fmla="*/ 642795 w 1426923"/>
                <a:gd name="connsiteY5" fmla="*/ 117822 h 3481963"/>
                <a:gd name="connsiteX6" fmla="*/ 731469 w 1426923"/>
                <a:gd name="connsiteY6" fmla="*/ 143677 h 3481963"/>
                <a:gd name="connsiteX7" fmla="*/ 803515 w 1426923"/>
                <a:gd name="connsiteY7" fmla="*/ 190220 h 3481963"/>
                <a:gd name="connsiteX8" fmla="*/ 853394 w 1426923"/>
                <a:gd name="connsiteY8" fmla="*/ 241934 h 3481963"/>
                <a:gd name="connsiteX9" fmla="*/ 878333 w 1426923"/>
                <a:gd name="connsiteY9" fmla="*/ 280720 h 3481963"/>
                <a:gd name="connsiteX10" fmla="*/ 911586 w 1426923"/>
                <a:gd name="connsiteY10" fmla="*/ 306576 h 3481963"/>
                <a:gd name="connsiteX11" fmla="*/ 894958 w 1426923"/>
                <a:gd name="connsiteY11" fmla="*/ 531531 h 3481963"/>
                <a:gd name="connsiteX12" fmla="*/ 767492 w 1426923"/>
                <a:gd name="connsiteY12" fmla="*/ 611689 h 3481963"/>
                <a:gd name="connsiteX13" fmla="*/ 653880 w 1426923"/>
                <a:gd name="connsiteY13" fmla="*/ 619445 h 3481963"/>
                <a:gd name="connsiteX14" fmla="*/ 515327 w 1426923"/>
                <a:gd name="connsiteY14" fmla="*/ 598759 h 3481963"/>
                <a:gd name="connsiteX15" fmla="*/ 423883 w 1426923"/>
                <a:gd name="connsiteY15" fmla="*/ 562559 h 3481963"/>
                <a:gd name="connsiteX16" fmla="*/ 404486 w 1426923"/>
                <a:gd name="connsiteY16" fmla="*/ 591002 h 3481963"/>
                <a:gd name="connsiteX17" fmla="*/ 435128 w 1426923"/>
                <a:gd name="connsiteY17" fmla="*/ 664415 h 3481963"/>
                <a:gd name="connsiteX18" fmla="*/ 440669 w 1426923"/>
                <a:gd name="connsiteY18" fmla="*/ 791114 h 3481963"/>
                <a:gd name="connsiteX19" fmla="*/ 412799 w 1426923"/>
                <a:gd name="connsiteY19" fmla="*/ 852157 h 3481963"/>
                <a:gd name="connsiteX20" fmla="*/ 468218 w 1426923"/>
                <a:gd name="connsiteY20" fmla="*/ 872842 h 3481963"/>
                <a:gd name="connsiteX21" fmla="*/ 484846 w 1426923"/>
                <a:gd name="connsiteY21" fmla="*/ 888356 h 3481963"/>
                <a:gd name="connsiteX22" fmla="*/ 509786 w 1426923"/>
                <a:gd name="connsiteY22" fmla="*/ 914213 h 3481963"/>
                <a:gd name="connsiteX23" fmla="*/ 507015 w 1426923"/>
                <a:gd name="connsiteY23" fmla="*/ 916799 h 3481963"/>
                <a:gd name="connsiteX24" fmla="*/ 545808 w 1426923"/>
                <a:gd name="connsiteY24" fmla="*/ 911628 h 3481963"/>
                <a:gd name="connsiteX25" fmla="*/ 554122 w 1426923"/>
                <a:gd name="connsiteY25" fmla="*/ 875428 h 3481963"/>
                <a:gd name="connsiteX26" fmla="*/ 515327 w 1426923"/>
                <a:gd name="connsiteY26" fmla="*/ 797857 h 3481963"/>
                <a:gd name="connsiteX27" fmla="*/ 584603 w 1426923"/>
                <a:gd name="connsiteY27" fmla="*/ 751314 h 3481963"/>
                <a:gd name="connsiteX28" fmla="*/ 652375 w 1426923"/>
                <a:gd name="connsiteY28" fmla="*/ 759048 h 3481963"/>
                <a:gd name="connsiteX29" fmla="*/ 676208 w 1426923"/>
                <a:gd name="connsiteY29" fmla="*/ 791115 h 3481963"/>
                <a:gd name="connsiteX30" fmla="*/ 831937 w 1426923"/>
                <a:gd name="connsiteY30" fmla="*/ 847478 h 3481963"/>
                <a:gd name="connsiteX31" fmla="*/ 817529 w 1426923"/>
                <a:gd name="connsiteY31" fmla="*/ 811801 h 3481963"/>
                <a:gd name="connsiteX32" fmla="*/ 784277 w 1426923"/>
                <a:gd name="connsiteY32" fmla="*/ 773015 h 3481963"/>
                <a:gd name="connsiteX33" fmla="*/ 773193 w 1426923"/>
                <a:gd name="connsiteY33" fmla="*/ 721301 h 3481963"/>
                <a:gd name="connsiteX34" fmla="*/ 811988 w 1426923"/>
                <a:gd name="connsiteY34" fmla="*/ 672174 h 3481963"/>
                <a:gd name="connsiteX35" fmla="*/ 839698 w 1426923"/>
                <a:gd name="connsiteY35" fmla="*/ 643731 h 3481963"/>
                <a:gd name="connsiteX36" fmla="*/ 864638 w 1426923"/>
                <a:gd name="connsiteY36" fmla="*/ 607531 h 3481963"/>
                <a:gd name="connsiteX37" fmla="*/ 944998 w 1426923"/>
                <a:gd name="connsiteY37" fmla="*/ 602359 h 3481963"/>
                <a:gd name="connsiteX38" fmla="*/ 950539 w 1426923"/>
                <a:gd name="connsiteY38" fmla="*/ 581674 h 3481963"/>
                <a:gd name="connsiteX39" fmla="*/ 975479 w 1426923"/>
                <a:gd name="connsiteY39" fmla="*/ 545474 h 3481963"/>
                <a:gd name="connsiteX40" fmla="*/ 1009283 w 1426923"/>
                <a:gd name="connsiteY40" fmla="*/ 527886 h 3481963"/>
                <a:gd name="connsiteX41" fmla="*/ 1066923 w 1426923"/>
                <a:gd name="connsiteY41" fmla="*/ 540303 h 3481963"/>
                <a:gd name="connsiteX42" fmla="*/ 1105716 w 1426923"/>
                <a:gd name="connsiteY42" fmla="*/ 560989 h 3481963"/>
                <a:gd name="connsiteX43" fmla="*/ 1152824 w 1426923"/>
                <a:gd name="connsiteY43" fmla="*/ 568746 h 3481963"/>
                <a:gd name="connsiteX44" fmla="*/ 1152824 w 1426923"/>
                <a:gd name="connsiteY44" fmla="*/ 573917 h 3481963"/>
                <a:gd name="connsiteX45" fmla="*/ 1174993 w 1426923"/>
                <a:gd name="connsiteY45" fmla="*/ 514446 h 3481963"/>
                <a:gd name="connsiteX46" fmla="*/ 1184968 w 1426923"/>
                <a:gd name="connsiteY46" fmla="*/ 480828 h 3481963"/>
                <a:gd name="connsiteX47" fmla="*/ 1191619 w 1426923"/>
                <a:gd name="connsiteY47" fmla="*/ 462732 h 3481963"/>
                <a:gd name="connsiteX48" fmla="*/ 1194556 w 1426923"/>
                <a:gd name="connsiteY48" fmla="*/ 431402 h 3481963"/>
                <a:gd name="connsiteX49" fmla="*/ 1114030 w 1426923"/>
                <a:gd name="connsiteY49" fmla="*/ 385162 h 3481963"/>
                <a:gd name="connsiteX50" fmla="*/ 1100175 w 1426923"/>
                <a:gd name="connsiteY50" fmla="*/ 312762 h 3481963"/>
                <a:gd name="connsiteX51" fmla="*/ 1100175 w 1426923"/>
                <a:gd name="connsiteY51" fmla="*/ 294662 h 3481963"/>
                <a:gd name="connsiteX52" fmla="*/ 1111258 w 1426923"/>
                <a:gd name="connsiteY52" fmla="*/ 271390 h 3481963"/>
                <a:gd name="connsiteX53" fmla="*/ 1114030 w 1426923"/>
                <a:gd name="connsiteY53" fmla="*/ 255876 h 3481963"/>
                <a:gd name="connsiteX54" fmla="*/ 1114029 w 1426923"/>
                <a:gd name="connsiteY54" fmla="*/ 198992 h 3481963"/>
                <a:gd name="connsiteX55" fmla="*/ 1091861 w 1426923"/>
                <a:gd name="connsiteY55" fmla="*/ 175721 h 3481963"/>
                <a:gd name="connsiteX56" fmla="*/ 1064151 w 1426923"/>
                <a:gd name="connsiteY56" fmla="*/ 144692 h 3481963"/>
                <a:gd name="connsiteX57" fmla="*/ 1059983 w 1426923"/>
                <a:gd name="connsiteY57" fmla="*/ 120439 h 3481963"/>
                <a:gd name="connsiteX58" fmla="*/ 1111259 w 1426923"/>
                <a:gd name="connsiteY58" fmla="*/ 98148 h 3481963"/>
                <a:gd name="connsiteX59" fmla="*/ 1164839 w 1426923"/>
                <a:gd name="connsiteY59" fmla="*/ 108020 h 3481963"/>
                <a:gd name="connsiteX60" fmla="*/ 1243623 w 1426923"/>
                <a:gd name="connsiteY60" fmla="*/ 119930 h 3481963"/>
                <a:gd name="connsiteX61" fmla="*/ 1327946 w 1426923"/>
                <a:gd name="connsiteY61" fmla="*/ 189289 h 3481963"/>
                <a:gd name="connsiteX62" fmla="*/ 1390081 w 1426923"/>
                <a:gd name="connsiteY62" fmla="*/ 265385 h 3481963"/>
                <a:gd name="connsiteX63" fmla="*/ 1289110 w 1426923"/>
                <a:gd name="connsiteY63" fmla="*/ 294379 h 3481963"/>
                <a:gd name="connsiteX64" fmla="*/ 1273576 w 1426923"/>
                <a:gd name="connsiteY64" fmla="*/ 341486 h 3481963"/>
                <a:gd name="connsiteX65" fmla="*/ 1331246 w 1426923"/>
                <a:gd name="connsiteY65" fmla="*/ 425976 h 3481963"/>
                <a:gd name="connsiteX66" fmla="*/ 1366780 w 1426923"/>
                <a:gd name="connsiteY66" fmla="*/ 432078 h 3481963"/>
                <a:gd name="connsiteX67" fmla="*/ 1419400 w 1426923"/>
                <a:gd name="connsiteY67" fmla="*/ 438418 h 3481963"/>
                <a:gd name="connsiteX68" fmla="*/ 1414437 w 1426923"/>
                <a:gd name="connsiteY68" fmla="*/ 549193 h 3481963"/>
                <a:gd name="connsiteX69" fmla="*/ 1425506 w 1426923"/>
                <a:gd name="connsiteY69" fmla="*/ 880161 h 3481963"/>
                <a:gd name="connsiteX70" fmla="*/ 1416638 w 1426923"/>
                <a:gd name="connsiteY70" fmla="*/ 1682760 h 3481963"/>
                <a:gd name="connsiteX71" fmla="*/ 1425505 w 1426923"/>
                <a:gd name="connsiteY71" fmla="*/ 2137842 h 3481963"/>
                <a:gd name="connsiteX72" fmla="*/ 1399057 w 1426923"/>
                <a:gd name="connsiteY72" fmla="*/ 3447807 h 3481963"/>
                <a:gd name="connsiteX73" fmla="*/ 1140630 w 1426923"/>
                <a:gd name="connsiteY73" fmla="*/ 3404212 h 3481963"/>
                <a:gd name="connsiteX74" fmla="*/ 972152 w 1426923"/>
                <a:gd name="connsiteY74" fmla="*/ 3338017 h 3481963"/>
                <a:gd name="connsiteX75" fmla="*/ 794806 w 1426923"/>
                <a:gd name="connsiteY75" fmla="*/ 3247001 h 3481963"/>
                <a:gd name="connsiteX76" fmla="*/ 696508 w 1426923"/>
                <a:gd name="connsiteY76" fmla="*/ 3166484 h 3481963"/>
                <a:gd name="connsiteX77" fmla="*/ 990770 w 1426923"/>
                <a:gd name="connsiteY77" fmla="*/ 2858848 h 3481963"/>
                <a:gd name="connsiteX78" fmla="*/ 707016 w 1426923"/>
                <a:gd name="connsiteY78" fmla="*/ 2321024 h 3481963"/>
                <a:gd name="connsiteX79" fmla="*/ 849366 w 1426923"/>
                <a:gd name="connsiteY79" fmla="*/ 2081939 h 3481963"/>
                <a:gd name="connsiteX80" fmla="*/ 662679 w 1426923"/>
                <a:gd name="connsiteY80" fmla="*/ 1543248 h 3481963"/>
                <a:gd name="connsiteX81" fmla="*/ 414395 w 1426923"/>
                <a:gd name="connsiteY81" fmla="*/ 1311570 h 3481963"/>
                <a:gd name="connsiteX82" fmla="*/ 405528 w 1426923"/>
                <a:gd name="connsiteY82" fmla="*/ 1195731 h 3481963"/>
                <a:gd name="connsiteX83" fmla="*/ 0 w 1426923"/>
                <a:gd name="connsiteY83" fmla="*/ 391742 h 3481963"/>
                <a:gd name="connsiteX0" fmla="*/ 0 w 1426923"/>
                <a:gd name="connsiteY0" fmla="*/ 542839 h 3633060"/>
                <a:gd name="connsiteX1" fmla="*/ 35939 w 1426923"/>
                <a:gd name="connsiteY1" fmla="*/ 152562 h 3633060"/>
                <a:gd name="connsiteX2" fmla="*/ 177263 w 1426923"/>
                <a:gd name="connsiteY2" fmla="*/ 6 h 3633060"/>
                <a:gd name="connsiteX3" fmla="*/ 509787 w 1426923"/>
                <a:gd name="connsiteY3" fmla="*/ 157733 h 3633060"/>
                <a:gd name="connsiteX4" fmla="*/ 573521 w 1426923"/>
                <a:gd name="connsiteY4" fmla="*/ 204276 h 3633060"/>
                <a:gd name="connsiteX5" fmla="*/ 587548 w 1426923"/>
                <a:gd name="connsiteY5" fmla="*/ 233832 h 3633060"/>
                <a:gd name="connsiteX6" fmla="*/ 642795 w 1426923"/>
                <a:gd name="connsiteY6" fmla="*/ 268919 h 3633060"/>
                <a:gd name="connsiteX7" fmla="*/ 731469 w 1426923"/>
                <a:gd name="connsiteY7" fmla="*/ 294774 h 3633060"/>
                <a:gd name="connsiteX8" fmla="*/ 803515 w 1426923"/>
                <a:gd name="connsiteY8" fmla="*/ 341317 h 3633060"/>
                <a:gd name="connsiteX9" fmla="*/ 853394 w 1426923"/>
                <a:gd name="connsiteY9" fmla="*/ 393031 h 3633060"/>
                <a:gd name="connsiteX10" fmla="*/ 878333 w 1426923"/>
                <a:gd name="connsiteY10" fmla="*/ 431817 h 3633060"/>
                <a:gd name="connsiteX11" fmla="*/ 911586 w 1426923"/>
                <a:gd name="connsiteY11" fmla="*/ 457673 h 3633060"/>
                <a:gd name="connsiteX12" fmla="*/ 894958 w 1426923"/>
                <a:gd name="connsiteY12" fmla="*/ 682628 h 3633060"/>
                <a:gd name="connsiteX13" fmla="*/ 767492 w 1426923"/>
                <a:gd name="connsiteY13" fmla="*/ 762786 h 3633060"/>
                <a:gd name="connsiteX14" fmla="*/ 653880 w 1426923"/>
                <a:gd name="connsiteY14" fmla="*/ 770542 h 3633060"/>
                <a:gd name="connsiteX15" fmla="*/ 515327 w 1426923"/>
                <a:gd name="connsiteY15" fmla="*/ 749856 h 3633060"/>
                <a:gd name="connsiteX16" fmla="*/ 423883 w 1426923"/>
                <a:gd name="connsiteY16" fmla="*/ 713656 h 3633060"/>
                <a:gd name="connsiteX17" fmla="*/ 404486 w 1426923"/>
                <a:gd name="connsiteY17" fmla="*/ 742099 h 3633060"/>
                <a:gd name="connsiteX18" fmla="*/ 435128 w 1426923"/>
                <a:gd name="connsiteY18" fmla="*/ 815512 h 3633060"/>
                <a:gd name="connsiteX19" fmla="*/ 440669 w 1426923"/>
                <a:gd name="connsiteY19" fmla="*/ 942211 h 3633060"/>
                <a:gd name="connsiteX20" fmla="*/ 412799 w 1426923"/>
                <a:gd name="connsiteY20" fmla="*/ 1003254 h 3633060"/>
                <a:gd name="connsiteX21" fmla="*/ 468218 w 1426923"/>
                <a:gd name="connsiteY21" fmla="*/ 1023939 h 3633060"/>
                <a:gd name="connsiteX22" fmla="*/ 484846 w 1426923"/>
                <a:gd name="connsiteY22" fmla="*/ 1039453 h 3633060"/>
                <a:gd name="connsiteX23" fmla="*/ 509786 w 1426923"/>
                <a:gd name="connsiteY23" fmla="*/ 1065310 h 3633060"/>
                <a:gd name="connsiteX24" fmla="*/ 507015 w 1426923"/>
                <a:gd name="connsiteY24" fmla="*/ 1067896 h 3633060"/>
                <a:gd name="connsiteX25" fmla="*/ 545808 w 1426923"/>
                <a:gd name="connsiteY25" fmla="*/ 1062725 h 3633060"/>
                <a:gd name="connsiteX26" fmla="*/ 554122 w 1426923"/>
                <a:gd name="connsiteY26" fmla="*/ 1026525 h 3633060"/>
                <a:gd name="connsiteX27" fmla="*/ 515327 w 1426923"/>
                <a:gd name="connsiteY27" fmla="*/ 948954 h 3633060"/>
                <a:gd name="connsiteX28" fmla="*/ 584603 w 1426923"/>
                <a:gd name="connsiteY28" fmla="*/ 902411 h 3633060"/>
                <a:gd name="connsiteX29" fmla="*/ 652375 w 1426923"/>
                <a:gd name="connsiteY29" fmla="*/ 910145 h 3633060"/>
                <a:gd name="connsiteX30" fmla="*/ 676208 w 1426923"/>
                <a:gd name="connsiteY30" fmla="*/ 942212 h 3633060"/>
                <a:gd name="connsiteX31" fmla="*/ 831937 w 1426923"/>
                <a:gd name="connsiteY31" fmla="*/ 998575 h 3633060"/>
                <a:gd name="connsiteX32" fmla="*/ 817529 w 1426923"/>
                <a:gd name="connsiteY32" fmla="*/ 962898 h 3633060"/>
                <a:gd name="connsiteX33" fmla="*/ 784277 w 1426923"/>
                <a:gd name="connsiteY33" fmla="*/ 924112 h 3633060"/>
                <a:gd name="connsiteX34" fmla="*/ 773193 w 1426923"/>
                <a:gd name="connsiteY34" fmla="*/ 872398 h 3633060"/>
                <a:gd name="connsiteX35" fmla="*/ 811988 w 1426923"/>
                <a:gd name="connsiteY35" fmla="*/ 823271 h 3633060"/>
                <a:gd name="connsiteX36" fmla="*/ 839698 w 1426923"/>
                <a:gd name="connsiteY36" fmla="*/ 794828 h 3633060"/>
                <a:gd name="connsiteX37" fmla="*/ 864638 w 1426923"/>
                <a:gd name="connsiteY37" fmla="*/ 758628 h 3633060"/>
                <a:gd name="connsiteX38" fmla="*/ 944998 w 1426923"/>
                <a:gd name="connsiteY38" fmla="*/ 753456 h 3633060"/>
                <a:gd name="connsiteX39" fmla="*/ 950539 w 1426923"/>
                <a:gd name="connsiteY39" fmla="*/ 732771 h 3633060"/>
                <a:gd name="connsiteX40" fmla="*/ 975479 w 1426923"/>
                <a:gd name="connsiteY40" fmla="*/ 696571 h 3633060"/>
                <a:gd name="connsiteX41" fmla="*/ 1009283 w 1426923"/>
                <a:gd name="connsiteY41" fmla="*/ 678983 h 3633060"/>
                <a:gd name="connsiteX42" fmla="*/ 1066923 w 1426923"/>
                <a:gd name="connsiteY42" fmla="*/ 691400 h 3633060"/>
                <a:gd name="connsiteX43" fmla="*/ 1105716 w 1426923"/>
                <a:gd name="connsiteY43" fmla="*/ 712086 h 3633060"/>
                <a:gd name="connsiteX44" fmla="*/ 1152824 w 1426923"/>
                <a:gd name="connsiteY44" fmla="*/ 719843 h 3633060"/>
                <a:gd name="connsiteX45" fmla="*/ 1152824 w 1426923"/>
                <a:gd name="connsiteY45" fmla="*/ 725014 h 3633060"/>
                <a:gd name="connsiteX46" fmla="*/ 1174993 w 1426923"/>
                <a:gd name="connsiteY46" fmla="*/ 665543 h 3633060"/>
                <a:gd name="connsiteX47" fmla="*/ 1184968 w 1426923"/>
                <a:gd name="connsiteY47" fmla="*/ 631925 h 3633060"/>
                <a:gd name="connsiteX48" fmla="*/ 1191619 w 1426923"/>
                <a:gd name="connsiteY48" fmla="*/ 613829 h 3633060"/>
                <a:gd name="connsiteX49" fmla="*/ 1194556 w 1426923"/>
                <a:gd name="connsiteY49" fmla="*/ 582499 h 3633060"/>
                <a:gd name="connsiteX50" fmla="*/ 1114030 w 1426923"/>
                <a:gd name="connsiteY50" fmla="*/ 536259 h 3633060"/>
                <a:gd name="connsiteX51" fmla="*/ 1100175 w 1426923"/>
                <a:gd name="connsiteY51" fmla="*/ 463859 h 3633060"/>
                <a:gd name="connsiteX52" fmla="*/ 1100175 w 1426923"/>
                <a:gd name="connsiteY52" fmla="*/ 445759 h 3633060"/>
                <a:gd name="connsiteX53" fmla="*/ 1111258 w 1426923"/>
                <a:gd name="connsiteY53" fmla="*/ 422487 h 3633060"/>
                <a:gd name="connsiteX54" fmla="*/ 1114030 w 1426923"/>
                <a:gd name="connsiteY54" fmla="*/ 406973 h 3633060"/>
                <a:gd name="connsiteX55" fmla="*/ 1114029 w 1426923"/>
                <a:gd name="connsiteY55" fmla="*/ 350089 h 3633060"/>
                <a:gd name="connsiteX56" fmla="*/ 1091861 w 1426923"/>
                <a:gd name="connsiteY56" fmla="*/ 326818 h 3633060"/>
                <a:gd name="connsiteX57" fmla="*/ 1064151 w 1426923"/>
                <a:gd name="connsiteY57" fmla="*/ 295789 h 3633060"/>
                <a:gd name="connsiteX58" fmla="*/ 1059983 w 1426923"/>
                <a:gd name="connsiteY58" fmla="*/ 271536 h 3633060"/>
                <a:gd name="connsiteX59" fmla="*/ 1111259 w 1426923"/>
                <a:gd name="connsiteY59" fmla="*/ 249245 h 3633060"/>
                <a:gd name="connsiteX60" fmla="*/ 1164839 w 1426923"/>
                <a:gd name="connsiteY60" fmla="*/ 259117 h 3633060"/>
                <a:gd name="connsiteX61" fmla="*/ 1243623 w 1426923"/>
                <a:gd name="connsiteY61" fmla="*/ 271027 h 3633060"/>
                <a:gd name="connsiteX62" fmla="*/ 1327946 w 1426923"/>
                <a:gd name="connsiteY62" fmla="*/ 340386 h 3633060"/>
                <a:gd name="connsiteX63" fmla="*/ 1390081 w 1426923"/>
                <a:gd name="connsiteY63" fmla="*/ 416482 h 3633060"/>
                <a:gd name="connsiteX64" fmla="*/ 1289110 w 1426923"/>
                <a:gd name="connsiteY64" fmla="*/ 445476 h 3633060"/>
                <a:gd name="connsiteX65" fmla="*/ 1273576 w 1426923"/>
                <a:gd name="connsiteY65" fmla="*/ 492583 h 3633060"/>
                <a:gd name="connsiteX66" fmla="*/ 1331246 w 1426923"/>
                <a:gd name="connsiteY66" fmla="*/ 577073 h 3633060"/>
                <a:gd name="connsiteX67" fmla="*/ 1366780 w 1426923"/>
                <a:gd name="connsiteY67" fmla="*/ 583175 h 3633060"/>
                <a:gd name="connsiteX68" fmla="*/ 1419400 w 1426923"/>
                <a:gd name="connsiteY68" fmla="*/ 589515 h 3633060"/>
                <a:gd name="connsiteX69" fmla="*/ 1414437 w 1426923"/>
                <a:gd name="connsiteY69" fmla="*/ 700290 h 3633060"/>
                <a:gd name="connsiteX70" fmla="*/ 1425506 w 1426923"/>
                <a:gd name="connsiteY70" fmla="*/ 1031258 h 3633060"/>
                <a:gd name="connsiteX71" fmla="*/ 1416638 w 1426923"/>
                <a:gd name="connsiteY71" fmla="*/ 1833857 h 3633060"/>
                <a:gd name="connsiteX72" fmla="*/ 1425505 w 1426923"/>
                <a:gd name="connsiteY72" fmla="*/ 2288939 h 3633060"/>
                <a:gd name="connsiteX73" fmla="*/ 1399057 w 1426923"/>
                <a:gd name="connsiteY73" fmla="*/ 3598904 h 3633060"/>
                <a:gd name="connsiteX74" fmla="*/ 1140630 w 1426923"/>
                <a:gd name="connsiteY74" fmla="*/ 3555309 h 3633060"/>
                <a:gd name="connsiteX75" fmla="*/ 972152 w 1426923"/>
                <a:gd name="connsiteY75" fmla="*/ 3489114 h 3633060"/>
                <a:gd name="connsiteX76" fmla="*/ 794806 w 1426923"/>
                <a:gd name="connsiteY76" fmla="*/ 3398098 h 3633060"/>
                <a:gd name="connsiteX77" fmla="*/ 696508 w 1426923"/>
                <a:gd name="connsiteY77" fmla="*/ 3317581 h 3633060"/>
                <a:gd name="connsiteX78" fmla="*/ 990770 w 1426923"/>
                <a:gd name="connsiteY78" fmla="*/ 3009945 h 3633060"/>
                <a:gd name="connsiteX79" fmla="*/ 707016 w 1426923"/>
                <a:gd name="connsiteY79" fmla="*/ 2472121 h 3633060"/>
                <a:gd name="connsiteX80" fmla="*/ 849366 w 1426923"/>
                <a:gd name="connsiteY80" fmla="*/ 2233036 h 3633060"/>
                <a:gd name="connsiteX81" fmla="*/ 662679 w 1426923"/>
                <a:gd name="connsiteY81" fmla="*/ 1694345 h 3633060"/>
                <a:gd name="connsiteX82" fmla="*/ 414395 w 1426923"/>
                <a:gd name="connsiteY82" fmla="*/ 1462667 h 3633060"/>
                <a:gd name="connsiteX83" fmla="*/ 405528 w 1426923"/>
                <a:gd name="connsiteY83" fmla="*/ 1346828 h 3633060"/>
                <a:gd name="connsiteX84" fmla="*/ 0 w 1426923"/>
                <a:gd name="connsiteY84" fmla="*/ 542839 h 3633060"/>
                <a:gd name="connsiteX0" fmla="*/ 0 w 1426923"/>
                <a:gd name="connsiteY0" fmla="*/ 543337 h 3633558"/>
                <a:gd name="connsiteX1" fmla="*/ 35939 w 1426923"/>
                <a:gd name="connsiteY1" fmla="*/ 153060 h 3633558"/>
                <a:gd name="connsiteX2" fmla="*/ 177263 w 1426923"/>
                <a:gd name="connsiteY2" fmla="*/ 504 h 3633558"/>
                <a:gd name="connsiteX3" fmla="*/ 288104 w 1426923"/>
                <a:gd name="connsiteY3" fmla="*/ 194431 h 3633558"/>
                <a:gd name="connsiteX4" fmla="*/ 509787 w 1426923"/>
                <a:gd name="connsiteY4" fmla="*/ 158231 h 3633558"/>
                <a:gd name="connsiteX5" fmla="*/ 573521 w 1426923"/>
                <a:gd name="connsiteY5" fmla="*/ 204774 h 3633558"/>
                <a:gd name="connsiteX6" fmla="*/ 587548 w 1426923"/>
                <a:gd name="connsiteY6" fmla="*/ 234330 h 3633558"/>
                <a:gd name="connsiteX7" fmla="*/ 642795 w 1426923"/>
                <a:gd name="connsiteY7" fmla="*/ 269417 h 3633558"/>
                <a:gd name="connsiteX8" fmla="*/ 731469 w 1426923"/>
                <a:gd name="connsiteY8" fmla="*/ 295272 h 3633558"/>
                <a:gd name="connsiteX9" fmla="*/ 803515 w 1426923"/>
                <a:gd name="connsiteY9" fmla="*/ 341815 h 3633558"/>
                <a:gd name="connsiteX10" fmla="*/ 853394 w 1426923"/>
                <a:gd name="connsiteY10" fmla="*/ 393529 h 3633558"/>
                <a:gd name="connsiteX11" fmla="*/ 878333 w 1426923"/>
                <a:gd name="connsiteY11" fmla="*/ 432315 h 3633558"/>
                <a:gd name="connsiteX12" fmla="*/ 911586 w 1426923"/>
                <a:gd name="connsiteY12" fmla="*/ 458171 h 3633558"/>
                <a:gd name="connsiteX13" fmla="*/ 894958 w 1426923"/>
                <a:gd name="connsiteY13" fmla="*/ 683126 h 3633558"/>
                <a:gd name="connsiteX14" fmla="*/ 767492 w 1426923"/>
                <a:gd name="connsiteY14" fmla="*/ 763284 h 3633558"/>
                <a:gd name="connsiteX15" fmla="*/ 653880 w 1426923"/>
                <a:gd name="connsiteY15" fmla="*/ 771040 h 3633558"/>
                <a:gd name="connsiteX16" fmla="*/ 515327 w 1426923"/>
                <a:gd name="connsiteY16" fmla="*/ 750354 h 3633558"/>
                <a:gd name="connsiteX17" fmla="*/ 423883 w 1426923"/>
                <a:gd name="connsiteY17" fmla="*/ 714154 h 3633558"/>
                <a:gd name="connsiteX18" fmla="*/ 404486 w 1426923"/>
                <a:gd name="connsiteY18" fmla="*/ 742597 h 3633558"/>
                <a:gd name="connsiteX19" fmla="*/ 435128 w 1426923"/>
                <a:gd name="connsiteY19" fmla="*/ 816010 h 3633558"/>
                <a:gd name="connsiteX20" fmla="*/ 440669 w 1426923"/>
                <a:gd name="connsiteY20" fmla="*/ 942709 h 3633558"/>
                <a:gd name="connsiteX21" fmla="*/ 412799 w 1426923"/>
                <a:gd name="connsiteY21" fmla="*/ 1003752 h 3633558"/>
                <a:gd name="connsiteX22" fmla="*/ 468218 w 1426923"/>
                <a:gd name="connsiteY22" fmla="*/ 1024437 h 3633558"/>
                <a:gd name="connsiteX23" fmla="*/ 484846 w 1426923"/>
                <a:gd name="connsiteY23" fmla="*/ 1039951 h 3633558"/>
                <a:gd name="connsiteX24" fmla="*/ 509786 w 1426923"/>
                <a:gd name="connsiteY24" fmla="*/ 1065808 h 3633558"/>
                <a:gd name="connsiteX25" fmla="*/ 507015 w 1426923"/>
                <a:gd name="connsiteY25" fmla="*/ 1068394 h 3633558"/>
                <a:gd name="connsiteX26" fmla="*/ 545808 w 1426923"/>
                <a:gd name="connsiteY26" fmla="*/ 1063223 h 3633558"/>
                <a:gd name="connsiteX27" fmla="*/ 554122 w 1426923"/>
                <a:gd name="connsiteY27" fmla="*/ 1027023 h 3633558"/>
                <a:gd name="connsiteX28" fmla="*/ 515327 w 1426923"/>
                <a:gd name="connsiteY28" fmla="*/ 949452 h 3633558"/>
                <a:gd name="connsiteX29" fmla="*/ 584603 w 1426923"/>
                <a:gd name="connsiteY29" fmla="*/ 902909 h 3633558"/>
                <a:gd name="connsiteX30" fmla="*/ 652375 w 1426923"/>
                <a:gd name="connsiteY30" fmla="*/ 910643 h 3633558"/>
                <a:gd name="connsiteX31" fmla="*/ 676208 w 1426923"/>
                <a:gd name="connsiteY31" fmla="*/ 942710 h 3633558"/>
                <a:gd name="connsiteX32" fmla="*/ 831937 w 1426923"/>
                <a:gd name="connsiteY32" fmla="*/ 999073 h 3633558"/>
                <a:gd name="connsiteX33" fmla="*/ 817529 w 1426923"/>
                <a:gd name="connsiteY33" fmla="*/ 963396 h 3633558"/>
                <a:gd name="connsiteX34" fmla="*/ 784277 w 1426923"/>
                <a:gd name="connsiteY34" fmla="*/ 924610 h 3633558"/>
                <a:gd name="connsiteX35" fmla="*/ 773193 w 1426923"/>
                <a:gd name="connsiteY35" fmla="*/ 872896 h 3633558"/>
                <a:gd name="connsiteX36" fmla="*/ 811988 w 1426923"/>
                <a:gd name="connsiteY36" fmla="*/ 823769 h 3633558"/>
                <a:gd name="connsiteX37" fmla="*/ 839698 w 1426923"/>
                <a:gd name="connsiteY37" fmla="*/ 795326 h 3633558"/>
                <a:gd name="connsiteX38" fmla="*/ 864638 w 1426923"/>
                <a:gd name="connsiteY38" fmla="*/ 759126 h 3633558"/>
                <a:gd name="connsiteX39" fmla="*/ 944998 w 1426923"/>
                <a:gd name="connsiteY39" fmla="*/ 753954 h 3633558"/>
                <a:gd name="connsiteX40" fmla="*/ 950539 w 1426923"/>
                <a:gd name="connsiteY40" fmla="*/ 733269 h 3633558"/>
                <a:gd name="connsiteX41" fmla="*/ 975479 w 1426923"/>
                <a:gd name="connsiteY41" fmla="*/ 697069 h 3633558"/>
                <a:gd name="connsiteX42" fmla="*/ 1009283 w 1426923"/>
                <a:gd name="connsiteY42" fmla="*/ 679481 h 3633558"/>
                <a:gd name="connsiteX43" fmla="*/ 1066923 w 1426923"/>
                <a:gd name="connsiteY43" fmla="*/ 691898 h 3633558"/>
                <a:gd name="connsiteX44" fmla="*/ 1105716 w 1426923"/>
                <a:gd name="connsiteY44" fmla="*/ 712584 h 3633558"/>
                <a:gd name="connsiteX45" fmla="*/ 1152824 w 1426923"/>
                <a:gd name="connsiteY45" fmla="*/ 720341 h 3633558"/>
                <a:gd name="connsiteX46" fmla="*/ 1152824 w 1426923"/>
                <a:gd name="connsiteY46" fmla="*/ 725512 h 3633558"/>
                <a:gd name="connsiteX47" fmla="*/ 1174993 w 1426923"/>
                <a:gd name="connsiteY47" fmla="*/ 666041 h 3633558"/>
                <a:gd name="connsiteX48" fmla="*/ 1184968 w 1426923"/>
                <a:gd name="connsiteY48" fmla="*/ 632423 h 3633558"/>
                <a:gd name="connsiteX49" fmla="*/ 1191619 w 1426923"/>
                <a:gd name="connsiteY49" fmla="*/ 614327 h 3633558"/>
                <a:gd name="connsiteX50" fmla="*/ 1194556 w 1426923"/>
                <a:gd name="connsiteY50" fmla="*/ 582997 h 3633558"/>
                <a:gd name="connsiteX51" fmla="*/ 1114030 w 1426923"/>
                <a:gd name="connsiteY51" fmla="*/ 536757 h 3633558"/>
                <a:gd name="connsiteX52" fmla="*/ 1100175 w 1426923"/>
                <a:gd name="connsiteY52" fmla="*/ 464357 h 3633558"/>
                <a:gd name="connsiteX53" fmla="*/ 1100175 w 1426923"/>
                <a:gd name="connsiteY53" fmla="*/ 446257 h 3633558"/>
                <a:gd name="connsiteX54" fmla="*/ 1111258 w 1426923"/>
                <a:gd name="connsiteY54" fmla="*/ 422985 h 3633558"/>
                <a:gd name="connsiteX55" fmla="*/ 1114030 w 1426923"/>
                <a:gd name="connsiteY55" fmla="*/ 407471 h 3633558"/>
                <a:gd name="connsiteX56" fmla="*/ 1114029 w 1426923"/>
                <a:gd name="connsiteY56" fmla="*/ 350587 h 3633558"/>
                <a:gd name="connsiteX57" fmla="*/ 1091861 w 1426923"/>
                <a:gd name="connsiteY57" fmla="*/ 327316 h 3633558"/>
                <a:gd name="connsiteX58" fmla="*/ 1064151 w 1426923"/>
                <a:gd name="connsiteY58" fmla="*/ 296287 h 3633558"/>
                <a:gd name="connsiteX59" fmla="*/ 1059983 w 1426923"/>
                <a:gd name="connsiteY59" fmla="*/ 272034 h 3633558"/>
                <a:gd name="connsiteX60" fmla="*/ 1111259 w 1426923"/>
                <a:gd name="connsiteY60" fmla="*/ 249743 h 3633558"/>
                <a:gd name="connsiteX61" fmla="*/ 1164839 w 1426923"/>
                <a:gd name="connsiteY61" fmla="*/ 259615 h 3633558"/>
                <a:gd name="connsiteX62" fmla="*/ 1243623 w 1426923"/>
                <a:gd name="connsiteY62" fmla="*/ 271525 h 3633558"/>
                <a:gd name="connsiteX63" fmla="*/ 1327946 w 1426923"/>
                <a:gd name="connsiteY63" fmla="*/ 340884 h 3633558"/>
                <a:gd name="connsiteX64" fmla="*/ 1390081 w 1426923"/>
                <a:gd name="connsiteY64" fmla="*/ 416980 h 3633558"/>
                <a:gd name="connsiteX65" fmla="*/ 1289110 w 1426923"/>
                <a:gd name="connsiteY65" fmla="*/ 445974 h 3633558"/>
                <a:gd name="connsiteX66" fmla="*/ 1273576 w 1426923"/>
                <a:gd name="connsiteY66" fmla="*/ 493081 h 3633558"/>
                <a:gd name="connsiteX67" fmla="*/ 1331246 w 1426923"/>
                <a:gd name="connsiteY67" fmla="*/ 577571 h 3633558"/>
                <a:gd name="connsiteX68" fmla="*/ 1366780 w 1426923"/>
                <a:gd name="connsiteY68" fmla="*/ 583673 h 3633558"/>
                <a:gd name="connsiteX69" fmla="*/ 1419400 w 1426923"/>
                <a:gd name="connsiteY69" fmla="*/ 590013 h 3633558"/>
                <a:gd name="connsiteX70" fmla="*/ 1414437 w 1426923"/>
                <a:gd name="connsiteY70" fmla="*/ 700788 h 3633558"/>
                <a:gd name="connsiteX71" fmla="*/ 1425506 w 1426923"/>
                <a:gd name="connsiteY71" fmla="*/ 1031756 h 3633558"/>
                <a:gd name="connsiteX72" fmla="*/ 1416638 w 1426923"/>
                <a:gd name="connsiteY72" fmla="*/ 1834355 h 3633558"/>
                <a:gd name="connsiteX73" fmla="*/ 1425505 w 1426923"/>
                <a:gd name="connsiteY73" fmla="*/ 2289437 h 3633558"/>
                <a:gd name="connsiteX74" fmla="*/ 1399057 w 1426923"/>
                <a:gd name="connsiteY74" fmla="*/ 3599402 h 3633558"/>
                <a:gd name="connsiteX75" fmla="*/ 1140630 w 1426923"/>
                <a:gd name="connsiteY75" fmla="*/ 3555807 h 3633558"/>
                <a:gd name="connsiteX76" fmla="*/ 972152 w 1426923"/>
                <a:gd name="connsiteY76" fmla="*/ 3489612 h 3633558"/>
                <a:gd name="connsiteX77" fmla="*/ 794806 w 1426923"/>
                <a:gd name="connsiteY77" fmla="*/ 3398596 h 3633558"/>
                <a:gd name="connsiteX78" fmla="*/ 696508 w 1426923"/>
                <a:gd name="connsiteY78" fmla="*/ 3318079 h 3633558"/>
                <a:gd name="connsiteX79" fmla="*/ 990770 w 1426923"/>
                <a:gd name="connsiteY79" fmla="*/ 3010443 h 3633558"/>
                <a:gd name="connsiteX80" fmla="*/ 707016 w 1426923"/>
                <a:gd name="connsiteY80" fmla="*/ 2472619 h 3633558"/>
                <a:gd name="connsiteX81" fmla="*/ 849366 w 1426923"/>
                <a:gd name="connsiteY81" fmla="*/ 2233534 h 3633558"/>
                <a:gd name="connsiteX82" fmla="*/ 662679 w 1426923"/>
                <a:gd name="connsiteY82" fmla="*/ 1694843 h 3633558"/>
                <a:gd name="connsiteX83" fmla="*/ 414395 w 1426923"/>
                <a:gd name="connsiteY83" fmla="*/ 1463165 h 3633558"/>
                <a:gd name="connsiteX84" fmla="*/ 405528 w 1426923"/>
                <a:gd name="connsiteY84" fmla="*/ 1347326 h 3633558"/>
                <a:gd name="connsiteX85" fmla="*/ 0 w 1426923"/>
                <a:gd name="connsiteY85" fmla="*/ 543337 h 3633558"/>
                <a:gd name="connsiteX0" fmla="*/ 0 w 1426923"/>
                <a:gd name="connsiteY0" fmla="*/ 543337 h 3633558"/>
                <a:gd name="connsiteX1" fmla="*/ 35939 w 1426923"/>
                <a:gd name="connsiteY1" fmla="*/ 153060 h 3633558"/>
                <a:gd name="connsiteX2" fmla="*/ 177263 w 1426923"/>
                <a:gd name="connsiteY2" fmla="*/ 504 h 3633558"/>
                <a:gd name="connsiteX3" fmla="*/ 288104 w 1426923"/>
                <a:gd name="connsiteY3" fmla="*/ 194431 h 3633558"/>
                <a:gd name="connsiteX4" fmla="*/ 443282 w 1426923"/>
                <a:gd name="connsiteY4" fmla="*/ 155647 h 3633558"/>
                <a:gd name="connsiteX5" fmla="*/ 509787 w 1426923"/>
                <a:gd name="connsiteY5" fmla="*/ 158231 h 3633558"/>
                <a:gd name="connsiteX6" fmla="*/ 573521 w 1426923"/>
                <a:gd name="connsiteY6" fmla="*/ 204774 h 3633558"/>
                <a:gd name="connsiteX7" fmla="*/ 587548 w 1426923"/>
                <a:gd name="connsiteY7" fmla="*/ 234330 h 3633558"/>
                <a:gd name="connsiteX8" fmla="*/ 642795 w 1426923"/>
                <a:gd name="connsiteY8" fmla="*/ 269417 h 3633558"/>
                <a:gd name="connsiteX9" fmla="*/ 731469 w 1426923"/>
                <a:gd name="connsiteY9" fmla="*/ 295272 h 3633558"/>
                <a:gd name="connsiteX10" fmla="*/ 803515 w 1426923"/>
                <a:gd name="connsiteY10" fmla="*/ 341815 h 3633558"/>
                <a:gd name="connsiteX11" fmla="*/ 853394 w 1426923"/>
                <a:gd name="connsiteY11" fmla="*/ 393529 h 3633558"/>
                <a:gd name="connsiteX12" fmla="*/ 878333 w 1426923"/>
                <a:gd name="connsiteY12" fmla="*/ 432315 h 3633558"/>
                <a:gd name="connsiteX13" fmla="*/ 911586 w 1426923"/>
                <a:gd name="connsiteY13" fmla="*/ 458171 h 3633558"/>
                <a:gd name="connsiteX14" fmla="*/ 894958 w 1426923"/>
                <a:gd name="connsiteY14" fmla="*/ 683126 h 3633558"/>
                <a:gd name="connsiteX15" fmla="*/ 767492 w 1426923"/>
                <a:gd name="connsiteY15" fmla="*/ 763284 h 3633558"/>
                <a:gd name="connsiteX16" fmla="*/ 653880 w 1426923"/>
                <a:gd name="connsiteY16" fmla="*/ 771040 h 3633558"/>
                <a:gd name="connsiteX17" fmla="*/ 515327 w 1426923"/>
                <a:gd name="connsiteY17" fmla="*/ 750354 h 3633558"/>
                <a:gd name="connsiteX18" fmla="*/ 423883 w 1426923"/>
                <a:gd name="connsiteY18" fmla="*/ 714154 h 3633558"/>
                <a:gd name="connsiteX19" fmla="*/ 404486 w 1426923"/>
                <a:gd name="connsiteY19" fmla="*/ 742597 h 3633558"/>
                <a:gd name="connsiteX20" fmla="*/ 435128 w 1426923"/>
                <a:gd name="connsiteY20" fmla="*/ 816010 h 3633558"/>
                <a:gd name="connsiteX21" fmla="*/ 440669 w 1426923"/>
                <a:gd name="connsiteY21" fmla="*/ 942709 h 3633558"/>
                <a:gd name="connsiteX22" fmla="*/ 412799 w 1426923"/>
                <a:gd name="connsiteY22" fmla="*/ 1003752 h 3633558"/>
                <a:gd name="connsiteX23" fmla="*/ 468218 w 1426923"/>
                <a:gd name="connsiteY23" fmla="*/ 1024437 h 3633558"/>
                <a:gd name="connsiteX24" fmla="*/ 484846 w 1426923"/>
                <a:gd name="connsiteY24" fmla="*/ 1039951 h 3633558"/>
                <a:gd name="connsiteX25" fmla="*/ 509786 w 1426923"/>
                <a:gd name="connsiteY25" fmla="*/ 1065808 h 3633558"/>
                <a:gd name="connsiteX26" fmla="*/ 507015 w 1426923"/>
                <a:gd name="connsiteY26" fmla="*/ 1068394 h 3633558"/>
                <a:gd name="connsiteX27" fmla="*/ 545808 w 1426923"/>
                <a:gd name="connsiteY27" fmla="*/ 1063223 h 3633558"/>
                <a:gd name="connsiteX28" fmla="*/ 554122 w 1426923"/>
                <a:gd name="connsiteY28" fmla="*/ 1027023 h 3633558"/>
                <a:gd name="connsiteX29" fmla="*/ 515327 w 1426923"/>
                <a:gd name="connsiteY29" fmla="*/ 949452 h 3633558"/>
                <a:gd name="connsiteX30" fmla="*/ 584603 w 1426923"/>
                <a:gd name="connsiteY30" fmla="*/ 902909 h 3633558"/>
                <a:gd name="connsiteX31" fmla="*/ 652375 w 1426923"/>
                <a:gd name="connsiteY31" fmla="*/ 910643 h 3633558"/>
                <a:gd name="connsiteX32" fmla="*/ 676208 w 1426923"/>
                <a:gd name="connsiteY32" fmla="*/ 942710 h 3633558"/>
                <a:gd name="connsiteX33" fmla="*/ 831937 w 1426923"/>
                <a:gd name="connsiteY33" fmla="*/ 999073 h 3633558"/>
                <a:gd name="connsiteX34" fmla="*/ 817529 w 1426923"/>
                <a:gd name="connsiteY34" fmla="*/ 963396 h 3633558"/>
                <a:gd name="connsiteX35" fmla="*/ 784277 w 1426923"/>
                <a:gd name="connsiteY35" fmla="*/ 924610 h 3633558"/>
                <a:gd name="connsiteX36" fmla="*/ 773193 w 1426923"/>
                <a:gd name="connsiteY36" fmla="*/ 872896 h 3633558"/>
                <a:gd name="connsiteX37" fmla="*/ 811988 w 1426923"/>
                <a:gd name="connsiteY37" fmla="*/ 823769 h 3633558"/>
                <a:gd name="connsiteX38" fmla="*/ 839698 w 1426923"/>
                <a:gd name="connsiteY38" fmla="*/ 795326 h 3633558"/>
                <a:gd name="connsiteX39" fmla="*/ 864638 w 1426923"/>
                <a:gd name="connsiteY39" fmla="*/ 759126 h 3633558"/>
                <a:gd name="connsiteX40" fmla="*/ 944998 w 1426923"/>
                <a:gd name="connsiteY40" fmla="*/ 753954 h 3633558"/>
                <a:gd name="connsiteX41" fmla="*/ 950539 w 1426923"/>
                <a:gd name="connsiteY41" fmla="*/ 733269 h 3633558"/>
                <a:gd name="connsiteX42" fmla="*/ 975479 w 1426923"/>
                <a:gd name="connsiteY42" fmla="*/ 697069 h 3633558"/>
                <a:gd name="connsiteX43" fmla="*/ 1009283 w 1426923"/>
                <a:gd name="connsiteY43" fmla="*/ 679481 h 3633558"/>
                <a:gd name="connsiteX44" fmla="*/ 1066923 w 1426923"/>
                <a:gd name="connsiteY44" fmla="*/ 691898 h 3633558"/>
                <a:gd name="connsiteX45" fmla="*/ 1105716 w 1426923"/>
                <a:gd name="connsiteY45" fmla="*/ 712584 h 3633558"/>
                <a:gd name="connsiteX46" fmla="*/ 1152824 w 1426923"/>
                <a:gd name="connsiteY46" fmla="*/ 720341 h 3633558"/>
                <a:gd name="connsiteX47" fmla="*/ 1152824 w 1426923"/>
                <a:gd name="connsiteY47" fmla="*/ 725512 h 3633558"/>
                <a:gd name="connsiteX48" fmla="*/ 1174993 w 1426923"/>
                <a:gd name="connsiteY48" fmla="*/ 666041 h 3633558"/>
                <a:gd name="connsiteX49" fmla="*/ 1184968 w 1426923"/>
                <a:gd name="connsiteY49" fmla="*/ 632423 h 3633558"/>
                <a:gd name="connsiteX50" fmla="*/ 1191619 w 1426923"/>
                <a:gd name="connsiteY50" fmla="*/ 614327 h 3633558"/>
                <a:gd name="connsiteX51" fmla="*/ 1194556 w 1426923"/>
                <a:gd name="connsiteY51" fmla="*/ 582997 h 3633558"/>
                <a:gd name="connsiteX52" fmla="*/ 1114030 w 1426923"/>
                <a:gd name="connsiteY52" fmla="*/ 536757 h 3633558"/>
                <a:gd name="connsiteX53" fmla="*/ 1100175 w 1426923"/>
                <a:gd name="connsiteY53" fmla="*/ 464357 h 3633558"/>
                <a:gd name="connsiteX54" fmla="*/ 1100175 w 1426923"/>
                <a:gd name="connsiteY54" fmla="*/ 446257 h 3633558"/>
                <a:gd name="connsiteX55" fmla="*/ 1111258 w 1426923"/>
                <a:gd name="connsiteY55" fmla="*/ 422985 h 3633558"/>
                <a:gd name="connsiteX56" fmla="*/ 1114030 w 1426923"/>
                <a:gd name="connsiteY56" fmla="*/ 407471 h 3633558"/>
                <a:gd name="connsiteX57" fmla="*/ 1114029 w 1426923"/>
                <a:gd name="connsiteY57" fmla="*/ 350587 h 3633558"/>
                <a:gd name="connsiteX58" fmla="*/ 1091861 w 1426923"/>
                <a:gd name="connsiteY58" fmla="*/ 327316 h 3633558"/>
                <a:gd name="connsiteX59" fmla="*/ 1064151 w 1426923"/>
                <a:gd name="connsiteY59" fmla="*/ 296287 h 3633558"/>
                <a:gd name="connsiteX60" fmla="*/ 1059983 w 1426923"/>
                <a:gd name="connsiteY60" fmla="*/ 272034 h 3633558"/>
                <a:gd name="connsiteX61" fmla="*/ 1111259 w 1426923"/>
                <a:gd name="connsiteY61" fmla="*/ 249743 h 3633558"/>
                <a:gd name="connsiteX62" fmla="*/ 1164839 w 1426923"/>
                <a:gd name="connsiteY62" fmla="*/ 259615 h 3633558"/>
                <a:gd name="connsiteX63" fmla="*/ 1243623 w 1426923"/>
                <a:gd name="connsiteY63" fmla="*/ 271525 h 3633558"/>
                <a:gd name="connsiteX64" fmla="*/ 1327946 w 1426923"/>
                <a:gd name="connsiteY64" fmla="*/ 340884 h 3633558"/>
                <a:gd name="connsiteX65" fmla="*/ 1390081 w 1426923"/>
                <a:gd name="connsiteY65" fmla="*/ 416980 h 3633558"/>
                <a:gd name="connsiteX66" fmla="*/ 1289110 w 1426923"/>
                <a:gd name="connsiteY66" fmla="*/ 445974 h 3633558"/>
                <a:gd name="connsiteX67" fmla="*/ 1273576 w 1426923"/>
                <a:gd name="connsiteY67" fmla="*/ 493081 h 3633558"/>
                <a:gd name="connsiteX68" fmla="*/ 1331246 w 1426923"/>
                <a:gd name="connsiteY68" fmla="*/ 577571 h 3633558"/>
                <a:gd name="connsiteX69" fmla="*/ 1366780 w 1426923"/>
                <a:gd name="connsiteY69" fmla="*/ 583673 h 3633558"/>
                <a:gd name="connsiteX70" fmla="*/ 1419400 w 1426923"/>
                <a:gd name="connsiteY70" fmla="*/ 590013 h 3633558"/>
                <a:gd name="connsiteX71" fmla="*/ 1414437 w 1426923"/>
                <a:gd name="connsiteY71" fmla="*/ 700788 h 3633558"/>
                <a:gd name="connsiteX72" fmla="*/ 1425506 w 1426923"/>
                <a:gd name="connsiteY72" fmla="*/ 1031756 h 3633558"/>
                <a:gd name="connsiteX73" fmla="*/ 1416638 w 1426923"/>
                <a:gd name="connsiteY73" fmla="*/ 1834355 h 3633558"/>
                <a:gd name="connsiteX74" fmla="*/ 1425505 w 1426923"/>
                <a:gd name="connsiteY74" fmla="*/ 2289437 h 3633558"/>
                <a:gd name="connsiteX75" fmla="*/ 1399057 w 1426923"/>
                <a:gd name="connsiteY75" fmla="*/ 3599402 h 3633558"/>
                <a:gd name="connsiteX76" fmla="*/ 1140630 w 1426923"/>
                <a:gd name="connsiteY76" fmla="*/ 3555807 h 3633558"/>
                <a:gd name="connsiteX77" fmla="*/ 972152 w 1426923"/>
                <a:gd name="connsiteY77" fmla="*/ 3489612 h 3633558"/>
                <a:gd name="connsiteX78" fmla="*/ 794806 w 1426923"/>
                <a:gd name="connsiteY78" fmla="*/ 3398596 h 3633558"/>
                <a:gd name="connsiteX79" fmla="*/ 696508 w 1426923"/>
                <a:gd name="connsiteY79" fmla="*/ 3318079 h 3633558"/>
                <a:gd name="connsiteX80" fmla="*/ 990770 w 1426923"/>
                <a:gd name="connsiteY80" fmla="*/ 3010443 h 3633558"/>
                <a:gd name="connsiteX81" fmla="*/ 707016 w 1426923"/>
                <a:gd name="connsiteY81" fmla="*/ 2472619 h 3633558"/>
                <a:gd name="connsiteX82" fmla="*/ 849366 w 1426923"/>
                <a:gd name="connsiteY82" fmla="*/ 2233534 h 3633558"/>
                <a:gd name="connsiteX83" fmla="*/ 662679 w 1426923"/>
                <a:gd name="connsiteY83" fmla="*/ 1694843 h 3633558"/>
                <a:gd name="connsiteX84" fmla="*/ 414395 w 1426923"/>
                <a:gd name="connsiteY84" fmla="*/ 1463165 h 3633558"/>
                <a:gd name="connsiteX85" fmla="*/ 405528 w 1426923"/>
                <a:gd name="connsiteY85" fmla="*/ 1347326 h 3633558"/>
                <a:gd name="connsiteX86" fmla="*/ 0 w 1426923"/>
                <a:gd name="connsiteY86" fmla="*/ 543337 h 3633558"/>
                <a:gd name="connsiteX0" fmla="*/ 0 w 1426923"/>
                <a:gd name="connsiteY0" fmla="*/ 543337 h 3633558"/>
                <a:gd name="connsiteX1" fmla="*/ 35939 w 1426923"/>
                <a:gd name="connsiteY1" fmla="*/ 153060 h 3633558"/>
                <a:gd name="connsiteX2" fmla="*/ 177263 w 1426923"/>
                <a:gd name="connsiteY2" fmla="*/ 504 h 3633558"/>
                <a:gd name="connsiteX3" fmla="*/ 288104 w 1426923"/>
                <a:gd name="connsiteY3" fmla="*/ 194431 h 3633558"/>
                <a:gd name="connsiteX4" fmla="*/ 329670 w 1426923"/>
                <a:gd name="connsiteY4" fmla="*/ 178917 h 3633558"/>
                <a:gd name="connsiteX5" fmla="*/ 443282 w 1426923"/>
                <a:gd name="connsiteY5" fmla="*/ 155647 h 3633558"/>
                <a:gd name="connsiteX6" fmla="*/ 509787 w 1426923"/>
                <a:gd name="connsiteY6" fmla="*/ 158231 h 3633558"/>
                <a:gd name="connsiteX7" fmla="*/ 573521 w 1426923"/>
                <a:gd name="connsiteY7" fmla="*/ 204774 h 3633558"/>
                <a:gd name="connsiteX8" fmla="*/ 587548 w 1426923"/>
                <a:gd name="connsiteY8" fmla="*/ 234330 h 3633558"/>
                <a:gd name="connsiteX9" fmla="*/ 642795 w 1426923"/>
                <a:gd name="connsiteY9" fmla="*/ 269417 h 3633558"/>
                <a:gd name="connsiteX10" fmla="*/ 731469 w 1426923"/>
                <a:gd name="connsiteY10" fmla="*/ 295272 h 3633558"/>
                <a:gd name="connsiteX11" fmla="*/ 803515 w 1426923"/>
                <a:gd name="connsiteY11" fmla="*/ 341815 h 3633558"/>
                <a:gd name="connsiteX12" fmla="*/ 853394 w 1426923"/>
                <a:gd name="connsiteY12" fmla="*/ 393529 h 3633558"/>
                <a:gd name="connsiteX13" fmla="*/ 878333 w 1426923"/>
                <a:gd name="connsiteY13" fmla="*/ 432315 h 3633558"/>
                <a:gd name="connsiteX14" fmla="*/ 911586 w 1426923"/>
                <a:gd name="connsiteY14" fmla="*/ 458171 h 3633558"/>
                <a:gd name="connsiteX15" fmla="*/ 894958 w 1426923"/>
                <a:gd name="connsiteY15" fmla="*/ 683126 h 3633558"/>
                <a:gd name="connsiteX16" fmla="*/ 767492 w 1426923"/>
                <a:gd name="connsiteY16" fmla="*/ 763284 h 3633558"/>
                <a:gd name="connsiteX17" fmla="*/ 653880 w 1426923"/>
                <a:gd name="connsiteY17" fmla="*/ 771040 h 3633558"/>
                <a:gd name="connsiteX18" fmla="*/ 515327 w 1426923"/>
                <a:gd name="connsiteY18" fmla="*/ 750354 h 3633558"/>
                <a:gd name="connsiteX19" fmla="*/ 423883 w 1426923"/>
                <a:gd name="connsiteY19" fmla="*/ 714154 h 3633558"/>
                <a:gd name="connsiteX20" fmla="*/ 404486 w 1426923"/>
                <a:gd name="connsiteY20" fmla="*/ 742597 h 3633558"/>
                <a:gd name="connsiteX21" fmla="*/ 435128 w 1426923"/>
                <a:gd name="connsiteY21" fmla="*/ 816010 h 3633558"/>
                <a:gd name="connsiteX22" fmla="*/ 440669 w 1426923"/>
                <a:gd name="connsiteY22" fmla="*/ 942709 h 3633558"/>
                <a:gd name="connsiteX23" fmla="*/ 412799 w 1426923"/>
                <a:gd name="connsiteY23" fmla="*/ 1003752 h 3633558"/>
                <a:gd name="connsiteX24" fmla="*/ 468218 w 1426923"/>
                <a:gd name="connsiteY24" fmla="*/ 1024437 h 3633558"/>
                <a:gd name="connsiteX25" fmla="*/ 484846 w 1426923"/>
                <a:gd name="connsiteY25" fmla="*/ 1039951 h 3633558"/>
                <a:gd name="connsiteX26" fmla="*/ 509786 w 1426923"/>
                <a:gd name="connsiteY26" fmla="*/ 1065808 h 3633558"/>
                <a:gd name="connsiteX27" fmla="*/ 507015 w 1426923"/>
                <a:gd name="connsiteY27" fmla="*/ 1068394 h 3633558"/>
                <a:gd name="connsiteX28" fmla="*/ 545808 w 1426923"/>
                <a:gd name="connsiteY28" fmla="*/ 1063223 h 3633558"/>
                <a:gd name="connsiteX29" fmla="*/ 554122 w 1426923"/>
                <a:gd name="connsiteY29" fmla="*/ 1027023 h 3633558"/>
                <a:gd name="connsiteX30" fmla="*/ 515327 w 1426923"/>
                <a:gd name="connsiteY30" fmla="*/ 949452 h 3633558"/>
                <a:gd name="connsiteX31" fmla="*/ 584603 w 1426923"/>
                <a:gd name="connsiteY31" fmla="*/ 902909 h 3633558"/>
                <a:gd name="connsiteX32" fmla="*/ 652375 w 1426923"/>
                <a:gd name="connsiteY32" fmla="*/ 910643 h 3633558"/>
                <a:gd name="connsiteX33" fmla="*/ 676208 w 1426923"/>
                <a:gd name="connsiteY33" fmla="*/ 942710 h 3633558"/>
                <a:gd name="connsiteX34" fmla="*/ 831937 w 1426923"/>
                <a:gd name="connsiteY34" fmla="*/ 999073 h 3633558"/>
                <a:gd name="connsiteX35" fmla="*/ 817529 w 1426923"/>
                <a:gd name="connsiteY35" fmla="*/ 963396 h 3633558"/>
                <a:gd name="connsiteX36" fmla="*/ 784277 w 1426923"/>
                <a:gd name="connsiteY36" fmla="*/ 924610 h 3633558"/>
                <a:gd name="connsiteX37" fmla="*/ 773193 w 1426923"/>
                <a:gd name="connsiteY37" fmla="*/ 872896 h 3633558"/>
                <a:gd name="connsiteX38" fmla="*/ 811988 w 1426923"/>
                <a:gd name="connsiteY38" fmla="*/ 823769 h 3633558"/>
                <a:gd name="connsiteX39" fmla="*/ 839698 w 1426923"/>
                <a:gd name="connsiteY39" fmla="*/ 795326 h 3633558"/>
                <a:gd name="connsiteX40" fmla="*/ 864638 w 1426923"/>
                <a:gd name="connsiteY40" fmla="*/ 759126 h 3633558"/>
                <a:gd name="connsiteX41" fmla="*/ 944998 w 1426923"/>
                <a:gd name="connsiteY41" fmla="*/ 753954 h 3633558"/>
                <a:gd name="connsiteX42" fmla="*/ 950539 w 1426923"/>
                <a:gd name="connsiteY42" fmla="*/ 733269 h 3633558"/>
                <a:gd name="connsiteX43" fmla="*/ 975479 w 1426923"/>
                <a:gd name="connsiteY43" fmla="*/ 697069 h 3633558"/>
                <a:gd name="connsiteX44" fmla="*/ 1009283 w 1426923"/>
                <a:gd name="connsiteY44" fmla="*/ 679481 h 3633558"/>
                <a:gd name="connsiteX45" fmla="*/ 1066923 w 1426923"/>
                <a:gd name="connsiteY45" fmla="*/ 691898 h 3633558"/>
                <a:gd name="connsiteX46" fmla="*/ 1105716 w 1426923"/>
                <a:gd name="connsiteY46" fmla="*/ 712584 h 3633558"/>
                <a:gd name="connsiteX47" fmla="*/ 1152824 w 1426923"/>
                <a:gd name="connsiteY47" fmla="*/ 720341 h 3633558"/>
                <a:gd name="connsiteX48" fmla="*/ 1152824 w 1426923"/>
                <a:gd name="connsiteY48" fmla="*/ 725512 h 3633558"/>
                <a:gd name="connsiteX49" fmla="*/ 1174993 w 1426923"/>
                <a:gd name="connsiteY49" fmla="*/ 666041 h 3633558"/>
                <a:gd name="connsiteX50" fmla="*/ 1184968 w 1426923"/>
                <a:gd name="connsiteY50" fmla="*/ 632423 h 3633558"/>
                <a:gd name="connsiteX51" fmla="*/ 1191619 w 1426923"/>
                <a:gd name="connsiteY51" fmla="*/ 614327 h 3633558"/>
                <a:gd name="connsiteX52" fmla="*/ 1194556 w 1426923"/>
                <a:gd name="connsiteY52" fmla="*/ 582997 h 3633558"/>
                <a:gd name="connsiteX53" fmla="*/ 1114030 w 1426923"/>
                <a:gd name="connsiteY53" fmla="*/ 536757 h 3633558"/>
                <a:gd name="connsiteX54" fmla="*/ 1100175 w 1426923"/>
                <a:gd name="connsiteY54" fmla="*/ 464357 h 3633558"/>
                <a:gd name="connsiteX55" fmla="*/ 1100175 w 1426923"/>
                <a:gd name="connsiteY55" fmla="*/ 446257 h 3633558"/>
                <a:gd name="connsiteX56" fmla="*/ 1111258 w 1426923"/>
                <a:gd name="connsiteY56" fmla="*/ 422985 h 3633558"/>
                <a:gd name="connsiteX57" fmla="*/ 1114030 w 1426923"/>
                <a:gd name="connsiteY57" fmla="*/ 407471 h 3633558"/>
                <a:gd name="connsiteX58" fmla="*/ 1114029 w 1426923"/>
                <a:gd name="connsiteY58" fmla="*/ 350587 h 3633558"/>
                <a:gd name="connsiteX59" fmla="*/ 1091861 w 1426923"/>
                <a:gd name="connsiteY59" fmla="*/ 327316 h 3633558"/>
                <a:gd name="connsiteX60" fmla="*/ 1064151 w 1426923"/>
                <a:gd name="connsiteY60" fmla="*/ 296287 h 3633558"/>
                <a:gd name="connsiteX61" fmla="*/ 1059983 w 1426923"/>
                <a:gd name="connsiteY61" fmla="*/ 272034 h 3633558"/>
                <a:gd name="connsiteX62" fmla="*/ 1111259 w 1426923"/>
                <a:gd name="connsiteY62" fmla="*/ 249743 h 3633558"/>
                <a:gd name="connsiteX63" fmla="*/ 1164839 w 1426923"/>
                <a:gd name="connsiteY63" fmla="*/ 259615 h 3633558"/>
                <a:gd name="connsiteX64" fmla="*/ 1243623 w 1426923"/>
                <a:gd name="connsiteY64" fmla="*/ 271525 h 3633558"/>
                <a:gd name="connsiteX65" fmla="*/ 1327946 w 1426923"/>
                <a:gd name="connsiteY65" fmla="*/ 340884 h 3633558"/>
                <a:gd name="connsiteX66" fmla="*/ 1390081 w 1426923"/>
                <a:gd name="connsiteY66" fmla="*/ 416980 h 3633558"/>
                <a:gd name="connsiteX67" fmla="*/ 1289110 w 1426923"/>
                <a:gd name="connsiteY67" fmla="*/ 445974 h 3633558"/>
                <a:gd name="connsiteX68" fmla="*/ 1273576 w 1426923"/>
                <a:gd name="connsiteY68" fmla="*/ 493081 h 3633558"/>
                <a:gd name="connsiteX69" fmla="*/ 1331246 w 1426923"/>
                <a:gd name="connsiteY69" fmla="*/ 577571 h 3633558"/>
                <a:gd name="connsiteX70" fmla="*/ 1366780 w 1426923"/>
                <a:gd name="connsiteY70" fmla="*/ 583673 h 3633558"/>
                <a:gd name="connsiteX71" fmla="*/ 1419400 w 1426923"/>
                <a:gd name="connsiteY71" fmla="*/ 590013 h 3633558"/>
                <a:gd name="connsiteX72" fmla="*/ 1414437 w 1426923"/>
                <a:gd name="connsiteY72" fmla="*/ 700788 h 3633558"/>
                <a:gd name="connsiteX73" fmla="*/ 1425506 w 1426923"/>
                <a:gd name="connsiteY73" fmla="*/ 1031756 h 3633558"/>
                <a:gd name="connsiteX74" fmla="*/ 1416638 w 1426923"/>
                <a:gd name="connsiteY74" fmla="*/ 1834355 h 3633558"/>
                <a:gd name="connsiteX75" fmla="*/ 1425505 w 1426923"/>
                <a:gd name="connsiteY75" fmla="*/ 2289437 h 3633558"/>
                <a:gd name="connsiteX76" fmla="*/ 1399057 w 1426923"/>
                <a:gd name="connsiteY76" fmla="*/ 3599402 h 3633558"/>
                <a:gd name="connsiteX77" fmla="*/ 1140630 w 1426923"/>
                <a:gd name="connsiteY77" fmla="*/ 3555807 h 3633558"/>
                <a:gd name="connsiteX78" fmla="*/ 972152 w 1426923"/>
                <a:gd name="connsiteY78" fmla="*/ 3489612 h 3633558"/>
                <a:gd name="connsiteX79" fmla="*/ 794806 w 1426923"/>
                <a:gd name="connsiteY79" fmla="*/ 3398596 h 3633558"/>
                <a:gd name="connsiteX80" fmla="*/ 696508 w 1426923"/>
                <a:gd name="connsiteY80" fmla="*/ 3318079 h 3633558"/>
                <a:gd name="connsiteX81" fmla="*/ 990770 w 1426923"/>
                <a:gd name="connsiteY81" fmla="*/ 3010443 h 3633558"/>
                <a:gd name="connsiteX82" fmla="*/ 707016 w 1426923"/>
                <a:gd name="connsiteY82" fmla="*/ 2472619 h 3633558"/>
                <a:gd name="connsiteX83" fmla="*/ 849366 w 1426923"/>
                <a:gd name="connsiteY83" fmla="*/ 2233534 h 3633558"/>
                <a:gd name="connsiteX84" fmla="*/ 662679 w 1426923"/>
                <a:gd name="connsiteY84" fmla="*/ 1694843 h 3633558"/>
                <a:gd name="connsiteX85" fmla="*/ 414395 w 1426923"/>
                <a:gd name="connsiteY85" fmla="*/ 1463165 h 3633558"/>
                <a:gd name="connsiteX86" fmla="*/ 405528 w 1426923"/>
                <a:gd name="connsiteY86" fmla="*/ 1347326 h 3633558"/>
                <a:gd name="connsiteX87" fmla="*/ 0 w 1426923"/>
                <a:gd name="connsiteY87" fmla="*/ 543337 h 3633558"/>
                <a:gd name="connsiteX0" fmla="*/ 0 w 1426923"/>
                <a:gd name="connsiteY0" fmla="*/ 542844 h 3633065"/>
                <a:gd name="connsiteX1" fmla="*/ 35939 w 1426923"/>
                <a:gd name="connsiteY1" fmla="*/ 152567 h 3633065"/>
                <a:gd name="connsiteX2" fmla="*/ 177263 w 1426923"/>
                <a:gd name="connsiteY2" fmla="*/ 11 h 3633065"/>
                <a:gd name="connsiteX3" fmla="*/ 304730 w 1426923"/>
                <a:gd name="connsiteY3" fmla="*/ 152568 h 3633065"/>
                <a:gd name="connsiteX4" fmla="*/ 288104 w 1426923"/>
                <a:gd name="connsiteY4" fmla="*/ 193938 h 3633065"/>
                <a:gd name="connsiteX5" fmla="*/ 329670 w 1426923"/>
                <a:gd name="connsiteY5" fmla="*/ 178424 h 3633065"/>
                <a:gd name="connsiteX6" fmla="*/ 443282 w 1426923"/>
                <a:gd name="connsiteY6" fmla="*/ 155154 h 3633065"/>
                <a:gd name="connsiteX7" fmla="*/ 509787 w 1426923"/>
                <a:gd name="connsiteY7" fmla="*/ 157738 h 3633065"/>
                <a:gd name="connsiteX8" fmla="*/ 573521 w 1426923"/>
                <a:gd name="connsiteY8" fmla="*/ 204281 h 3633065"/>
                <a:gd name="connsiteX9" fmla="*/ 587548 w 1426923"/>
                <a:gd name="connsiteY9" fmla="*/ 233837 h 3633065"/>
                <a:gd name="connsiteX10" fmla="*/ 642795 w 1426923"/>
                <a:gd name="connsiteY10" fmla="*/ 268924 h 3633065"/>
                <a:gd name="connsiteX11" fmla="*/ 731469 w 1426923"/>
                <a:gd name="connsiteY11" fmla="*/ 294779 h 3633065"/>
                <a:gd name="connsiteX12" fmla="*/ 803515 w 1426923"/>
                <a:gd name="connsiteY12" fmla="*/ 341322 h 3633065"/>
                <a:gd name="connsiteX13" fmla="*/ 853394 w 1426923"/>
                <a:gd name="connsiteY13" fmla="*/ 393036 h 3633065"/>
                <a:gd name="connsiteX14" fmla="*/ 878333 w 1426923"/>
                <a:gd name="connsiteY14" fmla="*/ 431822 h 3633065"/>
                <a:gd name="connsiteX15" fmla="*/ 911586 w 1426923"/>
                <a:gd name="connsiteY15" fmla="*/ 457678 h 3633065"/>
                <a:gd name="connsiteX16" fmla="*/ 894958 w 1426923"/>
                <a:gd name="connsiteY16" fmla="*/ 682633 h 3633065"/>
                <a:gd name="connsiteX17" fmla="*/ 767492 w 1426923"/>
                <a:gd name="connsiteY17" fmla="*/ 762791 h 3633065"/>
                <a:gd name="connsiteX18" fmla="*/ 653880 w 1426923"/>
                <a:gd name="connsiteY18" fmla="*/ 770547 h 3633065"/>
                <a:gd name="connsiteX19" fmla="*/ 515327 w 1426923"/>
                <a:gd name="connsiteY19" fmla="*/ 749861 h 3633065"/>
                <a:gd name="connsiteX20" fmla="*/ 423883 w 1426923"/>
                <a:gd name="connsiteY20" fmla="*/ 713661 h 3633065"/>
                <a:gd name="connsiteX21" fmla="*/ 404486 w 1426923"/>
                <a:gd name="connsiteY21" fmla="*/ 742104 h 3633065"/>
                <a:gd name="connsiteX22" fmla="*/ 435128 w 1426923"/>
                <a:gd name="connsiteY22" fmla="*/ 815517 h 3633065"/>
                <a:gd name="connsiteX23" fmla="*/ 440669 w 1426923"/>
                <a:gd name="connsiteY23" fmla="*/ 942216 h 3633065"/>
                <a:gd name="connsiteX24" fmla="*/ 412799 w 1426923"/>
                <a:gd name="connsiteY24" fmla="*/ 1003259 h 3633065"/>
                <a:gd name="connsiteX25" fmla="*/ 468218 w 1426923"/>
                <a:gd name="connsiteY25" fmla="*/ 1023944 h 3633065"/>
                <a:gd name="connsiteX26" fmla="*/ 484846 w 1426923"/>
                <a:gd name="connsiteY26" fmla="*/ 1039458 h 3633065"/>
                <a:gd name="connsiteX27" fmla="*/ 509786 w 1426923"/>
                <a:gd name="connsiteY27" fmla="*/ 1065315 h 3633065"/>
                <a:gd name="connsiteX28" fmla="*/ 507015 w 1426923"/>
                <a:gd name="connsiteY28" fmla="*/ 1067901 h 3633065"/>
                <a:gd name="connsiteX29" fmla="*/ 545808 w 1426923"/>
                <a:gd name="connsiteY29" fmla="*/ 1062730 h 3633065"/>
                <a:gd name="connsiteX30" fmla="*/ 554122 w 1426923"/>
                <a:gd name="connsiteY30" fmla="*/ 1026530 h 3633065"/>
                <a:gd name="connsiteX31" fmla="*/ 515327 w 1426923"/>
                <a:gd name="connsiteY31" fmla="*/ 948959 h 3633065"/>
                <a:gd name="connsiteX32" fmla="*/ 584603 w 1426923"/>
                <a:gd name="connsiteY32" fmla="*/ 902416 h 3633065"/>
                <a:gd name="connsiteX33" fmla="*/ 652375 w 1426923"/>
                <a:gd name="connsiteY33" fmla="*/ 910150 h 3633065"/>
                <a:gd name="connsiteX34" fmla="*/ 676208 w 1426923"/>
                <a:gd name="connsiteY34" fmla="*/ 942217 h 3633065"/>
                <a:gd name="connsiteX35" fmla="*/ 831937 w 1426923"/>
                <a:gd name="connsiteY35" fmla="*/ 998580 h 3633065"/>
                <a:gd name="connsiteX36" fmla="*/ 817529 w 1426923"/>
                <a:gd name="connsiteY36" fmla="*/ 962903 h 3633065"/>
                <a:gd name="connsiteX37" fmla="*/ 784277 w 1426923"/>
                <a:gd name="connsiteY37" fmla="*/ 924117 h 3633065"/>
                <a:gd name="connsiteX38" fmla="*/ 773193 w 1426923"/>
                <a:gd name="connsiteY38" fmla="*/ 872403 h 3633065"/>
                <a:gd name="connsiteX39" fmla="*/ 811988 w 1426923"/>
                <a:gd name="connsiteY39" fmla="*/ 823276 h 3633065"/>
                <a:gd name="connsiteX40" fmla="*/ 839698 w 1426923"/>
                <a:gd name="connsiteY40" fmla="*/ 794833 h 3633065"/>
                <a:gd name="connsiteX41" fmla="*/ 864638 w 1426923"/>
                <a:gd name="connsiteY41" fmla="*/ 758633 h 3633065"/>
                <a:gd name="connsiteX42" fmla="*/ 944998 w 1426923"/>
                <a:gd name="connsiteY42" fmla="*/ 753461 h 3633065"/>
                <a:gd name="connsiteX43" fmla="*/ 950539 w 1426923"/>
                <a:gd name="connsiteY43" fmla="*/ 732776 h 3633065"/>
                <a:gd name="connsiteX44" fmla="*/ 975479 w 1426923"/>
                <a:gd name="connsiteY44" fmla="*/ 696576 h 3633065"/>
                <a:gd name="connsiteX45" fmla="*/ 1009283 w 1426923"/>
                <a:gd name="connsiteY45" fmla="*/ 678988 h 3633065"/>
                <a:gd name="connsiteX46" fmla="*/ 1066923 w 1426923"/>
                <a:gd name="connsiteY46" fmla="*/ 691405 h 3633065"/>
                <a:gd name="connsiteX47" fmla="*/ 1105716 w 1426923"/>
                <a:gd name="connsiteY47" fmla="*/ 712091 h 3633065"/>
                <a:gd name="connsiteX48" fmla="*/ 1152824 w 1426923"/>
                <a:gd name="connsiteY48" fmla="*/ 719848 h 3633065"/>
                <a:gd name="connsiteX49" fmla="*/ 1152824 w 1426923"/>
                <a:gd name="connsiteY49" fmla="*/ 725019 h 3633065"/>
                <a:gd name="connsiteX50" fmla="*/ 1174993 w 1426923"/>
                <a:gd name="connsiteY50" fmla="*/ 665548 h 3633065"/>
                <a:gd name="connsiteX51" fmla="*/ 1184968 w 1426923"/>
                <a:gd name="connsiteY51" fmla="*/ 631930 h 3633065"/>
                <a:gd name="connsiteX52" fmla="*/ 1191619 w 1426923"/>
                <a:gd name="connsiteY52" fmla="*/ 613834 h 3633065"/>
                <a:gd name="connsiteX53" fmla="*/ 1194556 w 1426923"/>
                <a:gd name="connsiteY53" fmla="*/ 582504 h 3633065"/>
                <a:gd name="connsiteX54" fmla="*/ 1114030 w 1426923"/>
                <a:gd name="connsiteY54" fmla="*/ 536264 h 3633065"/>
                <a:gd name="connsiteX55" fmla="*/ 1100175 w 1426923"/>
                <a:gd name="connsiteY55" fmla="*/ 463864 h 3633065"/>
                <a:gd name="connsiteX56" fmla="*/ 1100175 w 1426923"/>
                <a:gd name="connsiteY56" fmla="*/ 445764 h 3633065"/>
                <a:gd name="connsiteX57" fmla="*/ 1111258 w 1426923"/>
                <a:gd name="connsiteY57" fmla="*/ 422492 h 3633065"/>
                <a:gd name="connsiteX58" fmla="*/ 1114030 w 1426923"/>
                <a:gd name="connsiteY58" fmla="*/ 406978 h 3633065"/>
                <a:gd name="connsiteX59" fmla="*/ 1114029 w 1426923"/>
                <a:gd name="connsiteY59" fmla="*/ 350094 h 3633065"/>
                <a:gd name="connsiteX60" fmla="*/ 1091861 w 1426923"/>
                <a:gd name="connsiteY60" fmla="*/ 326823 h 3633065"/>
                <a:gd name="connsiteX61" fmla="*/ 1064151 w 1426923"/>
                <a:gd name="connsiteY61" fmla="*/ 295794 h 3633065"/>
                <a:gd name="connsiteX62" fmla="*/ 1059983 w 1426923"/>
                <a:gd name="connsiteY62" fmla="*/ 271541 h 3633065"/>
                <a:gd name="connsiteX63" fmla="*/ 1111259 w 1426923"/>
                <a:gd name="connsiteY63" fmla="*/ 249250 h 3633065"/>
                <a:gd name="connsiteX64" fmla="*/ 1164839 w 1426923"/>
                <a:gd name="connsiteY64" fmla="*/ 259122 h 3633065"/>
                <a:gd name="connsiteX65" fmla="*/ 1243623 w 1426923"/>
                <a:gd name="connsiteY65" fmla="*/ 271032 h 3633065"/>
                <a:gd name="connsiteX66" fmla="*/ 1327946 w 1426923"/>
                <a:gd name="connsiteY66" fmla="*/ 340391 h 3633065"/>
                <a:gd name="connsiteX67" fmla="*/ 1390081 w 1426923"/>
                <a:gd name="connsiteY67" fmla="*/ 416487 h 3633065"/>
                <a:gd name="connsiteX68" fmla="*/ 1289110 w 1426923"/>
                <a:gd name="connsiteY68" fmla="*/ 445481 h 3633065"/>
                <a:gd name="connsiteX69" fmla="*/ 1273576 w 1426923"/>
                <a:gd name="connsiteY69" fmla="*/ 492588 h 3633065"/>
                <a:gd name="connsiteX70" fmla="*/ 1331246 w 1426923"/>
                <a:gd name="connsiteY70" fmla="*/ 577078 h 3633065"/>
                <a:gd name="connsiteX71" fmla="*/ 1366780 w 1426923"/>
                <a:gd name="connsiteY71" fmla="*/ 583180 h 3633065"/>
                <a:gd name="connsiteX72" fmla="*/ 1419400 w 1426923"/>
                <a:gd name="connsiteY72" fmla="*/ 589520 h 3633065"/>
                <a:gd name="connsiteX73" fmla="*/ 1414437 w 1426923"/>
                <a:gd name="connsiteY73" fmla="*/ 700295 h 3633065"/>
                <a:gd name="connsiteX74" fmla="*/ 1425506 w 1426923"/>
                <a:gd name="connsiteY74" fmla="*/ 1031263 h 3633065"/>
                <a:gd name="connsiteX75" fmla="*/ 1416638 w 1426923"/>
                <a:gd name="connsiteY75" fmla="*/ 1833862 h 3633065"/>
                <a:gd name="connsiteX76" fmla="*/ 1425505 w 1426923"/>
                <a:gd name="connsiteY76" fmla="*/ 2288944 h 3633065"/>
                <a:gd name="connsiteX77" fmla="*/ 1399057 w 1426923"/>
                <a:gd name="connsiteY77" fmla="*/ 3598909 h 3633065"/>
                <a:gd name="connsiteX78" fmla="*/ 1140630 w 1426923"/>
                <a:gd name="connsiteY78" fmla="*/ 3555314 h 3633065"/>
                <a:gd name="connsiteX79" fmla="*/ 972152 w 1426923"/>
                <a:gd name="connsiteY79" fmla="*/ 3489119 h 3633065"/>
                <a:gd name="connsiteX80" fmla="*/ 794806 w 1426923"/>
                <a:gd name="connsiteY80" fmla="*/ 3398103 h 3633065"/>
                <a:gd name="connsiteX81" fmla="*/ 696508 w 1426923"/>
                <a:gd name="connsiteY81" fmla="*/ 3317586 h 3633065"/>
                <a:gd name="connsiteX82" fmla="*/ 990770 w 1426923"/>
                <a:gd name="connsiteY82" fmla="*/ 3009950 h 3633065"/>
                <a:gd name="connsiteX83" fmla="*/ 707016 w 1426923"/>
                <a:gd name="connsiteY83" fmla="*/ 2472126 h 3633065"/>
                <a:gd name="connsiteX84" fmla="*/ 849366 w 1426923"/>
                <a:gd name="connsiteY84" fmla="*/ 2233041 h 3633065"/>
                <a:gd name="connsiteX85" fmla="*/ 662679 w 1426923"/>
                <a:gd name="connsiteY85" fmla="*/ 1694350 h 3633065"/>
                <a:gd name="connsiteX86" fmla="*/ 414395 w 1426923"/>
                <a:gd name="connsiteY86" fmla="*/ 1462672 h 3633065"/>
                <a:gd name="connsiteX87" fmla="*/ 405528 w 1426923"/>
                <a:gd name="connsiteY87" fmla="*/ 1346833 h 3633065"/>
                <a:gd name="connsiteX88" fmla="*/ 0 w 1426923"/>
                <a:gd name="connsiteY88" fmla="*/ 542844 h 3633065"/>
                <a:gd name="connsiteX0" fmla="*/ 0 w 1426923"/>
                <a:gd name="connsiteY0" fmla="*/ 546797 h 3637018"/>
                <a:gd name="connsiteX1" fmla="*/ 35939 w 1426923"/>
                <a:gd name="connsiteY1" fmla="*/ 156520 h 3637018"/>
                <a:gd name="connsiteX2" fmla="*/ 177263 w 1426923"/>
                <a:gd name="connsiteY2" fmla="*/ 3964 h 3637018"/>
                <a:gd name="connsiteX3" fmla="*/ 274250 w 1426923"/>
                <a:gd name="connsiteY3" fmla="*/ 53093 h 3637018"/>
                <a:gd name="connsiteX4" fmla="*/ 304730 w 1426923"/>
                <a:gd name="connsiteY4" fmla="*/ 156521 h 3637018"/>
                <a:gd name="connsiteX5" fmla="*/ 288104 w 1426923"/>
                <a:gd name="connsiteY5" fmla="*/ 197891 h 3637018"/>
                <a:gd name="connsiteX6" fmla="*/ 329670 w 1426923"/>
                <a:gd name="connsiteY6" fmla="*/ 182377 h 3637018"/>
                <a:gd name="connsiteX7" fmla="*/ 443282 w 1426923"/>
                <a:gd name="connsiteY7" fmla="*/ 159107 h 3637018"/>
                <a:gd name="connsiteX8" fmla="*/ 509787 w 1426923"/>
                <a:gd name="connsiteY8" fmla="*/ 161691 h 3637018"/>
                <a:gd name="connsiteX9" fmla="*/ 573521 w 1426923"/>
                <a:gd name="connsiteY9" fmla="*/ 208234 h 3637018"/>
                <a:gd name="connsiteX10" fmla="*/ 587548 w 1426923"/>
                <a:gd name="connsiteY10" fmla="*/ 237790 h 3637018"/>
                <a:gd name="connsiteX11" fmla="*/ 642795 w 1426923"/>
                <a:gd name="connsiteY11" fmla="*/ 272877 h 3637018"/>
                <a:gd name="connsiteX12" fmla="*/ 731469 w 1426923"/>
                <a:gd name="connsiteY12" fmla="*/ 298732 h 3637018"/>
                <a:gd name="connsiteX13" fmla="*/ 803515 w 1426923"/>
                <a:gd name="connsiteY13" fmla="*/ 345275 h 3637018"/>
                <a:gd name="connsiteX14" fmla="*/ 853394 w 1426923"/>
                <a:gd name="connsiteY14" fmla="*/ 396989 h 3637018"/>
                <a:gd name="connsiteX15" fmla="*/ 878333 w 1426923"/>
                <a:gd name="connsiteY15" fmla="*/ 435775 h 3637018"/>
                <a:gd name="connsiteX16" fmla="*/ 911586 w 1426923"/>
                <a:gd name="connsiteY16" fmla="*/ 461631 h 3637018"/>
                <a:gd name="connsiteX17" fmla="*/ 894958 w 1426923"/>
                <a:gd name="connsiteY17" fmla="*/ 686586 h 3637018"/>
                <a:gd name="connsiteX18" fmla="*/ 767492 w 1426923"/>
                <a:gd name="connsiteY18" fmla="*/ 766744 h 3637018"/>
                <a:gd name="connsiteX19" fmla="*/ 653880 w 1426923"/>
                <a:gd name="connsiteY19" fmla="*/ 774500 h 3637018"/>
                <a:gd name="connsiteX20" fmla="*/ 515327 w 1426923"/>
                <a:gd name="connsiteY20" fmla="*/ 753814 h 3637018"/>
                <a:gd name="connsiteX21" fmla="*/ 423883 w 1426923"/>
                <a:gd name="connsiteY21" fmla="*/ 717614 h 3637018"/>
                <a:gd name="connsiteX22" fmla="*/ 404486 w 1426923"/>
                <a:gd name="connsiteY22" fmla="*/ 746057 h 3637018"/>
                <a:gd name="connsiteX23" fmla="*/ 435128 w 1426923"/>
                <a:gd name="connsiteY23" fmla="*/ 819470 h 3637018"/>
                <a:gd name="connsiteX24" fmla="*/ 440669 w 1426923"/>
                <a:gd name="connsiteY24" fmla="*/ 946169 h 3637018"/>
                <a:gd name="connsiteX25" fmla="*/ 412799 w 1426923"/>
                <a:gd name="connsiteY25" fmla="*/ 1007212 h 3637018"/>
                <a:gd name="connsiteX26" fmla="*/ 468218 w 1426923"/>
                <a:gd name="connsiteY26" fmla="*/ 1027897 h 3637018"/>
                <a:gd name="connsiteX27" fmla="*/ 484846 w 1426923"/>
                <a:gd name="connsiteY27" fmla="*/ 1043411 h 3637018"/>
                <a:gd name="connsiteX28" fmla="*/ 509786 w 1426923"/>
                <a:gd name="connsiteY28" fmla="*/ 1069268 h 3637018"/>
                <a:gd name="connsiteX29" fmla="*/ 507015 w 1426923"/>
                <a:gd name="connsiteY29" fmla="*/ 1071854 h 3637018"/>
                <a:gd name="connsiteX30" fmla="*/ 545808 w 1426923"/>
                <a:gd name="connsiteY30" fmla="*/ 1066683 h 3637018"/>
                <a:gd name="connsiteX31" fmla="*/ 554122 w 1426923"/>
                <a:gd name="connsiteY31" fmla="*/ 1030483 h 3637018"/>
                <a:gd name="connsiteX32" fmla="*/ 515327 w 1426923"/>
                <a:gd name="connsiteY32" fmla="*/ 952912 h 3637018"/>
                <a:gd name="connsiteX33" fmla="*/ 584603 w 1426923"/>
                <a:gd name="connsiteY33" fmla="*/ 906369 h 3637018"/>
                <a:gd name="connsiteX34" fmla="*/ 652375 w 1426923"/>
                <a:gd name="connsiteY34" fmla="*/ 914103 h 3637018"/>
                <a:gd name="connsiteX35" fmla="*/ 676208 w 1426923"/>
                <a:gd name="connsiteY35" fmla="*/ 946170 h 3637018"/>
                <a:gd name="connsiteX36" fmla="*/ 831937 w 1426923"/>
                <a:gd name="connsiteY36" fmla="*/ 1002533 h 3637018"/>
                <a:gd name="connsiteX37" fmla="*/ 817529 w 1426923"/>
                <a:gd name="connsiteY37" fmla="*/ 966856 h 3637018"/>
                <a:gd name="connsiteX38" fmla="*/ 784277 w 1426923"/>
                <a:gd name="connsiteY38" fmla="*/ 928070 h 3637018"/>
                <a:gd name="connsiteX39" fmla="*/ 773193 w 1426923"/>
                <a:gd name="connsiteY39" fmla="*/ 876356 h 3637018"/>
                <a:gd name="connsiteX40" fmla="*/ 811988 w 1426923"/>
                <a:gd name="connsiteY40" fmla="*/ 827229 h 3637018"/>
                <a:gd name="connsiteX41" fmla="*/ 839698 w 1426923"/>
                <a:gd name="connsiteY41" fmla="*/ 798786 h 3637018"/>
                <a:gd name="connsiteX42" fmla="*/ 864638 w 1426923"/>
                <a:gd name="connsiteY42" fmla="*/ 762586 h 3637018"/>
                <a:gd name="connsiteX43" fmla="*/ 944998 w 1426923"/>
                <a:gd name="connsiteY43" fmla="*/ 757414 h 3637018"/>
                <a:gd name="connsiteX44" fmla="*/ 950539 w 1426923"/>
                <a:gd name="connsiteY44" fmla="*/ 736729 h 3637018"/>
                <a:gd name="connsiteX45" fmla="*/ 975479 w 1426923"/>
                <a:gd name="connsiteY45" fmla="*/ 700529 h 3637018"/>
                <a:gd name="connsiteX46" fmla="*/ 1009283 w 1426923"/>
                <a:gd name="connsiteY46" fmla="*/ 682941 h 3637018"/>
                <a:gd name="connsiteX47" fmla="*/ 1066923 w 1426923"/>
                <a:gd name="connsiteY47" fmla="*/ 695358 h 3637018"/>
                <a:gd name="connsiteX48" fmla="*/ 1105716 w 1426923"/>
                <a:gd name="connsiteY48" fmla="*/ 716044 h 3637018"/>
                <a:gd name="connsiteX49" fmla="*/ 1152824 w 1426923"/>
                <a:gd name="connsiteY49" fmla="*/ 723801 h 3637018"/>
                <a:gd name="connsiteX50" fmla="*/ 1152824 w 1426923"/>
                <a:gd name="connsiteY50" fmla="*/ 728972 h 3637018"/>
                <a:gd name="connsiteX51" fmla="*/ 1174993 w 1426923"/>
                <a:gd name="connsiteY51" fmla="*/ 669501 h 3637018"/>
                <a:gd name="connsiteX52" fmla="*/ 1184968 w 1426923"/>
                <a:gd name="connsiteY52" fmla="*/ 635883 h 3637018"/>
                <a:gd name="connsiteX53" fmla="*/ 1191619 w 1426923"/>
                <a:gd name="connsiteY53" fmla="*/ 617787 h 3637018"/>
                <a:gd name="connsiteX54" fmla="*/ 1194556 w 1426923"/>
                <a:gd name="connsiteY54" fmla="*/ 586457 h 3637018"/>
                <a:gd name="connsiteX55" fmla="*/ 1114030 w 1426923"/>
                <a:gd name="connsiteY55" fmla="*/ 540217 h 3637018"/>
                <a:gd name="connsiteX56" fmla="*/ 1100175 w 1426923"/>
                <a:gd name="connsiteY56" fmla="*/ 467817 h 3637018"/>
                <a:gd name="connsiteX57" fmla="*/ 1100175 w 1426923"/>
                <a:gd name="connsiteY57" fmla="*/ 449717 h 3637018"/>
                <a:gd name="connsiteX58" fmla="*/ 1111258 w 1426923"/>
                <a:gd name="connsiteY58" fmla="*/ 426445 h 3637018"/>
                <a:gd name="connsiteX59" fmla="*/ 1114030 w 1426923"/>
                <a:gd name="connsiteY59" fmla="*/ 410931 h 3637018"/>
                <a:gd name="connsiteX60" fmla="*/ 1114029 w 1426923"/>
                <a:gd name="connsiteY60" fmla="*/ 354047 h 3637018"/>
                <a:gd name="connsiteX61" fmla="*/ 1091861 w 1426923"/>
                <a:gd name="connsiteY61" fmla="*/ 330776 h 3637018"/>
                <a:gd name="connsiteX62" fmla="*/ 1064151 w 1426923"/>
                <a:gd name="connsiteY62" fmla="*/ 299747 h 3637018"/>
                <a:gd name="connsiteX63" fmla="*/ 1059983 w 1426923"/>
                <a:gd name="connsiteY63" fmla="*/ 275494 h 3637018"/>
                <a:gd name="connsiteX64" fmla="*/ 1111259 w 1426923"/>
                <a:gd name="connsiteY64" fmla="*/ 253203 h 3637018"/>
                <a:gd name="connsiteX65" fmla="*/ 1164839 w 1426923"/>
                <a:gd name="connsiteY65" fmla="*/ 263075 h 3637018"/>
                <a:gd name="connsiteX66" fmla="*/ 1243623 w 1426923"/>
                <a:gd name="connsiteY66" fmla="*/ 274985 h 3637018"/>
                <a:gd name="connsiteX67" fmla="*/ 1327946 w 1426923"/>
                <a:gd name="connsiteY67" fmla="*/ 344344 h 3637018"/>
                <a:gd name="connsiteX68" fmla="*/ 1390081 w 1426923"/>
                <a:gd name="connsiteY68" fmla="*/ 420440 h 3637018"/>
                <a:gd name="connsiteX69" fmla="*/ 1289110 w 1426923"/>
                <a:gd name="connsiteY69" fmla="*/ 449434 h 3637018"/>
                <a:gd name="connsiteX70" fmla="*/ 1273576 w 1426923"/>
                <a:gd name="connsiteY70" fmla="*/ 496541 h 3637018"/>
                <a:gd name="connsiteX71" fmla="*/ 1331246 w 1426923"/>
                <a:gd name="connsiteY71" fmla="*/ 581031 h 3637018"/>
                <a:gd name="connsiteX72" fmla="*/ 1366780 w 1426923"/>
                <a:gd name="connsiteY72" fmla="*/ 587133 h 3637018"/>
                <a:gd name="connsiteX73" fmla="*/ 1419400 w 1426923"/>
                <a:gd name="connsiteY73" fmla="*/ 593473 h 3637018"/>
                <a:gd name="connsiteX74" fmla="*/ 1414437 w 1426923"/>
                <a:gd name="connsiteY74" fmla="*/ 704248 h 3637018"/>
                <a:gd name="connsiteX75" fmla="*/ 1425506 w 1426923"/>
                <a:gd name="connsiteY75" fmla="*/ 1035216 h 3637018"/>
                <a:gd name="connsiteX76" fmla="*/ 1416638 w 1426923"/>
                <a:gd name="connsiteY76" fmla="*/ 1837815 h 3637018"/>
                <a:gd name="connsiteX77" fmla="*/ 1425505 w 1426923"/>
                <a:gd name="connsiteY77" fmla="*/ 2292897 h 3637018"/>
                <a:gd name="connsiteX78" fmla="*/ 1399057 w 1426923"/>
                <a:gd name="connsiteY78" fmla="*/ 3602862 h 3637018"/>
                <a:gd name="connsiteX79" fmla="*/ 1140630 w 1426923"/>
                <a:gd name="connsiteY79" fmla="*/ 3559267 h 3637018"/>
                <a:gd name="connsiteX80" fmla="*/ 972152 w 1426923"/>
                <a:gd name="connsiteY80" fmla="*/ 3493072 h 3637018"/>
                <a:gd name="connsiteX81" fmla="*/ 794806 w 1426923"/>
                <a:gd name="connsiteY81" fmla="*/ 3402056 h 3637018"/>
                <a:gd name="connsiteX82" fmla="*/ 696508 w 1426923"/>
                <a:gd name="connsiteY82" fmla="*/ 3321539 h 3637018"/>
                <a:gd name="connsiteX83" fmla="*/ 990770 w 1426923"/>
                <a:gd name="connsiteY83" fmla="*/ 3013903 h 3637018"/>
                <a:gd name="connsiteX84" fmla="*/ 707016 w 1426923"/>
                <a:gd name="connsiteY84" fmla="*/ 2476079 h 3637018"/>
                <a:gd name="connsiteX85" fmla="*/ 849366 w 1426923"/>
                <a:gd name="connsiteY85" fmla="*/ 2236994 h 3637018"/>
                <a:gd name="connsiteX86" fmla="*/ 662679 w 1426923"/>
                <a:gd name="connsiteY86" fmla="*/ 1698303 h 3637018"/>
                <a:gd name="connsiteX87" fmla="*/ 414395 w 1426923"/>
                <a:gd name="connsiteY87" fmla="*/ 1466625 h 3637018"/>
                <a:gd name="connsiteX88" fmla="*/ 405528 w 1426923"/>
                <a:gd name="connsiteY88" fmla="*/ 1350786 h 3637018"/>
                <a:gd name="connsiteX89" fmla="*/ 0 w 1426923"/>
                <a:gd name="connsiteY89" fmla="*/ 546797 h 3637018"/>
                <a:gd name="connsiteX0" fmla="*/ 0 w 1426923"/>
                <a:gd name="connsiteY0" fmla="*/ 551628 h 3641849"/>
                <a:gd name="connsiteX1" fmla="*/ 35939 w 1426923"/>
                <a:gd name="connsiteY1" fmla="*/ 161351 h 3641849"/>
                <a:gd name="connsiteX2" fmla="*/ 157867 w 1426923"/>
                <a:gd name="connsiteY2" fmla="*/ 3624 h 3641849"/>
                <a:gd name="connsiteX3" fmla="*/ 274250 w 1426923"/>
                <a:gd name="connsiteY3" fmla="*/ 57924 h 3641849"/>
                <a:gd name="connsiteX4" fmla="*/ 304730 w 1426923"/>
                <a:gd name="connsiteY4" fmla="*/ 161352 h 3641849"/>
                <a:gd name="connsiteX5" fmla="*/ 288104 w 1426923"/>
                <a:gd name="connsiteY5" fmla="*/ 202722 h 3641849"/>
                <a:gd name="connsiteX6" fmla="*/ 329670 w 1426923"/>
                <a:gd name="connsiteY6" fmla="*/ 187208 h 3641849"/>
                <a:gd name="connsiteX7" fmla="*/ 443282 w 1426923"/>
                <a:gd name="connsiteY7" fmla="*/ 163938 h 3641849"/>
                <a:gd name="connsiteX8" fmla="*/ 509787 w 1426923"/>
                <a:gd name="connsiteY8" fmla="*/ 166522 h 3641849"/>
                <a:gd name="connsiteX9" fmla="*/ 573521 w 1426923"/>
                <a:gd name="connsiteY9" fmla="*/ 213065 h 3641849"/>
                <a:gd name="connsiteX10" fmla="*/ 587548 w 1426923"/>
                <a:gd name="connsiteY10" fmla="*/ 242621 h 3641849"/>
                <a:gd name="connsiteX11" fmla="*/ 642795 w 1426923"/>
                <a:gd name="connsiteY11" fmla="*/ 277708 h 3641849"/>
                <a:gd name="connsiteX12" fmla="*/ 731469 w 1426923"/>
                <a:gd name="connsiteY12" fmla="*/ 303563 h 3641849"/>
                <a:gd name="connsiteX13" fmla="*/ 803515 w 1426923"/>
                <a:gd name="connsiteY13" fmla="*/ 350106 h 3641849"/>
                <a:gd name="connsiteX14" fmla="*/ 853394 w 1426923"/>
                <a:gd name="connsiteY14" fmla="*/ 401820 h 3641849"/>
                <a:gd name="connsiteX15" fmla="*/ 878333 w 1426923"/>
                <a:gd name="connsiteY15" fmla="*/ 440606 h 3641849"/>
                <a:gd name="connsiteX16" fmla="*/ 911586 w 1426923"/>
                <a:gd name="connsiteY16" fmla="*/ 466462 h 3641849"/>
                <a:gd name="connsiteX17" fmla="*/ 894958 w 1426923"/>
                <a:gd name="connsiteY17" fmla="*/ 691417 h 3641849"/>
                <a:gd name="connsiteX18" fmla="*/ 767492 w 1426923"/>
                <a:gd name="connsiteY18" fmla="*/ 771575 h 3641849"/>
                <a:gd name="connsiteX19" fmla="*/ 653880 w 1426923"/>
                <a:gd name="connsiteY19" fmla="*/ 779331 h 3641849"/>
                <a:gd name="connsiteX20" fmla="*/ 515327 w 1426923"/>
                <a:gd name="connsiteY20" fmla="*/ 758645 h 3641849"/>
                <a:gd name="connsiteX21" fmla="*/ 423883 w 1426923"/>
                <a:gd name="connsiteY21" fmla="*/ 722445 h 3641849"/>
                <a:gd name="connsiteX22" fmla="*/ 404486 w 1426923"/>
                <a:gd name="connsiteY22" fmla="*/ 750888 h 3641849"/>
                <a:gd name="connsiteX23" fmla="*/ 435128 w 1426923"/>
                <a:gd name="connsiteY23" fmla="*/ 824301 h 3641849"/>
                <a:gd name="connsiteX24" fmla="*/ 440669 w 1426923"/>
                <a:gd name="connsiteY24" fmla="*/ 951000 h 3641849"/>
                <a:gd name="connsiteX25" fmla="*/ 412799 w 1426923"/>
                <a:gd name="connsiteY25" fmla="*/ 1012043 h 3641849"/>
                <a:gd name="connsiteX26" fmla="*/ 468218 w 1426923"/>
                <a:gd name="connsiteY26" fmla="*/ 1032728 h 3641849"/>
                <a:gd name="connsiteX27" fmla="*/ 484846 w 1426923"/>
                <a:gd name="connsiteY27" fmla="*/ 1048242 h 3641849"/>
                <a:gd name="connsiteX28" fmla="*/ 509786 w 1426923"/>
                <a:gd name="connsiteY28" fmla="*/ 1074099 h 3641849"/>
                <a:gd name="connsiteX29" fmla="*/ 507015 w 1426923"/>
                <a:gd name="connsiteY29" fmla="*/ 1076685 h 3641849"/>
                <a:gd name="connsiteX30" fmla="*/ 545808 w 1426923"/>
                <a:gd name="connsiteY30" fmla="*/ 1071514 h 3641849"/>
                <a:gd name="connsiteX31" fmla="*/ 554122 w 1426923"/>
                <a:gd name="connsiteY31" fmla="*/ 1035314 h 3641849"/>
                <a:gd name="connsiteX32" fmla="*/ 515327 w 1426923"/>
                <a:gd name="connsiteY32" fmla="*/ 957743 h 3641849"/>
                <a:gd name="connsiteX33" fmla="*/ 584603 w 1426923"/>
                <a:gd name="connsiteY33" fmla="*/ 911200 h 3641849"/>
                <a:gd name="connsiteX34" fmla="*/ 652375 w 1426923"/>
                <a:gd name="connsiteY34" fmla="*/ 918934 h 3641849"/>
                <a:gd name="connsiteX35" fmla="*/ 676208 w 1426923"/>
                <a:gd name="connsiteY35" fmla="*/ 951001 h 3641849"/>
                <a:gd name="connsiteX36" fmla="*/ 831937 w 1426923"/>
                <a:gd name="connsiteY36" fmla="*/ 1007364 h 3641849"/>
                <a:gd name="connsiteX37" fmla="*/ 817529 w 1426923"/>
                <a:gd name="connsiteY37" fmla="*/ 971687 h 3641849"/>
                <a:gd name="connsiteX38" fmla="*/ 784277 w 1426923"/>
                <a:gd name="connsiteY38" fmla="*/ 932901 h 3641849"/>
                <a:gd name="connsiteX39" fmla="*/ 773193 w 1426923"/>
                <a:gd name="connsiteY39" fmla="*/ 881187 h 3641849"/>
                <a:gd name="connsiteX40" fmla="*/ 811988 w 1426923"/>
                <a:gd name="connsiteY40" fmla="*/ 832060 h 3641849"/>
                <a:gd name="connsiteX41" fmla="*/ 839698 w 1426923"/>
                <a:gd name="connsiteY41" fmla="*/ 803617 h 3641849"/>
                <a:gd name="connsiteX42" fmla="*/ 864638 w 1426923"/>
                <a:gd name="connsiteY42" fmla="*/ 767417 h 3641849"/>
                <a:gd name="connsiteX43" fmla="*/ 944998 w 1426923"/>
                <a:gd name="connsiteY43" fmla="*/ 762245 h 3641849"/>
                <a:gd name="connsiteX44" fmla="*/ 950539 w 1426923"/>
                <a:gd name="connsiteY44" fmla="*/ 741560 h 3641849"/>
                <a:gd name="connsiteX45" fmla="*/ 975479 w 1426923"/>
                <a:gd name="connsiteY45" fmla="*/ 705360 h 3641849"/>
                <a:gd name="connsiteX46" fmla="*/ 1009283 w 1426923"/>
                <a:gd name="connsiteY46" fmla="*/ 687772 h 3641849"/>
                <a:gd name="connsiteX47" fmla="*/ 1066923 w 1426923"/>
                <a:gd name="connsiteY47" fmla="*/ 700189 h 3641849"/>
                <a:gd name="connsiteX48" fmla="*/ 1105716 w 1426923"/>
                <a:gd name="connsiteY48" fmla="*/ 720875 h 3641849"/>
                <a:gd name="connsiteX49" fmla="*/ 1152824 w 1426923"/>
                <a:gd name="connsiteY49" fmla="*/ 728632 h 3641849"/>
                <a:gd name="connsiteX50" fmla="*/ 1152824 w 1426923"/>
                <a:gd name="connsiteY50" fmla="*/ 733803 h 3641849"/>
                <a:gd name="connsiteX51" fmla="*/ 1174993 w 1426923"/>
                <a:gd name="connsiteY51" fmla="*/ 674332 h 3641849"/>
                <a:gd name="connsiteX52" fmla="*/ 1184968 w 1426923"/>
                <a:gd name="connsiteY52" fmla="*/ 640714 h 3641849"/>
                <a:gd name="connsiteX53" fmla="*/ 1191619 w 1426923"/>
                <a:gd name="connsiteY53" fmla="*/ 622618 h 3641849"/>
                <a:gd name="connsiteX54" fmla="*/ 1194556 w 1426923"/>
                <a:gd name="connsiteY54" fmla="*/ 591288 h 3641849"/>
                <a:gd name="connsiteX55" fmla="*/ 1114030 w 1426923"/>
                <a:gd name="connsiteY55" fmla="*/ 545048 h 3641849"/>
                <a:gd name="connsiteX56" fmla="*/ 1100175 w 1426923"/>
                <a:gd name="connsiteY56" fmla="*/ 472648 h 3641849"/>
                <a:gd name="connsiteX57" fmla="*/ 1100175 w 1426923"/>
                <a:gd name="connsiteY57" fmla="*/ 454548 h 3641849"/>
                <a:gd name="connsiteX58" fmla="*/ 1111258 w 1426923"/>
                <a:gd name="connsiteY58" fmla="*/ 431276 h 3641849"/>
                <a:gd name="connsiteX59" fmla="*/ 1114030 w 1426923"/>
                <a:gd name="connsiteY59" fmla="*/ 415762 h 3641849"/>
                <a:gd name="connsiteX60" fmla="*/ 1114029 w 1426923"/>
                <a:gd name="connsiteY60" fmla="*/ 358878 h 3641849"/>
                <a:gd name="connsiteX61" fmla="*/ 1091861 w 1426923"/>
                <a:gd name="connsiteY61" fmla="*/ 335607 h 3641849"/>
                <a:gd name="connsiteX62" fmla="*/ 1064151 w 1426923"/>
                <a:gd name="connsiteY62" fmla="*/ 304578 h 3641849"/>
                <a:gd name="connsiteX63" fmla="*/ 1059983 w 1426923"/>
                <a:gd name="connsiteY63" fmla="*/ 280325 h 3641849"/>
                <a:gd name="connsiteX64" fmla="*/ 1111259 w 1426923"/>
                <a:gd name="connsiteY64" fmla="*/ 258034 h 3641849"/>
                <a:gd name="connsiteX65" fmla="*/ 1164839 w 1426923"/>
                <a:gd name="connsiteY65" fmla="*/ 267906 h 3641849"/>
                <a:gd name="connsiteX66" fmla="*/ 1243623 w 1426923"/>
                <a:gd name="connsiteY66" fmla="*/ 279816 h 3641849"/>
                <a:gd name="connsiteX67" fmla="*/ 1327946 w 1426923"/>
                <a:gd name="connsiteY67" fmla="*/ 349175 h 3641849"/>
                <a:gd name="connsiteX68" fmla="*/ 1390081 w 1426923"/>
                <a:gd name="connsiteY68" fmla="*/ 425271 h 3641849"/>
                <a:gd name="connsiteX69" fmla="*/ 1289110 w 1426923"/>
                <a:gd name="connsiteY69" fmla="*/ 454265 h 3641849"/>
                <a:gd name="connsiteX70" fmla="*/ 1273576 w 1426923"/>
                <a:gd name="connsiteY70" fmla="*/ 501372 h 3641849"/>
                <a:gd name="connsiteX71" fmla="*/ 1331246 w 1426923"/>
                <a:gd name="connsiteY71" fmla="*/ 585862 h 3641849"/>
                <a:gd name="connsiteX72" fmla="*/ 1366780 w 1426923"/>
                <a:gd name="connsiteY72" fmla="*/ 591964 h 3641849"/>
                <a:gd name="connsiteX73" fmla="*/ 1419400 w 1426923"/>
                <a:gd name="connsiteY73" fmla="*/ 598304 h 3641849"/>
                <a:gd name="connsiteX74" fmla="*/ 1414437 w 1426923"/>
                <a:gd name="connsiteY74" fmla="*/ 709079 h 3641849"/>
                <a:gd name="connsiteX75" fmla="*/ 1425506 w 1426923"/>
                <a:gd name="connsiteY75" fmla="*/ 1040047 h 3641849"/>
                <a:gd name="connsiteX76" fmla="*/ 1416638 w 1426923"/>
                <a:gd name="connsiteY76" fmla="*/ 1842646 h 3641849"/>
                <a:gd name="connsiteX77" fmla="*/ 1425505 w 1426923"/>
                <a:gd name="connsiteY77" fmla="*/ 2297728 h 3641849"/>
                <a:gd name="connsiteX78" fmla="*/ 1399057 w 1426923"/>
                <a:gd name="connsiteY78" fmla="*/ 3607693 h 3641849"/>
                <a:gd name="connsiteX79" fmla="*/ 1140630 w 1426923"/>
                <a:gd name="connsiteY79" fmla="*/ 3564098 h 3641849"/>
                <a:gd name="connsiteX80" fmla="*/ 972152 w 1426923"/>
                <a:gd name="connsiteY80" fmla="*/ 3497903 h 3641849"/>
                <a:gd name="connsiteX81" fmla="*/ 794806 w 1426923"/>
                <a:gd name="connsiteY81" fmla="*/ 3406887 h 3641849"/>
                <a:gd name="connsiteX82" fmla="*/ 696508 w 1426923"/>
                <a:gd name="connsiteY82" fmla="*/ 3326370 h 3641849"/>
                <a:gd name="connsiteX83" fmla="*/ 990770 w 1426923"/>
                <a:gd name="connsiteY83" fmla="*/ 3018734 h 3641849"/>
                <a:gd name="connsiteX84" fmla="*/ 707016 w 1426923"/>
                <a:gd name="connsiteY84" fmla="*/ 2480910 h 3641849"/>
                <a:gd name="connsiteX85" fmla="*/ 849366 w 1426923"/>
                <a:gd name="connsiteY85" fmla="*/ 2241825 h 3641849"/>
                <a:gd name="connsiteX86" fmla="*/ 662679 w 1426923"/>
                <a:gd name="connsiteY86" fmla="*/ 1703134 h 3641849"/>
                <a:gd name="connsiteX87" fmla="*/ 414395 w 1426923"/>
                <a:gd name="connsiteY87" fmla="*/ 1471456 h 3641849"/>
                <a:gd name="connsiteX88" fmla="*/ 405528 w 1426923"/>
                <a:gd name="connsiteY88" fmla="*/ 1355617 h 3641849"/>
                <a:gd name="connsiteX89" fmla="*/ 0 w 1426923"/>
                <a:gd name="connsiteY89" fmla="*/ 551628 h 3641849"/>
                <a:gd name="connsiteX0" fmla="*/ 0 w 1426923"/>
                <a:gd name="connsiteY0" fmla="*/ 551628 h 3641849"/>
                <a:gd name="connsiteX1" fmla="*/ 35939 w 1426923"/>
                <a:gd name="connsiteY1" fmla="*/ 161351 h 3641849"/>
                <a:gd name="connsiteX2" fmla="*/ 113529 w 1426923"/>
                <a:gd name="connsiteY2" fmla="*/ 60509 h 3641849"/>
                <a:gd name="connsiteX3" fmla="*/ 157867 w 1426923"/>
                <a:gd name="connsiteY3" fmla="*/ 3624 h 3641849"/>
                <a:gd name="connsiteX4" fmla="*/ 274250 w 1426923"/>
                <a:gd name="connsiteY4" fmla="*/ 57924 h 3641849"/>
                <a:gd name="connsiteX5" fmla="*/ 304730 w 1426923"/>
                <a:gd name="connsiteY5" fmla="*/ 161352 h 3641849"/>
                <a:gd name="connsiteX6" fmla="*/ 288104 w 1426923"/>
                <a:gd name="connsiteY6" fmla="*/ 202722 h 3641849"/>
                <a:gd name="connsiteX7" fmla="*/ 329670 w 1426923"/>
                <a:gd name="connsiteY7" fmla="*/ 187208 h 3641849"/>
                <a:gd name="connsiteX8" fmla="*/ 443282 w 1426923"/>
                <a:gd name="connsiteY8" fmla="*/ 163938 h 3641849"/>
                <a:gd name="connsiteX9" fmla="*/ 509787 w 1426923"/>
                <a:gd name="connsiteY9" fmla="*/ 166522 h 3641849"/>
                <a:gd name="connsiteX10" fmla="*/ 573521 w 1426923"/>
                <a:gd name="connsiteY10" fmla="*/ 213065 h 3641849"/>
                <a:gd name="connsiteX11" fmla="*/ 587548 w 1426923"/>
                <a:gd name="connsiteY11" fmla="*/ 242621 h 3641849"/>
                <a:gd name="connsiteX12" fmla="*/ 642795 w 1426923"/>
                <a:gd name="connsiteY12" fmla="*/ 277708 h 3641849"/>
                <a:gd name="connsiteX13" fmla="*/ 731469 w 1426923"/>
                <a:gd name="connsiteY13" fmla="*/ 303563 h 3641849"/>
                <a:gd name="connsiteX14" fmla="*/ 803515 w 1426923"/>
                <a:gd name="connsiteY14" fmla="*/ 350106 h 3641849"/>
                <a:gd name="connsiteX15" fmla="*/ 853394 w 1426923"/>
                <a:gd name="connsiteY15" fmla="*/ 401820 h 3641849"/>
                <a:gd name="connsiteX16" fmla="*/ 878333 w 1426923"/>
                <a:gd name="connsiteY16" fmla="*/ 440606 h 3641849"/>
                <a:gd name="connsiteX17" fmla="*/ 911586 w 1426923"/>
                <a:gd name="connsiteY17" fmla="*/ 466462 h 3641849"/>
                <a:gd name="connsiteX18" fmla="*/ 894958 w 1426923"/>
                <a:gd name="connsiteY18" fmla="*/ 691417 h 3641849"/>
                <a:gd name="connsiteX19" fmla="*/ 767492 w 1426923"/>
                <a:gd name="connsiteY19" fmla="*/ 771575 h 3641849"/>
                <a:gd name="connsiteX20" fmla="*/ 653880 w 1426923"/>
                <a:gd name="connsiteY20" fmla="*/ 779331 h 3641849"/>
                <a:gd name="connsiteX21" fmla="*/ 515327 w 1426923"/>
                <a:gd name="connsiteY21" fmla="*/ 758645 h 3641849"/>
                <a:gd name="connsiteX22" fmla="*/ 423883 w 1426923"/>
                <a:gd name="connsiteY22" fmla="*/ 722445 h 3641849"/>
                <a:gd name="connsiteX23" fmla="*/ 404486 w 1426923"/>
                <a:gd name="connsiteY23" fmla="*/ 750888 h 3641849"/>
                <a:gd name="connsiteX24" fmla="*/ 435128 w 1426923"/>
                <a:gd name="connsiteY24" fmla="*/ 824301 h 3641849"/>
                <a:gd name="connsiteX25" fmla="*/ 440669 w 1426923"/>
                <a:gd name="connsiteY25" fmla="*/ 951000 h 3641849"/>
                <a:gd name="connsiteX26" fmla="*/ 412799 w 1426923"/>
                <a:gd name="connsiteY26" fmla="*/ 1012043 h 3641849"/>
                <a:gd name="connsiteX27" fmla="*/ 468218 w 1426923"/>
                <a:gd name="connsiteY27" fmla="*/ 1032728 h 3641849"/>
                <a:gd name="connsiteX28" fmla="*/ 484846 w 1426923"/>
                <a:gd name="connsiteY28" fmla="*/ 1048242 h 3641849"/>
                <a:gd name="connsiteX29" fmla="*/ 509786 w 1426923"/>
                <a:gd name="connsiteY29" fmla="*/ 1074099 h 3641849"/>
                <a:gd name="connsiteX30" fmla="*/ 507015 w 1426923"/>
                <a:gd name="connsiteY30" fmla="*/ 1076685 h 3641849"/>
                <a:gd name="connsiteX31" fmla="*/ 545808 w 1426923"/>
                <a:gd name="connsiteY31" fmla="*/ 1071514 h 3641849"/>
                <a:gd name="connsiteX32" fmla="*/ 554122 w 1426923"/>
                <a:gd name="connsiteY32" fmla="*/ 1035314 h 3641849"/>
                <a:gd name="connsiteX33" fmla="*/ 515327 w 1426923"/>
                <a:gd name="connsiteY33" fmla="*/ 957743 h 3641849"/>
                <a:gd name="connsiteX34" fmla="*/ 584603 w 1426923"/>
                <a:gd name="connsiteY34" fmla="*/ 911200 h 3641849"/>
                <a:gd name="connsiteX35" fmla="*/ 652375 w 1426923"/>
                <a:gd name="connsiteY35" fmla="*/ 918934 h 3641849"/>
                <a:gd name="connsiteX36" fmla="*/ 676208 w 1426923"/>
                <a:gd name="connsiteY36" fmla="*/ 951001 h 3641849"/>
                <a:gd name="connsiteX37" fmla="*/ 831937 w 1426923"/>
                <a:gd name="connsiteY37" fmla="*/ 1007364 h 3641849"/>
                <a:gd name="connsiteX38" fmla="*/ 817529 w 1426923"/>
                <a:gd name="connsiteY38" fmla="*/ 971687 h 3641849"/>
                <a:gd name="connsiteX39" fmla="*/ 784277 w 1426923"/>
                <a:gd name="connsiteY39" fmla="*/ 932901 h 3641849"/>
                <a:gd name="connsiteX40" fmla="*/ 773193 w 1426923"/>
                <a:gd name="connsiteY40" fmla="*/ 881187 h 3641849"/>
                <a:gd name="connsiteX41" fmla="*/ 811988 w 1426923"/>
                <a:gd name="connsiteY41" fmla="*/ 832060 h 3641849"/>
                <a:gd name="connsiteX42" fmla="*/ 839698 w 1426923"/>
                <a:gd name="connsiteY42" fmla="*/ 803617 h 3641849"/>
                <a:gd name="connsiteX43" fmla="*/ 864638 w 1426923"/>
                <a:gd name="connsiteY43" fmla="*/ 767417 h 3641849"/>
                <a:gd name="connsiteX44" fmla="*/ 944998 w 1426923"/>
                <a:gd name="connsiteY44" fmla="*/ 762245 h 3641849"/>
                <a:gd name="connsiteX45" fmla="*/ 950539 w 1426923"/>
                <a:gd name="connsiteY45" fmla="*/ 741560 h 3641849"/>
                <a:gd name="connsiteX46" fmla="*/ 975479 w 1426923"/>
                <a:gd name="connsiteY46" fmla="*/ 705360 h 3641849"/>
                <a:gd name="connsiteX47" fmla="*/ 1009283 w 1426923"/>
                <a:gd name="connsiteY47" fmla="*/ 687772 h 3641849"/>
                <a:gd name="connsiteX48" fmla="*/ 1066923 w 1426923"/>
                <a:gd name="connsiteY48" fmla="*/ 700189 h 3641849"/>
                <a:gd name="connsiteX49" fmla="*/ 1105716 w 1426923"/>
                <a:gd name="connsiteY49" fmla="*/ 720875 h 3641849"/>
                <a:gd name="connsiteX50" fmla="*/ 1152824 w 1426923"/>
                <a:gd name="connsiteY50" fmla="*/ 728632 h 3641849"/>
                <a:gd name="connsiteX51" fmla="*/ 1152824 w 1426923"/>
                <a:gd name="connsiteY51" fmla="*/ 733803 h 3641849"/>
                <a:gd name="connsiteX52" fmla="*/ 1174993 w 1426923"/>
                <a:gd name="connsiteY52" fmla="*/ 674332 h 3641849"/>
                <a:gd name="connsiteX53" fmla="*/ 1184968 w 1426923"/>
                <a:gd name="connsiteY53" fmla="*/ 640714 h 3641849"/>
                <a:gd name="connsiteX54" fmla="*/ 1191619 w 1426923"/>
                <a:gd name="connsiteY54" fmla="*/ 622618 h 3641849"/>
                <a:gd name="connsiteX55" fmla="*/ 1194556 w 1426923"/>
                <a:gd name="connsiteY55" fmla="*/ 591288 h 3641849"/>
                <a:gd name="connsiteX56" fmla="*/ 1114030 w 1426923"/>
                <a:gd name="connsiteY56" fmla="*/ 545048 h 3641849"/>
                <a:gd name="connsiteX57" fmla="*/ 1100175 w 1426923"/>
                <a:gd name="connsiteY57" fmla="*/ 472648 h 3641849"/>
                <a:gd name="connsiteX58" fmla="*/ 1100175 w 1426923"/>
                <a:gd name="connsiteY58" fmla="*/ 454548 h 3641849"/>
                <a:gd name="connsiteX59" fmla="*/ 1111258 w 1426923"/>
                <a:gd name="connsiteY59" fmla="*/ 431276 h 3641849"/>
                <a:gd name="connsiteX60" fmla="*/ 1114030 w 1426923"/>
                <a:gd name="connsiteY60" fmla="*/ 415762 h 3641849"/>
                <a:gd name="connsiteX61" fmla="*/ 1114029 w 1426923"/>
                <a:gd name="connsiteY61" fmla="*/ 358878 h 3641849"/>
                <a:gd name="connsiteX62" fmla="*/ 1091861 w 1426923"/>
                <a:gd name="connsiteY62" fmla="*/ 335607 h 3641849"/>
                <a:gd name="connsiteX63" fmla="*/ 1064151 w 1426923"/>
                <a:gd name="connsiteY63" fmla="*/ 304578 h 3641849"/>
                <a:gd name="connsiteX64" fmla="*/ 1059983 w 1426923"/>
                <a:gd name="connsiteY64" fmla="*/ 280325 h 3641849"/>
                <a:gd name="connsiteX65" fmla="*/ 1111259 w 1426923"/>
                <a:gd name="connsiteY65" fmla="*/ 258034 h 3641849"/>
                <a:gd name="connsiteX66" fmla="*/ 1164839 w 1426923"/>
                <a:gd name="connsiteY66" fmla="*/ 267906 h 3641849"/>
                <a:gd name="connsiteX67" fmla="*/ 1243623 w 1426923"/>
                <a:gd name="connsiteY67" fmla="*/ 279816 h 3641849"/>
                <a:gd name="connsiteX68" fmla="*/ 1327946 w 1426923"/>
                <a:gd name="connsiteY68" fmla="*/ 349175 h 3641849"/>
                <a:gd name="connsiteX69" fmla="*/ 1390081 w 1426923"/>
                <a:gd name="connsiteY69" fmla="*/ 425271 h 3641849"/>
                <a:gd name="connsiteX70" fmla="*/ 1289110 w 1426923"/>
                <a:gd name="connsiteY70" fmla="*/ 454265 h 3641849"/>
                <a:gd name="connsiteX71" fmla="*/ 1273576 w 1426923"/>
                <a:gd name="connsiteY71" fmla="*/ 501372 h 3641849"/>
                <a:gd name="connsiteX72" fmla="*/ 1331246 w 1426923"/>
                <a:gd name="connsiteY72" fmla="*/ 585862 h 3641849"/>
                <a:gd name="connsiteX73" fmla="*/ 1366780 w 1426923"/>
                <a:gd name="connsiteY73" fmla="*/ 591964 h 3641849"/>
                <a:gd name="connsiteX74" fmla="*/ 1419400 w 1426923"/>
                <a:gd name="connsiteY74" fmla="*/ 598304 h 3641849"/>
                <a:gd name="connsiteX75" fmla="*/ 1414437 w 1426923"/>
                <a:gd name="connsiteY75" fmla="*/ 709079 h 3641849"/>
                <a:gd name="connsiteX76" fmla="*/ 1425506 w 1426923"/>
                <a:gd name="connsiteY76" fmla="*/ 1040047 h 3641849"/>
                <a:gd name="connsiteX77" fmla="*/ 1416638 w 1426923"/>
                <a:gd name="connsiteY77" fmla="*/ 1842646 h 3641849"/>
                <a:gd name="connsiteX78" fmla="*/ 1425505 w 1426923"/>
                <a:gd name="connsiteY78" fmla="*/ 2297728 h 3641849"/>
                <a:gd name="connsiteX79" fmla="*/ 1399057 w 1426923"/>
                <a:gd name="connsiteY79" fmla="*/ 3607693 h 3641849"/>
                <a:gd name="connsiteX80" fmla="*/ 1140630 w 1426923"/>
                <a:gd name="connsiteY80" fmla="*/ 3564098 h 3641849"/>
                <a:gd name="connsiteX81" fmla="*/ 972152 w 1426923"/>
                <a:gd name="connsiteY81" fmla="*/ 3497903 h 3641849"/>
                <a:gd name="connsiteX82" fmla="*/ 794806 w 1426923"/>
                <a:gd name="connsiteY82" fmla="*/ 3406887 h 3641849"/>
                <a:gd name="connsiteX83" fmla="*/ 696508 w 1426923"/>
                <a:gd name="connsiteY83" fmla="*/ 3326370 h 3641849"/>
                <a:gd name="connsiteX84" fmla="*/ 990770 w 1426923"/>
                <a:gd name="connsiteY84" fmla="*/ 3018734 h 3641849"/>
                <a:gd name="connsiteX85" fmla="*/ 707016 w 1426923"/>
                <a:gd name="connsiteY85" fmla="*/ 2480910 h 3641849"/>
                <a:gd name="connsiteX86" fmla="*/ 849366 w 1426923"/>
                <a:gd name="connsiteY86" fmla="*/ 2241825 h 3641849"/>
                <a:gd name="connsiteX87" fmla="*/ 662679 w 1426923"/>
                <a:gd name="connsiteY87" fmla="*/ 1703134 h 3641849"/>
                <a:gd name="connsiteX88" fmla="*/ 414395 w 1426923"/>
                <a:gd name="connsiteY88" fmla="*/ 1471456 h 3641849"/>
                <a:gd name="connsiteX89" fmla="*/ 405528 w 1426923"/>
                <a:gd name="connsiteY89" fmla="*/ 1355617 h 3641849"/>
                <a:gd name="connsiteX90" fmla="*/ 0 w 1426923"/>
                <a:gd name="connsiteY90" fmla="*/ 551628 h 3641849"/>
                <a:gd name="connsiteX0" fmla="*/ 0 w 1426923"/>
                <a:gd name="connsiteY0" fmla="*/ 551628 h 3641849"/>
                <a:gd name="connsiteX1" fmla="*/ 35939 w 1426923"/>
                <a:gd name="connsiteY1" fmla="*/ 161351 h 3641849"/>
                <a:gd name="connsiteX2" fmla="*/ 152323 w 1426923"/>
                <a:gd name="connsiteY2" fmla="*/ 86367 h 3641849"/>
                <a:gd name="connsiteX3" fmla="*/ 157867 w 1426923"/>
                <a:gd name="connsiteY3" fmla="*/ 3624 h 3641849"/>
                <a:gd name="connsiteX4" fmla="*/ 274250 w 1426923"/>
                <a:gd name="connsiteY4" fmla="*/ 57924 h 3641849"/>
                <a:gd name="connsiteX5" fmla="*/ 304730 w 1426923"/>
                <a:gd name="connsiteY5" fmla="*/ 161352 h 3641849"/>
                <a:gd name="connsiteX6" fmla="*/ 288104 w 1426923"/>
                <a:gd name="connsiteY6" fmla="*/ 202722 h 3641849"/>
                <a:gd name="connsiteX7" fmla="*/ 329670 w 1426923"/>
                <a:gd name="connsiteY7" fmla="*/ 187208 h 3641849"/>
                <a:gd name="connsiteX8" fmla="*/ 443282 w 1426923"/>
                <a:gd name="connsiteY8" fmla="*/ 163938 h 3641849"/>
                <a:gd name="connsiteX9" fmla="*/ 509787 w 1426923"/>
                <a:gd name="connsiteY9" fmla="*/ 166522 h 3641849"/>
                <a:gd name="connsiteX10" fmla="*/ 573521 w 1426923"/>
                <a:gd name="connsiteY10" fmla="*/ 213065 h 3641849"/>
                <a:gd name="connsiteX11" fmla="*/ 587548 w 1426923"/>
                <a:gd name="connsiteY11" fmla="*/ 242621 h 3641849"/>
                <a:gd name="connsiteX12" fmla="*/ 642795 w 1426923"/>
                <a:gd name="connsiteY12" fmla="*/ 277708 h 3641849"/>
                <a:gd name="connsiteX13" fmla="*/ 731469 w 1426923"/>
                <a:gd name="connsiteY13" fmla="*/ 303563 h 3641849"/>
                <a:gd name="connsiteX14" fmla="*/ 803515 w 1426923"/>
                <a:gd name="connsiteY14" fmla="*/ 350106 h 3641849"/>
                <a:gd name="connsiteX15" fmla="*/ 853394 w 1426923"/>
                <a:gd name="connsiteY15" fmla="*/ 401820 h 3641849"/>
                <a:gd name="connsiteX16" fmla="*/ 878333 w 1426923"/>
                <a:gd name="connsiteY16" fmla="*/ 440606 h 3641849"/>
                <a:gd name="connsiteX17" fmla="*/ 911586 w 1426923"/>
                <a:gd name="connsiteY17" fmla="*/ 466462 h 3641849"/>
                <a:gd name="connsiteX18" fmla="*/ 894958 w 1426923"/>
                <a:gd name="connsiteY18" fmla="*/ 691417 h 3641849"/>
                <a:gd name="connsiteX19" fmla="*/ 767492 w 1426923"/>
                <a:gd name="connsiteY19" fmla="*/ 771575 h 3641849"/>
                <a:gd name="connsiteX20" fmla="*/ 653880 w 1426923"/>
                <a:gd name="connsiteY20" fmla="*/ 779331 h 3641849"/>
                <a:gd name="connsiteX21" fmla="*/ 515327 w 1426923"/>
                <a:gd name="connsiteY21" fmla="*/ 758645 h 3641849"/>
                <a:gd name="connsiteX22" fmla="*/ 423883 w 1426923"/>
                <a:gd name="connsiteY22" fmla="*/ 722445 h 3641849"/>
                <a:gd name="connsiteX23" fmla="*/ 404486 w 1426923"/>
                <a:gd name="connsiteY23" fmla="*/ 750888 h 3641849"/>
                <a:gd name="connsiteX24" fmla="*/ 435128 w 1426923"/>
                <a:gd name="connsiteY24" fmla="*/ 824301 h 3641849"/>
                <a:gd name="connsiteX25" fmla="*/ 440669 w 1426923"/>
                <a:gd name="connsiteY25" fmla="*/ 951000 h 3641849"/>
                <a:gd name="connsiteX26" fmla="*/ 412799 w 1426923"/>
                <a:gd name="connsiteY26" fmla="*/ 1012043 h 3641849"/>
                <a:gd name="connsiteX27" fmla="*/ 468218 w 1426923"/>
                <a:gd name="connsiteY27" fmla="*/ 1032728 h 3641849"/>
                <a:gd name="connsiteX28" fmla="*/ 484846 w 1426923"/>
                <a:gd name="connsiteY28" fmla="*/ 1048242 h 3641849"/>
                <a:gd name="connsiteX29" fmla="*/ 509786 w 1426923"/>
                <a:gd name="connsiteY29" fmla="*/ 1074099 h 3641849"/>
                <a:gd name="connsiteX30" fmla="*/ 507015 w 1426923"/>
                <a:gd name="connsiteY30" fmla="*/ 1076685 h 3641849"/>
                <a:gd name="connsiteX31" fmla="*/ 545808 w 1426923"/>
                <a:gd name="connsiteY31" fmla="*/ 1071514 h 3641849"/>
                <a:gd name="connsiteX32" fmla="*/ 554122 w 1426923"/>
                <a:gd name="connsiteY32" fmla="*/ 1035314 h 3641849"/>
                <a:gd name="connsiteX33" fmla="*/ 515327 w 1426923"/>
                <a:gd name="connsiteY33" fmla="*/ 957743 h 3641849"/>
                <a:gd name="connsiteX34" fmla="*/ 584603 w 1426923"/>
                <a:gd name="connsiteY34" fmla="*/ 911200 h 3641849"/>
                <a:gd name="connsiteX35" fmla="*/ 652375 w 1426923"/>
                <a:gd name="connsiteY35" fmla="*/ 918934 h 3641849"/>
                <a:gd name="connsiteX36" fmla="*/ 676208 w 1426923"/>
                <a:gd name="connsiteY36" fmla="*/ 951001 h 3641849"/>
                <a:gd name="connsiteX37" fmla="*/ 831937 w 1426923"/>
                <a:gd name="connsiteY37" fmla="*/ 1007364 h 3641849"/>
                <a:gd name="connsiteX38" fmla="*/ 817529 w 1426923"/>
                <a:gd name="connsiteY38" fmla="*/ 971687 h 3641849"/>
                <a:gd name="connsiteX39" fmla="*/ 784277 w 1426923"/>
                <a:gd name="connsiteY39" fmla="*/ 932901 h 3641849"/>
                <a:gd name="connsiteX40" fmla="*/ 773193 w 1426923"/>
                <a:gd name="connsiteY40" fmla="*/ 881187 h 3641849"/>
                <a:gd name="connsiteX41" fmla="*/ 811988 w 1426923"/>
                <a:gd name="connsiteY41" fmla="*/ 832060 h 3641849"/>
                <a:gd name="connsiteX42" fmla="*/ 839698 w 1426923"/>
                <a:gd name="connsiteY42" fmla="*/ 803617 h 3641849"/>
                <a:gd name="connsiteX43" fmla="*/ 864638 w 1426923"/>
                <a:gd name="connsiteY43" fmla="*/ 767417 h 3641849"/>
                <a:gd name="connsiteX44" fmla="*/ 944998 w 1426923"/>
                <a:gd name="connsiteY44" fmla="*/ 762245 h 3641849"/>
                <a:gd name="connsiteX45" fmla="*/ 950539 w 1426923"/>
                <a:gd name="connsiteY45" fmla="*/ 741560 h 3641849"/>
                <a:gd name="connsiteX46" fmla="*/ 975479 w 1426923"/>
                <a:gd name="connsiteY46" fmla="*/ 705360 h 3641849"/>
                <a:gd name="connsiteX47" fmla="*/ 1009283 w 1426923"/>
                <a:gd name="connsiteY47" fmla="*/ 687772 h 3641849"/>
                <a:gd name="connsiteX48" fmla="*/ 1066923 w 1426923"/>
                <a:gd name="connsiteY48" fmla="*/ 700189 h 3641849"/>
                <a:gd name="connsiteX49" fmla="*/ 1105716 w 1426923"/>
                <a:gd name="connsiteY49" fmla="*/ 720875 h 3641849"/>
                <a:gd name="connsiteX50" fmla="*/ 1152824 w 1426923"/>
                <a:gd name="connsiteY50" fmla="*/ 728632 h 3641849"/>
                <a:gd name="connsiteX51" fmla="*/ 1152824 w 1426923"/>
                <a:gd name="connsiteY51" fmla="*/ 733803 h 3641849"/>
                <a:gd name="connsiteX52" fmla="*/ 1174993 w 1426923"/>
                <a:gd name="connsiteY52" fmla="*/ 674332 h 3641849"/>
                <a:gd name="connsiteX53" fmla="*/ 1184968 w 1426923"/>
                <a:gd name="connsiteY53" fmla="*/ 640714 h 3641849"/>
                <a:gd name="connsiteX54" fmla="*/ 1191619 w 1426923"/>
                <a:gd name="connsiteY54" fmla="*/ 622618 h 3641849"/>
                <a:gd name="connsiteX55" fmla="*/ 1194556 w 1426923"/>
                <a:gd name="connsiteY55" fmla="*/ 591288 h 3641849"/>
                <a:gd name="connsiteX56" fmla="*/ 1114030 w 1426923"/>
                <a:gd name="connsiteY56" fmla="*/ 545048 h 3641849"/>
                <a:gd name="connsiteX57" fmla="*/ 1100175 w 1426923"/>
                <a:gd name="connsiteY57" fmla="*/ 472648 h 3641849"/>
                <a:gd name="connsiteX58" fmla="*/ 1100175 w 1426923"/>
                <a:gd name="connsiteY58" fmla="*/ 454548 h 3641849"/>
                <a:gd name="connsiteX59" fmla="*/ 1111258 w 1426923"/>
                <a:gd name="connsiteY59" fmla="*/ 431276 h 3641849"/>
                <a:gd name="connsiteX60" fmla="*/ 1114030 w 1426923"/>
                <a:gd name="connsiteY60" fmla="*/ 415762 h 3641849"/>
                <a:gd name="connsiteX61" fmla="*/ 1114029 w 1426923"/>
                <a:gd name="connsiteY61" fmla="*/ 358878 h 3641849"/>
                <a:gd name="connsiteX62" fmla="*/ 1091861 w 1426923"/>
                <a:gd name="connsiteY62" fmla="*/ 335607 h 3641849"/>
                <a:gd name="connsiteX63" fmla="*/ 1064151 w 1426923"/>
                <a:gd name="connsiteY63" fmla="*/ 304578 h 3641849"/>
                <a:gd name="connsiteX64" fmla="*/ 1059983 w 1426923"/>
                <a:gd name="connsiteY64" fmla="*/ 280325 h 3641849"/>
                <a:gd name="connsiteX65" fmla="*/ 1111259 w 1426923"/>
                <a:gd name="connsiteY65" fmla="*/ 258034 h 3641849"/>
                <a:gd name="connsiteX66" fmla="*/ 1164839 w 1426923"/>
                <a:gd name="connsiteY66" fmla="*/ 267906 h 3641849"/>
                <a:gd name="connsiteX67" fmla="*/ 1243623 w 1426923"/>
                <a:gd name="connsiteY67" fmla="*/ 279816 h 3641849"/>
                <a:gd name="connsiteX68" fmla="*/ 1327946 w 1426923"/>
                <a:gd name="connsiteY68" fmla="*/ 349175 h 3641849"/>
                <a:gd name="connsiteX69" fmla="*/ 1390081 w 1426923"/>
                <a:gd name="connsiteY69" fmla="*/ 425271 h 3641849"/>
                <a:gd name="connsiteX70" fmla="*/ 1289110 w 1426923"/>
                <a:gd name="connsiteY70" fmla="*/ 454265 h 3641849"/>
                <a:gd name="connsiteX71" fmla="*/ 1273576 w 1426923"/>
                <a:gd name="connsiteY71" fmla="*/ 501372 h 3641849"/>
                <a:gd name="connsiteX72" fmla="*/ 1331246 w 1426923"/>
                <a:gd name="connsiteY72" fmla="*/ 585862 h 3641849"/>
                <a:gd name="connsiteX73" fmla="*/ 1366780 w 1426923"/>
                <a:gd name="connsiteY73" fmla="*/ 591964 h 3641849"/>
                <a:gd name="connsiteX74" fmla="*/ 1419400 w 1426923"/>
                <a:gd name="connsiteY74" fmla="*/ 598304 h 3641849"/>
                <a:gd name="connsiteX75" fmla="*/ 1414437 w 1426923"/>
                <a:gd name="connsiteY75" fmla="*/ 709079 h 3641849"/>
                <a:gd name="connsiteX76" fmla="*/ 1425506 w 1426923"/>
                <a:gd name="connsiteY76" fmla="*/ 1040047 h 3641849"/>
                <a:gd name="connsiteX77" fmla="*/ 1416638 w 1426923"/>
                <a:gd name="connsiteY77" fmla="*/ 1842646 h 3641849"/>
                <a:gd name="connsiteX78" fmla="*/ 1425505 w 1426923"/>
                <a:gd name="connsiteY78" fmla="*/ 2297728 h 3641849"/>
                <a:gd name="connsiteX79" fmla="*/ 1399057 w 1426923"/>
                <a:gd name="connsiteY79" fmla="*/ 3607693 h 3641849"/>
                <a:gd name="connsiteX80" fmla="*/ 1140630 w 1426923"/>
                <a:gd name="connsiteY80" fmla="*/ 3564098 h 3641849"/>
                <a:gd name="connsiteX81" fmla="*/ 972152 w 1426923"/>
                <a:gd name="connsiteY81" fmla="*/ 3497903 h 3641849"/>
                <a:gd name="connsiteX82" fmla="*/ 794806 w 1426923"/>
                <a:gd name="connsiteY82" fmla="*/ 3406887 h 3641849"/>
                <a:gd name="connsiteX83" fmla="*/ 696508 w 1426923"/>
                <a:gd name="connsiteY83" fmla="*/ 3326370 h 3641849"/>
                <a:gd name="connsiteX84" fmla="*/ 990770 w 1426923"/>
                <a:gd name="connsiteY84" fmla="*/ 3018734 h 3641849"/>
                <a:gd name="connsiteX85" fmla="*/ 707016 w 1426923"/>
                <a:gd name="connsiteY85" fmla="*/ 2480910 h 3641849"/>
                <a:gd name="connsiteX86" fmla="*/ 849366 w 1426923"/>
                <a:gd name="connsiteY86" fmla="*/ 2241825 h 3641849"/>
                <a:gd name="connsiteX87" fmla="*/ 662679 w 1426923"/>
                <a:gd name="connsiteY87" fmla="*/ 1703134 h 3641849"/>
                <a:gd name="connsiteX88" fmla="*/ 414395 w 1426923"/>
                <a:gd name="connsiteY88" fmla="*/ 1471456 h 3641849"/>
                <a:gd name="connsiteX89" fmla="*/ 405528 w 1426923"/>
                <a:gd name="connsiteY89" fmla="*/ 1355617 h 3641849"/>
                <a:gd name="connsiteX90" fmla="*/ 0 w 1426923"/>
                <a:gd name="connsiteY90" fmla="*/ 551628 h 3641849"/>
                <a:gd name="connsiteX0" fmla="*/ 42188 w 1469111"/>
                <a:gd name="connsiteY0" fmla="*/ 551628 h 3641849"/>
                <a:gd name="connsiteX1" fmla="*/ 11624 w 1469111"/>
                <a:gd name="connsiteY1" fmla="*/ 249265 h 3641849"/>
                <a:gd name="connsiteX2" fmla="*/ 78127 w 1469111"/>
                <a:gd name="connsiteY2" fmla="*/ 161351 h 3641849"/>
                <a:gd name="connsiteX3" fmla="*/ 194511 w 1469111"/>
                <a:gd name="connsiteY3" fmla="*/ 86367 h 3641849"/>
                <a:gd name="connsiteX4" fmla="*/ 200055 w 1469111"/>
                <a:gd name="connsiteY4" fmla="*/ 3624 h 3641849"/>
                <a:gd name="connsiteX5" fmla="*/ 316438 w 1469111"/>
                <a:gd name="connsiteY5" fmla="*/ 57924 h 3641849"/>
                <a:gd name="connsiteX6" fmla="*/ 346918 w 1469111"/>
                <a:gd name="connsiteY6" fmla="*/ 161352 h 3641849"/>
                <a:gd name="connsiteX7" fmla="*/ 330292 w 1469111"/>
                <a:gd name="connsiteY7" fmla="*/ 202722 h 3641849"/>
                <a:gd name="connsiteX8" fmla="*/ 371858 w 1469111"/>
                <a:gd name="connsiteY8" fmla="*/ 187208 h 3641849"/>
                <a:gd name="connsiteX9" fmla="*/ 485470 w 1469111"/>
                <a:gd name="connsiteY9" fmla="*/ 163938 h 3641849"/>
                <a:gd name="connsiteX10" fmla="*/ 551975 w 1469111"/>
                <a:gd name="connsiteY10" fmla="*/ 166522 h 3641849"/>
                <a:gd name="connsiteX11" fmla="*/ 615709 w 1469111"/>
                <a:gd name="connsiteY11" fmla="*/ 213065 h 3641849"/>
                <a:gd name="connsiteX12" fmla="*/ 629736 w 1469111"/>
                <a:gd name="connsiteY12" fmla="*/ 242621 h 3641849"/>
                <a:gd name="connsiteX13" fmla="*/ 684983 w 1469111"/>
                <a:gd name="connsiteY13" fmla="*/ 277708 h 3641849"/>
                <a:gd name="connsiteX14" fmla="*/ 773657 w 1469111"/>
                <a:gd name="connsiteY14" fmla="*/ 303563 h 3641849"/>
                <a:gd name="connsiteX15" fmla="*/ 845703 w 1469111"/>
                <a:gd name="connsiteY15" fmla="*/ 350106 h 3641849"/>
                <a:gd name="connsiteX16" fmla="*/ 895582 w 1469111"/>
                <a:gd name="connsiteY16" fmla="*/ 401820 h 3641849"/>
                <a:gd name="connsiteX17" fmla="*/ 920521 w 1469111"/>
                <a:gd name="connsiteY17" fmla="*/ 440606 h 3641849"/>
                <a:gd name="connsiteX18" fmla="*/ 953774 w 1469111"/>
                <a:gd name="connsiteY18" fmla="*/ 466462 h 3641849"/>
                <a:gd name="connsiteX19" fmla="*/ 937146 w 1469111"/>
                <a:gd name="connsiteY19" fmla="*/ 691417 h 3641849"/>
                <a:gd name="connsiteX20" fmla="*/ 809680 w 1469111"/>
                <a:gd name="connsiteY20" fmla="*/ 771575 h 3641849"/>
                <a:gd name="connsiteX21" fmla="*/ 696068 w 1469111"/>
                <a:gd name="connsiteY21" fmla="*/ 779331 h 3641849"/>
                <a:gd name="connsiteX22" fmla="*/ 557515 w 1469111"/>
                <a:gd name="connsiteY22" fmla="*/ 758645 h 3641849"/>
                <a:gd name="connsiteX23" fmla="*/ 466071 w 1469111"/>
                <a:gd name="connsiteY23" fmla="*/ 722445 h 3641849"/>
                <a:gd name="connsiteX24" fmla="*/ 446674 w 1469111"/>
                <a:gd name="connsiteY24" fmla="*/ 750888 h 3641849"/>
                <a:gd name="connsiteX25" fmla="*/ 477316 w 1469111"/>
                <a:gd name="connsiteY25" fmla="*/ 824301 h 3641849"/>
                <a:gd name="connsiteX26" fmla="*/ 482857 w 1469111"/>
                <a:gd name="connsiteY26" fmla="*/ 951000 h 3641849"/>
                <a:gd name="connsiteX27" fmla="*/ 454987 w 1469111"/>
                <a:gd name="connsiteY27" fmla="*/ 1012043 h 3641849"/>
                <a:gd name="connsiteX28" fmla="*/ 510406 w 1469111"/>
                <a:gd name="connsiteY28" fmla="*/ 1032728 h 3641849"/>
                <a:gd name="connsiteX29" fmla="*/ 527034 w 1469111"/>
                <a:gd name="connsiteY29" fmla="*/ 1048242 h 3641849"/>
                <a:gd name="connsiteX30" fmla="*/ 551974 w 1469111"/>
                <a:gd name="connsiteY30" fmla="*/ 1074099 h 3641849"/>
                <a:gd name="connsiteX31" fmla="*/ 549203 w 1469111"/>
                <a:gd name="connsiteY31" fmla="*/ 1076685 h 3641849"/>
                <a:gd name="connsiteX32" fmla="*/ 587996 w 1469111"/>
                <a:gd name="connsiteY32" fmla="*/ 1071514 h 3641849"/>
                <a:gd name="connsiteX33" fmla="*/ 596310 w 1469111"/>
                <a:gd name="connsiteY33" fmla="*/ 1035314 h 3641849"/>
                <a:gd name="connsiteX34" fmla="*/ 557515 w 1469111"/>
                <a:gd name="connsiteY34" fmla="*/ 957743 h 3641849"/>
                <a:gd name="connsiteX35" fmla="*/ 626791 w 1469111"/>
                <a:gd name="connsiteY35" fmla="*/ 911200 h 3641849"/>
                <a:gd name="connsiteX36" fmla="*/ 694563 w 1469111"/>
                <a:gd name="connsiteY36" fmla="*/ 918934 h 3641849"/>
                <a:gd name="connsiteX37" fmla="*/ 718396 w 1469111"/>
                <a:gd name="connsiteY37" fmla="*/ 951001 h 3641849"/>
                <a:gd name="connsiteX38" fmla="*/ 874125 w 1469111"/>
                <a:gd name="connsiteY38" fmla="*/ 1007364 h 3641849"/>
                <a:gd name="connsiteX39" fmla="*/ 859717 w 1469111"/>
                <a:gd name="connsiteY39" fmla="*/ 971687 h 3641849"/>
                <a:gd name="connsiteX40" fmla="*/ 826465 w 1469111"/>
                <a:gd name="connsiteY40" fmla="*/ 932901 h 3641849"/>
                <a:gd name="connsiteX41" fmla="*/ 815381 w 1469111"/>
                <a:gd name="connsiteY41" fmla="*/ 881187 h 3641849"/>
                <a:gd name="connsiteX42" fmla="*/ 854176 w 1469111"/>
                <a:gd name="connsiteY42" fmla="*/ 832060 h 3641849"/>
                <a:gd name="connsiteX43" fmla="*/ 881886 w 1469111"/>
                <a:gd name="connsiteY43" fmla="*/ 803617 h 3641849"/>
                <a:gd name="connsiteX44" fmla="*/ 906826 w 1469111"/>
                <a:gd name="connsiteY44" fmla="*/ 767417 h 3641849"/>
                <a:gd name="connsiteX45" fmla="*/ 987186 w 1469111"/>
                <a:gd name="connsiteY45" fmla="*/ 762245 h 3641849"/>
                <a:gd name="connsiteX46" fmla="*/ 992727 w 1469111"/>
                <a:gd name="connsiteY46" fmla="*/ 741560 h 3641849"/>
                <a:gd name="connsiteX47" fmla="*/ 1017667 w 1469111"/>
                <a:gd name="connsiteY47" fmla="*/ 705360 h 3641849"/>
                <a:gd name="connsiteX48" fmla="*/ 1051471 w 1469111"/>
                <a:gd name="connsiteY48" fmla="*/ 687772 h 3641849"/>
                <a:gd name="connsiteX49" fmla="*/ 1109111 w 1469111"/>
                <a:gd name="connsiteY49" fmla="*/ 700189 h 3641849"/>
                <a:gd name="connsiteX50" fmla="*/ 1147904 w 1469111"/>
                <a:gd name="connsiteY50" fmla="*/ 720875 h 3641849"/>
                <a:gd name="connsiteX51" fmla="*/ 1195012 w 1469111"/>
                <a:gd name="connsiteY51" fmla="*/ 728632 h 3641849"/>
                <a:gd name="connsiteX52" fmla="*/ 1195012 w 1469111"/>
                <a:gd name="connsiteY52" fmla="*/ 733803 h 3641849"/>
                <a:gd name="connsiteX53" fmla="*/ 1217181 w 1469111"/>
                <a:gd name="connsiteY53" fmla="*/ 674332 h 3641849"/>
                <a:gd name="connsiteX54" fmla="*/ 1227156 w 1469111"/>
                <a:gd name="connsiteY54" fmla="*/ 640714 h 3641849"/>
                <a:gd name="connsiteX55" fmla="*/ 1233807 w 1469111"/>
                <a:gd name="connsiteY55" fmla="*/ 622618 h 3641849"/>
                <a:gd name="connsiteX56" fmla="*/ 1236744 w 1469111"/>
                <a:gd name="connsiteY56" fmla="*/ 591288 h 3641849"/>
                <a:gd name="connsiteX57" fmla="*/ 1156218 w 1469111"/>
                <a:gd name="connsiteY57" fmla="*/ 545048 h 3641849"/>
                <a:gd name="connsiteX58" fmla="*/ 1142363 w 1469111"/>
                <a:gd name="connsiteY58" fmla="*/ 472648 h 3641849"/>
                <a:gd name="connsiteX59" fmla="*/ 1142363 w 1469111"/>
                <a:gd name="connsiteY59" fmla="*/ 454548 h 3641849"/>
                <a:gd name="connsiteX60" fmla="*/ 1153446 w 1469111"/>
                <a:gd name="connsiteY60" fmla="*/ 431276 h 3641849"/>
                <a:gd name="connsiteX61" fmla="*/ 1156218 w 1469111"/>
                <a:gd name="connsiteY61" fmla="*/ 415762 h 3641849"/>
                <a:gd name="connsiteX62" fmla="*/ 1156217 w 1469111"/>
                <a:gd name="connsiteY62" fmla="*/ 358878 h 3641849"/>
                <a:gd name="connsiteX63" fmla="*/ 1134049 w 1469111"/>
                <a:gd name="connsiteY63" fmla="*/ 335607 h 3641849"/>
                <a:gd name="connsiteX64" fmla="*/ 1106339 w 1469111"/>
                <a:gd name="connsiteY64" fmla="*/ 304578 h 3641849"/>
                <a:gd name="connsiteX65" fmla="*/ 1102171 w 1469111"/>
                <a:gd name="connsiteY65" fmla="*/ 280325 h 3641849"/>
                <a:gd name="connsiteX66" fmla="*/ 1153447 w 1469111"/>
                <a:gd name="connsiteY66" fmla="*/ 258034 h 3641849"/>
                <a:gd name="connsiteX67" fmla="*/ 1207027 w 1469111"/>
                <a:gd name="connsiteY67" fmla="*/ 267906 h 3641849"/>
                <a:gd name="connsiteX68" fmla="*/ 1285811 w 1469111"/>
                <a:gd name="connsiteY68" fmla="*/ 279816 h 3641849"/>
                <a:gd name="connsiteX69" fmla="*/ 1370134 w 1469111"/>
                <a:gd name="connsiteY69" fmla="*/ 349175 h 3641849"/>
                <a:gd name="connsiteX70" fmla="*/ 1432269 w 1469111"/>
                <a:gd name="connsiteY70" fmla="*/ 425271 h 3641849"/>
                <a:gd name="connsiteX71" fmla="*/ 1331298 w 1469111"/>
                <a:gd name="connsiteY71" fmla="*/ 454265 h 3641849"/>
                <a:gd name="connsiteX72" fmla="*/ 1315764 w 1469111"/>
                <a:gd name="connsiteY72" fmla="*/ 501372 h 3641849"/>
                <a:gd name="connsiteX73" fmla="*/ 1373434 w 1469111"/>
                <a:gd name="connsiteY73" fmla="*/ 585862 h 3641849"/>
                <a:gd name="connsiteX74" fmla="*/ 1408968 w 1469111"/>
                <a:gd name="connsiteY74" fmla="*/ 591964 h 3641849"/>
                <a:gd name="connsiteX75" fmla="*/ 1461588 w 1469111"/>
                <a:gd name="connsiteY75" fmla="*/ 598304 h 3641849"/>
                <a:gd name="connsiteX76" fmla="*/ 1456625 w 1469111"/>
                <a:gd name="connsiteY76" fmla="*/ 709079 h 3641849"/>
                <a:gd name="connsiteX77" fmla="*/ 1467694 w 1469111"/>
                <a:gd name="connsiteY77" fmla="*/ 1040047 h 3641849"/>
                <a:gd name="connsiteX78" fmla="*/ 1458826 w 1469111"/>
                <a:gd name="connsiteY78" fmla="*/ 1842646 h 3641849"/>
                <a:gd name="connsiteX79" fmla="*/ 1467693 w 1469111"/>
                <a:gd name="connsiteY79" fmla="*/ 2297728 h 3641849"/>
                <a:gd name="connsiteX80" fmla="*/ 1441245 w 1469111"/>
                <a:gd name="connsiteY80" fmla="*/ 3607693 h 3641849"/>
                <a:gd name="connsiteX81" fmla="*/ 1182818 w 1469111"/>
                <a:gd name="connsiteY81" fmla="*/ 3564098 h 3641849"/>
                <a:gd name="connsiteX82" fmla="*/ 1014340 w 1469111"/>
                <a:gd name="connsiteY82" fmla="*/ 3497903 h 3641849"/>
                <a:gd name="connsiteX83" fmla="*/ 836994 w 1469111"/>
                <a:gd name="connsiteY83" fmla="*/ 3406887 h 3641849"/>
                <a:gd name="connsiteX84" fmla="*/ 738696 w 1469111"/>
                <a:gd name="connsiteY84" fmla="*/ 3326370 h 3641849"/>
                <a:gd name="connsiteX85" fmla="*/ 1032958 w 1469111"/>
                <a:gd name="connsiteY85" fmla="*/ 3018734 h 3641849"/>
                <a:gd name="connsiteX86" fmla="*/ 749204 w 1469111"/>
                <a:gd name="connsiteY86" fmla="*/ 2480910 h 3641849"/>
                <a:gd name="connsiteX87" fmla="*/ 891554 w 1469111"/>
                <a:gd name="connsiteY87" fmla="*/ 2241825 h 3641849"/>
                <a:gd name="connsiteX88" fmla="*/ 704867 w 1469111"/>
                <a:gd name="connsiteY88" fmla="*/ 1703134 h 3641849"/>
                <a:gd name="connsiteX89" fmla="*/ 456583 w 1469111"/>
                <a:gd name="connsiteY89" fmla="*/ 1471456 h 3641849"/>
                <a:gd name="connsiteX90" fmla="*/ 447716 w 1469111"/>
                <a:gd name="connsiteY90" fmla="*/ 1355617 h 3641849"/>
                <a:gd name="connsiteX91" fmla="*/ 42188 w 1469111"/>
                <a:gd name="connsiteY91" fmla="*/ 551628 h 3641849"/>
                <a:gd name="connsiteX0" fmla="*/ 42188 w 1469111"/>
                <a:gd name="connsiteY0" fmla="*/ 551628 h 3641849"/>
                <a:gd name="connsiteX1" fmla="*/ 11624 w 1469111"/>
                <a:gd name="connsiteY1" fmla="*/ 249265 h 3641849"/>
                <a:gd name="connsiteX2" fmla="*/ 78127 w 1469111"/>
                <a:gd name="connsiteY2" fmla="*/ 161351 h 3641849"/>
                <a:gd name="connsiteX3" fmla="*/ 194511 w 1469111"/>
                <a:gd name="connsiteY3" fmla="*/ 86367 h 3641849"/>
                <a:gd name="connsiteX4" fmla="*/ 200055 w 1469111"/>
                <a:gd name="connsiteY4" fmla="*/ 3624 h 3641849"/>
                <a:gd name="connsiteX5" fmla="*/ 316438 w 1469111"/>
                <a:gd name="connsiteY5" fmla="*/ 57924 h 3641849"/>
                <a:gd name="connsiteX6" fmla="*/ 346918 w 1469111"/>
                <a:gd name="connsiteY6" fmla="*/ 161352 h 3641849"/>
                <a:gd name="connsiteX7" fmla="*/ 330292 w 1469111"/>
                <a:gd name="connsiteY7" fmla="*/ 202722 h 3641849"/>
                <a:gd name="connsiteX8" fmla="*/ 371858 w 1469111"/>
                <a:gd name="connsiteY8" fmla="*/ 187208 h 3641849"/>
                <a:gd name="connsiteX9" fmla="*/ 485470 w 1469111"/>
                <a:gd name="connsiteY9" fmla="*/ 156181 h 3641849"/>
                <a:gd name="connsiteX10" fmla="*/ 551975 w 1469111"/>
                <a:gd name="connsiteY10" fmla="*/ 166522 h 3641849"/>
                <a:gd name="connsiteX11" fmla="*/ 615709 w 1469111"/>
                <a:gd name="connsiteY11" fmla="*/ 213065 h 3641849"/>
                <a:gd name="connsiteX12" fmla="*/ 629736 w 1469111"/>
                <a:gd name="connsiteY12" fmla="*/ 242621 h 3641849"/>
                <a:gd name="connsiteX13" fmla="*/ 684983 w 1469111"/>
                <a:gd name="connsiteY13" fmla="*/ 277708 h 3641849"/>
                <a:gd name="connsiteX14" fmla="*/ 773657 w 1469111"/>
                <a:gd name="connsiteY14" fmla="*/ 303563 h 3641849"/>
                <a:gd name="connsiteX15" fmla="*/ 845703 w 1469111"/>
                <a:gd name="connsiteY15" fmla="*/ 350106 h 3641849"/>
                <a:gd name="connsiteX16" fmla="*/ 895582 w 1469111"/>
                <a:gd name="connsiteY16" fmla="*/ 401820 h 3641849"/>
                <a:gd name="connsiteX17" fmla="*/ 920521 w 1469111"/>
                <a:gd name="connsiteY17" fmla="*/ 440606 h 3641849"/>
                <a:gd name="connsiteX18" fmla="*/ 953774 w 1469111"/>
                <a:gd name="connsiteY18" fmla="*/ 466462 h 3641849"/>
                <a:gd name="connsiteX19" fmla="*/ 937146 w 1469111"/>
                <a:gd name="connsiteY19" fmla="*/ 691417 h 3641849"/>
                <a:gd name="connsiteX20" fmla="*/ 809680 w 1469111"/>
                <a:gd name="connsiteY20" fmla="*/ 771575 h 3641849"/>
                <a:gd name="connsiteX21" fmla="*/ 696068 w 1469111"/>
                <a:gd name="connsiteY21" fmla="*/ 779331 h 3641849"/>
                <a:gd name="connsiteX22" fmla="*/ 557515 w 1469111"/>
                <a:gd name="connsiteY22" fmla="*/ 758645 h 3641849"/>
                <a:gd name="connsiteX23" fmla="*/ 466071 w 1469111"/>
                <a:gd name="connsiteY23" fmla="*/ 722445 h 3641849"/>
                <a:gd name="connsiteX24" fmla="*/ 446674 w 1469111"/>
                <a:gd name="connsiteY24" fmla="*/ 750888 h 3641849"/>
                <a:gd name="connsiteX25" fmla="*/ 477316 w 1469111"/>
                <a:gd name="connsiteY25" fmla="*/ 824301 h 3641849"/>
                <a:gd name="connsiteX26" fmla="*/ 482857 w 1469111"/>
                <a:gd name="connsiteY26" fmla="*/ 951000 h 3641849"/>
                <a:gd name="connsiteX27" fmla="*/ 454987 w 1469111"/>
                <a:gd name="connsiteY27" fmla="*/ 1012043 h 3641849"/>
                <a:gd name="connsiteX28" fmla="*/ 510406 w 1469111"/>
                <a:gd name="connsiteY28" fmla="*/ 1032728 h 3641849"/>
                <a:gd name="connsiteX29" fmla="*/ 527034 w 1469111"/>
                <a:gd name="connsiteY29" fmla="*/ 1048242 h 3641849"/>
                <a:gd name="connsiteX30" fmla="*/ 551974 w 1469111"/>
                <a:gd name="connsiteY30" fmla="*/ 1074099 h 3641849"/>
                <a:gd name="connsiteX31" fmla="*/ 549203 w 1469111"/>
                <a:gd name="connsiteY31" fmla="*/ 1076685 h 3641849"/>
                <a:gd name="connsiteX32" fmla="*/ 587996 w 1469111"/>
                <a:gd name="connsiteY32" fmla="*/ 1071514 h 3641849"/>
                <a:gd name="connsiteX33" fmla="*/ 596310 w 1469111"/>
                <a:gd name="connsiteY33" fmla="*/ 1035314 h 3641849"/>
                <a:gd name="connsiteX34" fmla="*/ 557515 w 1469111"/>
                <a:gd name="connsiteY34" fmla="*/ 957743 h 3641849"/>
                <a:gd name="connsiteX35" fmla="*/ 626791 w 1469111"/>
                <a:gd name="connsiteY35" fmla="*/ 911200 h 3641849"/>
                <a:gd name="connsiteX36" fmla="*/ 694563 w 1469111"/>
                <a:gd name="connsiteY36" fmla="*/ 918934 h 3641849"/>
                <a:gd name="connsiteX37" fmla="*/ 718396 w 1469111"/>
                <a:gd name="connsiteY37" fmla="*/ 951001 h 3641849"/>
                <a:gd name="connsiteX38" fmla="*/ 874125 w 1469111"/>
                <a:gd name="connsiteY38" fmla="*/ 1007364 h 3641849"/>
                <a:gd name="connsiteX39" fmla="*/ 859717 w 1469111"/>
                <a:gd name="connsiteY39" fmla="*/ 971687 h 3641849"/>
                <a:gd name="connsiteX40" fmla="*/ 826465 w 1469111"/>
                <a:gd name="connsiteY40" fmla="*/ 932901 h 3641849"/>
                <a:gd name="connsiteX41" fmla="*/ 815381 w 1469111"/>
                <a:gd name="connsiteY41" fmla="*/ 881187 h 3641849"/>
                <a:gd name="connsiteX42" fmla="*/ 854176 w 1469111"/>
                <a:gd name="connsiteY42" fmla="*/ 832060 h 3641849"/>
                <a:gd name="connsiteX43" fmla="*/ 881886 w 1469111"/>
                <a:gd name="connsiteY43" fmla="*/ 803617 h 3641849"/>
                <a:gd name="connsiteX44" fmla="*/ 906826 w 1469111"/>
                <a:gd name="connsiteY44" fmla="*/ 767417 h 3641849"/>
                <a:gd name="connsiteX45" fmla="*/ 987186 w 1469111"/>
                <a:gd name="connsiteY45" fmla="*/ 762245 h 3641849"/>
                <a:gd name="connsiteX46" fmla="*/ 992727 w 1469111"/>
                <a:gd name="connsiteY46" fmla="*/ 741560 h 3641849"/>
                <a:gd name="connsiteX47" fmla="*/ 1017667 w 1469111"/>
                <a:gd name="connsiteY47" fmla="*/ 705360 h 3641849"/>
                <a:gd name="connsiteX48" fmla="*/ 1051471 w 1469111"/>
                <a:gd name="connsiteY48" fmla="*/ 687772 h 3641849"/>
                <a:gd name="connsiteX49" fmla="*/ 1109111 w 1469111"/>
                <a:gd name="connsiteY49" fmla="*/ 700189 h 3641849"/>
                <a:gd name="connsiteX50" fmla="*/ 1147904 w 1469111"/>
                <a:gd name="connsiteY50" fmla="*/ 720875 h 3641849"/>
                <a:gd name="connsiteX51" fmla="*/ 1195012 w 1469111"/>
                <a:gd name="connsiteY51" fmla="*/ 728632 h 3641849"/>
                <a:gd name="connsiteX52" fmla="*/ 1195012 w 1469111"/>
                <a:gd name="connsiteY52" fmla="*/ 733803 h 3641849"/>
                <a:gd name="connsiteX53" fmla="*/ 1217181 w 1469111"/>
                <a:gd name="connsiteY53" fmla="*/ 674332 h 3641849"/>
                <a:gd name="connsiteX54" fmla="*/ 1227156 w 1469111"/>
                <a:gd name="connsiteY54" fmla="*/ 640714 h 3641849"/>
                <a:gd name="connsiteX55" fmla="*/ 1233807 w 1469111"/>
                <a:gd name="connsiteY55" fmla="*/ 622618 h 3641849"/>
                <a:gd name="connsiteX56" fmla="*/ 1236744 w 1469111"/>
                <a:gd name="connsiteY56" fmla="*/ 591288 h 3641849"/>
                <a:gd name="connsiteX57" fmla="*/ 1156218 w 1469111"/>
                <a:gd name="connsiteY57" fmla="*/ 545048 h 3641849"/>
                <a:gd name="connsiteX58" fmla="*/ 1142363 w 1469111"/>
                <a:gd name="connsiteY58" fmla="*/ 472648 h 3641849"/>
                <a:gd name="connsiteX59" fmla="*/ 1142363 w 1469111"/>
                <a:gd name="connsiteY59" fmla="*/ 454548 h 3641849"/>
                <a:gd name="connsiteX60" fmla="*/ 1153446 w 1469111"/>
                <a:gd name="connsiteY60" fmla="*/ 431276 h 3641849"/>
                <a:gd name="connsiteX61" fmla="*/ 1156218 w 1469111"/>
                <a:gd name="connsiteY61" fmla="*/ 415762 h 3641849"/>
                <a:gd name="connsiteX62" fmla="*/ 1156217 w 1469111"/>
                <a:gd name="connsiteY62" fmla="*/ 358878 h 3641849"/>
                <a:gd name="connsiteX63" fmla="*/ 1134049 w 1469111"/>
                <a:gd name="connsiteY63" fmla="*/ 335607 h 3641849"/>
                <a:gd name="connsiteX64" fmla="*/ 1106339 w 1469111"/>
                <a:gd name="connsiteY64" fmla="*/ 304578 h 3641849"/>
                <a:gd name="connsiteX65" fmla="*/ 1102171 w 1469111"/>
                <a:gd name="connsiteY65" fmla="*/ 280325 h 3641849"/>
                <a:gd name="connsiteX66" fmla="*/ 1153447 w 1469111"/>
                <a:gd name="connsiteY66" fmla="*/ 258034 h 3641849"/>
                <a:gd name="connsiteX67" fmla="*/ 1207027 w 1469111"/>
                <a:gd name="connsiteY67" fmla="*/ 267906 h 3641849"/>
                <a:gd name="connsiteX68" fmla="*/ 1285811 w 1469111"/>
                <a:gd name="connsiteY68" fmla="*/ 279816 h 3641849"/>
                <a:gd name="connsiteX69" fmla="*/ 1370134 w 1469111"/>
                <a:gd name="connsiteY69" fmla="*/ 349175 h 3641849"/>
                <a:gd name="connsiteX70" fmla="*/ 1432269 w 1469111"/>
                <a:gd name="connsiteY70" fmla="*/ 425271 h 3641849"/>
                <a:gd name="connsiteX71" fmla="*/ 1331298 w 1469111"/>
                <a:gd name="connsiteY71" fmla="*/ 454265 h 3641849"/>
                <a:gd name="connsiteX72" fmla="*/ 1315764 w 1469111"/>
                <a:gd name="connsiteY72" fmla="*/ 501372 h 3641849"/>
                <a:gd name="connsiteX73" fmla="*/ 1373434 w 1469111"/>
                <a:gd name="connsiteY73" fmla="*/ 585862 h 3641849"/>
                <a:gd name="connsiteX74" fmla="*/ 1408968 w 1469111"/>
                <a:gd name="connsiteY74" fmla="*/ 591964 h 3641849"/>
                <a:gd name="connsiteX75" fmla="*/ 1461588 w 1469111"/>
                <a:gd name="connsiteY75" fmla="*/ 598304 h 3641849"/>
                <a:gd name="connsiteX76" fmla="*/ 1456625 w 1469111"/>
                <a:gd name="connsiteY76" fmla="*/ 709079 h 3641849"/>
                <a:gd name="connsiteX77" fmla="*/ 1467694 w 1469111"/>
                <a:gd name="connsiteY77" fmla="*/ 1040047 h 3641849"/>
                <a:gd name="connsiteX78" fmla="*/ 1458826 w 1469111"/>
                <a:gd name="connsiteY78" fmla="*/ 1842646 h 3641849"/>
                <a:gd name="connsiteX79" fmla="*/ 1467693 w 1469111"/>
                <a:gd name="connsiteY79" fmla="*/ 2297728 h 3641849"/>
                <a:gd name="connsiteX80" fmla="*/ 1441245 w 1469111"/>
                <a:gd name="connsiteY80" fmla="*/ 3607693 h 3641849"/>
                <a:gd name="connsiteX81" fmla="*/ 1182818 w 1469111"/>
                <a:gd name="connsiteY81" fmla="*/ 3564098 h 3641849"/>
                <a:gd name="connsiteX82" fmla="*/ 1014340 w 1469111"/>
                <a:gd name="connsiteY82" fmla="*/ 3497903 h 3641849"/>
                <a:gd name="connsiteX83" fmla="*/ 836994 w 1469111"/>
                <a:gd name="connsiteY83" fmla="*/ 3406887 h 3641849"/>
                <a:gd name="connsiteX84" fmla="*/ 738696 w 1469111"/>
                <a:gd name="connsiteY84" fmla="*/ 3326370 h 3641849"/>
                <a:gd name="connsiteX85" fmla="*/ 1032958 w 1469111"/>
                <a:gd name="connsiteY85" fmla="*/ 3018734 h 3641849"/>
                <a:gd name="connsiteX86" fmla="*/ 749204 w 1469111"/>
                <a:gd name="connsiteY86" fmla="*/ 2480910 h 3641849"/>
                <a:gd name="connsiteX87" fmla="*/ 891554 w 1469111"/>
                <a:gd name="connsiteY87" fmla="*/ 2241825 h 3641849"/>
                <a:gd name="connsiteX88" fmla="*/ 704867 w 1469111"/>
                <a:gd name="connsiteY88" fmla="*/ 1703134 h 3641849"/>
                <a:gd name="connsiteX89" fmla="*/ 456583 w 1469111"/>
                <a:gd name="connsiteY89" fmla="*/ 1471456 h 3641849"/>
                <a:gd name="connsiteX90" fmla="*/ 447716 w 1469111"/>
                <a:gd name="connsiteY90" fmla="*/ 1355617 h 3641849"/>
                <a:gd name="connsiteX91" fmla="*/ 42188 w 1469111"/>
                <a:gd name="connsiteY91" fmla="*/ 551628 h 3641849"/>
                <a:gd name="connsiteX0" fmla="*/ 42188 w 1469111"/>
                <a:gd name="connsiteY0" fmla="*/ 551628 h 3641849"/>
                <a:gd name="connsiteX1" fmla="*/ 11624 w 1469111"/>
                <a:gd name="connsiteY1" fmla="*/ 249265 h 3641849"/>
                <a:gd name="connsiteX2" fmla="*/ 78127 w 1469111"/>
                <a:gd name="connsiteY2" fmla="*/ 161351 h 3641849"/>
                <a:gd name="connsiteX3" fmla="*/ 194511 w 1469111"/>
                <a:gd name="connsiteY3" fmla="*/ 86367 h 3641849"/>
                <a:gd name="connsiteX4" fmla="*/ 200055 w 1469111"/>
                <a:gd name="connsiteY4" fmla="*/ 3624 h 3641849"/>
                <a:gd name="connsiteX5" fmla="*/ 316438 w 1469111"/>
                <a:gd name="connsiteY5" fmla="*/ 57924 h 3641849"/>
                <a:gd name="connsiteX6" fmla="*/ 346918 w 1469111"/>
                <a:gd name="connsiteY6" fmla="*/ 161352 h 3641849"/>
                <a:gd name="connsiteX7" fmla="*/ 360774 w 1469111"/>
                <a:gd name="connsiteY7" fmla="*/ 184622 h 3641849"/>
                <a:gd name="connsiteX8" fmla="*/ 371858 w 1469111"/>
                <a:gd name="connsiteY8" fmla="*/ 187208 h 3641849"/>
                <a:gd name="connsiteX9" fmla="*/ 485470 w 1469111"/>
                <a:gd name="connsiteY9" fmla="*/ 156181 h 3641849"/>
                <a:gd name="connsiteX10" fmla="*/ 551975 w 1469111"/>
                <a:gd name="connsiteY10" fmla="*/ 166522 h 3641849"/>
                <a:gd name="connsiteX11" fmla="*/ 615709 w 1469111"/>
                <a:gd name="connsiteY11" fmla="*/ 213065 h 3641849"/>
                <a:gd name="connsiteX12" fmla="*/ 629736 w 1469111"/>
                <a:gd name="connsiteY12" fmla="*/ 242621 h 3641849"/>
                <a:gd name="connsiteX13" fmla="*/ 684983 w 1469111"/>
                <a:gd name="connsiteY13" fmla="*/ 277708 h 3641849"/>
                <a:gd name="connsiteX14" fmla="*/ 773657 w 1469111"/>
                <a:gd name="connsiteY14" fmla="*/ 303563 h 3641849"/>
                <a:gd name="connsiteX15" fmla="*/ 845703 w 1469111"/>
                <a:gd name="connsiteY15" fmla="*/ 350106 h 3641849"/>
                <a:gd name="connsiteX16" fmla="*/ 895582 w 1469111"/>
                <a:gd name="connsiteY16" fmla="*/ 401820 h 3641849"/>
                <a:gd name="connsiteX17" fmla="*/ 920521 w 1469111"/>
                <a:gd name="connsiteY17" fmla="*/ 440606 h 3641849"/>
                <a:gd name="connsiteX18" fmla="*/ 953774 w 1469111"/>
                <a:gd name="connsiteY18" fmla="*/ 466462 h 3641849"/>
                <a:gd name="connsiteX19" fmla="*/ 937146 w 1469111"/>
                <a:gd name="connsiteY19" fmla="*/ 691417 h 3641849"/>
                <a:gd name="connsiteX20" fmla="*/ 809680 w 1469111"/>
                <a:gd name="connsiteY20" fmla="*/ 771575 h 3641849"/>
                <a:gd name="connsiteX21" fmla="*/ 696068 w 1469111"/>
                <a:gd name="connsiteY21" fmla="*/ 779331 h 3641849"/>
                <a:gd name="connsiteX22" fmla="*/ 557515 w 1469111"/>
                <a:gd name="connsiteY22" fmla="*/ 758645 h 3641849"/>
                <a:gd name="connsiteX23" fmla="*/ 466071 w 1469111"/>
                <a:gd name="connsiteY23" fmla="*/ 722445 h 3641849"/>
                <a:gd name="connsiteX24" fmla="*/ 446674 w 1469111"/>
                <a:gd name="connsiteY24" fmla="*/ 750888 h 3641849"/>
                <a:gd name="connsiteX25" fmla="*/ 477316 w 1469111"/>
                <a:gd name="connsiteY25" fmla="*/ 824301 h 3641849"/>
                <a:gd name="connsiteX26" fmla="*/ 482857 w 1469111"/>
                <a:gd name="connsiteY26" fmla="*/ 951000 h 3641849"/>
                <a:gd name="connsiteX27" fmla="*/ 454987 w 1469111"/>
                <a:gd name="connsiteY27" fmla="*/ 1012043 h 3641849"/>
                <a:gd name="connsiteX28" fmla="*/ 510406 w 1469111"/>
                <a:gd name="connsiteY28" fmla="*/ 1032728 h 3641849"/>
                <a:gd name="connsiteX29" fmla="*/ 527034 w 1469111"/>
                <a:gd name="connsiteY29" fmla="*/ 1048242 h 3641849"/>
                <a:gd name="connsiteX30" fmla="*/ 551974 w 1469111"/>
                <a:gd name="connsiteY30" fmla="*/ 1074099 h 3641849"/>
                <a:gd name="connsiteX31" fmla="*/ 549203 w 1469111"/>
                <a:gd name="connsiteY31" fmla="*/ 1076685 h 3641849"/>
                <a:gd name="connsiteX32" fmla="*/ 587996 w 1469111"/>
                <a:gd name="connsiteY32" fmla="*/ 1071514 h 3641849"/>
                <a:gd name="connsiteX33" fmla="*/ 596310 w 1469111"/>
                <a:gd name="connsiteY33" fmla="*/ 1035314 h 3641849"/>
                <a:gd name="connsiteX34" fmla="*/ 557515 w 1469111"/>
                <a:gd name="connsiteY34" fmla="*/ 957743 h 3641849"/>
                <a:gd name="connsiteX35" fmla="*/ 626791 w 1469111"/>
                <a:gd name="connsiteY35" fmla="*/ 911200 h 3641849"/>
                <a:gd name="connsiteX36" fmla="*/ 694563 w 1469111"/>
                <a:gd name="connsiteY36" fmla="*/ 918934 h 3641849"/>
                <a:gd name="connsiteX37" fmla="*/ 718396 w 1469111"/>
                <a:gd name="connsiteY37" fmla="*/ 951001 h 3641849"/>
                <a:gd name="connsiteX38" fmla="*/ 874125 w 1469111"/>
                <a:gd name="connsiteY38" fmla="*/ 1007364 h 3641849"/>
                <a:gd name="connsiteX39" fmla="*/ 859717 w 1469111"/>
                <a:gd name="connsiteY39" fmla="*/ 971687 h 3641849"/>
                <a:gd name="connsiteX40" fmla="*/ 826465 w 1469111"/>
                <a:gd name="connsiteY40" fmla="*/ 932901 h 3641849"/>
                <a:gd name="connsiteX41" fmla="*/ 815381 w 1469111"/>
                <a:gd name="connsiteY41" fmla="*/ 881187 h 3641849"/>
                <a:gd name="connsiteX42" fmla="*/ 854176 w 1469111"/>
                <a:gd name="connsiteY42" fmla="*/ 832060 h 3641849"/>
                <a:gd name="connsiteX43" fmla="*/ 881886 w 1469111"/>
                <a:gd name="connsiteY43" fmla="*/ 803617 h 3641849"/>
                <a:gd name="connsiteX44" fmla="*/ 906826 w 1469111"/>
                <a:gd name="connsiteY44" fmla="*/ 767417 h 3641849"/>
                <a:gd name="connsiteX45" fmla="*/ 987186 w 1469111"/>
                <a:gd name="connsiteY45" fmla="*/ 762245 h 3641849"/>
                <a:gd name="connsiteX46" fmla="*/ 992727 w 1469111"/>
                <a:gd name="connsiteY46" fmla="*/ 741560 h 3641849"/>
                <a:gd name="connsiteX47" fmla="*/ 1017667 w 1469111"/>
                <a:gd name="connsiteY47" fmla="*/ 705360 h 3641849"/>
                <a:gd name="connsiteX48" fmla="*/ 1051471 w 1469111"/>
                <a:gd name="connsiteY48" fmla="*/ 687772 h 3641849"/>
                <a:gd name="connsiteX49" fmla="*/ 1109111 w 1469111"/>
                <a:gd name="connsiteY49" fmla="*/ 700189 h 3641849"/>
                <a:gd name="connsiteX50" fmla="*/ 1147904 w 1469111"/>
                <a:gd name="connsiteY50" fmla="*/ 720875 h 3641849"/>
                <a:gd name="connsiteX51" fmla="*/ 1195012 w 1469111"/>
                <a:gd name="connsiteY51" fmla="*/ 728632 h 3641849"/>
                <a:gd name="connsiteX52" fmla="*/ 1195012 w 1469111"/>
                <a:gd name="connsiteY52" fmla="*/ 733803 h 3641849"/>
                <a:gd name="connsiteX53" fmla="*/ 1217181 w 1469111"/>
                <a:gd name="connsiteY53" fmla="*/ 674332 h 3641849"/>
                <a:gd name="connsiteX54" fmla="*/ 1227156 w 1469111"/>
                <a:gd name="connsiteY54" fmla="*/ 640714 h 3641849"/>
                <a:gd name="connsiteX55" fmla="*/ 1233807 w 1469111"/>
                <a:gd name="connsiteY55" fmla="*/ 622618 h 3641849"/>
                <a:gd name="connsiteX56" fmla="*/ 1236744 w 1469111"/>
                <a:gd name="connsiteY56" fmla="*/ 591288 h 3641849"/>
                <a:gd name="connsiteX57" fmla="*/ 1156218 w 1469111"/>
                <a:gd name="connsiteY57" fmla="*/ 545048 h 3641849"/>
                <a:gd name="connsiteX58" fmla="*/ 1142363 w 1469111"/>
                <a:gd name="connsiteY58" fmla="*/ 472648 h 3641849"/>
                <a:gd name="connsiteX59" fmla="*/ 1142363 w 1469111"/>
                <a:gd name="connsiteY59" fmla="*/ 454548 h 3641849"/>
                <a:gd name="connsiteX60" fmla="*/ 1153446 w 1469111"/>
                <a:gd name="connsiteY60" fmla="*/ 431276 h 3641849"/>
                <a:gd name="connsiteX61" fmla="*/ 1156218 w 1469111"/>
                <a:gd name="connsiteY61" fmla="*/ 415762 h 3641849"/>
                <a:gd name="connsiteX62" fmla="*/ 1156217 w 1469111"/>
                <a:gd name="connsiteY62" fmla="*/ 358878 h 3641849"/>
                <a:gd name="connsiteX63" fmla="*/ 1134049 w 1469111"/>
                <a:gd name="connsiteY63" fmla="*/ 335607 h 3641849"/>
                <a:gd name="connsiteX64" fmla="*/ 1106339 w 1469111"/>
                <a:gd name="connsiteY64" fmla="*/ 304578 h 3641849"/>
                <a:gd name="connsiteX65" fmla="*/ 1102171 w 1469111"/>
                <a:gd name="connsiteY65" fmla="*/ 280325 h 3641849"/>
                <a:gd name="connsiteX66" fmla="*/ 1153447 w 1469111"/>
                <a:gd name="connsiteY66" fmla="*/ 258034 h 3641849"/>
                <a:gd name="connsiteX67" fmla="*/ 1207027 w 1469111"/>
                <a:gd name="connsiteY67" fmla="*/ 267906 h 3641849"/>
                <a:gd name="connsiteX68" fmla="*/ 1285811 w 1469111"/>
                <a:gd name="connsiteY68" fmla="*/ 279816 h 3641849"/>
                <a:gd name="connsiteX69" fmla="*/ 1370134 w 1469111"/>
                <a:gd name="connsiteY69" fmla="*/ 349175 h 3641849"/>
                <a:gd name="connsiteX70" fmla="*/ 1432269 w 1469111"/>
                <a:gd name="connsiteY70" fmla="*/ 425271 h 3641849"/>
                <a:gd name="connsiteX71" fmla="*/ 1331298 w 1469111"/>
                <a:gd name="connsiteY71" fmla="*/ 454265 h 3641849"/>
                <a:gd name="connsiteX72" fmla="*/ 1315764 w 1469111"/>
                <a:gd name="connsiteY72" fmla="*/ 501372 h 3641849"/>
                <a:gd name="connsiteX73" fmla="*/ 1373434 w 1469111"/>
                <a:gd name="connsiteY73" fmla="*/ 585862 h 3641849"/>
                <a:gd name="connsiteX74" fmla="*/ 1408968 w 1469111"/>
                <a:gd name="connsiteY74" fmla="*/ 591964 h 3641849"/>
                <a:gd name="connsiteX75" fmla="*/ 1461588 w 1469111"/>
                <a:gd name="connsiteY75" fmla="*/ 598304 h 3641849"/>
                <a:gd name="connsiteX76" fmla="*/ 1456625 w 1469111"/>
                <a:gd name="connsiteY76" fmla="*/ 709079 h 3641849"/>
                <a:gd name="connsiteX77" fmla="*/ 1467694 w 1469111"/>
                <a:gd name="connsiteY77" fmla="*/ 1040047 h 3641849"/>
                <a:gd name="connsiteX78" fmla="*/ 1458826 w 1469111"/>
                <a:gd name="connsiteY78" fmla="*/ 1842646 h 3641849"/>
                <a:gd name="connsiteX79" fmla="*/ 1467693 w 1469111"/>
                <a:gd name="connsiteY79" fmla="*/ 2297728 h 3641849"/>
                <a:gd name="connsiteX80" fmla="*/ 1441245 w 1469111"/>
                <a:gd name="connsiteY80" fmla="*/ 3607693 h 3641849"/>
                <a:gd name="connsiteX81" fmla="*/ 1182818 w 1469111"/>
                <a:gd name="connsiteY81" fmla="*/ 3564098 h 3641849"/>
                <a:gd name="connsiteX82" fmla="*/ 1014340 w 1469111"/>
                <a:gd name="connsiteY82" fmla="*/ 3497903 h 3641849"/>
                <a:gd name="connsiteX83" fmla="*/ 836994 w 1469111"/>
                <a:gd name="connsiteY83" fmla="*/ 3406887 h 3641849"/>
                <a:gd name="connsiteX84" fmla="*/ 738696 w 1469111"/>
                <a:gd name="connsiteY84" fmla="*/ 3326370 h 3641849"/>
                <a:gd name="connsiteX85" fmla="*/ 1032958 w 1469111"/>
                <a:gd name="connsiteY85" fmla="*/ 3018734 h 3641849"/>
                <a:gd name="connsiteX86" fmla="*/ 749204 w 1469111"/>
                <a:gd name="connsiteY86" fmla="*/ 2480910 h 3641849"/>
                <a:gd name="connsiteX87" fmla="*/ 891554 w 1469111"/>
                <a:gd name="connsiteY87" fmla="*/ 2241825 h 3641849"/>
                <a:gd name="connsiteX88" fmla="*/ 704867 w 1469111"/>
                <a:gd name="connsiteY88" fmla="*/ 1703134 h 3641849"/>
                <a:gd name="connsiteX89" fmla="*/ 456583 w 1469111"/>
                <a:gd name="connsiteY89" fmla="*/ 1471456 h 3641849"/>
                <a:gd name="connsiteX90" fmla="*/ 447716 w 1469111"/>
                <a:gd name="connsiteY90" fmla="*/ 1355617 h 3641849"/>
                <a:gd name="connsiteX91" fmla="*/ 42188 w 1469111"/>
                <a:gd name="connsiteY91" fmla="*/ 551628 h 3641849"/>
                <a:gd name="connsiteX0" fmla="*/ 42188 w 1469111"/>
                <a:gd name="connsiteY0" fmla="*/ 551628 h 3641849"/>
                <a:gd name="connsiteX1" fmla="*/ 11624 w 1469111"/>
                <a:gd name="connsiteY1" fmla="*/ 249265 h 3641849"/>
                <a:gd name="connsiteX2" fmla="*/ 78127 w 1469111"/>
                <a:gd name="connsiteY2" fmla="*/ 161351 h 3641849"/>
                <a:gd name="connsiteX3" fmla="*/ 183427 w 1469111"/>
                <a:gd name="connsiteY3" fmla="*/ 88952 h 3641849"/>
                <a:gd name="connsiteX4" fmla="*/ 200055 w 1469111"/>
                <a:gd name="connsiteY4" fmla="*/ 3624 h 3641849"/>
                <a:gd name="connsiteX5" fmla="*/ 316438 w 1469111"/>
                <a:gd name="connsiteY5" fmla="*/ 57924 h 3641849"/>
                <a:gd name="connsiteX6" fmla="*/ 346918 w 1469111"/>
                <a:gd name="connsiteY6" fmla="*/ 161352 h 3641849"/>
                <a:gd name="connsiteX7" fmla="*/ 360774 w 1469111"/>
                <a:gd name="connsiteY7" fmla="*/ 184622 h 3641849"/>
                <a:gd name="connsiteX8" fmla="*/ 371858 w 1469111"/>
                <a:gd name="connsiteY8" fmla="*/ 187208 h 3641849"/>
                <a:gd name="connsiteX9" fmla="*/ 485470 w 1469111"/>
                <a:gd name="connsiteY9" fmla="*/ 156181 h 3641849"/>
                <a:gd name="connsiteX10" fmla="*/ 551975 w 1469111"/>
                <a:gd name="connsiteY10" fmla="*/ 166522 h 3641849"/>
                <a:gd name="connsiteX11" fmla="*/ 615709 w 1469111"/>
                <a:gd name="connsiteY11" fmla="*/ 213065 h 3641849"/>
                <a:gd name="connsiteX12" fmla="*/ 629736 w 1469111"/>
                <a:gd name="connsiteY12" fmla="*/ 242621 h 3641849"/>
                <a:gd name="connsiteX13" fmla="*/ 684983 w 1469111"/>
                <a:gd name="connsiteY13" fmla="*/ 277708 h 3641849"/>
                <a:gd name="connsiteX14" fmla="*/ 773657 w 1469111"/>
                <a:gd name="connsiteY14" fmla="*/ 303563 h 3641849"/>
                <a:gd name="connsiteX15" fmla="*/ 845703 w 1469111"/>
                <a:gd name="connsiteY15" fmla="*/ 350106 h 3641849"/>
                <a:gd name="connsiteX16" fmla="*/ 895582 w 1469111"/>
                <a:gd name="connsiteY16" fmla="*/ 401820 h 3641849"/>
                <a:gd name="connsiteX17" fmla="*/ 920521 w 1469111"/>
                <a:gd name="connsiteY17" fmla="*/ 440606 h 3641849"/>
                <a:gd name="connsiteX18" fmla="*/ 953774 w 1469111"/>
                <a:gd name="connsiteY18" fmla="*/ 466462 h 3641849"/>
                <a:gd name="connsiteX19" fmla="*/ 937146 w 1469111"/>
                <a:gd name="connsiteY19" fmla="*/ 691417 h 3641849"/>
                <a:gd name="connsiteX20" fmla="*/ 809680 w 1469111"/>
                <a:gd name="connsiteY20" fmla="*/ 771575 h 3641849"/>
                <a:gd name="connsiteX21" fmla="*/ 696068 w 1469111"/>
                <a:gd name="connsiteY21" fmla="*/ 779331 h 3641849"/>
                <a:gd name="connsiteX22" fmla="*/ 557515 w 1469111"/>
                <a:gd name="connsiteY22" fmla="*/ 758645 h 3641849"/>
                <a:gd name="connsiteX23" fmla="*/ 466071 w 1469111"/>
                <a:gd name="connsiteY23" fmla="*/ 722445 h 3641849"/>
                <a:gd name="connsiteX24" fmla="*/ 446674 w 1469111"/>
                <a:gd name="connsiteY24" fmla="*/ 750888 h 3641849"/>
                <a:gd name="connsiteX25" fmla="*/ 477316 w 1469111"/>
                <a:gd name="connsiteY25" fmla="*/ 824301 h 3641849"/>
                <a:gd name="connsiteX26" fmla="*/ 482857 w 1469111"/>
                <a:gd name="connsiteY26" fmla="*/ 951000 h 3641849"/>
                <a:gd name="connsiteX27" fmla="*/ 454987 w 1469111"/>
                <a:gd name="connsiteY27" fmla="*/ 1012043 h 3641849"/>
                <a:gd name="connsiteX28" fmla="*/ 510406 w 1469111"/>
                <a:gd name="connsiteY28" fmla="*/ 1032728 h 3641849"/>
                <a:gd name="connsiteX29" fmla="*/ 527034 w 1469111"/>
                <a:gd name="connsiteY29" fmla="*/ 1048242 h 3641849"/>
                <a:gd name="connsiteX30" fmla="*/ 551974 w 1469111"/>
                <a:gd name="connsiteY30" fmla="*/ 1074099 h 3641849"/>
                <a:gd name="connsiteX31" fmla="*/ 549203 w 1469111"/>
                <a:gd name="connsiteY31" fmla="*/ 1076685 h 3641849"/>
                <a:gd name="connsiteX32" fmla="*/ 587996 w 1469111"/>
                <a:gd name="connsiteY32" fmla="*/ 1071514 h 3641849"/>
                <a:gd name="connsiteX33" fmla="*/ 596310 w 1469111"/>
                <a:gd name="connsiteY33" fmla="*/ 1035314 h 3641849"/>
                <a:gd name="connsiteX34" fmla="*/ 557515 w 1469111"/>
                <a:gd name="connsiteY34" fmla="*/ 957743 h 3641849"/>
                <a:gd name="connsiteX35" fmla="*/ 626791 w 1469111"/>
                <a:gd name="connsiteY35" fmla="*/ 911200 h 3641849"/>
                <a:gd name="connsiteX36" fmla="*/ 694563 w 1469111"/>
                <a:gd name="connsiteY36" fmla="*/ 918934 h 3641849"/>
                <a:gd name="connsiteX37" fmla="*/ 718396 w 1469111"/>
                <a:gd name="connsiteY37" fmla="*/ 951001 h 3641849"/>
                <a:gd name="connsiteX38" fmla="*/ 874125 w 1469111"/>
                <a:gd name="connsiteY38" fmla="*/ 1007364 h 3641849"/>
                <a:gd name="connsiteX39" fmla="*/ 859717 w 1469111"/>
                <a:gd name="connsiteY39" fmla="*/ 971687 h 3641849"/>
                <a:gd name="connsiteX40" fmla="*/ 826465 w 1469111"/>
                <a:gd name="connsiteY40" fmla="*/ 932901 h 3641849"/>
                <a:gd name="connsiteX41" fmla="*/ 815381 w 1469111"/>
                <a:gd name="connsiteY41" fmla="*/ 881187 h 3641849"/>
                <a:gd name="connsiteX42" fmla="*/ 854176 w 1469111"/>
                <a:gd name="connsiteY42" fmla="*/ 832060 h 3641849"/>
                <a:gd name="connsiteX43" fmla="*/ 881886 w 1469111"/>
                <a:gd name="connsiteY43" fmla="*/ 803617 h 3641849"/>
                <a:gd name="connsiteX44" fmla="*/ 906826 w 1469111"/>
                <a:gd name="connsiteY44" fmla="*/ 767417 h 3641849"/>
                <a:gd name="connsiteX45" fmla="*/ 987186 w 1469111"/>
                <a:gd name="connsiteY45" fmla="*/ 762245 h 3641849"/>
                <a:gd name="connsiteX46" fmla="*/ 992727 w 1469111"/>
                <a:gd name="connsiteY46" fmla="*/ 741560 h 3641849"/>
                <a:gd name="connsiteX47" fmla="*/ 1017667 w 1469111"/>
                <a:gd name="connsiteY47" fmla="*/ 705360 h 3641849"/>
                <a:gd name="connsiteX48" fmla="*/ 1051471 w 1469111"/>
                <a:gd name="connsiteY48" fmla="*/ 687772 h 3641849"/>
                <a:gd name="connsiteX49" fmla="*/ 1109111 w 1469111"/>
                <a:gd name="connsiteY49" fmla="*/ 700189 h 3641849"/>
                <a:gd name="connsiteX50" fmla="*/ 1147904 w 1469111"/>
                <a:gd name="connsiteY50" fmla="*/ 720875 h 3641849"/>
                <a:gd name="connsiteX51" fmla="*/ 1195012 w 1469111"/>
                <a:gd name="connsiteY51" fmla="*/ 728632 h 3641849"/>
                <a:gd name="connsiteX52" fmla="*/ 1195012 w 1469111"/>
                <a:gd name="connsiteY52" fmla="*/ 733803 h 3641849"/>
                <a:gd name="connsiteX53" fmla="*/ 1217181 w 1469111"/>
                <a:gd name="connsiteY53" fmla="*/ 674332 h 3641849"/>
                <a:gd name="connsiteX54" fmla="*/ 1227156 w 1469111"/>
                <a:gd name="connsiteY54" fmla="*/ 640714 h 3641849"/>
                <a:gd name="connsiteX55" fmla="*/ 1233807 w 1469111"/>
                <a:gd name="connsiteY55" fmla="*/ 622618 h 3641849"/>
                <a:gd name="connsiteX56" fmla="*/ 1236744 w 1469111"/>
                <a:gd name="connsiteY56" fmla="*/ 591288 h 3641849"/>
                <a:gd name="connsiteX57" fmla="*/ 1156218 w 1469111"/>
                <a:gd name="connsiteY57" fmla="*/ 545048 h 3641849"/>
                <a:gd name="connsiteX58" fmla="*/ 1142363 w 1469111"/>
                <a:gd name="connsiteY58" fmla="*/ 472648 h 3641849"/>
                <a:gd name="connsiteX59" fmla="*/ 1142363 w 1469111"/>
                <a:gd name="connsiteY59" fmla="*/ 454548 h 3641849"/>
                <a:gd name="connsiteX60" fmla="*/ 1153446 w 1469111"/>
                <a:gd name="connsiteY60" fmla="*/ 431276 h 3641849"/>
                <a:gd name="connsiteX61" fmla="*/ 1156218 w 1469111"/>
                <a:gd name="connsiteY61" fmla="*/ 415762 h 3641849"/>
                <a:gd name="connsiteX62" fmla="*/ 1156217 w 1469111"/>
                <a:gd name="connsiteY62" fmla="*/ 358878 h 3641849"/>
                <a:gd name="connsiteX63" fmla="*/ 1134049 w 1469111"/>
                <a:gd name="connsiteY63" fmla="*/ 335607 h 3641849"/>
                <a:gd name="connsiteX64" fmla="*/ 1106339 w 1469111"/>
                <a:gd name="connsiteY64" fmla="*/ 304578 h 3641849"/>
                <a:gd name="connsiteX65" fmla="*/ 1102171 w 1469111"/>
                <a:gd name="connsiteY65" fmla="*/ 280325 h 3641849"/>
                <a:gd name="connsiteX66" fmla="*/ 1153447 w 1469111"/>
                <a:gd name="connsiteY66" fmla="*/ 258034 h 3641849"/>
                <a:gd name="connsiteX67" fmla="*/ 1207027 w 1469111"/>
                <a:gd name="connsiteY67" fmla="*/ 267906 h 3641849"/>
                <a:gd name="connsiteX68" fmla="*/ 1285811 w 1469111"/>
                <a:gd name="connsiteY68" fmla="*/ 279816 h 3641849"/>
                <a:gd name="connsiteX69" fmla="*/ 1370134 w 1469111"/>
                <a:gd name="connsiteY69" fmla="*/ 349175 h 3641849"/>
                <a:gd name="connsiteX70" fmla="*/ 1432269 w 1469111"/>
                <a:gd name="connsiteY70" fmla="*/ 425271 h 3641849"/>
                <a:gd name="connsiteX71" fmla="*/ 1331298 w 1469111"/>
                <a:gd name="connsiteY71" fmla="*/ 454265 h 3641849"/>
                <a:gd name="connsiteX72" fmla="*/ 1315764 w 1469111"/>
                <a:gd name="connsiteY72" fmla="*/ 501372 h 3641849"/>
                <a:gd name="connsiteX73" fmla="*/ 1373434 w 1469111"/>
                <a:gd name="connsiteY73" fmla="*/ 585862 h 3641849"/>
                <a:gd name="connsiteX74" fmla="*/ 1408968 w 1469111"/>
                <a:gd name="connsiteY74" fmla="*/ 591964 h 3641849"/>
                <a:gd name="connsiteX75" fmla="*/ 1461588 w 1469111"/>
                <a:gd name="connsiteY75" fmla="*/ 598304 h 3641849"/>
                <a:gd name="connsiteX76" fmla="*/ 1456625 w 1469111"/>
                <a:gd name="connsiteY76" fmla="*/ 709079 h 3641849"/>
                <a:gd name="connsiteX77" fmla="*/ 1467694 w 1469111"/>
                <a:gd name="connsiteY77" fmla="*/ 1040047 h 3641849"/>
                <a:gd name="connsiteX78" fmla="*/ 1458826 w 1469111"/>
                <a:gd name="connsiteY78" fmla="*/ 1842646 h 3641849"/>
                <a:gd name="connsiteX79" fmla="*/ 1467693 w 1469111"/>
                <a:gd name="connsiteY79" fmla="*/ 2297728 h 3641849"/>
                <a:gd name="connsiteX80" fmla="*/ 1441245 w 1469111"/>
                <a:gd name="connsiteY80" fmla="*/ 3607693 h 3641849"/>
                <a:gd name="connsiteX81" fmla="*/ 1182818 w 1469111"/>
                <a:gd name="connsiteY81" fmla="*/ 3564098 h 3641849"/>
                <a:gd name="connsiteX82" fmla="*/ 1014340 w 1469111"/>
                <a:gd name="connsiteY82" fmla="*/ 3497903 h 3641849"/>
                <a:gd name="connsiteX83" fmla="*/ 836994 w 1469111"/>
                <a:gd name="connsiteY83" fmla="*/ 3406887 h 3641849"/>
                <a:gd name="connsiteX84" fmla="*/ 738696 w 1469111"/>
                <a:gd name="connsiteY84" fmla="*/ 3326370 h 3641849"/>
                <a:gd name="connsiteX85" fmla="*/ 1032958 w 1469111"/>
                <a:gd name="connsiteY85" fmla="*/ 3018734 h 3641849"/>
                <a:gd name="connsiteX86" fmla="*/ 749204 w 1469111"/>
                <a:gd name="connsiteY86" fmla="*/ 2480910 h 3641849"/>
                <a:gd name="connsiteX87" fmla="*/ 891554 w 1469111"/>
                <a:gd name="connsiteY87" fmla="*/ 2241825 h 3641849"/>
                <a:gd name="connsiteX88" fmla="*/ 704867 w 1469111"/>
                <a:gd name="connsiteY88" fmla="*/ 1703134 h 3641849"/>
                <a:gd name="connsiteX89" fmla="*/ 456583 w 1469111"/>
                <a:gd name="connsiteY89" fmla="*/ 1471456 h 3641849"/>
                <a:gd name="connsiteX90" fmla="*/ 447716 w 1469111"/>
                <a:gd name="connsiteY90" fmla="*/ 1355617 h 3641849"/>
                <a:gd name="connsiteX91" fmla="*/ 42188 w 1469111"/>
                <a:gd name="connsiteY91" fmla="*/ 551628 h 3641849"/>
                <a:gd name="connsiteX0" fmla="*/ 42188 w 1469111"/>
                <a:gd name="connsiteY0" fmla="*/ 551628 h 3641849"/>
                <a:gd name="connsiteX1" fmla="*/ 11624 w 1469111"/>
                <a:gd name="connsiteY1" fmla="*/ 249265 h 3641849"/>
                <a:gd name="connsiteX2" fmla="*/ 78127 w 1469111"/>
                <a:gd name="connsiteY2" fmla="*/ 161351 h 3641849"/>
                <a:gd name="connsiteX3" fmla="*/ 183427 w 1469111"/>
                <a:gd name="connsiteY3" fmla="*/ 88952 h 3641849"/>
                <a:gd name="connsiteX4" fmla="*/ 180658 w 1469111"/>
                <a:gd name="connsiteY4" fmla="*/ 3624 h 3641849"/>
                <a:gd name="connsiteX5" fmla="*/ 316438 w 1469111"/>
                <a:gd name="connsiteY5" fmla="*/ 57924 h 3641849"/>
                <a:gd name="connsiteX6" fmla="*/ 346918 w 1469111"/>
                <a:gd name="connsiteY6" fmla="*/ 161352 h 3641849"/>
                <a:gd name="connsiteX7" fmla="*/ 360774 w 1469111"/>
                <a:gd name="connsiteY7" fmla="*/ 184622 h 3641849"/>
                <a:gd name="connsiteX8" fmla="*/ 371858 w 1469111"/>
                <a:gd name="connsiteY8" fmla="*/ 187208 h 3641849"/>
                <a:gd name="connsiteX9" fmla="*/ 485470 w 1469111"/>
                <a:gd name="connsiteY9" fmla="*/ 156181 h 3641849"/>
                <a:gd name="connsiteX10" fmla="*/ 551975 w 1469111"/>
                <a:gd name="connsiteY10" fmla="*/ 166522 h 3641849"/>
                <a:gd name="connsiteX11" fmla="*/ 615709 w 1469111"/>
                <a:gd name="connsiteY11" fmla="*/ 213065 h 3641849"/>
                <a:gd name="connsiteX12" fmla="*/ 629736 w 1469111"/>
                <a:gd name="connsiteY12" fmla="*/ 242621 h 3641849"/>
                <a:gd name="connsiteX13" fmla="*/ 684983 w 1469111"/>
                <a:gd name="connsiteY13" fmla="*/ 277708 h 3641849"/>
                <a:gd name="connsiteX14" fmla="*/ 773657 w 1469111"/>
                <a:gd name="connsiteY14" fmla="*/ 303563 h 3641849"/>
                <a:gd name="connsiteX15" fmla="*/ 845703 w 1469111"/>
                <a:gd name="connsiteY15" fmla="*/ 350106 h 3641849"/>
                <a:gd name="connsiteX16" fmla="*/ 895582 w 1469111"/>
                <a:gd name="connsiteY16" fmla="*/ 401820 h 3641849"/>
                <a:gd name="connsiteX17" fmla="*/ 920521 w 1469111"/>
                <a:gd name="connsiteY17" fmla="*/ 440606 h 3641849"/>
                <a:gd name="connsiteX18" fmla="*/ 953774 w 1469111"/>
                <a:gd name="connsiteY18" fmla="*/ 466462 h 3641849"/>
                <a:gd name="connsiteX19" fmla="*/ 937146 w 1469111"/>
                <a:gd name="connsiteY19" fmla="*/ 691417 h 3641849"/>
                <a:gd name="connsiteX20" fmla="*/ 809680 w 1469111"/>
                <a:gd name="connsiteY20" fmla="*/ 771575 h 3641849"/>
                <a:gd name="connsiteX21" fmla="*/ 696068 w 1469111"/>
                <a:gd name="connsiteY21" fmla="*/ 779331 h 3641849"/>
                <a:gd name="connsiteX22" fmla="*/ 557515 w 1469111"/>
                <a:gd name="connsiteY22" fmla="*/ 758645 h 3641849"/>
                <a:gd name="connsiteX23" fmla="*/ 466071 w 1469111"/>
                <a:gd name="connsiteY23" fmla="*/ 722445 h 3641849"/>
                <a:gd name="connsiteX24" fmla="*/ 446674 w 1469111"/>
                <a:gd name="connsiteY24" fmla="*/ 750888 h 3641849"/>
                <a:gd name="connsiteX25" fmla="*/ 477316 w 1469111"/>
                <a:gd name="connsiteY25" fmla="*/ 824301 h 3641849"/>
                <a:gd name="connsiteX26" fmla="*/ 482857 w 1469111"/>
                <a:gd name="connsiteY26" fmla="*/ 951000 h 3641849"/>
                <a:gd name="connsiteX27" fmla="*/ 454987 w 1469111"/>
                <a:gd name="connsiteY27" fmla="*/ 1012043 h 3641849"/>
                <a:gd name="connsiteX28" fmla="*/ 510406 w 1469111"/>
                <a:gd name="connsiteY28" fmla="*/ 1032728 h 3641849"/>
                <a:gd name="connsiteX29" fmla="*/ 527034 w 1469111"/>
                <a:gd name="connsiteY29" fmla="*/ 1048242 h 3641849"/>
                <a:gd name="connsiteX30" fmla="*/ 551974 w 1469111"/>
                <a:gd name="connsiteY30" fmla="*/ 1074099 h 3641849"/>
                <a:gd name="connsiteX31" fmla="*/ 549203 w 1469111"/>
                <a:gd name="connsiteY31" fmla="*/ 1076685 h 3641849"/>
                <a:gd name="connsiteX32" fmla="*/ 587996 w 1469111"/>
                <a:gd name="connsiteY32" fmla="*/ 1071514 h 3641849"/>
                <a:gd name="connsiteX33" fmla="*/ 596310 w 1469111"/>
                <a:gd name="connsiteY33" fmla="*/ 1035314 h 3641849"/>
                <a:gd name="connsiteX34" fmla="*/ 557515 w 1469111"/>
                <a:gd name="connsiteY34" fmla="*/ 957743 h 3641849"/>
                <a:gd name="connsiteX35" fmla="*/ 626791 w 1469111"/>
                <a:gd name="connsiteY35" fmla="*/ 911200 h 3641849"/>
                <a:gd name="connsiteX36" fmla="*/ 694563 w 1469111"/>
                <a:gd name="connsiteY36" fmla="*/ 918934 h 3641849"/>
                <a:gd name="connsiteX37" fmla="*/ 718396 w 1469111"/>
                <a:gd name="connsiteY37" fmla="*/ 951001 h 3641849"/>
                <a:gd name="connsiteX38" fmla="*/ 874125 w 1469111"/>
                <a:gd name="connsiteY38" fmla="*/ 1007364 h 3641849"/>
                <a:gd name="connsiteX39" fmla="*/ 859717 w 1469111"/>
                <a:gd name="connsiteY39" fmla="*/ 971687 h 3641849"/>
                <a:gd name="connsiteX40" fmla="*/ 826465 w 1469111"/>
                <a:gd name="connsiteY40" fmla="*/ 932901 h 3641849"/>
                <a:gd name="connsiteX41" fmla="*/ 815381 w 1469111"/>
                <a:gd name="connsiteY41" fmla="*/ 881187 h 3641849"/>
                <a:gd name="connsiteX42" fmla="*/ 854176 w 1469111"/>
                <a:gd name="connsiteY42" fmla="*/ 832060 h 3641849"/>
                <a:gd name="connsiteX43" fmla="*/ 881886 w 1469111"/>
                <a:gd name="connsiteY43" fmla="*/ 803617 h 3641849"/>
                <a:gd name="connsiteX44" fmla="*/ 906826 w 1469111"/>
                <a:gd name="connsiteY44" fmla="*/ 767417 h 3641849"/>
                <a:gd name="connsiteX45" fmla="*/ 987186 w 1469111"/>
                <a:gd name="connsiteY45" fmla="*/ 762245 h 3641849"/>
                <a:gd name="connsiteX46" fmla="*/ 992727 w 1469111"/>
                <a:gd name="connsiteY46" fmla="*/ 741560 h 3641849"/>
                <a:gd name="connsiteX47" fmla="*/ 1017667 w 1469111"/>
                <a:gd name="connsiteY47" fmla="*/ 705360 h 3641849"/>
                <a:gd name="connsiteX48" fmla="*/ 1051471 w 1469111"/>
                <a:gd name="connsiteY48" fmla="*/ 687772 h 3641849"/>
                <a:gd name="connsiteX49" fmla="*/ 1109111 w 1469111"/>
                <a:gd name="connsiteY49" fmla="*/ 700189 h 3641849"/>
                <a:gd name="connsiteX50" fmla="*/ 1147904 w 1469111"/>
                <a:gd name="connsiteY50" fmla="*/ 720875 h 3641849"/>
                <a:gd name="connsiteX51" fmla="*/ 1195012 w 1469111"/>
                <a:gd name="connsiteY51" fmla="*/ 728632 h 3641849"/>
                <a:gd name="connsiteX52" fmla="*/ 1195012 w 1469111"/>
                <a:gd name="connsiteY52" fmla="*/ 733803 h 3641849"/>
                <a:gd name="connsiteX53" fmla="*/ 1217181 w 1469111"/>
                <a:gd name="connsiteY53" fmla="*/ 674332 h 3641849"/>
                <a:gd name="connsiteX54" fmla="*/ 1227156 w 1469111"/>
                <a:gd name="connsiteY54" fmla="*/ 640714 h 3641849"/>
                <a:gd name="connsiteX55" fmla="*/ 1233807 w 1469111"/>
                <a:gd name="connsiteY55" fmla="*/ 622618 h 3641849"/>
                <a:gd name="connsiteX56" fmla="*/ 1236744 w 1469111"/>
                <a:gd name="connsiteY56" fmla="*/ 591288 h 3641849"/>
                <a:gd name="connsiteX57" fmla="*/ 1156218 w 1469111"/>
                <a:gd name="connsiteY57" fmla="*/ 545048 h 3641849"/>
                <a:gd name="connsiteX58" fmla="*/ 1142363 w 1469111"/>
                <a:gd name="connsiteY58" fmla="*/ 472648 h 3641849"/>
                <a:gd name="connsiteX59" fmla="*/ 1142363 w 1469111"/>
                <a:gd name="connsiteY59" fmla="*/ 454548 h 3641849"/>
                <a:gd name="connsiteX60" fmla="*/ 1153446 w 1469111"/>
                <a:gd name="connsiteY60" fmla="*/ 431276 h 3641849"/>
                <a:gd name="connsiteX61" fmla="*/ 1156218 w 1469111"/>
                <a:gd name="connsiteY61" fmla="*/ 415762 h 3641849"/>
                <a:gd name="connsiteX62" fmla="*/ 1156217 w 1469111"/>
                <a:gd name="connsiteY62" fmla="*/ 358878 h 3641849"/>
                <a:gd name="connsiteX63" fmla="*/ 1134049 w 1469111"/>
                <a:gd name="connsiteY63" fmla="*/ 335607 h 3641849"/>
                <a:gd name="connsiteX64" fmla="*/ 1106339 w 1469111"/>
                <a:gd name="connsiteY64" fmla="*/ 304578 h 3641849"/>
                <a:gd name="connsiteX65" fmla="*/ 1102171 w 1469111"/>
                <a:gd name="connsiteY65" fmla="*/ 280325 h 3641849"/>
                <a:gd name="connsiteX66" fmla="*/ 1153447 w 1469111"/>
                <a:gd name="connsiteY66" fmla="*/ 258034 h 3641849"/>
                <a:gd name="connsiteX67" fmla="*/ 1207027 w 1469111"/>
                <a:gd name="connsiteY67" fmla="*/ 267906 h 3641849"/>
                <a:gd name="connsiteX68" fmla="*/ 1285811 w 1469111"/>
                <a:gd name="connsiteY68" fmla="*/ 279816 h 3641849"/>
                <a:gd name="connsiteX69" fmla="*/ 1370134 w 1469111"/>
                <a:gd name="connsiteY69" fmla="*/ 349175 h 3641849"/>
                <a:gd name="connsiteX70" fmla="*/ 1432269 w 1469111"/>
                <a:gd name="connsiteY70" fmla="*/ 425271 h 3641849"/>
                <a:gd name="connsiteX71" fmla="*/ 1331298 w 1469111"/>
                <a:gd name="connsiteY71" fmla="*/ 454265 h 3641849"/>
                <a:gd name="connsiteX72" fmla="*/ 1315764 w 1469111"/>
                <a:gd name="connsiteY72" fmla="*/ 501372 h 3641849"/>
                <a:gd name="connsiteX73" fmla="*/ 1373434 w 1469111"/>
                <a:gd name="connsiteY73" fmla="*/ 585862 h 3641849"/>
                <a:gd name="connsiteX74" fmla="*/ 1408968 w 1469111"/>
                <a:gd name="connsiteY74" fmla="*/ 591964 h 3641849"/>
                <a:gd name="connsiteX75" fmla="*/ 1461588 w 1469111"/>
                <a:gd name="connsiteY75" fmla="*/ 598304 h 3641849"/>
                <a:gd name="connsiteX76" fmla="*/ 1456625 w 1469111"/>
                <a:gd name="connsiteY76" fmla="*/ 709079 h 3641849"/>
                <a:gd name="connsiteX77" fmla="*/ 1467694 w 1469111"/>
                <a:gd name="connsiteY77" fmla="*/ 1040047 h 3641849"/>
                <a:gd name="connsiteX78" fmla="*/ 1458826 w 1469111"/>
                <a:gd name="connsiteY78" fmla="*/ 1842646 h 3641849"/>
                <a:gd name="connsiteX79" fmla="*/ 1467693 w 1469111"/>
                <a:gd name="connsiteY79" fmla="*/ 2297728 h 3641849"/>
                <a:gd name="connsiteX80" fmla="*/ 1441245 w 1469111"/>
                <a:gd name="connsiteY80" fmla="*/ 3607693 h 3641849"/>
                <a:gd name="connsiteX81" fmla="*/ 1182818 w 1469111"/>
                <a:gd name="connsiteY81" fmla="*/ 3564098 h 3641849"/>
                <a:gd name="connsiteX82" fmla="*/ 1014340 w 1469111"/>
                <a:gd name="connsiteY82" fmla="*/ 3497903 h 3641849"/>
                <a:gd name="connsiteX83" fmla="*/ 836994 w 1469111"/>
                <a:gd name="connsiteY83" fmla="*/ 3406887 h 3641849"/>
                <a:gd name="connsiteX84" fmla="*/ 738696 w 1469111"/>
                <a:gd name="connsiteY84" fmla="*/ 3326370 h 3641849"/>
                <a:gd name="connsiteX85" fmla="*/ 1032958 w 1469111"/>
                <a:gd name="connsiteY85" fmla="*/ 3018734 h 3641849"/>
                <a:gd name="connsiteX86" fmla="*/ 749204 w 1469111"/>
                <a:gd name="connsiteY86" fmla="*/ 2480910 h 3641849"/>
                <a:gd name="connsiteX87" fmla="*/ 891554 w 1469111"/>
                <a:gd name="connsiteY87" fmla="*/ 2241825 h 3641849"/>
                <a:gd name="connsiteX88" fmla="*/ 704867 w 1469111"/>
                <a:gd name="connsiteY88" fmla="*/ 1703134 h 3641849"/>
                <a:gd name="connsiteX89" fmla="*/ 456583 w 1469111"/>
                <a:gd name="connsiteY89" fmla="*/ 1471456 h 3641849"/>
                <a:gd name="connsiteX90" fmla="*/ 447716 w 1469111"/>
                <a:gd name="connsiteY90" fmla="*/ 1355617 h 3641849"/>
                <a:gd name="connsiteX91" fmla="*/ 42188 w 1469111"/>
                <a:gd name="connsiteY91" fmla="*/ 551628 h 3641849"/>
                <a:gd name="connsiteX0" fmla="*/ 42188 w 1469111"/>
                <a:gd name="connsiteY0" fmla="*/ 551628 h 3641849"/>
                <a:gd name="connsiteX1" fmla="*/ 11624 w 1469111"/>
                <a:gd name="connsiteY1" fmla="*/ 249265 h 3641849"/>
                <a:gd name="connsiteX2" fmla="*/ 78127 w 1469111"/>
                <a:gd name="connsiteY2" fmla="*/ 161351 h 3641849"/>
                <a:gd name="connsiteX3" fmla="*/ 166802 w 1469111"/>
                <a:gd name="connsiteY3" fmla="*/ 88952 h 3641849"/>
                <a:gd name="connsiteX4" fmla="*/ 180658 w 1469111"/>
                <a:gd name="connsiteY4" fmla="*/ 3624 h 3641849"/>
                <a:gd name="connsiteX5" fmla="*/ 316438 w 1469111"/>
                <a:gd name="connsiteY5" fmla="*/ 57924 h 3641849"/>
                <a:gd name="connsiteX6" fmla="*/ 346918 w 1469111"/>
                <a:gd name="connsiteY6" fmla="*/ 161352 h 3641849"/>
                <a:gd name="connsiteX7" fmla="*/ 360774 w 1469111"/>
                <a:gd name="connsiteY7" fmla="*/ 184622 h 3641849"/>
                <a:gd name="connsiteX8" fmla="*/ 371858 w 1469111"/>
                <a:gd name="connsiteY8" fmla="*/ 187208 h 3641849"/>
                <a:gd name="connsiteX9" fmla="*/ 485470 w 1469111"/>
                <a:gd name="connsiteY9" fmla="*/ 156181 h 3641849"/>
                <a:gd name="connsiteX10" fmla="*/ 551975 w 1469111"/>
                <a:gd name="connsiteY10" fmla="*/ 166522 h 3641849"/>
                <a:gd name="connsiteX11" fmla="*/ 615709 w 1469111"/>
                <a:gd name="connsiteY11" fmla="*/ 213065 h 3641849"/>
                <a:gd name="connsiteX12" fmla="*/ 629736 w 1469111"/>
                <a:gd name="connsiteY12" fmla="*/ 242621 h 3641849"/>
                <a:gd name="connsiteX13" fmla="*/ 684983 w 1469111"/>
                <a:gd name="connsiteY13" fmla="*/ 277708 h 3641849"/>
                <a:gd name="connsiteX14" fmla="*/ 773657 w 1469111"/>
                <a:gd name="connsiteY14" fmla="*/ 303563 h 3641849"/>
                <a:gd name="connsiteX15" fmla="*/ 845703 w 1469111"/>
                <a:gd name="connsiteY15" fmla="*/ 350106 h 3641849"/>
                <a:gd name="connsiteX16" fmla="*/ 895582 w 1469111"/>
                <a:gd name="connsiteY16" fmla="*/ 401820 h 3641849"/>
                <a:gd name="connsiteX17" fmla="*/ 920521 w 1469111"/>
                <a:gd name="connsiteY17" fmla="*/ 440606 h 3641849"/>
                <a:gd name="connsiteX18" fmla="*/ 953774 w 1469111"/>
                <a:gd name="connsiteY18" fmla="*/ 466462 h 3641849"/>
                <a:gd name="connsiteX19" fmla="*/ 937146 w 1469111"/>
                <a:gd name="connsiteY19" fmla="*/ 691417 h 3641849"/>
                <a:gd name="connsiteX20" fmla="*/ 809680 w 1469111"/>
                <a:gd name="connsiteY20" fmla="*/ 771575 h 3641849"/>
                <a:gd name="connsiteX21" fmla="*/ 696068 w 1469111"/>
                <a:gd name="connsiteY21" fmla="*/ 779331 h 3641849"/>
                <a:gd name="connsiteX22" fmla="*/ 557515 w 1469111"/>
                <a:gd name="connsiteY22" fmla="*/ 758645 h 3641849"/>
                <a:gd name="connsiteX23" fmla="*/ 466071 w 1469111"/>
                <a:gd name="connsiteY23" fmla="*/ 722445 h 3641849"/>
                <a:gd name="connsiteX24" fmla="*/ 446674 w 1469111"/>
                <a:gd name="connsiteY24" fmla="*/ 750888 h 3641849"/>
                <a:gd name="connsiteX25" fmla="*/ 477316 w 1469111"/>
                <a:gd name="connsiteY25" fmla="*/ 824301 h 3641849"/>
                <a:gd name="connsiteX26" fmla="*/ 482857 w 1469111"/>
                <a:gd name="connsiteY26" fmla="*/ 951000 h 3641849"/>
                <a:gd name="connsiteX27" fmla="*/ 454987 w 1469111"/>
                <a:gd name="connsiteY27" fmla="*/ 1012043 h 3641849"/>
                <a:gd name="connsiteX28" fmla="*/ 510406 w 1469111"/>
                <a:gd name="connsiteY28" fmla="*/ 1032728 h 3641849"/>
                <a:gd name="connsiteX29" fmla="*/ 527034 w 1469111"/>
                <a:gd name="connsiteY29" fmla="*/ 1048242 h 3641849"/>
                <a:gd name="connsiteX30" fmla="*/ 551974 w 1469111"/>
                <a:gd name="connsiteY30" fmla="*/ 1074099 h 3641849"/>
                <a:gd name="connsiteX31" fmla="*/ 549203 w 1469111"/>
                <a:gd name="connsiteY31" fmla="*/ 1076685 h 3641849"/>
                <a:gd name="connsiteX32" fmla="*/ 587996 w 1469111"/>
                <a:gd name="connsiteY32" fmla="*/ 1071514 h 3641849"/>
                <a:gd name="connsiteX33" fmla="*/ 596310 w 1469111"/>
                <a:gd name="connsiteY33" fmla="*/ 1035314 h 3641849"/>
                <a:gd name="connsiteX34" fmla="*/ 557515 w 1469111"/>
                <a:gd name="connsiteY34" fmla="*/ 957743 h 3641849"/>
                <a:gd name="connsiteX35" fmla="*/ 626791 w 1469111"/>
                <a:gd name="connsiteY35" fmla="*/ 911200 h 3641849"/>
                <a:gd name="connsiteX36" fmla="*/ 694563 w 1469111"/>
                <a:gd name="connsiteY36" fmla="*/ 918934 h 3641849"/>
                <a:gd name="connsiteX37" fmla="*/ 718396 w 1469111"/>
                <a:gd name="connsiteY37" fmla="*/ 951001 h 3641849"/>
                <a:gd name="connsiteX38" fmla="*/ 874125 w 1469111"/>
                <a:gd name="connsiteY38" fmla="*/ 1007364 h 3641849"/>
                <a:gd name="connsiteX39" fmla="*/ 859717 w 1469111"/>
                <a:gd name="connsiteY39" fmla="*/ 971687 h 3641849"/>
                <a:gd name="connsiteX40" fmla="*/ 826465 w 1469111"/>
                <a:gd name="connsiteY40" fmla="*/ 932901 h 3641849"/>
                <a:gd name="connsiteX41" fmla="*/ 815381 w 1469111"/>
                <a:gd name="connsiteY41" fmla="*/ 881187 h 3641849"/>
                <a:gd name="connsiteX42" fmla="*/ 854176 w 1469111"/>
                <a:gd name="connsiteY42" fmla="*/ 832060 h 3641849"/>
                <a:gd name="connsiteX43" fmla="*/ 881886 w 1469111"/>
                <a:gd name="connsiteY43" fmla="*/ 803617 h 3641849"/>
                <a:gd name="connsiteX44" fmla="*/ 906826 w 1469111"/>
                <a:gd name="connsiteY44" fmla="*/ 767417 h 3641849"/>
                <a:gd name="connsiteX45" fmla="*/ 987186 w 1469111"/>
                <a:gd name="connsiteY45" fmla="*/ 762245 h 3641849"/>
                <a:gd name="connsiteX46" fmla="*/ 992727 w 1469111"/>
                <a:gd name="connsiteY46" fmla="*/ 741560 h 3641849"/>
                <a:gd name="connsiteX47" fmla="*/ 1017667 w 1469111"/>
                <a:gd name="connsiteY47" fmla="*/ 705360 h 3641849"/>
                <a:gd name="connsiteX48" fmla="*/ 1051471 w 1469111"/>
                <a:gd name="connsiteY48" fmla="*/ 687772 h 3641849"/>
                <a:gd name="connsiteX49" fmla="*/ 1109111 w 1469111"/>
                <a:gd name="connsiteY49" fmla="*/ 700189 h 3641849"/>
                <a:gd name="connsiteX50" fmla="*/ 1147904 w 1469111"/>
                <a:gd name="connsiteY50" fmla="*/ 720875 h 3641849"/>
                <a:gd name="connsiteX51" fmla="*/ 1195012 w 1469111"/>
                <a:gd name="connsiteY51" fmla="*/ 728632 h 3641849"/>
                <a:gd name="connsiteX52" fmla="*/ 1195012 w 1469111"/>
                <a:gd name="connsiteY52" fmla="*/ 733803 h 3641849"/>
                <a:gd name="connsiteX53" fmla="*/ 1217181 w 1469111"/>
                <a:gd name="connsiteY53" fmla="*/ 674332 h 3641849"/>
                <a:gd name="connsiteX54" fmla="*/ 1227156 w 1469111"/>
                <a:gd name="connsiteY54" fmla="*/ 640714 h 3641849"/>
                <a:gd name="connsiteX55" fmla="*/ 1233807 w 1469111"/>
                <a:gd name="connsiteY55" fmla="*/ 622618 h 3641849"/>
                <a:gd name="connsiteX56" fmla="*/ 1236744 w 1469111"/>
                <a:gd name="connsiteY56" fmla="*/ 591288 h 3641849"/>
                <a:gd name="connsiteX57" fmla="*/ 1156218 w 1469111"/>
                <a:gd name="connsiteY57" fmla="*/ 545048 h 3641849"/>
                <a:gd name="connsiteX58" fmla="*/ 1142363 w 1469111"/>
                <a:gd name="connsiteY58" fmla="*/ 472648 h 3641849"/>
                <a:gd name="connsiteX59" fmla="*/ 1142363 w 1469111"/>
                <a:gd name="connsiteY59" fmla="*/ 454548 h 3641849"/>
                <a:gd name="connsiteX60" fmla="*/ 1153446 w 1469111"/>
                <a:gd name="connsiteY60" fmla="*/ 431276 h 3641849"/>
                <a:gd name="connsiteX61" fmla="*/ 1156218 w 1469111"/>
                <a:gd name="connsiteY61" fmla="*/ 415762 h 3641849"/>
                <a:gd name="connsiteX62" fmla="*/ 1156217 w 1469111"/>
                <a:gd name="connsiteY62" fmla="*/ 358878 h 3641849"/>
                <a:gd name="connsiteX63" fmla="*/ 1134049 w 1469111"/>
                <a:gd name="connsiteY63" fmla="*/ 335607 h 3641849"/>
                <a:gd name="connsiteX64" fmla="*/ 1106339 w 1469111"/>
                <a:gd name="connsiteY64" fmla="*/ 304578 h 3641849"/>
                <a:gd name="connsiteX65" fmla="*/ 1102171 w 1469111"/>
                <a:gd name="connsiteY65" fmla="*/ 280325 h 3641849"/>
                <a:gd name="connsiteX66" fmla="*/ 1153447 w 1469111"/>
                <a:gd name="connsiteY66" fmla="*/ 258034 h 3641849"/>
                <a:gd name="connsiteX67" fmla="*/ 1207027 w 1469111"/>
                <a:gd name="connsiteY67" fmla="*/ 267906 h 3641849"/>
                <a:gd name="connsiteX68" fmla="*/ 1285811 w 1469111"/>
                <a:gd name="connsiteY68" fmla="*/ 279816 h 3641849"/>
                <a:gd name="connsiteX69" fmla="*/ 1370134 w 1469111"/>
                <a:gd name="connsiteY69" fmla="*/ 349175 h 3641849"/>
                <a:gd name="connsiteX70" fmla="*/ 1432269 w 1469111"/>
                <a:gd name="connsiteY70" fmla="*/ 425271 h 3641849"/>
                <a:gd name="connsiteX71" fmla="*/ 1331298 w 1469111"/>
                <a:gd name="connsiteY71" fmla="*/ 454265 h 3641849"/>
                <a:gd name="connsiteX72" fmla="*/ 1315764 w 1469111"/>
                <a:gd name="connsiteY72" fmla="*/ 501372 h 3641849"/>
                <a:gd name="connsiteX73" fmla="*/ 1373434 w 1469111"/>
                <a:gd name="connsiteY73" fmla="*/ 585862 h 3641849"/>
                <a:gd name="connsiteX74" fmla="*/ 1408968 w 1469111"/>
                <a:gd name="connsiteY74" fmla="*/ 591964 h 3641849"/>
                <a:gd name="connsiteX75" fmla="*/ 1461588 w 1469111"/>
                <a:gd name="connsiteY75" fmla="*/ 598304 h 3641849"/>
                <a:gd name="connsiteX76" fmla="*/ 1456625 w 1469111"/>
                <a:gd name="connsiteY76" fmla="*/ 709079 h 3641849"/>
                <a:gd name="connsiteX77" fmla="*/ 1467694 w 1469111"/>
                <a:gd name="connsiteY77" fmla="*/ 1040047 h 3641849"/>
                <a:gd name="connsiteX78" fmla="*/ 1458826 w 1469111"/>
                <a:gd name="connsiteY78" fmla="*/ 1842646 h 3641849"/>
                <a:gd name="connsiteX79" fmla="*/ 1467693 w 1469111"/>
                <a:gd name="connsiteY79" fmla="*/ 2297728 h 3641849"/>
                <a:gd name="connsiteX80" fmla="*/ 1441245 w 1469111"/>
                <a:gd name="connsiteY80" fmla="*/ 3607693 h 3641849"/>
                <a:gd name="connsiteX81" fmla="*/ 1182818 w 1469111"/>
                <a:gd name="connsiteY81" fmla="*/ 3564098 h 3641849"/>
                <a:gd name="connsiteX82" fmla="*/ 1014340 w 1469111"/>
                <a:gd name="connsiteY82" fmla="*/ 3497903 h 3641849"/>
                <a:gd name="connsiteX83" fmla="*/ 836994 w 1469111"/>
                <a:gd name="connsiteY83" fmla="*/ 3406887 h 3641849"/>
                <a:gd name="connsiteX84" fmla="*/ 738696 w 1469111"/>
                <a:gd name="connsiteY84" fmla="*/ 3326370 h 3641849"/>
                <a:gd name="connsiteX85" fmla="*/ 1032958 w 1469111"/>
                <a:gd name="connsiteY85" fmla="*/ 3018734 h 3641849"/>
                <a:gd name="connsiteX86" fmla="*/ 749204 w 1469111"/>
                <a:gd name="connsiteY86" fmla="*/ 2480910 h 3641849"/>
                <a:gd name="connsiteX87" fmla="*/ 891554 w 1469111"/>
                <a:gd name="connsiteY87" fmla="*/ 2241825 h 3641849"/>
                <a:gd name="connsiteX88" fmla="*/ 704867 w 1469111"/>
                <a:gd name="connsiteY88" fmla="*/ 1703134 h 3641849"/>
                <a:gd name="connsiteX89" fmla="*/ 456583 w 1469111"/>
                <a:gd name="connsiteY89" fmla="*/ 1471456 h 3641849"/>
                <a:gd name="connsiteX90" fmla="*/ 447716 w 1469111"/>
                <a:gd name="connsiteY90" fmla="*/ 1355617 h 3641849"/>
                <a:gd name="connsiteX91" fmla="*/ 42188 w 1469111"/>
                <a:gd name="connsiteY91" fmla="*/ 551628 h 3641849"/>
                <a:gd name="connsiteX0" fmla="*/ 42188 w 1469111"/>
                <a:gd name="connsiteY0" fmla="*/ 551628 h 3641849"/>
                <a:gd name="connsiteX1" fmla="*/ 11624 w 1469111"/>
                <a:gd name="connsiteY1" fmla="*/ 249265 h 3641849"/>
                <a:gd name="connsiteX2" fmla="*/ 78127 w 1469111"/>
                <a:gd name="connsiteY2" fmla="*/ 161351 h 3641849"/>
                <a:gd name="connsiteX3" fmla="*/ 166802 w 1469111"/>
                <a:gd name="connsiteY3" fmla="*/ 88952 h 3641849"/>
                <a:gd name="connsiteX4" fmla="*/ 177886 w 1469111"/>
                <a:gd name="connsiteY4" fmla="*/ 34652 h 3641849"/>
                <a:gd name="connsiteX5" fmla="*/ 180658 w 1469111"/>
                <a:gd name="connsiteY5" fmla="*/ 3624 h 3641849"/>
                <a:gd name="connsiteX6" fmla="*/ 316438 w 1469111"/>
                <a:gd name="connsiteY6" fmla="*/ 57924 h 3641849"/>
                <a:gd name="connsiteX7" fmla="*/ 346918 w 1469111"/>
                <a:gd name="connsiteY7" fmla="*/ 161352 h 3641849"/>
                <a:gd name="connsiteX8" fmla="*/ 360774 w 1469111"/>
                <a:gd name="connsiteY8" fmla="*/ 184622 h 3641849"/>
                <a:gd name="connsiteX9" fmla="*/ 371858 w 1469111"/>
                <a:gd name="connsiteY9" fmla="*/ 187208 h 3641849"/>
                <a:gd name="connsiteX10" fmla="*/ 485470 w 1469111"/>
                <a:gd name="connsiteY10" fmla="*/ 156181 h 3641849"/>
                <a:gd name="connsiteX11" fmla="*/ 551975 w 1469111"/>
                <a:gd name="connsiteY11" fmla="*/ 166522 h 3641849"/>
                <a:gd name="connsiteX12" fmla="*/ 615709 w 1469111"/>
                <a:gd name="connsiteY12" fmla="*/ 213065 h 3641849"/>
                <a:gd name="connsiteX13" fmla="*/ 629736 w 1469111"/>
                <a:gd name="connsiteY13" fmla="*/ 242621 h 3641849"/>
                <a:gd name="connsiteX14" fmla="*/ 684983 w 1469111"/>
                <a:gd name="connsiteY14" fmla="*/ 277708 h 3641849"/>
                <a:gd name="connsiteX15" fmla="*/ 773657 w 1469111"/>
                <a:gd name="connsiteY15" fmla="*/ 303563 h 3641849"/>
                <a:gd name="connsiteX16" fmla="*/ 845703 w 1469111"/>
                <a:gd name="connsiteY16" fmla="*/ 350106 h 3641849"/>
                <a:gd name="connsiteX17" fmla="*/ 895582 w 1469111"/>
                <a:gd name="connsiteY17" fmla="*/ 401820 h 3641849"/>
                <a:gd name="connsiteX18" fmla="*/ 920521 w 1469111"/>
                <a:gd name="connsiteY18" fmla="*/ 440606 h 3641849"/>
                <a:gd name="connsiteX19" fmla="*/ 953774 w 1469111"/>
                <a:gd name="connsiteY19" fmla="*/ 466462 h 3641849"/>
                <a:gd name="connsiteX20" fmla="*/ 937146 w 1469111"/>
                <a:gd name="connsiteY20" fmla="*/ 691417 h 3641849"/>
                <a:gd name="connsiteX21" fmla="*/ 809680 w 1469111"/>
                <a:gd name="connsiteY21" fmla="*/ 771575 h 3641849"/>
                <a:gd name="connsiteX22" fmla="*/ 696068 w 1469111"/>
                <a:gd name="connsiteY22" fmla="*/ 779331 h 3641849"/>
                <a:gd name="connsiteX23" fmla="*/ 557515 w 1469111"/>
                <a:gd name="connsiteY23" fmla="*/ 758645 h 3641849"/>
                <a:gd name="connsiteX24" fmla="*/ 466071 w 1469111"/>
                <a:gd name="connsiteY24" fmla="*/ 722445 h 3641849"/>
                <a:gd name="connsiteX25" fmla="*/ 446674 w 1469111"/>
                <a:gd name="connsiteY25" fmla="*/ 750888 h 3641849"/>
                <a:gd name="connsiteX26" fmla="*/ 477316 w 1469111"/>
                <a:gd name="connsiteY26" fmla="*/ 824301 h 3641849"/>
                <a:gd name="connsiteX27" fmla="*/ 482857 w 1469111"/>
                <a:gd name="connsiteY27" fmla="*/ 951000 h 3641849"/>
                <a:gd name="connsiteX28" fmla="*/ 454987 w 1469111"/>
                <a:gd name="connsiteY28" fmla="*/ 1012043 h 3641849"/>
                <a:gd name="connsiteX29" fmla="*/ 510406 w 1469111"/>
                <a:gd name="connsiteY29" fmla="*/ 1032728 h 3641849"/>
                <a:gd name="connsiteX30" fmla="*/ 527034 w 1469111"/>
                <a:gd name="connsiteY30" fmla="*/ 1048242 h 3641849"/>
                <a:gd name="connsiteX31" fmla="*/ 551974 w 1469111"/>
                <a:gd name="connsiteY31" fmla="*/ 1074099 h 3641849"/>
                <a:gd name="connsiteX32" fmla="*/ 549203 w 1469111"/>
                <a:gd name="connsiteY32" fmla="*/ 1076685 h 3641849"/>
                <a:gd name="connsiteX33" fmla="*/ 587996 w 1469111"/>
                <a:gd name="connsiteY33" fmla="*/ 1071514 h 3641849"/>
                <a:gd name="connsiteX34" fmla="*/ 596310 w 1469111"/>
                <a:gd name="connsiteY34" fmla="*/ 1035314 h 3641849"/>
                <a:gd name="connsiteX35" fmla="*/ 557515 w 1469111"/>
                <a:gd name="connsiteY35" fmla="*/ 957743 h 3641849"/>
                <a:gd name="connsiteX36" fmla="*/ 626791 w 1469111"/>
                <a:gd name="connsiteY36" fmla="*/ 911200 h 3641849"/>
                <a:gd name="connsiteX37" fmla="*/ 694563 w 1469111"/>
                <a:gd name="connsiteY37" fmla="*/ 918934 h 3641849"/>
                <a:gd name="connsiteX38" fmla="*/ 718396 w 1469111"/>
                <a:gd name="connsiteY38" fmla="*/ 951001 h 3641849"/>
                <a:gd name="connsiteX39" fmla="*/ 874125 w 1469111"/>
                <a:gd name="connsiteY39" fmla="*/ 1007364 h 3641849"/>
                <a:gd name="connsiteX40" fmla="*/ 859717 w 1469111"/>
                <a:gd name="connsiteY40" fmla="*/ 971687 h 3641849"/>
                <a:gd name="connsiteX41" fmla="*/ 826465 w 1469111"/>
                <a:gd name="connsiteY41" fmla="*/ 932901 h 3641849"/>
                <a:gd name="connsiteX42" fmla="*/ 815381 w 1469111"/>
                <a:gd name="connsiteY42" fmla="*/ 881187 h 3641849"/>
                <a:gd name="connsiteX43" fmla="*/ 854176 w 1469111"/>
                <a:gd name="connsiteY43" fmla="*/ 832060 h 3641849"/>
                <a:gd name="connsiteX44" fmla="*/ 881886 w 1469111"/>
                <a:gd name="connsiteY44" fmla="*/ 803617 h 3641849"/>
                <a:gd name="connsiteX45" fmla="*/ 906826 w 1469111"/>
                <a:gd name="connsiteY45" fmla="*/ 767417 h 3641849"/>
                <a:gd name="connsiteX46" fmla="*/ 987186 w 1469111"/>
                <a:gd name="connsiteY46" fmla="*/ 762245 h 3641849"/>
                <a:gd name="connsiteX47" fmla="*/ 992727 w 1469111"/>
                <a:gd name="connsiteY47" fmla="*/ 741560 h 3641849"/>
                <a:gd name="connsiteX48" fmla="*/ 1017667 w 1469111"/>
                <a:gd name="connsiteY48" fmla="*/ 705360 h 3641849"/>
                <a:gd name="connsiteX49" fmla="*/ 1051471 w 1469111"/>
                <a:gd name="connsiteY49" fmla="*/ 687772 h 3641849"/>
                <a:gd name="connsiteX50" fmla="*/ 1109111 w 1469111"/>
                <a:gd name="connsiteY50" fmla="*/ 700189 h 3641849"/>
                <a:gd name="connsiteX51" fmla="*/ 1147904 w 1469111"/>
                <a:gd name="connsiteY51" fmla="*/ 720875 h 3641849"/>
                <a:gd name="connsiteX52" fmla="*/ 1195012 w 1469111"/>
                <a:gd name="connsiteY52" fmla="*/ 728632 h 3641849"/>
                <a:gd name="connsiteX53" fmla="*/ 1195012 w 1469111"/>
                <a:gd name="connsiteY53" fmla="*/ 733803 h 3641849"/>
                <a:gd name="connsiteX54" fmla="*/ 1217181 w 1469111"/>
                <a:gd name="connsiteY54" fmla="*/ 674332 h 3641849"/>
                <a:gd name="connsiteX55" fmla="*/ 1227156 w 1469111"/>
                <a:gd name="connsiteY55" fmla="*/ 640714 h 3641849"/>
                <a:gd name="connsiteX56" fmla="*/ 1233807 w 1469111"/>
                <a:gd name="connsiteY56" fmla="*/ 622618 h 3641849"/>
                <a:gd name="connsiteX57" fmla="*/ 1236744 w 1469111"/>
                <a:gd name="connsiteY57" fmla="*/ 591288 h 3641849"/>
                <a:gd name="connsiteX58" fmla="*/ 1156218 w 1469111"/>
                <a:gd name="connsiteY58" fmla="*/ 545048 h 3641849"/>
                <a:gd name="connsiteX59" fmla="*/ 1142363 w 1469111"/>
                <a:gd name="connsiteY59" fmla="*/ 472648 h 3641849"/>
                <a:gd name="connsiteX60" fmla="*/ 1142363 w 1469111"/>
                <a:gd name="connsiteY60" fmla="*/ 454548 h 3641849"/>
                <a:gd name="connsiteX61" fmla="*/ 1153446 w 1469111"/>
                <a:gd name="connsiteY61" fmla="*/ 431276 h 3641849"/>
                <a:gd name="connsiteX62" fmla="*/ 1156218 w 1469111"/>
                <a:gd name="connsiteY62" fmla="*/ 415762 h 3641849"/>
                <a:gd name="connsiteX63" fmla="*/ 1156217 w 1469111"/>
                <a:gd name="connsiteY63" fmla="*/ 358878 h 3641849"/>
                <a:gd name="connsiteX64" fmla="*/ 1134049 w 1469111"/>
                <a:gd name="connsiteY64" fmla="*/ 335607 h 3641849"/>
                <a:gd name="connsiteX65" fmla="*/ 1106339 w 1469111"/>
                <a:gd name="connsiteY65" fmla="*/ 304578 h 3641849"/>
                <a:gd name="connsiteX66" fmla="*/ 1102171 w 1469111"/>
                <a:gd name="connsiteY66" fmla="*/ 280325 h 3641849"/>
                <a:gd name="connsiteX67" fmla="*/ 1153447 w 1469111"/>
                <a:gd name="connsiteY67" fmla="*/ 258034 h 3641849"/>
                <a:gd name="connsiteX68" fmla="*/ 1207027 w 1469111"/>
                <a:gd name="connsiteY68" fmla="*/ 267906 h 3641849"/>
                <a:gd name="connsiteX69" fmla="*/ 1285811 w 1469111"/>
                <a:gd name="connsiteY69" fmla="*/ 279816 h 3641849"/>
                <a:gd name="connsiteX70" fmla="*/ 1370134 w 1469111"/>
                <a:gd name="connsiteY70" fmla="*/ 349175 h 3641849"/>
                <a:gd name="connsiteX71" fmla="*/ 1432269 w 1469111"/>
                <a:gd name="connsiteY71" fmla="*/ 425271 h 3641849"/>
                <a:gd name="connsiteX72" fmla="*/ 1331298 w 1469111"/>
                <a:gd name="connsiteY72" fmla="*/ 454265 h 3641849"/>
                <a:gd name="connsiteX73" fmla="*/ 1315764 w 1469111"/>
                <a:gd name="connsiteY73" fmla="*/ 501372 h 3641849"/>
                <a:gd name="connsiteX74" fmla="*/ 1373434 w 1469111"/>
                <a:gd name="connsiteY74" fmla="*/ 585862 h 3641849"/>
                <a:gd name="connsiteX75" fmla="*/ 1408968 w 1469111"/>
                <a:gd name="connsiteY75" fmla="*/ 591964 h 3641849"/>
                <a:gd name="connsiteX76" fmla="*/ 1461588 w 1469111"/>
                <a:gd name="connsiteY76" fmla="*/ 598304 h 3641849"/>
                <a:gd name="connsiteX77" fmla="*/ 1456625 w 1469111"/>
                <a:gd name="connsiteY77" fmla="*/ 709079 h 3641849"/>
                <a:gd name="connsiteX78" fmla="*/ 1467694 w 1469111"/>
                <a:gd name="connsiteY78" fmla="*/ 1040047 h 3641849"/>
                <a:gd name="connsiteX79" fmla="*/ 1458826 w 1469111"/>
                <a:gd name="connsiteY79" fmla="*/ 1842646 h 3641849"/>
                <a:gd name="connsiteX80" fmla="*/ 1467693 w 1469111"/>
                <a:gd name="connsiteY80" fmla="*/ 2297728 h 3641849"/>
                <a:gd name="connsiteX81" fmla="*/ 1441245 w 1469111"/>
                <a:gd name="connsiteY81" fmla="*/ 3607693 h 3641849"/>
                <a:gd name="connsiteX82" fmla="*/ 1182818 w 1469111"/>
                <a:gd name="connsiteY82" fmla="*/ 3564098 h 3641849"/>
                <a:gd name="connsiteX83" fmla="*/ 1014340 w 1469111"/>
                <a:gd name="connsiteY83" fmla="*/ 3497903 h 3641849"/>
                <a:gd name="connsiteX84" fmla="*/ 836994 w 1469111"/>
                <a:gd name="connsiteY84" fmla="*/ 3406887 h 3641849"/>
                <a:gd name="connsiteX85" fmla="*/ 738696 w 1469111"/>
                <a:gd name="connsiteY85" fmla="*/ 3326370 h 3641849"/>
                <a:gd name="connsiteX86" fmla="*/ 1032958 w 1469111"/>
                <a:gd name="connsiteY86" fmla="*/ 3018734 h 3641849"/>
                <a:gd name="connsiteX87" fmla="*/ 749204 w 1469111"/>
                <a:gd name="connsiteY87" fmla="*/ 2480910 h 3641849"/>
                <a:gd name="connsiteX88" fmla="*/ 891554 w 1469111"/>
                <a:gd name="connsiteY88" fmla="*/ 2241825 h 3641849"/>
                <a:gd name="connsiteX89" fmla="*/ 704867 w 1469111"/>
                <a:gd name="connsiteY89" fmla="*/ 1703134 h 3641849"/>
                <a:gd name="connsiteX90" fmla="*/ 456583 w 1469111"/>
                <a:gd name="connsiteY90" fmla="*/ 1471456 h 3641849"/>
                <a:gd name="connsiteX91" fmla="*/ 447716 w 1469111"/>
                <a:gd name="connsiteY91" fmla="*/ 1355617 h 3641849"/>
                <a:gd name="connsiteX92" fmla="*/ 42188 w 1469111"/>
                <a:gd name="connsiteY92" fmla="*/ 551628 h 3641849"/>
                <a:gd name="connsiteX0" fmla="*/ 42188 w 1469111"/>
                <a:gd name="connsiteY0" fmla="*/ 551628 h 3641849"/>
                <a:gd name="connsiteX1" fmla="*/ 11624 w 1469111"/>
                <a:gd name="connsiteY1" fmla="*/ 249265 h 3641849"/>
                <a:gd name="connsiteX2" fmla="*/ 78127 w 1469111"/>
                <a:gd name="connsiteY2" fmla="*/ 161351 h 3641849"/>
                <a:gd name="connsiteX3" fmla="*/ 166802 w 1469111"/>
                <a:gd name="connsiteY3" fmla="*/ 88952 h 3641849"/>
                <a:gd name="connsiteX4" fmla="*/ 169572 w 1469111"/>
                <a:gd name="connsiteY4" fmla="*/ 63095 h 3641849"/>
                <a:gd name="connsiteX5" fmla="*/ 177886 w 1469111"/>
                <a:gd name="connsiteY5" fmla="*/ 34652 h 3641849"/>
                <a:gd name="connsiteX6" fmla="*/ 180658 w 1469111"/>
                <a:gd name="connsiteY6" fmla="*/ 3624 h 3641849"/>
                <a:gd name="connsiteX7" fmla="*/ 316438 w 1469111"/>
                <a:gd name="connsiteY7" fmla="*/ 57924 h 3641849"/>
                <a:gd name="connsiteX8" fmla="*/ 346918 w 1469111"/>
                <a:gd name="connsiteY8" fmla="*/ 161352 h 3641849"/>
                <a:gd name="connsiteX9" fmla="*/ 360774 w 1469111"/>
                <a:gd name="connsiteY9" fmla="*/ 184622 h 3641849"/>
                <a:gd name="connsiteX10" fmla="*/ 371858 w 1469111"/>
                <a:gd name="connsiteY10" fmla="*/ 187208 h 3641849"/>
                <a:gd name="connsiteX11" fmla="*/ 485470 w 1469111"/>
                <a:gd name="connsiteY11" fmla="*/ 156181 h 3641849"/>
                <a:gd name="connsiteX12" fmla="*/ 551975 w 1469111"/>
                <a:gd name="connsiteY12" fmla="*/ 166522 h 3641849"/>
                <a:gd name="connsiteX13" fmla="*/ 615709 w 1469111"/>
                <a:gd name="connsiteY13" fmla="*/ 213065 h 3641849"/>
                <a:gd name="connsiteX14" fmla="*/ 629736 w 1469111"/>
                <a:gd name="connsiteY14" fmla="*/ 242621 h 3641849"/>
                <a:gd name="connsiteX15" fmla="*/ 684983 w 1469111"/>
                <a:gd name="connsiteY15" fmla="*/ 277708 h 3641849"/>
                <a:gd name="connsiteX16" fmla="*/ 773657 w 1469111"/>
                <a:gd name="connsiteY16" fmla="*/ 303563 h 3641849"/>
                <a:gd name="connsiteX17" fmla="*/ 845703 w 1469111"/>
                <a:gd name="connsiteY17" fmla="*/ 350106 h 3641849"/>
                <a:gd name="connsiteX18" fmla="*/ 895582 w 1469111"/>
                <a:gd name="connsiteY18" fmla="*/ 401820 h 3641849"/>
                <a:gd name="connsiteX19" fmla="*/ 920521 w 1469111"/>
                <a:gd name="connsiteY19" fmla="*/ 440606 h 3641849"/>
                <a:gd name="connsiteX20" fmla="*/ 953774 w 1469111"/>
                <a:gd name="connsiteY20" fmla="*/ 466462 h 3641849"/>
                <a:gd name="connsiteX21" fmla="*/ 937146 w 1469111"/>
                <a:gd name="connsiteY21" fmla="*/ 691417 h 3641849"/>
                <a:gd name="connsiteX22" fmla="*/ 809680 w 1469111"/>
                <a:gd name="connsiteY22" fmla="*/ 771575 h 3641849"/>
                <a:gd name="connsiteX23" fmla="*/ 696068 w 1469111"/>
                <a:gd name="connsiteY23" fmla="*/ 779331 h 3641849"/>
                <a:gd name="connsiteX24" fmla="*/ 557515 w 1469111"/>
                <a:gd name="connsiteY24" fmla="*/ 758645 h 3641849"/>
                <a:gd name="connsiteX25" fmla="*/ 466071 w 1469111"/>
                <a:gd name="connsiteY25" fmla="*/ 722445 h 3641849"/>
                <a:gd name="connsiteX26" fmla="*/ 446674 w 1469111"/>
                <a:gd name="connsiteY26" fmla="*/ 750888 h 3641849"/>
                <a:gd name="connsiteX27" fmla="*/ 477316 w 1469111"/>
                <a:gd name="connsiteY27" fmla="*/ 824301 h 3641849"/>
                <a:gd name="connsiteX28" fmla="*/ 482857 w 1469111"/>
                <a:gd name="connsiteY28" fmla="*/ 951000 h 3641849"/>
                <a:gd name="connsiteX29" fmla="*/ 454987 w 1469111"/>
                <a:gd name="connsiteY29" fmla="*/ 1012043 h 3641849"/>
                <a:gd name="connsiteX30" fmla="*/ 510406 w 1469111"/>
                <a:gd name="connsiteY30" fmla="*/ 1032728 h 3641849"/>
                <a:gd name="connsiteX31" fmla="*/ 527034 w 1469111"/>
                <a:gd name="connsiteY31" fmla="*/ 1048242 h 3641849"/>
                <a:gd name="connsiteX32" fmla="*/ 551974 w 1469111"/>
                <a:gd name="connsiteY32" fmla="*/ 1074099 h 3641849"/>
                <a:gd name="connsiteX33" fmla="*/ 549203 w 1469111"/>
                <a:gd name="connsiteY33" fmla="*/ 1076685 h 3641849"/>
                <a:gd name="connsiteX34" fmla="*/ 587996 w 1469111"/>
                <a:gd name="connsiteY34" fmla="*/ 1071514 h 3641849"/>
                <a:gd name="connsiteX35" fmla="*/ 596310 w 1469111"/>
                <a:gd name="connsiteY35" fmla="*/ 1035314 h 3641849"/>
                <a:gd name="connsiteX36" fmla="*/ 557515 w 1469111"/>
                <a:gd name="connsiteY36" fmla="*/ 957743 h 3641849"/>
                <a:gd name="connsiteX37" fmla="*/ 626791 w 1469111"/>
                <a:gd name="connsiteY37" fmla="*/ 911200 h 3641849"/>
                <a:gd name="connsiteX38" fmla="*/ 694563 w 1469111"/>
                <a:gd name="connsiteY38" fmla="*/ 918934 h 3641849"/>
                <a:gd name="connsiteX39" fmla="*/ 718396 w 1469111"/>
                <a:gd name="connsiteY39" fmla="*/ 951001 h 3641849"/>
                <a:gd name="connsiteX40" fmla="*/ 874125 w 1469111"/>
                <a:gd name="connsiteY40" fmla="*/ 1007364 h 3641849"/>
                <a:gd name="connsiteX41" fmla="*/ 859717 w 1469111"/>
                <a:gd name="connsiteY41" fmla="*/ 971687 h 3641849"/>
                <a:gd name="connsiteX42" fmla="*/ 826465 w 1469111"/>
                <a:gd name="connsiteY42" fmla="*/ 932901 h 3641849"/>
                <a:gd name="connsiteX43" fmla="*/ 815381 w 1469111"/>
                <a:gd name="connsiteY43" fmla="*/ 881187 h 3641849"/>
                <a:gd name="connsiteX44" fmla="*/ 854176 w 1469111"/>
                <a:gd name="connsiteY44" fmla="*/ 832060 h 3641849"/>
                <a:gd name="connsiteX45" fmla="*/ 881886 w 1469111"/>
                <a:gd name="connsiteY45" fmla="*/ 803617 h 3641849"/>
                <a:gd name="connsiteX46" fmla="*/ 906826 w 1469111"/>
                <a:gd name="connsiteY46" fmla="*/ 767417 h 3641849"/>
                <a:gd name="connsiteX47" fmla="*/ 987186 w 1469111"/>
                <a:gd name="connsiteY47" fmla="*/ 762245 h 3641849"/>
                <a:gd name="connsiteX48" fmla="*/ 992727 w 1469111"/>
                <a:gd name="connsiteY48" fmla="*/ 741560 h 3641849"/>
                <a:gd name="connsiteX49" fmla="*/ 1017667 w 1469111"/>
                <a:gd name="connsiteY49" fmla="*/ 705360 h 3641849"/>
                <a:gd name="connsiteX50" fmla="*/ 1051471 w 1469111"/>
                <a:gd name="connsiteY50" fmla="*/ 687772 h 3641849"/>
                <a:gd name="connsiteX51" fmla="*/ 1109111 w 1469111"/>
                <a:gd name="connsiteY51" fmla="*/ 700189 h 3641849"/>
                <a:gd name="connsiteX52" fmla="*/ 1147904 w 1469111"/>
                <a:gd name="connsiteY52" fmla="*/ 720875 h 3641849"/>
                <a:gd name="connsiteX53" fmla="*/ 1195012 w 1469111"/>
                <a:gd name="connsiteY53" fmla="*/ 728632 h 3641849"/>
                <a:gd name="connsiteX54" fmla="*/ 1195012 w 1469111"/>
                <a:gd name="connsiteY54" fmla="*/ 733803 h 3641849"/>
                <a:gd name="connsiteX55" fmla="*/ 1217181 w 1469111"/>
                <a:gd name="connsiteY55" fmla="*/ 674332 h 3641849"/>
                <a:gd name="connsiteX56" fmla="*/ 1227156 w 1469111"/>
                <a:gd name="connsiteY56" fmla="*/ 640714 h 3641849"/>
                <a:gd name="connsiteX57" fmla="*/ 1233807 w 1469111"/>
                <a:gd name="connsiteY57" fmla="*/ 622618 h 3641849"/>
                <a:gd name="connsiteX58" fmla="*/ 1236744 w 1469111"/>
                <a:gd name="connsiteY58" fmla="*/ 591288 h 3641849"/>
                <a:gd name="connsiteX59" fmla="*/ 1156218 w 1469111"/>
                <a:gd name="connsiteY59" fmla="*/ 545048 h 3641849"/>
                <a:gd name="connsiteX60" fmla="*/ 1142363 w 1469111"/>
                <a:gd name="connsiteY60" fmla="*/ 472648 h 3641849"/>
                <a:gd name="connsiteX61" fmla="*/ 1142363 w 1469111"/>
                <a:gd name="connsiteY61" fmla="*/ 454548 h 3641849"/>
                <a:gd name="connsiteX62" fmla="*/ 1153446 w 1469111"/>
                <a:gd name="connsiteY62" fmla="*/ 431276 h 3641849"/>
                <a:gd name="connsiteX63" fmla="*/ 1156218 w 1469111"/>
                <a:gd name="connsiteY63" fmla="*/ 415762 h 3641849"/>
                <a:gd name="connsiteX64" fmla="*/ 1156217 w 1469111"/>
                <a:gd name="connsiteY64" fmla="*/ 358878 h 3641849"/>
                <a:gd name="connsiteX65" fmla="*/ 1134049 w 1469111"/>
                <a:gd name="connsiteY65" fmla="*/ 335607 h 3641849"/>
                <a:gd name="connsiteX66" fmla="*/ 1106339 w 1469111"/>
                <a:gd name="connsiteY66" fmla="*/ 304578 h 3641849"/>
                <a:gd name="connsiteX67" fmla="*/ 1102171 w 1469111"/>
                <a:gd name="connsiteY67" fmla="*/ 280325 h 3641849"/>
                <a:gd name="connsiteX68" fmla="*/ 1153447 w 1469111"/>
                <a:gd name="connsiteY68" fmla="*/ 258034 h 3641849"/>
                <a:gd name="connsiteX69" fmla="*/ 1207027 w 1469111"/>
                <a:gd name="connsiteY69" fmla="*/ 267906 h 3641849"/>
                <a:gd name="connsiteX70" fmla="*/ 1285811 w 1469111"/>
                <a:gd name="connsiteY70" fmla="*/ 279816 h 3641849"/>
                <a:gd name="connsiteX71" fmla="*/ 1370134 w 1469111"/>
                <a:gd name="connsiteY71" fmla="*/ 349175 h 3641849"/>
                <a:gd name="connsiteX72" fmla="*/ 1432269 w 1469111"/>
                <a:gd name="connsiteY72" fmla="*/ 425271 h 3641849"/>
                <a:gd name="connsiteX73" fmla="*/ 1331298 w 1469111"/>
                <a:gd name="connsiteY73" fmla="*/ 454265 h 3641849"/>
                <a:gd name="connsiteX74" fmla="*/ 1315764 w 1469111"/>
                <a:gd name="connsiteY74" fmla="*/ 501372 h 3641849"/>
                <a:gd name="connsiteX75" fmla="*/ 1373434 w 1469111"/>
                <a:gd name="connsiteY75" fmla="*/ 585862 h 3641849"/>
                <a:gd name="connsiteX76" fmla="*/ 1408968 w 1469111"/>
                <a:gd name="connsiteY76" fmla="*/ 591964 h 3641849"/>
                <a:gd name="connsiteX77" fmla="*/ 1461588 w 1469111"/>
                <a:gd name="connsiteY77" fmla="*/ 598304 h 3641849"/>
                <a:gd name="connsiteX78" fmla="*/ 1456625 w 1469111"/>
                <a:gd name="connsiteY78" fmla="*/ 709079 h 3641849"/>
                <a:gd name="connsiteX79" fmla="*/ 1467694 w 1469111"/>
                <a:gd name="connsiteY79" fmla="*/ 1040047 h 3641849"/>
                <a:gd name="connsiteX80" fmla="*/ 1458826 w 1469111"/>
                <a:gd name="connsiteY80" fmla="*/ 1842646 h 3641849"/>
                <a:gd name="connsiteX81" fmla="*/ 1467693 w 1469111"/>
                <a:gd name="connsiteY81" fmla="*/ 2297728 h 3641849"/>
                <a:gd name="connsiteX82" fmla="*/ 1441245 w 1469111"/>
                <a:gd name="connsiteY82" fmla="*/ 3607693 h 3641849"/>
                <a:gd name="connsiteX83" fmla="*/ 1182818 w 1469111"/>
                <a:gd name="connsiteY83" fmla="*/ 3564098 h 3641849"/>
                <a:gd name="connsiteX84" fmla="*/ 1014340 w 1469111"/>
                <a:gd name="connsiteY84" fmla="*/ 3497903 h 3641849"/>
                <a:gd name="connsiteX85" fmla="*/ 836994 w 1469111"/>
                <a:gd name="connsiteY85" fmla="*/ 3406887 h 3641849"/>
                <a:gd name="connsiteX86" fmla="*/ 738696 w 1469111"/>
                <a:gd name="connsiteY86" fmla="*/ 3326370 h 3641849"/>
                <a:gd name="connsiteX87" fmla="*/ 1032958 w 1469111"/>
                <a:gd name="connsiteY87" fmla="*/ 3018734 h 3641849"/>
                <a:gd name="connsiteX88" fmla="*/ 749204 w 1469111"/>
                <a:gd name="connsiteY88" fmla="*/ 2480910 h 3641849"/>
                <a:gd name="connsiteX89" fmla="*/ 891554 w 1469111"/>
                <a:gd name="connsiteY89" fmla="*/ 2241825 h 3641849"/>
                <a:gd name="connsiteX90" fmla="*/ 704867 w 1469111"/>
                <a:gd name="connsiteY90" fmla="*/ 1703134 h 3641849"/>
                <a:gd name="connsiteX91" fmla="*/ 456583 w 1469111"/>
                <a:gd name="connsiteY91" fmla="*/ 1471456 h 3641849"/>
                <a:gd name="connsiteX92" fmla="*/ 447716 w 1469111"/>
                <a:gd name="connsiteY92" fmla="*/ 1355617 h 3641849"/>
                <a:gd name="connsiteX93" fmla="*/ 42188 w 1469111"/>
                <a:gd name="connsiteY93" fmla="*/ 551628 h 3641849"/>
                <a:gd name="connsiteX0" fmla="*/ 42188 w 1469111"/>
                <a:gd name="connsiteY0" fmla="*/ 551628 h 3641849"/>
                <a:gd name="connsiteX1" fmla="*/ 11624 w 1469111"/>
                <a:gd name="connsiteY1" fmla="*/ 249265 h 3641849"/>
                <a:gd name="connsiteX2" fmla="*/ 78127 w 1469111"/>
                <a:gd name="connsiteY2" fmla="*/ 161351 h 3641849"/>
                <a:gd name="connsiteX3" fmla="*/ 100297 w 1469111"/>
                <a:gd name="connsiteY3" fmla="*/ 78609 h 3641849"/>
                <a:gd name="connsiteX4" fmla="*/ 166802 w 1469111"/>
                <a:gd name="connsiteY4" fmla="*/ 88952 h 3641849"/>
                <a:gd name="connsiteX5" fmla="*/ 169572 w 1469111"/>
                <a:gd name="connsiteY5" fmla="*/ 63095 h 3641849"/>
                <a:gd name="connsiteX6" fmla="*/ 177886 w 1469111"/>
                <a:gd name="connsiteY6" fmla="*/ 34652 h 3641849"/>
                <a:gd name="connsiteX7" fmla="*/ 180658 w 1469111"/>
                <a:gd name="connsiteY7" fmla="*/ 3624 h 3641849"/>
                <a:gd name="connsiteX8" fmla="*/ 316438 w 1469111"/>
                <a:gd name="connsiteY8" fmla="*/ 57924 h 3641849"/>
                <a:gd name="connsiteX9" fmla="*/ 346918 w 1469111"/>
                <a:gd name="connsiteY9" fmla="*/ 161352 h 3641849"/>
                <a:gd name="connsiteX10" fmla="*/ 360774 w 1469111"/>
                <a:gd name="connsiteY10" fmla="*/ 184622 h 3641849"/>
                <a:gd name="connsiteX11" fmla="*/ 371858 w 1469111"/>
                <a:gd name="connsiteY11" fmla="*/ 187208 h 3641849"/>
                <a:gd name="connsiteX12" fmla="*/ 485470 w 1469111"/>
                <a:gd name="connsiteY12" fmla="*/ 156181 h 3641849"/>
                <a:gd name="connsiteX13" fmla="*/ 551975 w 1469111"/>
                <a:gd name="connsiteY13" fmla="*/ 166522 h 3641849"/>
                <a:gd name="connsiteX14" fmla="*/ 615709 w 1469111"/>
                <a:gd name="connsiteY14" fmla="*/ 213065 h 3641849"/>
                <a:gd name="connsiteX15" fmla="*/ 629736 w 1469111"/>
                <a:gd name="connsiteY15" fmla="*/ 242621 h 3641849"/>
                <a:gd name="connsiteX16" fmla="*/ 684983 w 1469111"/>
                <a:gd name="connsiteY16" fmla="*/ 277708 h 3641849"/>
                <a:gd name="connsiteX17" fmla="*/ 773657 w 1469111"/>
                <a:gd name="connsiteY17" fmla="*/ 303563 h 3641849"/>
                <a:gd name="connsiteX18" fmla="*/ 845703 w 1469111"/>
                <a:gd name="connsiteY18" fmla="*/ 350106 h 3641849"/>
                <a:gd name="connsiteX19" fmla="*/ 895582 w 1469111"/>
                <a:gd name="connsiteY19" fmla="*/ 401820 h 3641849"/>
                <a:gd name="connsiteX20" fmla="*/ 920521 w 1469111"/>
                <a:gd name="connsiteY20" fmla="*/ 440606 h 3641849"/>
                <a:gd name="connsiteX21" fmla="*/ 953774 w 1469111"/>
                <a:gd name="connsiteY21" fmla="*/ 466462 h 3641849"/>
                <a:gd name="connsiteX22" fmla="*/ 937146 w 1469111"/>
                <a:gd name="connsiteY22" fmla="*/ 691417 h 3641849"/>
                <a:gd name="connsiteX23" fmla="*/ 809680 w 1469111"/>
                <a:gd name="connsiteY23" fmla="*/ 771575 h 3641849"/>
                <a:gd name="connsiteX24" fmla="*/ 696068 w 1469111"/>
                <a:gd name="connsiteY24" fmla="*/ 779331 h 3641849"/>
                <a:gd name="connsiteX25" fmla="*/ 557515 w 1469111"/>
                <a:gd name="connsiteY25" fmla="*/ 758645 h 3641849"/>
                <a:gd name="connsiteX26" fmla="*/ 466071 w 1469111"/>
                <a:gd name="connsiteY26" fmla="*/ 722445 h 3641849"/>
                <a:gd name="connsiteX27" fmla="*/ 446674 w 1469111"/>
                <a:gd name="connsiteY27" fmla="*/ 750888 h 3641849"/>
                <a:gd name="connsiteX28" fmla="*/ 477316 w 1469111"/>
                <a:gd name="connsiteY28" fmla="*/ 824301 h 3641849"/>
                <a:gd name="connsiteX29" fmla="*/ 482857 w 1469111"/>
                <a:gd name="connsiteY29" fmla="*/ 951000 h 3641849"/>
                <a:gd name="connsiteX30" fmla="*/ 454987 w 1469111"/>
                <a:gd name="connsiteY30" fmla="*/ 1012043 h 3641849"/>
                <a:gd name="connsiteX31" fmla="*/ 510406 w 1469111"/>
                <a:gd name="connsiteY31" fmla="*/ 1032728 h 3641849"/>
                <a:gd name="connsiteX32" fmla="*/ 527034 w 1469111"/>
                <a:gd name="connsiteY32" fmla="*/ 1048242 h 3641849"/>
                <a:gd name="connsiteX33" fmla="*/ 551974 w 1469111"/>
                <a:gd name="connsiteY33" fmla="*/ 1074099 h 3641849"/>
                <a:gd name="connsiteX34" fmla="*/ 549203 w 1469111"/>
                <a:gd name="connsiteY34" fmla="*/ 1076685 h 3641849"/>
                <a:gd name="connsiteX35" fmla="*/ 587996 w 1469111"/>
                <a:gd name="connsiteY35" fmla="*/ 1071514 h 3641849"/>
                <a:gd name="connsiteX36" fmla="*/ 596310 w 1469111"/>
                <a:gd name="connsiteY36" fmla="*/ 1035314 h 3641849"/>
                <a:gd name="connsiteX37" fmla="*/ 557515 w 1469111"/>
                <a:gd name="connsiteY37" fmla="*/ 957743 h 3641849"/>
                <a:gd name="connsiteX38" fmla="*/ 626791 w 1469111"/>
                <a:gd name="connsiteY38" fmla="*/ 911200 h 3641849"/>
                <a:gd name="connsiteX39" fmla="*/ 694563 w 1469111"/>
                <a:gd name="connsiteY39" fmla="*/ 918934 h 3641849"/>
                <a:gd name="connsiteX40" fmla="*/ 718396 w 1469111"/>
                <a:gd name="connsiteY40" fmla="*/ 951001 h 3641849"/>
                <a:gd name="connsiteX41" fmla="*/ 874125 w 1469111"/>
                <a:gd name="connsiteY41" fmla="*/ 1007364 h 3641849"/>
                <a:gd name="connsiteX42" fmla="*/ 859717 w 1469111"/>
                <a:gd name="connsiteY42" fmla="*/ 971687 h 3641849"/>
                <a:gd name="connsiteX43" fmla="*/ 826465 w 1469111"/>
                <a:gd name="connsiteY43" fmla="*/ 932901 h 3641849"/>
                <a:gd name="connsiteX44" fmla="*/ 815381 w 1469111"/>
                <a:gd name="connsiteY44" fmla="*/ 881187 h 3641849"/>
                <a:gd name="connsiteX45" fmla="*/ 854176 w 1469111"/>
                <a:gd name="connsiteY45" fmla="*/ 832060 h 3641849"/>
                <a:gd name="connsiteX46" fmla="*/ 881886 w 1469111"/>
                <a:gd name="connsiteY46" fmla="*/ 803617 h 3641849"/>
                <a:gd name="connsiteX47" fmla="*/ 906826 w 1469111"/>
                <a:gd name="connsiteY47" fmla="*/ 767417 h 3641849"/>
                <a:gd name="connsiteX48" fmla="*/ 987186 w 1469111"/>
                <a:gd name="connsiteY48" fmla="*/ 762245 h 3641849"/>
                <a:gd name="connsiteX49" fmla="*/ 992727 w 1469111"/>
                <a:gd name="connsiteY49" fmla="*/ 741560 h 3641849"/>
                <a:gd name="connsiteX50" fmla="*/ 1017667 w 1469111"/>
                <a:gd name="connsiteY50" fmla="*/ 705360 h 3641849"/>
                <a:gd name="connsiteX51" fmla="*/ 1051471 w 1469111"/>
                <a:gd name="connsiteY51" fmla="*/ 687772 h 3641849"/>
                <a:gd name="connsiteX52" fmla="*/ 1109111 w 1469111"/>
                <a:gd name="connsiteY52" fmla="*/ 700189 h 3641849"/>
                <a:gd name="connsiteX53" fmla="*/ 1147904 w 1469111"/>
                <a:gd name="connsiteY53" fmla="*/ 720875 h 3641849"/>
                <a:gd name="connsiteX54" fmla="*/ 1195012 w 1469111"/>
                <a:gd name="connsiteY54" fmla="*/ 728632 h 3641849"/>
                <a:gd name="connsiteX55" fmla="*/ 1195012 w 1469111"/>
                <a:gd name="connsiteY55" fmla="*/ 733803 h 3641849"/>
                <a:gd name="connsiteX56" fmla="*/ 1217181 w 1469111"/>
                <a:gd name="connsiteY56" fmla="*/ 674332 h 3641849"/>
                <a:gd name="connsiteX57" fmla="*/ 1227156 w 1469111"/>
                <a:gd name="connsiteY57" fmla="*/ 640714 h 3641849"/>
                <a:gd name="connsiteX58" fmla="*/ 1233807 w 1469111"/>
                <a:gd name="connsiteY58" fmla="*/ 622618 h 3641849"/>
                <a:gd name="connsiteX59" fmla="*/ 1236744 w 1469111"/>
                <a:gd name="connsiteY59" fmla="*/ 591288 h 3641849"/>
                <a:gd name="connsiteX60" fmla="*/ 1156218 w 1469111"/>
                <a:gd name="connsiteY60" fmla="*/ 545048 h 3641849"/>
                <a:gd name="connsiteX61" fmla="*/ 1142363 w 1469111"/>
                <a:gd name="connsiteY61" fmla="*/ 472648 h 3641849"/>
                <a:gd name="connsiteX62" fmla="*/ 1142363 w 1469111"/>
                <a:gd name="connsiteY62" fmla="*/ 454548 h 3641849"/>
                <a:gd name="connsiteX63" fmla="*/ 1153446 w 1469111"/>
                <a:gd name="connsiteY63" fmla="*/ 431276 h 3641849"/>
                <a:gd name="connsiteX64" fmla="*/ 1156218 w 1469111"/>
                <a:gd name="connsiteY64" fmla="*/ 415762 h 3641849"/>
                <a:gd name="connsiteX65" fmla="*/ 1156217 w 1469111"/>
                <a:gd name="connsiteY65" fmla="*/ 358878 h 3641849"/>
                <a:gd name="connsiteX66" fmla="*/ 1134049 w 1469111"/>
                <a:gd name="connsiteY66" fmla="*/ 335607 h 3641849"/>
                <a:gd name="connsiteX67" fmla="*/ 1106339 w 1469111"/>
                <a:gd name="connsiteY67" fmla="*/ 304578 h 3641849"/>
                <a:gd name="connsiteX68" fmla="*/ 1102171 w 1469111"/>
                <a:gd name="connsiteY68" fmla="*/ 280325 h 3641849"/>
                <a:gd name="connsiteX69" fmla="*/ 1153447 w 1469111"/>
                <a:gd name="connsiteY69" fmla="*/ 258034 h 3641849"/>
                <a:gd name="connsiteX70" fmla="*/ 1207027 w 1469111"/>
                <a:gd name="connsiteY70" fmla="*/ 267906 h 3641849"/>
                <a:gd name="connsiteX71" fmla="*/ 1285811 w 1469111"/>
                <a:gd name="connsiteY71" fmla="*/ 279816 h 3641849"/>
                <a:gd name="connsiteX72" fmla="*/ 1370134 w 1469111"/>
                <a:gd name="connsiteY72" fmla="*/ 349175 h 3641849"/>
                <a:gd name="connsiteX73" fmla="*/ 1432269 w 1469111"/>
                <a:gd name="connsiteY73" fmla="*/ 425271 h 3641849"/>
                <a:gd name="connsiteX74" fmla="*/ 1331298 w 1469111"/>
                <a:gd name="connsiteY74" fmla="*/ 454265 h 3641849"/>
                <a:gd name="connsiteX75" fmla="*/ 1315764 w 1469111"/>
                <a:gd name="connsiteY75" fmla="*/ 501372 h 3641849"/>
                <a:gd name="connsiteX76" fmla="*/ 1373434 w 1469111"/>
                <a:gd name="connsiteY76" fmla="*/ 585862 h 3641849"/>
                <a:gd name="connsiteX77" fmla="*/ 1408968 w 1469111"/>
                <a:gd name="connsiteY77" fmla="*/ 591964 h 3641849"/>
                <a:gd name="connsiteX78" fmla="*/ 1461588 w 1469111"/>
                <a:gd name="connsiteY78" fmla="*/ 598304 h 3641849"/>
                <a:gd name="connsiteX79" fmla="*/ 1456625 w 1469111"/>
                <a:gd name="connsiteY79" fmla="*/ 709079 h 3641849"/>
                <a:gd name="connsiteX80" fmla="*/ 1467694 w 1469111"/>
                <a:gd name="connsiteY80" fmla="*/ 1040047 h 3641849"/>
                <a:gd name="connsiteX81" fmla="*/ 1458826 w 1469111"/>
                <a:gd name="connsiteY81" fmla="*/ 1842646 h 3641849"/>
                <a:gd name="connsiteX82" fmla="*/ 1467693 w 1469111"/>
                <a:gd name="connsiteY82" fmla="*/ 2297728 h 3641849"/>
                <a:gd name="connsiteX83" fmla="*/ 1441245 w 1469111"/>
                <a:gd name="connsiteY83" fmla="*/ 3607693 h 3641849"/>
                <a:gd name="connsiteX84" fmla="*/ 1182818 w 1469111"/>
                <a:gd name="connsiteY84" fmla="*/ 3564098 h 3641849"/>
                <a:gd name="connsiteX85" fmla="*/ 1014340 w 1469111"/>
                <a:gd name="connsiteY85" fmla="*/ 3497903 h 3641849"/>
                <a:gd name="connsiteX86" fmla="*/ 836994 w 1469111"/>
                <a:gd name="connsiteY86" fmla="*/ 3406887 h 3641849"/>
                <a:gd name="connsiteX87" fmla="*/ 738696 w 1469111"/>
                <a:gd name="connsiteY87" fmla="*/ 3326370 h 3641849"/>
                <a:gd name="connsiteX88" fmla="*/ 1032958 w 1469111"/>
                <a:gd name="connsiteY88" fmla="*/ 3018734 h 3641849"/>
                <a:gd name="connsiteX89" fmla="*/ 749204 w 1469111"/>
                <a:gd name="connsiteY89" fmla="*/ 2480910 h 3641849"/>
                <a:gd name="connsiteX90" fmla="*/ 891554 w 1469111"/>
                <a:gd name="connsiteY90" fmla="*/ 2241825 h 3641849"/>
                <a:gd name="connsiteX91" fmla="*/ 704867 w 1469111"/>
                <a:gd name="connsiteY91" fmla="*/ 1703134 h 3641849"/>
                <a:gd name="connsiteX92" fmla="*/ 456583 w 1469111"/>
                <a:gd name="connsiteY92" fmla="*/ 1471456 h 3641849"/>
                <a:gd name="connsiteX93" fmla="*/ 447716 w 1469111"/>
                <a:gd name="connsiteY93" fmla="*/ 1355617 h 3641849"/>
                <a:gd name="connsiteX94" fmla="*/ 42188 w 1469111"/>
                <a:gd name="connsiteY94" fmla="*/ 551628 h 3641849"/>
                <a:gd name="connsiteX0" fmla="*/ 42188 w 1469111"/>
                <a:gd name="connsiteY0" fmla="*/ 551628 h 3641849"/>
                <a:gd name="connsiteX1" fmla="*/ 11624 w 1469111"/>
                <a:gd name="connsiteY1" fmla="*/ 249265 h 3641849"/>
                <a:gd name="connsiteX2" fmla="*/ 78127 w 1469111"/>
                <a:gd name="connsiteY2" fmla="*/ 161351 h 3641849"/>
                <a:gd name="connsiteX3" fmla="*/ 100297 w 1469111"/>
                <a:gd name="connsiteY3" fmla="*/ 78609 h 3641849"/>
                <a:gd name="connsiteX4" fmla="*/ 133549 w 1469111"/>
                <a:gd name="connsiteY4" fmla="*/ 107051 h 3641849"/>
                <a:gd name="connsiteX5" fmla="*/ 166802 w 1469111"/>
                <a:gd name="connsiteY5" fmla="*/ 88952 h 3641849"/>
                <a:gd name="connsiteX6" fmla="*/ 169572 w 1469111"/>
                <a:gd name="connsiteY6" fmla="*/ 63095 h 3641849"/>
                <a:gd name="connsiteX7" fmla="*/ 177886 w 1469111"/>
                <a:gd name="connsiteY7" fmla="*/ 34652 h 3641849"/>
                <a:gd name="connsiteX8" fmla="*/ 180658 w 1469111"/>
                <a:gd name="connsiteY8" fmla="*/ 3624 h 3641849"/>
                <a:gd name="connsiteX9" fmla="*/ 316438 w 1469111"/>
                <a:gd name="connsiteY9" fmla="*/ 57924 h 3641849"/>
                <a:gd name="connsiteX10" fmla="*/ 346918 w 1469111"/>
                <a:gd name="connsiteY10" fmla="*/ 161352 h 3641849"/>
                <a:gd name="connsiteX11" fmla="*/ 360774 w 1469111"/>
                <a:gd name="connsiteY11" fmla="*/ 184622 h 3641849"/>
                <a:gd name="connsiteX12" fmla="*/ 371858 w 1469111"/>
                <a:gd name="connsiteY12" fmla="*/ 187208 h 3641849"/>
                <a:gd name="connsiteX13" fmla="*/ 485470 w 1469111"/>
                <a:gd name="connsiteY13" fmla="*/ 156181 h 3641849"/>
                <a:gd name="connsiteX14" fmla="*/ 551975 w 1469111"/>
                <a:gd name="connsiteY14" fmla="*/ 166522 h 3641849"/>
                <a:gd name="connsiteX15" fmla="*/ 615709 w 1469111"/>
                <a:gd name="connsiteY15" fmla="*/ 213065 h 3641849"/>
                <a:gd name="connsiteX16" fmla="*/ 629736 w 1469111"/>
                <a:gd name="connsiteY16" fmla="*/ 242621 h 3641849"/>
                <a:gd name="connsiteX17" fmla="*/ 684983 w 1469111"/>
                <a:gd name="connsiteY17" fmla="*/ 277708 h 3641849"/>
                <a:gd name="connsiteX18" fmla="*/ 773657 w 1469111"/>
                <a:gd name="connsiteY18" fmla="*/ 303563 h 3641849"/>
                <a:gd name="connsiteX19" fmla="*/ 845703 w 1469111"/>
                <a:gd name="connsiteY19" fmla="*/ 350106 h 3641849"/>
                <a:gd name="connsiteX20" fmla="*/ 895582 w 1469111"/>
                <a:gd name="connsiteY20" fmla="*/ 401820 h 3641849"/>
                <a:gd name="connsiteX21" fmla="*/ 920521 w 1469111"/>
                <a:gd name="connsiteY21" fmla="*/ 440606 h 3641849"/>
                <a:gd name="connsiteX22" fmla="*/ 953774 w 1469111"/>
                <a:gd name="connsiteY22" fmla="*/ 466462 h 3641849"/>
                <a:gd name="connsiteX23" fmla="*/ 937146 w 1469111"/>
                <a:gd name="connsiteY23" fmla="*/ 691417 h 3641849"/>
                <a:gd name="connsiteX24" fmla="*/ 809680 w 1469111"/>
                <a:gd name="connsiteY24" fmla="*/ 771575 h 3641849"/>
                <a:gd name="connsiteX25" fmla="*/ 696068 w 1469111"/>
                <a:gd name="connsiteY25" fmla="*/ 779331 h 3641849"/>
                <a:gd name="connsiteX26" fmla="*/ 557515 w 1469111"/>
                <a:gd name="connsiteY26" fmla="*/ 758645 h 3641849"/>
                <a:gd name="connsiteX27" fmla="*/ 466071 w 1469111"/>
                <a:gd name="connsiteY27" fmla="*/ 722445 h 3641849"/>
                <a:gd name="connsiteX28" fmla="*/ 446674 w 1469111"/>
                <a:gd name="connsiteY28" fmla="*/ 750888 h 3641849"/>
                <a:gd name="connsiteX29" fmla="*/ 477316 w 1469111"/>
                <a:gd name="connsiteY29" fmla="*/ 824301 h 3641849"/>
                <a:gd name="connsiteX30" fmla="*/ 482857 w 1469111"/>
                <a:gd name="connsiteY30" fmla="*/ 951000 h 3641849"/>
                <a:gd name="connsiteX31" fmla="*/ 454987 w 1469111"/>
                <a:gd name="connsiteY31" fmla="*/ 1012043 h 3641849"/>
                <a:gd name="connsiteX32" fmla="*/ 510406 w 1469111"/>
                <a:gd name="connsiteY32" fmla="*/ 1032728 h 3641849"/>
                <a:gd name="connsiteX33" fmla="*/ 527034 w 1469111"/>
                <a:gd name="connsiteY33" fmla="*/ 1048242 h 3641849"/>
                <a:gd name="connsiteX34" fmla="*/ 551974 w 1469111"/>
                <a:gd name="connsiteY34" fmla="*/ 1074099 h 3641849"/>
                <a:gd name="connsiteX35" fmla="*/ 549203 w 1469111"/>
                <a:gd name="connsiteY35" fmla="*/ 1076685 h 3641849"/>
                <a:gd name="connsiteX36" fmla="*/ 587996 w 1469111"/>
                <a:gd name="connsiteY36" fmla="*/ 1071514 h 3641849"/>
                <a:gd name="connsiteX37" fmla="*/ 596310 w 1469111"/>
                <a:gd name="connsiteY37" fmla="*/ 1035314 h 3641849"/>
                <a:gd name="connsiteX38" fmla="*/ 557515 w 1469111"/>
                <a:gd name="connsiteY38" fmla="*/ 957743 h 3641849"/>
                <a:gd name="connsiteX39" fmla="*/ 626791 w 1469111"/>
                <a:gd name="connsiteY39" fmla="*/ 911200 h 3641849"/>
                <a:gd name="connsiteX40" fmla="*/ 694563 w 1469111"/>
                <a:gd name="connsiteY40" fmla="*/ 918934 h 3641849"/>
                <a:gd name="connsiteX41" fmla="*/ 718396 w 1469111"/>
                <a:gd name="connsiteY41" fmla="*/ 951001 h 3641849"/>
                <a:gd name="connsiteX42" fmla="*/ 874125 w 1469111"/>
                <a:gd name="connsiteY42" fmla="*/ 1007364 h 3641849"/>
                <a:gd name="connsiteX43" fmla="*/ 859717 w 1469111"/>
                <a:gd name="connsiteY43" fmla="*/ 971687 h 3641849"/>
                <a:gd name="connsiteX44" fmla="*/ 826465 w 1469111"/>
                <a:gd name="connsiteY44" fmla="*/ 932901 h 3641849"/>
                <a:gd name="connsiteX45" fmla="*/ 815381 w 1469111"/>
                <a:gd name="connsiteY45" fmla="*/ 881187 h 3641849"/>
                <a:gd name="connsiteX46" fmla="*/ 854176 w 1469111"/>
                <a:gd name="connsiteY46" fmla="*/ 832060 h 3641849"/>
                <a:gd name="connsiteX47" fmla="*/ 881886 w 1469111"/>
                <a:gd name="connsiteY47" fmla="*/ 803617 h 3641849"/>
                <a:gd name="connsiteX48" fmla="*/ 906826 w 1469111"/>
                <a:gd name="connsiteY48" fmla="*/ 767417 h 3641849"/>
                <a:gd name="connsiteX49" fmla="*/ 987186 w 1469111"/>
                <a:gd name="connsiteY49" fmla="*/ 762245 h 3641849"/>
                <a:gd name="connsiteX50" fmla="*/ 992727 w 1469111"/>
                <a:gd name="connsiteY50" fmla="*/ 741560 h 3641849"/>
                <a:gd name="connsiteX51" fmla="*/ 1017667 w 1469111"/>
                <a:gd name="connsiteY51" fmla="*/ 705360 h 3641849"/>
                <a:gd name="connsiteX52" fmla="*/ 1051471 w 1469111"/>
                <a:gd name="connsiteY52" fmla="*/ 687772 h 3641849"/>
                <a:gd name="connsiteX53" fmla="*/ 1109111 w 1469111"/>
                <a:gd name="connsiteY53" fmla="*/ 700189 h 3641849"/>
                <a:gd name="connsiteX54" fmla="*/ 1147904 w 1469111"/>
                <a:gd name="connsiteY54" fmla="*/ 720875 h 3641849"/>
                <a:gd name="connsiteX55" fmla="*/ 1195012 w 1469111"/>
                <a:gd name="connsiteY55" fmla="*/ 728632 h 3641849"/>
                <a:gd name="connsiteX56" fmla="*/ 1195012 w 1469111"/>
                <a:gd name="connsiteY56" fmla="*/ 733803 h 3641849"/>
                <a:gd name="connsiteX57" fmla="*/ 1217181 w 1469111"/>
                <a:gd name="connsiteY57" fmla="*/ 674332 h 3641849"/>
                <a:gd name="connsiteX58" fmla="*/ 1227156 w 1469111"/>
                <a:gd name="connsiteY58" fmla="*/ 640714 h 3641849"/>
                <a:gd name="connsiteX59" fmla="*/ 1233807 w 1469111"/>
                <a:gd name="connsiteY59" fmla="*/ 622618 h 3641849"/>
                <a:gd name="connsiteX60" fmla="*/ 1236744 w 1469111"/>
                <a:gd name="connsiteY60" fmla="*/ 591288 h 3641849"/>
                <a:gd name="connsiteX61" fmla="*/ 1156218 w 1469111"/>
                <a:gd name="connsiteY61" fmla="*/ 545048 h 3641849"/>
                <a:gd name="connsiteX62" fmla="*/ 1142363 w 1469111"/>
                <a:gd name="connsiteY62" fmla="*/ 472648 h 3641849"/>
                <a:gd name="connsiteX63" fmla="*/ 1142363 w 1469111"/>
                <a:gd name="connsiteY63" fmla="*/ 454548 h 3641849"/>
                <a:gd name="connsiteX64" fmla="*/ 1153446 w 1469111"/>
                <a:gd name="connsiteY64" fmla="*/ 431276 h 3641849"/>
                <a:gd name="connsiteX65" fmla="*/ 1156218 w 1469111"/>
                <a:gd name="connsiteY65" fmla="*/ 415762 h 3641849"/>
                <a:gd name="connsiteX66" fmla="*/ 1156217 w 1469111"/>
                <a:gd name="connsiteY66" fmla="*/ 358878 h 3641849"/>
                <a:gd name="connsiteX67" fmla="*/ 1134049 w 1469111"/>
                <a:gd name="connsiteY67" fmla="*/ 335607 h 3641849"/>
                <a:gd name="connsiteX68" fmla="*/ 1106339 w 1469111"/>
                <a:gd name="connsiteY68" fmla="*/ 304578 h 3641849"/>
                <a:gd name="connsiteX69" fmla="*/ 1102171 w 1469111"/>
                <a:gd name="connsiteY69" fmla="*/ 280325 h 3641849"/>
                <a:gd name="connsiteX70" fmla="*/ 1153447 w 1469111"/>
                <a:gd name="connsiteY70" fmla="*/ 258034 h 3641849"/>
                <a:gd name="connsiteX71" fmla="*/ 1207027 w 1469111"/>
                <a:gd name="connsiteY71" fmla="*/ 267906 h 3641849"/>
                <a:gd name="connsiteX72" fmla="*/ 1285811 w 1469111"/>
                <a:gd name="connsiteY72" fmla="*/ 279816 h 3641849"/>
                <a:gd name="connsiteX73" fmla="*/ 1370134 w 1469111"/>
                <a:gd name="connsiteY73" fmla="*/ 349175 h 3641849"/>
                <a:gd name="connsiteX74" fmla="*/ 1432269 w 1469111"/>
                <a:gd name="connsiteY74" fmla="*/ 425271 h 3641849"/>
                <a:gd name="connsiteX75" fmla="*/ 1331298 w 1469111"/>
                <a:gd name="connsiteY75" fmla="*/ 454265 h 3641849"/>
                <a:gd name="connsiteX76" fmla="*/ 1315764 w 1469111"/>
                <a:gd name="connsiteY76" fmla="*/ 501372 h 3641849"/>
                <a:gd name="connsiteX77" fmla="*/ 1373434 w 1469111"/>
                <a:gd name="connsiteY77" fmla="*/ 585862 h 3641849"/>
                <a:gd name="connsiteX78" fmla="*/ 1408968 w 1469111"/>
                <a:gd name="connsiteY78" fmla="*/ 591964 h 3641849"/>
                <a:gd name="connsiteX79" fmla="*/ 1461588 w 1469111"/>
                <a:gd name="connsiteY79" fmla="*/ 598304 h 3641849"/>
                <a:gd name="connsiteX80" fmla="*/ 1456625 w 1469111"/>
                <a:gd name="connsiteY80" fmla="*/ 709079 h 3641849"/>
                <a:gd name="connsiteX81" fmla="*/ 1467694 w 1469111"/>
                <a:gd name="connsiteY81" fmla="*/ 1040047 h 3641849"/>
                <a:gd name="connsiteX82" fmla="*/ 1458826 w 1469111"/>
                <a:gd name="connsiteY82" fmla="*/ 1842646 h 3641849"/>
                <a:gd name="connsiteX83" fmla="*/ 1467693 w 1469111"/>
                <a:gd name="connsiteY83" fmla="*/ 2297728 h 3641849"/>
                <a:gd name="connsiteX84" fmla="*/ 1441245 w 1469111"/>
                <a:gd name="connsiteY84" fmla="*/ 3607693 h 3641849"/>
                <a:gd name="connsiteX85" fmla="*/ 1182818 w 1469111"/>
                <a:gd name="connsiteY85" fmla="*/ 3564098 h 3641849"/>
                <a:gd name="connsiteX86" fmla="*/ 1014340 w 1469111"/>
                <a:gd name="connsiteY86" fmla="*/ 3497903 h 3641849"/>
                <a:gd name="connsiteX87" fmla="*/ 836994 w 1469111"/>
                <a:gd name="connsiteY87" fmla="*/ 3406887 h 3641849"/>
                <a:gd name="connsiteX88" fmla="*/ 738696 w 1469111"/>
                <a:gd name="connsiteY88" fmla="*/ 3326370 h 3641849"/>
                <a:gd name="connsiteX89" fmla="*/ 1032958 w 1469111"/>
                <a:gd name="connsiteY89" fmla="*/ 3018734 h 3641849"/>
                <a:gd name="connsiteX90" fmla="*/ 749204 w 1469111"/>
                <a:gd name="connsiteY90" fmla="*/ 2480910 h 3641849"/>
                <a:gd name="connsiteX91" fmla="*/ 891554 w 1469111"/>
                <a:gd name="connsiteY91" fmla="*/ 2241825 h 3641849"/>
                <a:gd name="connsiteX92" fmla="*/ 704867 w 1469111"/>
                <a:gd name="connsiteY92" fmla="*/ 1703134 h 3641849"/>
                <a:gd name="connsiteX93" fmla="*/ 456583 w 1469111"/>
                <a:gd name="connsiteY93" fmla="*/ 1471456 h 3641849"/>
                <a:gd name="connsiteX94" fmla="*/ 447716 w 1469111"/>
                <a:gd name="connsiteY94" fmla="*/ 1355617 h 3641849"/>
                <a:gd name="connsiteX95" fmla="*/ 42188 w 1469111"/>
                <a:gd name="connsiteY95" fmla="*/ 551628 h 3641849"/>
                <a:gd name="connsiteX0" fmla="*/ 42188 w 1469111"/>
                <a:gd name="connsiteY0" fmla="*/ 551628 h 3641849"/>
                <a:gd name="connsiteX1" fmla="*/ 11624 w 1469111"/>
                <a:gd name="connsiteY1" fmla="*/ 249265 h 3641849"/>
                <a:gd name="connsiteX2" fmla="*/ 78127 w 1469111"/>
                <a:gd name="connsiteY2" fmla="*/ 161351 h 3641849"/>
                <a:gd name="connsiteX3" fmla="*/ 111381 w 1469111"/>
                <a:gd name="connsiteY3" fmla="*/ 117394 h 3641849"/>
                <a:gd name="connsiteX4" fmla="*/ 100297 w 1469111"/>
                <a:gd name="connsiteY4" fmla="*/ 78609 h 3641849"/>
                <a:gd name="connsiteX5" fmla="*/ 133549 w 1469111"/>
                <a:gd name="connsiteY5" fmla="*/ 107051 h 3641849"/>
                <a:gd name="connsiteX6" fmla="*/ 166802 w 1469111"/>
                <a:gd name="connsiteY6" fmla="*/ 88952 h 3641849"/>
                <a:gd name="connsiteX7" fmla="*/ 169572 w 1469111"/>
                <a:gd name="connsiteY7" fmla="*/ 63095 h 3641849"/>
                <a:gd name="connsiteX8" fmla="*/ 177886 w 1469111"/>
                <a:gd name="connsiteY8" fmla="*/ 34652 h 3641849"/>
                <a:gd name="connsiteX9" fmla="*/ 180658 w 1469111"/>
                <a:gd name="connsiteY9" fmla="*/ 3624 h 3641849"/>
                <a:gd name="connsiteX10" fmla="*/ 316438 w 1469111"/>
                <a:gd name="connsiteY10" fmla="*/ 57924 h 3641849"/>
                <a:gd name="connsiteX11" fmla="*/ 346918 w 1469111"/>
                <a:gd name="connsiteY11" fmla="*/ 161352 h 3641849"/>
                <a:gd name="connsiteX12" fmla="*/ 360774 w 1469111"/>
                <a:gd name="connsiteY12" fmla="*/ 184622 h 3641849"/>
                <a:gd name="connsiteX13" fmla="*/ 371858 w 1469111"/>
                <a:gd name="connsiteY13" fmla="*/ 187208 h 3641849"/>
                <a:gd name="connsiteX14" fmla="*/ 485470 w 1469111"/>
                <a:gd name="connsiteY14" fmla="*/ 156181 h 3641849"/>
                <a:gd name="connsiteX15" fmla="*/ 551975 w 1469111"/>
                <a:gd name="connsiteY15" fmla="*/ 166522 h 3641849"/>
                <a:gd name="connsiteX16" fmla="*/ 615709 w 1469111"/>
                <a:gd name="connsiteY16" fmla="*/ 213065 h 3641849"/>
                <a:gd name="connsiteX17" fmla="*/ 629736 w 1469111"/>
                <a:gd name="connsiteY17" fmla="*/ 242621 h 3641849"/>
                <a:gd name="connsiteX18" fmla="*/ 684983 w 1469111"/>
                <a:gd name="connsiteY18" fmla="*/ 277708 h 3641849"/>
                <a:gd name="connsiteX19" fmla="*/ 773657 w 1469111"/>
                <a:gd name="connsiteY19" fmla="*/ 303563 h 3641849"/>
                <a:gd name="connsiteX20" fmla="*/ 845703 w 1469111"/>
                <a:gd name="connsiteY20" fmla="*/ 350106 h 3641849"/>
                <a:gd name="connsiteX21" fmla="*/ 895582 w 1469111"/>
                <a:gd name="connsiteY21" fmla="*/ 401820 h 3641849"/>
                <a:gd name="connsiteX22" fmla="*/ 920521 w 1469111"/>
                <a:gd name="connsiteY22" fmla="*/ 440606 h 3641849"/>
                <a:gd name="connsiteX23" fmla="*/ 953774 w 1469111"/>
                <a:gd name="connsiteY23" fmla="*/ 466462 h 3641849"/>
                <a:gd name="connsiteX24" fmla="*/ 937146 w 1469111"/>
                <a:gd name="connsiteY24" fmla="*/ 691417 h 3641849"/>
                <a:gd name="connsiteX25" fmla="*/ 809680 w 1469111"/>
                <a:gd name="connsiteY25" fmla="*/ 771575 h 3641849"/>
                <a:gd name="connsiteX26" fmla="*/ 696068 w 1469111"/>
                <a:gd name="connsiteY26" fmla="*/ 779331 h 3641849"/>
                <a:gd name="connsiteX27" fmla="*/ 557515 w 1469111"/>
                <a:gd name="connsiteY27" fmla="*/ 758645 h 3641849"/>
                <a:gd name="connsiteX28" fmla="*/ 466071 w 1469111"/>
                <a:gd name="connsiteY28" fmla="*/ 722445 h 3641849"/>
                <a:gd name="connsiteX29" fmla="*/ 446674 w 1469111"/>
                <a:gd name="connsiteY29" fmla="*/ 750888 h 3641849"/>
                <a:gd name="connsiteX30" fmla="*/ 477316 w 1469111"/>
                <a:gd name="connsiteY30" fmla="*/ 824301 h 3641849"/>
                <a:gd name="connsiteX31" fmla="*/ 482857 w 1469111"/>
                <a:gd name="connsiteY31" fmla="*/ 951000 h 3641849"/>
                <a:gd name="connsiteX32" fmla="*/ 454987 w 1469111"/>
                <a:gd name="connsiteY32" fmla="*/ 1012043 h 3641849"/>
                <a:gd name="connsiteX33" fmla="*/ 510406 w 1469111"/>
                <a:gd name="connsiteY33" fmla="*/ 1032728 h 3641849"/>
                <a:gd name="connsiteX34" fmla="*/ 527034 w 1469111"/>
                <a:gd name="connsiteY34" fmla="*/ 1048242 h 3641849"/>
                <a:gd name="connsiteX35" fmla="*/ 551974 w 1469111"/>
                <a:gd name="connsiteY35" fmla="*/ 1074099 h 3641849"/>
                <a:gd name="connsiteX36" fmla="*/ 549203 w 1469111"/>
                <a:gd name="connsiteY36" fmla="*/ 1076685 h 3641849"/>
                <a:gd name="connsiteX37" fmla="*/ 587996 w 1469111"/>
                <a:gd name="connsiteY37" fmla="*/ 1071514 h 3641849"/>
                <a:gd name="connsiteX38" fmla="*/ 596310 w 1469111"/>
                <a:gd name="connsiteY38" fmla="*/ 1035314 h 3641849"/>
                <a:gd name="connsiteX39" fmla="*/ 557515 w 1469111"/>
                <a:gd name="connsiteY39" fmla="*/ 957743 h 3641849"/>
                <a:gd name="connsiteX40" fmla="*/ 626791 w 1469111"/>
                <a:gd name="connsiteY40" fmla="*/ 911200 h 3641849"/>
                <a:gd name="connsiteX41" fmla="*/ 694563 w 1469111"/>
                <a:gd name="connsiteY41" fmla="*/ 918934 h 3641849"/>
                <a:gd name="connsiteX42" fmla="*/ 718396 w 1469111"/>
                <a:gd name="connsiteY42" fmla="*/ 951001 h 3641849"/>
                <a:gd name="connsiteX43" fmla="*/ 874125 w 1469111"/>
                <a:gd name="connsiteY43" fmla="*/ 1007364 h 3641849"/>
                <a:gd name="connsiteX44" fmla="*/ 859717 w 1469111"/>
                <a:gd name="connsiteY44" fmla="*/ 971687 h 3641849"/>
                <a:gd name="connsiteX45" fmla="*/ 826465 w 1469111"/>
                <a:gd name="connsiteY45" fmla="*/ 932901 h 3641849"/>
                <a:gd name="connsiteX46" fmla="*/ 815381 w 1469111"/>
                <a:gd name="connsiteY46" fmla="*/ 881187 h 3641849"/>
                <a:gd name="connsiteX47" fmla="*/ 854176 w 1469111"/>
                <a:gd name="connsiteY47" fmla="*/ 832060 h 3641849"/>
                <a:gd name="connsiteX48" fmla="*/ 881886 w 1469111"/>
                <a:gd name="connsiteY48" fmla="*/ 803617 h 3641849"/>
                <a:gd name="connsiteX49" fmla="*/ 906826 w 1469111"/>
                <a:gd name="connsiteY49" fmla="*/ 767417 h 3641849"/>
                <a:gd name="connsiteX50" fmla="*/ 987186 w 1469111"/>
                <a:gd name="connsiteY50" fmla="*/ 762245 h 3641849"/>
                <a:gd name="connsiteX51" fmla="*/ 992727 w 1469111"/>
                <a:gd name="connsiteY51" fmla="*/ 741560 h 3641849"/>
                <a:gd name="connsiteX52" fmla="*/ 1017667 w 1469111"/>
                <a:gd name="connsiteY52" fmla="*/ 705360 h 3641849"/>
                <a:gd name="connsiteX53" fmla="*/ 1051471 w 1469111"/>
                <a:gd name="connsiteY53" fmla="*/ 687772 h 3641849"/>
                <a:gd name="connsiteX54" fmla="*/ 1109111 w 1469111"/>
                <a:gd name="connsiteY54" fmla="*/ 700189 h 3641849"/>
                <a:gd name="connsiteX55" fmla="*/ 1147904 w 1469111"/>
                <a:gd name="connsiteY55" fmla="*/ 720875 h 3641849"/>
                <a:gd name="connsiteX56" fmla="*/ 1195012 w 1469111"/>
                <a:gd name="connsiteY56" fmla="*/ 728632 h 3641849"/>
                <a:gd name="connsiteX57" fmla="*/ 1195012 w 1469111"/>
                <a:gd name="connsiteY57" fmla="*/ 733803 h 3641849"/>
                <a:gd name="connsiteX58" fmla="*/ 1217181 w 1469111"/>
                <a:gd name="connsiteY58" fmla="*/ 674332 h 3641849"/>
                <a:gd name="connsiteX59" fmla="*/ 1227156 w 1469111"/>
                <a:gd name="connsiteY59" fmla="*/ 640714 h 3641849"/>
                <a:gd name="connsiteX60" fmla="*/ 1233807 w 1469111"/>
                <a:gd name="connsiteY60" fmla="*/ 622618 h 3641849"/>
                <a:gd name="connsiteX61" fmla="*/ 1236744 w 1469111"/>
                <a:gd name="connsiteY61" fmla="*/ 591288 h 3641849"/>
                <a:gd name="connsiteX62" fmla="*/ 1156218 w 1469111"/>
                <a:gd name="connsiteY62" fmla="*/ 545048 h 3641849"/>
                <a:gd name="connsiteX63" fmla="*/ 1142363 w 1469111"/>
                <a:gd name="connsiteY63" fmla="*/ 472648 h 3641849"/>
                <a:gd name="connsiteX64" fmla="*/ 1142363 w 1469111"/>
                <a:gd name="connsiteY64" fmla="*/ 454548 h 3641849"/>
                <a:gd name="connsiteX65" fmla="*/ 1153446 w 1469111"/>
                <a:gd name="connsiteY65" fmla="*/ 431276 h 3641849"/>
                <a:gd name="connsiteX66" fmla="*/ 1156218 w 1469111"/>
                <a:gd name="connsiteY66" fmla="*/ 415762 h 3641849"/>
                <a:gd name="connsiteX67" fmla="*/ 1156217 w 1469111"/>
                <a:gd name="connsiteY67" fmla="*/ 358878 h 3641849"/>
                <a:gd name="connsiteX68" fmla="*/ 1134049 w 1469111"/>
                <a:gd name="connsiteY68" fmla="*/ 335607 h 3641849"/>
                <a:gd name="connsiteX69" fmla="*/ 1106339 w 1469111"/>
                <a:gd name="connsiteY69" fmla="*/ 304578 h 3641849"/>
                <a:gd name="connsiteX70" fmla="*/ 1102171 w 1469111"/>
                <a:gd name="connsiteY70" fmla="*/ 280325 h 3641849"/>
                <a:gd name="connsiteX71" fmla="*/ 1153447 w 1469111"/>
                <a:gd name="connsiteY71" fmla="*/ 258034 h 3641849"/>
                <a:gd name="connsiteX72" fmla="*/ 1207027 w 1469111"/>
                <a:gd name="connsiteY72" fmla="*/ 267906 h 3641849"/>
                <a:gd name="connsiteX73" fmla="*/ 1285811 w 1469111"/>
                <a:gd name="connsiteY73" fmla="*/ 279816 h 3641849"/>
                <a:gd name="connsiteX74" fmla="*/ 1370134 w 1469111"/>
                <a:gd name="connsiteY74" fmla="*/ 349175 h 3641849"/>
                <a:gd name="connsiteX75" fmla="*/ 1432269 w 1469111"/>
                <a:gd name="connsiteY75" fmla="*/ 425271 h 3641849"/>
                <a:gd name="connsiteX76" fmla="*/ 1331298 w 1469111"/>
                <a:gd name="connsiteY76" fmla="*/ 454265 h 3641849"/>
                <a:gd name="connsiteX77" fmla="*/ 1315764 w 1469111"/>
                <a:gd name="connsiteY77" fmla="*/ 501372 h 3641849"/>
                <a:gd name="connsiteX78" fmla="*/ 1373434 w 1469111"/>
                <a:gd name="connsiteY78" fmla="*/ 585862 h 3641849"/>
                <a:gd name="connsiteX79" fmla="*/ 1408968 w 1469111"/>
                <a:gd name="connsiteY79" fmla="*/ 591964 h 3641849"/>
                <a:gd name="connsiteX80" fmla="*/ 1461588 w 1469111"/>
                <a:gd name="connsiteY80" fmla="*/ 598304 h 3641849"/>
                <a:gd name="connsiteX81" fmla="*/ 1456625 w 1469111"/>
                <a:gd name="connsiteY81" fmla="*/ 709079 h 3641849"/>
                <a:gd name="connsiteX82" fmla="*/ 1467694 w 1469111"/>
                <a:gd name="connsiteY82" fmla="*/ 1040047 h 3641849"/>
                <a:gd name="connsiteX83" fmla="*/ 1458826 w 1469111"/>
                <a:gd name="connsiteY83" fmla="*/ 1842646 h 3641849"/>
                <a:gd name="connsiteX84" fmla="*/ 1467693 w 1469111"/>
                <a:gd name="connsiteY84" fmla="*/ 2297728 h 3641849"/>
                <a:gd name="connsiteX85" fmla="*/ 1441245 w 1469111"/>
                <a:gd name="connsiteY85" fmla="*/ 3607693 h 3641849"/>
                <a:gd name="connsiteX86" fmla="*/ 1182818 w 1469111"/>
                <a:gd name="connsiteY86" fmla="*/ 3564098 h 3641849"/>
                <a:gd name="connsiteX87" fmla="*/ 1014340 w 1469111"/>
                <a:gd name="connsiteY87" fmla="*/ 3497903 h 3641849"/>
                <a:gd name="connsiteX88" fmla="*/ 836994 w 1469111"/>
                <a:gd name="connsiteY88" fmla="*/ 3406887 h 3641849"/>
                <a:gd name="connsiteX89" fmla="*/ 738696 w 1469111"/>
                <a:gd name="connsiteY89" fmla="*/ 3326370 h 3641849"/>
                <a:gd name="connsiteX90" fmla="*/ 1032958 w 1469111"/>
                <a:gd name="connsiteY90" fmla="*/ 3018734 h 3641849"/>
                <a:gd name="connsiteX91" fmla="*/ 749204 w 1469111"/>
                <a:gd name="connsiteY91" fmla="*/ 2480910 h 3641849"/>
                <a:gd name="connsiteX92" fmla="*/ 891554 w 1469111"/>
                <a:gd name="connsiteY92" fmla="*/ 2241825 h 3641849"/>
                <a:gd name="connsiteX93" fmla="*/ 704867 w 1469111"/>
                <a:gd name="connsiteY93" fmla="*/ 1703134 h 3641849"/>
                <a:gd name="connsiteX94" fmla="*/ 456583 w 1469111"/>
                <a:gd name="connsiteY94" fmla="*/ 1471456 h 3641849"/>
                <a:gd name="connsiteX95" fmla="*/ 447716 w 1469111"/>
                <a:gd name="connsiteY95" fmla="*/ 1355617 h 3641849"/>
                <a:gd name="connsiteX96" fmla="*/ 42188 w 1469111"/>
                <a:gd name="connsiteY96" fmla="*/ 551628 h 3641849"/>
                <a:gd name="connsiteX0" fmla="*/ 42188 w 1469111"/>
                <a:gd name="connsiteY0" fmla="*/ 551628 h 3641849"/>
                <a:gd name="connsiteX1" fmla="*/ 11624 w 1469111"/>
                <a:gd name="connsiteY1" fmla="*/ 249265 h 3641849"/>
                <a:gd name="connsiteX2" fmla="*/ 78127 w 1469111"/>
                <a:gd name="connsiteY2" fmla="*/ 161351 h 3641849"/>
                <a:gd name="connsiteX3" fmla="*/ 111381 w 1469111"/>
                <a:gd name="connsiteY3" fmla="*/ 117394 h 3641849"/>
                <a:gd name="connsiteX4" fmla="*/ 111381 w 1469111"/>
                <a:gd name="connsiteY4" fmla="*/ 73438 h 3641849"/>
                <a:gd name="connsiteX5" fmla="*/ 133549 w 1469111"/>
                <a:gd name="connsiteY5" fmla="*/ 107051 h 3641849"/>
                <a:gd name="connsiteX6" fmla="*/ 166802 w 1469111"/>
                <a:gd name="connsiteY6" fmla="*/ 88952 h 3641849"/>
                <a:gd name="connsiteX7" fmla="*/ 169572 w 1469111"/>
                <a:gd name="connsiteY7" fmla="*/ 63095 h 3641849"/>
                <a:gd name="connsiteX8" fmla="*/ 177886 w 1469111"/>
                <a:gd name="connsiteY8" fmla="*/ 34652 h 3641849"/>
                <a:gd name="connsiteX9" fmla="*/ 180658 w 1469111"/>
                <a:gd name="connsiteY9" fmla="*/ 3624 h 3641849"/>
                <a:gd name="connsiteX10" fmla="*/ 316438 w 1469111"/>
                <a:gd name="connsiteY10" fmla="*/ 57924 h 3641849"/>
                <a:gd name="connsiteX11" fmla="*/ 346918 w 1469111"/>
                <a:gd name="connsiteY11" fmla="*/ 161352 h 3641849"/>
                <a:gd name="connsiteX12" fmla="*/ 360774 w 1469111"/>
                <a:gd name="connsiteY12" fmla="*/ 184622 h 3641849"/>
                <a:gd name="connsiteX13" fmla="*/ 371858 w 1469111"/>
                <a:gd name="connsiteY13" fmla="*/ 187208 h 3641849"/>
                <a:gd name="connsiteX14" fmla="*/ 485470 w 1469111"/>
                <a:gd name="connsiteY14" fmla="*/ 156181 h 3641849"/>
                <a:gd name="connsiteX15" fmla="*/ 551975 w 1469111"/>
                <a:gd name="connsiteY15" fmla="*/ 166522 h 3641849"/>
                <a:gd name="connsiteX16" fmla="*/ 615709 w 1469111"/>
                <a:gd name="connsiteY16" fmla="*/ 213065 h 3641849"/>
                <a:gd name="connsiteX17" fmla="*/ 629736 w 1469111"/>
                <a:gd name="connsiteY17" fmla="*/ 242621 h 3641849"/>
                <a:gd name="connsiteX18" fmla="*/ 684983 w 1469111"/>
                <a:gd name="connsiteY18" fmla="*/ 277708 h 3641849"/>
                <a:gd name="connsiteX19" fmla="*/ 773657 w 1469111"/>
                <a:gd name="connsiteY19" fmla="*/ 303563 h 3641849"/>
                <a:gd name="connsiteX20" fmla="*/ 845703 w 1469111"/>
                <a:gd name="connsiteY20" fmla="*/ 350106 h 3641849"/>
                <a:gd name="connsiteX21" fmla="*/ 895582 w 1469111"/>
                <a:gd name="connsiteY21" fmla="*/ 401820 h 3641849"/>
                <a:gd name="connsiteX22" fmla="*/ 920521 w 1469111"/>
                <a:gd name="connsiteY22" fmla="*/ 440606 h 3641849"/>
                <a:gd name="connsiteX23" fmla="*/ 953774 w 1469111"/>
                <a:gd name="connsiteY23" fmla="*/ 466462 h 3641849"/>
                <a:gd name="connsiteX24" fmla="*/ 937146 w 1469111"/>
                <a:gd name="connsiteY24" fmla="*/ 691417 h 3641849"/>
                <a:gd name="connsiteX25" fmla="*/ 809680 w 1469111"/>
                <a:gd name="connsiteY25" fmla="*/ 771575 h 3641849"/>
                <a:gd name="connsiteX26" fmla="*/ 696068 w 1469111"/>
                <a:gd name="connsiteY26" fmla="*/ 779331 h 3641849"/>
                <a:gd name="connsiteX27" fmla="*/ 557515 w 1469111"/>
                <a:gd name="connsiteY27" fmla="*/ 758645 h 3641849"/>
                <a:gd name="connsiteX28" fmla="*/ 466071 w 1469111"/>
                <a:gd name="connsiteY28" fmla="*/ 722445 h 3641849"/>
                <a:gd name="connsiteX29" fmla="*/ 446674 w 1469111"/>
                <a:gd name="connsiteY29" fmla="*/ 750888 h 3641849"/>
                <a:gd name="connsiteX30" fmla="*/ 477316 w 1469111"/>
                <a:gd name="connsiteY30" fmla="*/ 824301 h 3641849"/>
                <a:gd name="connsiteX31" fmla="*/ 482857 w 1469111"/>
                <a:gd name="connsiteY31" fmla="*/ 951000 h 3641849"/>
                <a:gd name="connsiteX32" fmla="*/ 454987 w 1469111"/>
                <a:gd name="connsiteY32" fmla="*/ 1012043 h 3641849"/>
                <a:gd name="connsiteX33" fmla="*/ 510406 w 1469111"/>
                <a:gd name="connsiteY33" fmla="*/ 1032728 h 3641849"/>
                <a:gd name="connsiteX34" fmla="*/ 527034 w 1469111"/>
                <a:gd name="connsiteY34" fmla="*/ 1048242 h 3641849"/>
                <a:gd name="connsiteX35" fmla="*/ 551974 w 1469111"/>
                <a:gd name="connsiteY35" fmla="*/ 1074099 h 3641849"/>
                <a:gd name="connsiteX36" fmla="*/ 549203 w 1469111"/>
                <a:gd name="connsiteY36" fmla="*/ 1076685 h 3641849"/>
                <a:gd name="connsiteX37" fmla="*/ 587996 w 1469111"/>
                <a:gd name="connsiteY37" fmla="*/ 1071514 h 3641849"/>
                <a:gd name="connsiteX38" fmla="*/ 596310 w 1469111"/>
                <a:gd name="connsiteY38" fmla="*/ 1035314 h 3641849"/>
                <a:gd name="connsiteX39" fmla="*/ 557515 w 1469111"/>
                <a:gd name="connsiteY39" fmla="*/ 957743 h 3641849"/>
                <a:gd name="connsiteX40" fmla="*/ 626791 w 1469111"/>
                <a:gd name="connsiteY40" fmla="*/ 911200 h 3641849"/>
                <a:gd name="connsiteX41" fmla="*/ 694563 w 1469111"/>
                <a:gd name="connsiteY41" fmla="*/ 918934 h 3641849"/>
                <a:gd name="connsiteX42" fmla="*/ 718396 w 1469111"/>
                <a:gd name="connsiteY42" fmla="*/ 951001 h 3641849"/>
                <a:gd name="connsiteX43" fmla="*/ 874125 w 1469111"/>
                <a:gd name="connsiteY43" fmla="*/ 1007364 h 3641849"/>
                <a:gd name="connsiteX44" fmla="*/ 859717 w 1469111"/>
                <a:gd name="connsiteY44" fmla="*/ 971687 h 3641849"/>
                <a:gd name="connsiteX45" fmla="*/ 826465 w 1469111"/>
                <a:gd name="connsiteY45" fmla="*/ 932901 h 3641849"/>
                <a:gd name="connsiteX46" fmla="*/ 815381 w 1469111"/>
                <a:gd name="connsiteY46" fmla="*/ 881187 h 3641849"/>
                <a:gd name="connsiteX47" fmla="*/ 854176 w 1469111"/>
                <a:gd name="connsiteY47" fmla="*/ 832060 h 3641849"/>
                <a:gd name="connsiteX48" fmla="*/ 881886 w 1469111"/>
                <a:gd name="connsiteY48" fmla="*/ 803617 h 3641849"/>
                <a:gd name="connsiteX49" fmla="*/ 906826 w 1469111"/>
                <a:gd name="connsiteY49" fmla="*/ 767417 h 3641849"/>
                <a:gd name="connsiteX50" fmla="*/ 987186 w 1469111"/>
                <a:gd name="connsiteY50" fmla="*/ 762245 h 3641849"/>
                <a:gd name="connsiteX51" fmla="*/ 992727 w 1469111"/>
                <a:gd name="connsiteY51" fmla="*/ 741560 h 3641849"/>
                <a:gd name="connsiteX52" fmla="*/ 1017667 w 1469111"/>
                <a:gd name="connsiteY52" fmla="*/ 705360 h 3641849"/>
                <a:gd name="connsiteX53" fmla="*/ 1051471 w 1469111"/>
                <a:gd name="connsiteY53" fmla="*/ 687772 h 3641849"/>
                <a:gd name="connsiteX54" fmla="*/ 1109111 w 1469111"/>
                <a:gd name="connsiteY54" fmla="*/ 700189 h 3641849"/>
                <a:gd name="connsiteX55" fmla="*/ 1147904 w 1469111"/>
                <a:gd name="connsiteY55" fmla="*/ 720875 h 3641849"/>
                <a:gd name="connsiteX56" fmla="*/ 1195012 w 1469111"/>
                <a:gd name="connsiteY56" fmla="*/ 728632 h 3641849"/>
                <a:gd name="connsiteX57" fmla="*/ 1195012 w 1469111"/>
                <a:gd name="connsiteY57" fmla="*/ 733803 h 3641849"/>
                <a:gd name="connsiteX58" fmla="*/ 1217181 w 1469111"/>
                <a:gd name="connsiteY58" fmla="*/ 674332 h 3641849"/>
                <a:gd name="connsiteX59" fmla="*/ 1227156 w 1469111"/>
                <a:gd name="connsiteY59" fmla="*/ 640714 h 3641849"/>
                <a:gd name="connsiteX60" fmla="*/ 1233807 w 1469111"/>
                <a:gd name="connsiteY60" fmla="*/ 622618 h 3641849"/>
                <a:gd name="connsiteX61" fmla="*/ 1236744 w 1469111"/>
                <a:gd name="connsiteY61" fmla="*/ 591288 h 3641849"/>
                <a:gd name="connsiteX62" fmla="*/ 1156218 w 1469111"/>
                <a:gd name="connsiteY62" fmla="*/ 545048 h 3641849"/>
                <a:gd name="connsiteX63" fmla="*/ 1142363 w 1469111"/>
                <a:gd name="connsiteY63" fmla="*/ 472648 h 3641849"/>
                <a:gd name="connsiteX64" fmla="*/ 1142363 w 1469111"/>
                <a:gd name="connsiteY64" fmla="*/ 454548 h 3641849"/>
                <a:gd name="connsiteX65" fmla="*/ 1153446 w 1469111"/>
                <a:gd name="connsiteY65" fmla="*/ 431276 h 3641849"/>
                <a:gd name="connsiteX66" fmla="*/ 1156218 w 1469111"/>
                <a:gd name="connsiteY66" fmla="*/ 415762 h 3641849"/>
                <a:gd name="connsiteX67" fmla="*/ 1156217 w 1469111"/>
                <a:gd name="connsiteY67" fmla="*/ 358878 h 3641849"/>
                <a:gd name="connsiteX68" fmla="*/ 1134049 w 1469111"/>
                <a:gd name="connsiteY68" fmla="*/ 335607 h 3641849"/>
                <a:gd name="connsiteX69" fmla="*/ 1106339 w 1469111"/>
                <a:gd name="connsiteY69" fmla="*/ 304578 h 3641849"/>
                <a:gd name="connsiteX70" fmla="*/ 1102171 w 1469111"/>
                <a:gd name="connsiteY70" fmla="*/ 280325 h 3641849"/>
                <a:gd name="connsiteX71" fmla="*/ 1153447 w 1469111"/>
                <a:gd name="connsiteY71" fmla="*/ 258034 h 3641849"/>
                <a:gd name="connsiteX72" fmla="*/ 1207027 w 1469111"/>
                <a:gd name="connsiteY72" fmla="*/ 267906 h 3641849"/>
                <a:gd name="connsiteX73" fmla="*/ 1285811 w 1469111"/>
                <a:gd name="connsiteY73" fmla="*/ 279816 h 3641849"/>
                <a:gd name="connsiteX74" fmla="*/ 1370134 w 1469111"/>
                <a:gd name="connsiteY74" fmla="*/ 349175 h 3641849"/>
                <a:gd name="connsiteX75" fmla="*/ 1432269 w 1469111"/>
                <a:gd name="connsiteY75" fmla="*/ 425271 h 3641849"/>
                <a:gd name="connsiteX76" fmla="*/ 1331298 w 1469111"/>
                <a:gd name="connsiteY76" fmla="*/ 454265 h 3641849"/>
                <a:gd name="connsiteX77" fmla="*/ 1315764 w 1469111"/>
                <a:gd name="connsiteY77" fmla="*/ 501372 h 3641849"/>
                <a:gd name="connsiteX78" fmla="*/ 1373434 w 1469111"/>
                <a:gd name="connsiteY78" fmla="*/ 585862 h 3641849"/>
                <a:gd name="connsiteX79" fmla="*/ 1408968 w 1469111"/>
                <a:gd name="connsiteY79" fmla="*/ 591964 h 3641849"/>
                <a:gd name="connsiteX80" fmla="*/ 1461588 w 1469111"/>
                <a:gd name="connsiteY80" fmla="*/ 598304 h 3641849"/>
                <a:gd name="connsiteX81" fmla="*/ 1456625 w 1469111"/>
                <a:gd name="connsiteY81" fmla="*/ 709079 h 3641849"/>
                <a:gd name="connsiteX82" fmla="*/ 1467694 w 1469111"/>
                <a:gd name="connsiteY82" fmla="*/ 1040047 h 3641849"/>
                <a:gd name="connsiteX83" fmla="*/ 1458826 w 1469111"/>
                <a:gd name="connsiteY83" fmla="*/ 1842646 h 3641849"/>
                <a:gd name="connsiteX84" fmla="*/ 1467693 w 1469111"/>
                <a:gd name="connsiteY84" fmla="*/ 2297728 h 3641849"/>
                <a:gd name="connsiteX85" fmla="*/ 1441245 w 1469111"/>
                <a:gd name="connsiteY85" fmla="*/ 3607693 h 3641849"/>
                <a:gd name="connsiteX86" fmla="*/ 1182818 w 1469111"/>
                <a:gd name="connsiteY86" fmla="*/ 3564098 h 3641849"/>
                <a:gd name="connsiteX87" fmla="*/ 1014340 w 1469111"/>
                <a:gd name="connsiteY87" fmla="*/ 3497903 h 3641849"/>
                <a:gd name="connsiteX88" fmla="*/ 836994 w 1469111"/>
                <a:gd name="connsiteY88" fmla="*/ 3406887 h 3641849"/>
                <a:gd name="connsiteX89" fmla="*/ 738696 w 1469111"/>
                <a:gd name="connsiteY89" fmla="*/ 3326370 h 3641849"/>
                <a:gd name="connsiteX90" fmla="*/ 1032958 w 1469111"/>
                <a:gd name="connsiteY90" fmla="*/ 3018734 h 3641849"/>
                <a:gd name="connsiteX91" fmla="*/ 749204 w 1469111"/>
                <a:gd name="connsiteY91" fmla="*/ 2480910 h 3641849"/>
                <a:gd name="connsiteX92" fmla="*/ 891554 w 1469111"/>
                <a:gd name="connsiteY92" fmla="*/ 2241825 h 3641849"/>
                <a:gd name="connsiteX93" fmla="*/ 704867 w 1469111"/>
                <a:gd name="connsiteY93" fmla="*/ 1703134 h 3641849"/>
                <a:gd name="connsiteX94" fmla="*/ 456583 w 1469111"/>
                <a:gd name="connsiteY94" fmla="*/ 1471456 h 3641849"/>
                <a:gd name="connsiteX95" fmla="*/ 447716 w 1469111"/>
                <a:gd name="connsiteY95" fmla="*/ 1355617 h 3641849"/>
                <a:gd name="connsiteX96" fmla="*/ 42188 w 1469111"/>
                <a:gd name="connsiteY96" fmla="*/ 551628 h 3641849"/>
                <a:gd name="connsiteX0" fmla="*/ 42188 w 1469111"/>
                <a:gd name="connsiteY0" fmla="*/ 551628 h 3641849"/>
                <a:gd name="connsiteX1" fmla="*/ 11624 w 1469111"/>
                <a:gd name="connsiteY1" fmla="*/ 249265 h 3641849"/>
                <a:gd name="connsiteX2" fmla="*/ 78127 w 1469111"/>
                <a:gd name="connsiteY2" fmla="*/ 161351 h 3641849"/>
                <a:gd name="connsiteX3" fmla="*/ 89213 w 1469111"/>
                <a:gd name="connsiteY3" fmla="*/ 135494 h 3641849"/>
                <a:gd name="connsiteX4" fmla="*/ 111381 w 1469111"/>
                <a:gd name="connsiteY4" fmla="*/ 117394 h 3641849"/>
                <a:gd name="connsiteX5" fmla="*/ 111381 w 1469111"/>
                <a:gd name="connsiteY5" fmla="*/ 73438 h 3641849"/>
                <a:gd name="connsiteX6" fmla="*/ 133549 w 1469111"/>
                <a:gd name="connsiteY6" fmla="*/ 107051 h 3641849"/>
                <a:gd name="connsiteX7" fmla="*/ 166802 w 1469111"/>
                <a:gd name="connsiteY7" fmla="*/ 88952 h 3641849"/>
                <a:gd name="connsiteX8" fmla="*/ 169572 w 1469111"/>
                <a:gd name="connsiteY8" fmla="*/ 63095 h 3641849"/>
                <a:gd name="connsiteX9" fmla="*/ 177886 w 1469111"/>
                <a:gd name="connsiteY9" fmla="*/ 34652 h 3641849"/>
                <a:gd name="connsiteX10" fmla="*/ 180658 w 1469111"/>
                <a:gd name="connsiteY10" fmla="*/ 3624 h 3641849"/>
                <a:gd name="connsiteX11" fmla="*/ 316438 w 1469111"/>
                <a:gd name="connsiteY11" fmla="*/ 57924 h 3641849"/>
                <a:gd name="connsiteX12" fmla="*/ 346918 w 1469111"/>
                <a:gd name="connsiteY12" fmla="*/ 161352 h 3641849"/>
                <a:gd name="connsiteX13" fmla="*/ 360774 w 1469111"/>
                <a:gd name="connsiteY13" fmla="*/ 184622 h 3641849"/>
                <a:gd name="connsiteX14" fmla="*/ 371858 w 1469111"/>
                <a:gd name="connsiteY14" fmla="*/ 187208 h 3641849"/>
                <a:gd name="connsiteX15" fmla="*/ 485470 w 1469111"/>
                <a:gd name="connsiteY15" fmla="*/ 156181 h 3641849"/>
                <a:gd name="connsiteX16" fmla="*/ 551975 w 1469111"/>
                <a:gd name="connsiteY16" fmla="*/ 166522 h 3641849"/>
                <a:gd name="connsiteX17" fmla="*/ 615709 w 1469111"/>
                <a:gd name="connsiteY17" fmla="*/ 213065 h 3641849"/>
                <a:gd name="connsiteX18" fmla="*/ 629736 w 1469111"/>
                <a:gd name="connsiteY18" fmla="*/ 242621 h 3641849"/>
                <a:gd name="connsiteX19" fmla="*/ 684983 w 1469111"/>
                <a:gd name="connsiteY19" fmla="*/ 277708 h 3641849"/>
                <a:gd name="connsiteX20" fmla="*/ 773657 w 1469111"/>
                <a:gd name="connsiteY20" fmla="*/ 303563 h 3641849"/>
                <a:gd name="connsiteX21" fmla="*/ 845703 w 1469111"/>
                <a:gd name="connsiteY21" fmla="*/ 350106 h 3641849"/>
                <a:gd name="connsiteX22" fmla="*/ 895582 w 1469111"/>
                <a:gd name="connsiteY22" fmla="*/ 401820 h 3641849"/>
                <a:gd name="connsiteX23" fmla="*/ 920521 w 1469111"/>
                <a:gd name="connsiteY23" fmla="*/ 440606 h 3641849"/>
                <a:gd name="connsiteX24" fmla="*/ 953774 w 1469111"/>
                <a:gd name="connsiteY24" fmla="*/ 466462 h 3641849"/>
                <a:gd name="connsiteX25" fmla="*/ 937146 w 1469111"/>
                <a:gd name="connsiteY25" fmla="*/ 691417 h 3641849"/>
                <a:gd name="connsiteX26" fmla="*/ 809680 w 1469111"/>
                <a:gd name="connsiteY26" fmla="*/ 771575 h 3641849"/>
                <a:gd name="connsiteX27" fmla="*/ 696068 w 1469111"/>
                <a:gd name="connsiteY27" fmla="*/ 779331 h 3641849"/>
                <a:gd name="connsiteX28" fmla="*/ 557515 w 1469111"/>
                <a:gd name="connsiteY28" fmla="*/ 758645 h 3641849"/>
                <a:gd name="connsiteX29" fmla="*/ 466071 w 1469111"/>
                <a:gd name="connsiteY29" fmla="*/ 722445 h 3641849"/>
                <a:gd name="connsiteX30" fmla="*/ 446674 w 1469111"/>
                <a:gd name="connsiteY30" fmla="*/ 750888 h 3641849"/>
                <a:gd name="connsiteX31" fmla="*/ 477316 w 1469111"/>
                <a:gd name="connsiteY31" fmla="*/ 824301 h 3641849"/>
                <a:gd name="connsiteX32" fmla="*/ 482857 w 1469111"/>
                <a:gd name="connsiteY32" fmla="*/ 951000 h 3641849"/>
                <a:gd name="connsiteX33" fmla="*/ 454987 w 1469111"/>
                <a:gd name="connsiteY33" fmla="*/ 1012043 h 3641849"/>
                <a:gd name="connsiteX34" fmla="*/ 510406 w 1469111"/>
                <a:gd name="connsiteY34" fmla="*/ 1032728 h 3641849"/>
                <a:gd name="connsiteX35" fmla="*/ 527034 w 1469111"/>
                <a:gd name="connsiteY35" fmla="*/ 1048242 h 3641849"/>
                <a:gd name="connsiteX36" fmla="*/ 551974 w 1469111"/>
                <a:gd name="connsiteY36" fmla="*/ 1074099 h 3641849"/>
                <a:gd name="connsiteX37" fmla="*/ 549203 w 1469111"/>
                <a:gd name="connsiteY37" fmla="*/ 1076685 h 3641849"/>
                <a:gd name="connsiteX38" fmla="*/ 587996 w 1469111"/>
                <a:gd name="connsiteY38" fmla="*/ 1071514 h 3641849"/>
                <a:gd name="connsiteX39" fmla="*/ 596310 w 1469111"/>
                <a:gd name="connsiteY39" fmla="*/ 1035314 h 3641849"/>
                <a:gd name="connsiteX40" fmla="*/ 557515 w 1469111"/>
                <a:gd name="connsiteY40" fmla="*/ 957743 h 3641849"/>
                <a:gd name="connsiteX41" fmla="*/ 626791 w 1469111"/>
                <a:gd name="connsiteY41" fmla="*/ 911200 h 3641849"/>
                <a:gd name="connsiteX42" fmla="*/ 694563 w 1469111"/>
                <a:gd name="connsiteY42" fmla="*/ 918934 h 3641849"/>
                <a:gd name="connsiteX43" fmla="*/ 718396 w 1469111"/>
                <a:gd name="connsiteY43" fmla="*/ 951001 h 3641849"/>
                <a:gd name="connsiteX44" fmla="*/ 874125 w 1469111"/>
                <a:gd name="connsiteY44" fmla="*/ 1007364 h 3641849"/>
                <a:gd name="connsiteX45" fmla="*/ 859717 w 1469111"/>
                <a:gd name="connsiteY45" fmla="*/ 971687 h 3641849"/>
                <a:gd name="connsiteX46" fmla="*/ 826465 w 1469111"/>
                <a:gd name="connsiteY46" fmla="*/ 932901 h 3641849"/>
                <a:gd name="connsiteX47" fmla="*/ 815381 w 1469111"/>
                <a:gd name="connsiteY47" fmla="*/ 881187 h 3641849"/>
                <a:gd name="connsiteX48" fmla="*/ 854176 w 1469111"/>
                <a:gd name="connsiteY48" fmla="*/ 832060 h 3641849"/>
                <a:gd name="connsiteX49" fmla="*/ 881886 w 1469111"/>
                <a:gd name="connsiteY49" fmla="*/ 803617 h 3641849"/>
                <a:gd name="connsiteX50" fmla="*/ 906826 w 1469111"/>
                <a:gd name="connsiteY50" fmla="*/ 767417 h 3641849"/>
                <a:gd name="connsiteX51" fmla="*/ 987186 w 1469111"/>
                <a:gd name="connsiteY51" fmla="*/ 762245 h 3641849"/>
                <a:gd name="connsiteX52" fmla="*/ 992727 w 1469111"/>
                <a:gd name="connsiteY52" fmla="*/ 741560 h 3641849"/>
                <a:gd name="connsiteX53" fmla="*/ 1017667 w 1469111"/>
                <a:gd name="connsiteY53" fmla="*/ 705360 h 3641849"/>
                <a:gd name="connsiteX54" fmla="*/ 1051471 w 1469111"/>
                <a:gd name="connsiteY54" fmla="*/ 687772 h 3641849"/>
                <a:gd name="connsiteX55" fmla="*/ 1109111 w 1469111"/>
                <a:gd name="connsiteY55" fmla="*/ 700189 h 3641849"/>
                <a:gd name="connsiteX56" fmla="*/ 1147904 w 1469111"/>
                <a:gd name="connsiteY56" fmla="*/ 720875 h 3641849"/>
                <a:gd name="connsiteX57" fmla="*/ 1195012 w 1469111"/>
                <a:gd name="connsiteY57" fmla="*/ 728632 h 3641849"/>
                <a:gd name="connsiteX58" fmla="*/ 1195012 w 1469111"/>
                <a:gd name="connsiteY58" fmla="*/ 733803 h 3641849"/>
                <a:gd name="connsiteX59" fmla="*/ 1217181 w 1469111"/>
                <a:gd name="connsiteY59" fmla="*/ 674332 h 3641849"/>
                <a:gd name="connsiteX60" fmla="*/ 1227156 w 1469111"/>
                <a:gd name="connsiteY60" fmla="*/ 640714 h 3641849"/>
                <a:gd name="connsiteX61" fmla="*/ 1233807 w 1469111"/>
                <a:gd name="connsiteY61" fmla="*/ 622618 h 3641849"/>
                <a:gd name="connsiteX62" fmla="*/ 1236744 w 1469111"/>
                <a:gd name="connsiteY62" fmla="*/ 591288 h 3641849"/>
                <a:gd name="connsiteX63" fmla="*/ 1156218 w 1469111"/>
                <a:gd name="connsiteY63" fmla="*/ 545048 h 3641849"/>
                <a:gd name="connsiteX64" fmla="*/ 1142363 w 1469111"/>
                <a:gd name="connsiteY64" fmla="*/ 472648 h 3641849"/>
                <a:gd name="connsiteX65" fmla="*/ 1142363 w 1469111"/>
                <a:gd name="connsiteY65" fmla="*/ 454548 h 3641849"/>
                <a:gd name="connsiteX66" fmla="*/ 1153446 w 1469111"/>
                <a:gd name="connsiteY66" fmla="*/ 431276 h 3641849"/>
                <a:gd name="connsiteX67" fmla="*/ 1156218 w 1469111"/>
                <a:gd name="connsiteY67" fmla="*/ 415762 h 3641849"/>
                <a:gd name="connsiteX68" fmla="*/ 1156217 w 1469111"/>
                <a:gd name="connsiteY68" fmla="*/ 358878 h 3641849"/>
                <a:gd name="connsiteX69" fmla="*/ 1134049 w 1469111"/>
                <a:gd name="connsiteY69" fmla="*/ 335607 h 3641849"/>
                <a:gd name="connsiteX70" fmla="*/ 1106339 w 1469111"/>
                <a:gd name="connsiteY70" fmla="*/ 304578 h 3641849"/>
                <a:gd name="connsiteX71" fmla="*/ 1102171 w 1469111"/>
                <a:gd name="connsiteY71" fmla="*/ 280325 h 3641849"/>
                <a:gd name="connsiteX72" fmla="*/ 1153447 w 1469111"/>
                <a:gd name="connsiteY72" fmla="*/ 258034 h 3641849"/>
                <a:gd name="connsiteX73" fmla="*/ 1207027 w 1469111"/>
                <a:gd name="connsiteY73" fmla="*/ 267906 h 3641849"/>
                <a:gd name="connsiteX74" fmla="*/ 1285811 w 1469111"/>
                <a:gd name="connsiteY74" fmla="*/ 279816 h 3641849"/>
                <a:gd name="connsiteX75" fmla="*/ 1370134 w 1469111"/>
                <a:gd name="connsiteY75" fmla="*/ 349175 h 3641849"/>
                <a:gd name="connsiteX76" fmla="*/ 1432269 w 1469111"/>
                <a:gd name="connsiteY76" fmla="*/ 425271 h 3641849"/>
                <a:gd name="connsiteX77" fmla="*/ 1331298 w 1469111"/>
                <a:gd name="connsiteY77" fmla="*/ 454265 h 3641849"/>
                <a:gd name="connsiteX78" fmla="*/ 1315764 w 1469111"/>
                <a:gd name="connsiteY78" fmla="*/ 501372 h 3641849"/>
                <a:gd name="connsiteX79" fmla="*/ 1373434 w 1469111"/>
                <a:gd name="connsiteY79" fmla="*/ 585862 h 3641849"/>
                <a:gd name="connsiteX80" fmla="*/ 1408968 w 1469111"/>
                <a:gd name="connsiteY80" fmla="*/ 591964 h 3641849"/>
                <a:gd name="connsiteX81" fmla="*/ 1461588 w 1469111"/>
                <a:gd name="connsiteY81" fmla="*/ 598304 h 3641849"/>
                <a:gd name="connsiteX82" fmla="*/ 1456625 w 1469111"/>
                <a:gd name="connsiteY82" fmla="*/ 709079 h 3641849"/>
                <a:gd name="connsiteX83" fmla="*/ 1467694 w 1469111"/>
                <a:gd name="connsiteY83" fmla="*/ 1040047 h 3641849"/>
                <a:gd name="connsiteX84" fmla="*/ 1458826 w 1469111"/>
                <a:gd name="connsiteY84" fmla="*/ 1842646 h 3641849"/>
                <a:gd name="connsiteX85" fmla="*/ 1467693 w 1469111"/>
                <a:gd name="connsiteY85" fmla="*/ 2297728 h 3641849"/>
                <a:gd name="connsiteX86" fmla="*/ 1441245 w 1469111"/>
                <a:gd name="connsiteY86" fmla="*/ 3607693 h 3641849"/>
                <a:gd name="connsiteX87" fmla="*/ 1182818 w 1469111"/>
                <a:gd name="connsiteY87" fmla="*/ 3564098 h 3641849"/>
                <a:gd name="connsiteX88" fmla="*/ 1014340 w 1469111"/>
                <a:gd name="connsiteY88" fmla="*/ 3497903 h 3641849"/>
                <a:gd name="connsiteX89" fmla="*/ 836994 w 1469111"/>
                <a:gd name="connsiteY89" fmla="*/ 3406887 h 3641849"/>
                <a:gd name="connsiteX90" fmla="*/ 738696 w 1469111"/>
                <a:gd name="connsiteY90" fmla="*/ 3326370 h 3641849"/>
                <a:gd name="connsiteX91" fmla="*/ 1032958 w 1469111"/>
                <a:gd name="connsiteY91" fmla="*/ 3018734 h 3641849"/>
                <a:gd name="connsiteX92" fmla="*/ 749204 w 1469111"/>
                <a:gd name="connsiteY92" fmla="*/ 2480910 h 3641849"/>
                <a:gd name="connsiteX93" fmla="*/ 891554 w 1469111"/>
                <a:gd name="connsiteY93" fmla="*/ 2241825 h 3641849"/>
                <a:gd name="connsiteX94" fmla="*/ 704867 w 1469111"/>
                <a:gd name="connsiteY94" fmla="*/ 1703134 h 3641849"/>
                <a:gd name="connsiteX95" fmla="*/ 456583 w 1469111"/>
                <a:gd name="connsiteY95" fmla="*/ 1471456 h 3641849"/>
                <a:gd name="connsiteX96" fmla="*/ 447716 w 1469111"/>
                <a:gd name="connsiteY96" fmla="*/ 1355617 h 3641849"/>
                <a:gd name="connsiteX97" fmla="*/ 42188 w 1469111"/>
                <a:gd name="connsiteY97" fmla="*/ 551628 h 3641849"/>
                <a:gd name="connsiteX0" fmla="*/ 42188 w 1469111"/>
                <a:gd name="connsiteY0" fmla="*/ 551628 h 3641849"/>
                <a:gd name="connsiteX1" fmla="*/ 11624 w 1469111"/>
                <a:gd name="connsiteY1" fmla="*/ 249265 h 3641849"/>
                <a:gd name="connsiteX2" fmla="*/ 69815 w 1469111"/>
                <a:gd name="connsiteY2" fmla="*/ 158764 h 3641849"/>
                <a:gd name="connsiteX3" fmla="*/ 89213 w 1469111"/>
                <a:gd name="connsiteY3" fmla="*/ 135494 h 3641849"/>
                <a:gd name="connsiteX4" fmla="*/ 111381 w 1469111"/>
                <a:gd name="connsiteY4" fmla="*/ 117394 h 3641849"/>
                <a:gd name="connsiteX5" fmla="*/ 111381 w 1469111"/>
                <a:gd name="connsiteY5" fmla="*/ 73438 h 3641849"/>
                <a:gd name="connsiteX6" fmla="*/ 133549 w 1469111"/>
                <a:gd name="connsiteY6" fmla="*/ 107051 h 3641849"/>
                <a:gd name="connsiteX7" fmla="*/ 166802 w 1469111"/>
                <a:gd name="connsiteY7" fmla="*/ 88952 h 3641849"/>
                <a:gd name="connsiteX8" fmla="*/ 169572 w 1469111"/>
                <a:gd name="connsiteY8" fmla="*/ 63095 h 3641849"/>
                <a:gd name="connsiteX9" fmla="*/ 177886 w 1469111"/>
                <a:gd name="connsiteY9" fmla="*/ 34652 h 3641849"/>
                <a:gd name="connsiteX10" fmla="*/ 180658 w 1469111"/>
                <a:gd name="connsiteY10" fmla="*/ 3624 h 3641849"/>
                <a:gd name="connsiteX11" fmla="*/ 316438 w 1469111"/>
                <a:gd name="connsiteY11" fmla="*/ 57924 h 3641849"/>
                <a:gd name="connsiteX12" fmla="*/ 346918 w 1469111"/>
                <a:gd name="connsiteY12" fmla="*/ 161352 h 3641849"/>
                <a:gd name="connsiteX13" fmla="*/ 360774 w 1469111"/>
                <a:gd name="connsiteY13" fmla="*/ 184622 h 3641849"/>
                <a:gd name="connsiteX14" fmla="*/ 371858 w 1469111"/>
                <a:gd name="connsiteY14" fmla="*/ 187208 h 3641849"/>
                <a:gd name="connsiteX15" fmla="*/ 485470 w 1469111"/>
                <a:gd name="connsiteY15" fmla="*/ 156181 h 3641849"/>
                <a:gd name="connsiteX16" fmla="*/ 551975 w 1469111"/>
                <a:gd name="connsiteY16" fmla="*/ 166522 h 3641849"/>
                <a:gd name="connsiteX17" fmla="*/ 615709 w 1469111"/>
                <a:gd name="connsiteY17" fmla="*/ 213065 h 3641849"/>
                <a:gd name="connsiteX18" fmla="*/ 629736 w 1469111"/>
                <a:gd name="connsiteY18" fmla="*/ 242621 h 3641849"/>
                <a:gd name="connsiteX19" fmla="*/ 684983 w 1469111"/>
                <a:gd name="connsiteY19" fmla="*/ 277708 h 3641849"/>
                <a:gd name="connsiteX20" fmla="*/ 773657 w 1469111"/>
                <a:gd name="connsiteY20" fmla="*/ 303563 h 3641849"/>
                <a:gd name="connsiteX21" fmla="*/ 845703 w 1469111"/>
                <a:gd name="connsiteY21" fmla="*/ 350106 h 3641849"/>
                <a:gd name="connsiteX22" fmla="*/ 895582 w 1469111"/>
                <a:gd name="connsiteY22" fmla="*/ 401820 h 3641849"/>
                <a:gd name="connsiteX23" fmla="*/ 920521 w 1469111"/>
                <a:gd name="connsiteY23" fmla="*/ 440606 h 3641849"/>
                <a:gd name="connsiteX24" fmla="*/ 953774 w 1469111"/>
                <a:gd name="connsiteY24" fmla="*/ 466462 h 3641849"/>
                <a:gd name="connsiteX25" fmla="*/ 937146 w 1469111"/>
                <a:gd name="connsiteY25" fmla="*/ 691417 h 3641849"/>
                <a:gd name="connsiteX26" fmla="*/ 809680 w 1469111"/>
                <a:gd name="connsiteY26" fmla="*/ 771575 h 3641849"/>
                <a:gd name="connsiteX27" fmla="*/ 696068 w 1469111"/>
                <a:gd name="connsiteY27" fmla="*/ 779331 h 3641849"/>
                <a:gd name="connsiteX28" fmla="*/ 557515 w 1469111"/>
                <a:gd name="connsiteY28" fmla="*/ 758645 h 3641849"/>
                <a:gd name="connsiteX29" fmla="*/ 466071 w 1469111"/>
                <a:gd name="connsiteY29" fmla="*/ 722445 h 3641849"/>
                <a:gd name="connsiteX30" fmla="*/ 446674 w 1469111"/>
                <a:gd name="connsiteY30" fmla="*/ 750888 h 3641849"/>
                <a:gd name="connsiteX31" fmla="*/ 477316 w 1469111"/>
                <a:gd name="connsiteY31" fmla="*/ 824301 h 3641849"/>
                <a:gd name="connsiteX32" fmla="*/ 482857 w 1469111"/>
                <a:gd name="connsiteY32" fmla="*/ 951000 h 3641849"/>
                <a:gd name="connsiteX33" fmla="*/ 454987 w 1469111"/>
                <a:gd name="connsiteY33" fmla="*/ 1012043 h 3641849"/>
                <a:gd name="connsiteX34" fmla="*/ 510406 w 1469111"/>
                <a:gd name="connsiteY34" fmla="*/ 1032728 h 3641849"/>
                <a:gd name="connsiteX35" fmla="*/ 527034 w 1469111"/>
                <a:gd name="connsiteY35" fmla="*/ 1048242 h 3641849"/>
                <a:gd name="connsiteX36" fmla="*/ 551974 w 1469111"/>
                <a:gd name="connsiteY36" fmla="*/ 1074099 h 3641849"/>
                <a:gd name="connsiteX37" fmla="*/ 549203 w 1469111"/>
                <a:gd name="connsiteY37" fmla="*/ 1076685 h 3641849"/>
                <a:gd name="connsiteX38" fmla="*/ 587996 w 1469111"/>
                <a:gd name="connsiteY38" fmla="*/ 1071514 h 3641849"/>
                <a:gd name="connsiteX39" fmla="*/ 596310 w 1469111"/>
                <a:gd name="connsiteY39" fmla="*/ 1035314 h 3641849"/>
                <a:gd name="connsiteX40" fmla="*/ 557515 w 1469111"/>
                <a:gd name="connsiteY40" fmla="*/ 957743 h 3641849"/>
                <a:gd name="connsiteX41" fmla="*/ 626791 w 1469111"/>
                <a:gd name="connsiteY41" fmla="*/ 911200 h 3641849"/>
                <a:gd name="connsiteX42" fmla="*/ 694563 w 1469111"/>
                <a:gd name="connsiteY42" fmla="*/ 918934 h 3641849"/>
                <a:gd name="connsiteX43" fmla="*/ 718396 w 1469111"/>
                <a:gd name="connsiteY43" fmla="*/ 951001 h 3641849"/>
                <a:gd name="connsiteX44" fmla="*/ 874125 w 1469111"/>
                <a:gd name="connsiteY44" fmla="*/ 1007364 h 3641849"/>
                <a:gd name="connsiteX45" fmla="*/ 859717 w 1469111"/>
                <a:gd name="connsiteY45" fmla="*/ 971687 h 3641849"/>
                <a:gd name="connsiteX46" fmla="*/ 826465 w 1469111"/>
                <a:gd name="connsiteY46" fmla="*/ 932901 h 3641849"/>
                <a:gd name="connsiteX47" fmla="*/ 815381 w 1469111"/>
                <a:gd name="connsiteY47" fmla="*/ 881187 h 3641849"/>
                <a:gd name="connsiteX48" fmla="*/ 854176 w 1469111"/>
                <a:gd name="connsiteY48" fmla="*/ 832060 h 3641849"/>
                <a:gd name="connsiteX49" fmla="*/ 881886 w 1469111"/>
                <a:gd name="connsiteY49" fmla="*/ 803617 h 3641849"/>
                <a:gd name="connsiteX50" fmla="*/ 906826 w 1469111"/>
                <a:gd name="connsiteY50" fmla="*/ 767417 h 3641849"/>
                <a:gd name="connsiteX51" fmla="*/ 987186 w 1469111"/>
                <a:gd name="connsiteY51" fmla="*/ 762245 h 3641849"/>
                <a:gd name="connsiteX52" fmla="*/ 992727 w 1469111"/>
                <a:gd name="connsiteY52" fmla="*/ 741560 h 3641849"/>
                <a:gd name="connsiteX53" fmla="*/ 1017667 w 1469111"/>
                <a:gd name="connsiteY53" fmla="*/ 705360 h 3641849"/>
                <a:gd name="connsiteX54" fmla="*/ 1051471 w 1469111"/>
                <a:gd name="connsiteY54" fmla="*/ 687772 h 3641849"/>
                <a:gd name="connsiteX55" fmla="*/ 1109111 w 1469111"/>
                <a:gd name="connsiteY55" fmla="*/ 700189 h 3641849"/>
                <a:gd name="connsiteX56" fmla="*/ 1147904 w 1469111"/>
                <a:gd name="connsiteY56" fmla="*/ 720875 h 3641849"/>
                <a:gd name="connsiteX57" fmla="*/ 1195012 w 1469111"/>
                <a:gd name="connsiteY57" fmla="*/ 728632 h 3641849"/>
                <a:gd name="connsiteX58" fmla="*/ 1195012 w 1469111"/>
                <a:gd name="connsiteY58" fmla="*/ 733803 h 3641849"/>
                <a:gd name="connsiteX59" fmla="*/ 1217181 w 1469111"/>
                <a:gd name="connsiteY59" fmla="*/ 674332 h 3641849"/>
                <a:gd name="connsiteX60" fmla="*/ 1227156 w 1469111"/>
                <a:gd name="connsiteY60" fmla="*/ 640714 h 3641849"/>
                <a:gd name="connsiteX61" fmla="*/ 1233807 w 1469111"/>
                <a:gd name="connsiteY61" fmla="*/ 622618 h 3641849"/>
                <a:gd name="connsiteX62" fmla="*/ 1236744 w 1469111"/>
                <a:gd name="connsiteY62" fmla="*/ 591288 h 3641849"/>
                <a:gd name="connsiteX63" fmla="*/ 1156218 w 1469111"/>
                <a:gd name="connsiteY63" fmla="*/ 545048 h 3641849"/>
                <a:gd name="connsiteX64" fmla="*/ 1142363 w 1469111"/>
                <a:gd name="connsiteY64" fmla="*/ 472648 h 3641849"/>
                <a:gd name="connsiteX65" fmla="*/ 1142363 w 1469111"/>
                <a:gd name="connsiteY65" fmla="*/ 454548 h 3641849"/>
                <a:gd name="connsiteX66" fmla="*/ 1153446 w 1469111"/>
                <a:gd name="connsiteY66" fmla="*/ 431276 h 3641849"/>
                <a:gd name="connsiteX67" fmla="*/ 1156218 w 1469111"/>
                <a:gd name="connsiteY67" fmla="*/ 415762 h 3641849"/>
                <a:gd name="connsiteX68" fmla="*/ 1156217 w 1469111"/>
                <a:gd name="connsiteY68" fmla="*/ 358878 h 3641849"/>
                <a:gd name="connsiteX69" fmla="*/ 1134049 w 1469111"/>
                <a:gd name="connsiteY69" fmla="*/ 335607 h 3641849"/>
                <a:gd name="connsiteX70" fmla="*/ 1106339 w 1469111"/>
                <a:gd name="connsiteY70" fmla="*/ 304578 h 3641849"/>
                <a:gd name="connsiteX71" fmla="*/ 1102171 w 1469111"/>
                <a:gd name="connsiteY71" fmla="*/ 280325 h 3641849"/>
                <a:gd name="connsiteX72" fmla="*/ 1153447 w 1469111"/>
                <a:gd name="connsiteY72" fmla="*/ 258034 h 3641849"/>
                <a:gd name="connsiteX73" fmla="*/ 1207027 w 1469111"/>
                <a:gd name="connsiteY73" fmla="*/ 267906 h 3641849"/>
                <a:gd name="connsiteX74" fmla="*/ 1285811 w 1469111"/>
                <a:gd name="connsiteY74" fmla="*/ 279816 h 3641849"/>
                <a:gd name="connsiteX75" fmla="*/ 1370134 w 1469111"/>
                <a:gd name="connsiteY75" fmla="*/ 349175 h 3641849"/>
                <a:gd name="connsiteX76" fmla="*/ 1432269 w 1469111"/>
                <a:gd name="connsiteY76" fmla="*/ 425271 h 3641849"/>
                <a:gd name="connsiteX77" fmla="*/ 1331298 w 1469111"/>
                <a:gd name="connsiteY77" fmla="*/ 454265 h 3641849"/>
                <a:gd name="connsiteX78" fmla="*/ 1315764 w 1469111"/>
                <a:gd name="connsiteY78" fmla="*/ 501372 h 3641849"/>
                <a:gd name="connsiteX79" fmla="*/ 1373434 w 1469111"/>
                <a:gd name="connsiteY79" fmla="*/ 585862 h 3641849"/>
                <a:gd name="connsiteX80" fmla="*/ 1408968 w 1469111"/>
                <a:gd name="connsiteY80" fmla="*/ 591964 h 3641849"/>
                <a:gd name="connsiteX81" fmla="*/ 1461588 w 1469111"/>
                <a:gd name="connsiteY81" fmla="*/ 598304 h 3641849"/>
                <a:gd name="connsiteX82" fmla="*/ 1456625 w 1469111"/>
                <a:gd name="connsiteY82" fmla="*/ 709079 h 3641849"/>
                <a:gd name="connsiteX83" fmla="*/ 1467694 w 1469111"/>
                <a:gd name="connsiteY83" fmla="*/ 1040047 h 3641849"/>
                <a:gd name="connsiteX84" fmla="*/ 1458826 w 1469111"/>
                <a:gd name="connsiteY84" fmla="*/ 1842646 h 3641849"/>
                <a:gd name="connsiteX85" fmla="*/ 1467693 w 1469111"/>
                <a:gd name="connsiteY85" fmla="*/ 2297728 h 3641849"/>
                <a:gd name="connsiteX86" fmla="*/ 1441245 w 1469111"/>
                <a:gd name="connsiteY86" fmla="*/ 3607693 h 3641849"/>
                <a:gd name="connsiteX87" fmla="*/ 1182818 w 1469111"/>
                <a:gd name="connsiteY87" fmla="*/ 3564098 h 3641849"/>
                <a:gd name="connsiteX88" fmla="*/ 1014340 w 1469111"/>
                <a:gd name="connsiteY88" fmla="*/ 3497903 h 3641849"/>
                <a:gd name="connsiteX89" fmla="*/ 836994 w 1469111"/>
                <a:gd name="connsiteY89" fmla="*/ 3406887 h 3641849"/>
                <a:gd name="connsiteX90" fmla="*/ 738696 w 1469111"/>
                <a:gd name="connsiteY90" fmla="*/ 3326370 h 3641849"/>
                <a:gd name="connsiteX91" fmla="*/ 1032958 w 1469111"/>
                <a:gd name="connsiteY91" fmla="*/ 3018734 h 3641849"/>
                <a:gd name="connsiteX92" fmla="*/ 749204 w 1469111"/>
                <a:gd name="connsiteY92" fmla="*/ 2480910 h 3641849"/>
                <a:gd name="connsiteX93" fmla="*/ 891554 w 1469111"/>
                <a:gd name="connsiteY93" fmla="*/ 2241825 h 3641849"/>
                <a:gd name="connsiteX94" fmla="*/ 704867 w 1469111"/>
                <a:gd name="connsiteY94" fmla="*/ 1703134 h 3641849"/>
                <a:gd name="connsiteX95" fmla="*/ 456583 w 1469111"/>
                <a:gd name="connsiteY95" fmla="*/ 1471456 h 3641849"/>
                <a:gd name="connsiteX96" fmla="*/ 447716 w 1469111"/>
                <a:gd name="connsiteY96" fmla="*/ 1355617 h 3641849"/>
                <a:gd name="connsiteX97" fmla="*/ 42188 w 1469111"/>
                <a:gd name="connsiteY97" fmla="*/ 551628 h 3641849"/>
                <a:gd name="connsiteX0" fmla="*/ 42188 w 1469111"/>
                <a:gd name="connsiteY0" fmla="*/ 551628 h 3641849"/>
                <a:gd name="connsiteX1" fmla="*/ 11624 w 1469111"/>
                <a:gd name="connsiteY1" fmla="*/ 249265 h 3641849"/>
                <a:gd name="connsiteX2" fmla="*/ 69815 w 1469111"/>
                <a:gd name="connsiteY2" fmla="*/ 158764 h 3641849"/>
                <a:gd name="connsiteX3" fmla="*/ 89213 w 1469111"/>
                <a:gd name="connsiteY3" fmla="*/ 135494 h 3641849"/>
                <a:gd name="connsiteX4" fmla="*/ 103068 w 1469111"/>
                <a:gd name="connsiteY4" fmla="*/ 117394 h 3641849"/>
                <a:gd name="connsiteX5" fmla="*/ 111381 w 1469111"/>
                <a:gd name="connsiteY5" fmla="*/ 73438 h 3641849"/>
                <a:gd name="connsiteX6" fmla="*/ 133549 w 1469111"/>
                <a:gd name="connsiteY6" fmla="*/ 107051 h 3641849"/>
                <a:gd name="connsiteX7" fmla="*/ 166802 w 1469111"/>
                <a:gd name="connsiteY7" fmla="*/ 88952 h 3641849"/>
                <a:gd name="connsiteX8" fmla="*/ 169572 w 1469111"/>
                <a:gd name="connsiteY8" fmla="*/ 63095 h 3641849"/>
                <a:gd name="connsiteX9" fmla="*/ 177886 w 1469111"/>
                <a:gd name="connsiteY9" fmla="*/ 34652 h 3641849"/>
                <a:gd name="connsiteX10" fmla="*/ 180658 w 1469111"/>
                <a:gd name="connsiteY10" fmla="*/ 3624 h 3641849"/>
                <a:gd name="connsiteX11" fmla="*/ 316438 w 1469111"/>
                <a:gd name="connsiteY11" fmla="*/ 57924 h 3641849"/>
                <a:gd name="connsiteX12" fmla="*/ 346918 w 1469111"/>
                <a:gd name="connsiteY12" fmla="*/ 161352 h 3641849"/>
                <a:gd name="connsiteX13" fmla="*/ 360774 w 1469111"/>
                <a:gd name="connsiteY13" fmla="*/ 184622 h 3641849"/>
                <a:gd name="connsiteX14" fmla="*/ 371858 w 1469111"/>
                <a:gd name="connsiteY14" fmla="*/ 187208 h 3641849"/>
                <a:gd name="connsiteX15" fmla="*/ 485470 w 1469111"/>
                <a:gd name="connsiteY15" fmla="*/ 156181 h 3641849"/>
                <a:gd name="connsiteX16" fmla="*/ 551975 w 1469111"/>
                <a:gd name="connsiteY16" fmla="*/ 166522 h 3641849"/>
                <a:gd name="connsiteX17" fmla="*/ 615709 w 1469111"/>
                <a:gd name="connsiteY17" fmla="*/ 213065 h 3641849"/>
                <a:gd name="connsiteX18" fmla="*/ 629736 w 1469111"/>
                <a:gd name="connsiteY18" fmla="*/ 242621 h 3641849"/>
                <a:gd name="connsiteX19" fmla="*/ 684983 w 1469111"/>
                <a:gd name="connsiteY19" fmla="*/ 277708 h 3641849"/>
                <a:gd name="connsiteX20" fmla="*/ 773657 w 1469111"/>
                <a:gd name="connsiteY20" fmla="*/ 303563 h 3641849"/>
                <a:gd name="connsiteX21" fmla="*/ 845703 w 1469111"/>
                <a:gd name="connsiteY21" fmla="*/ 350106 h 3641849"/>
                <a:gd name="connsiteX22" fmla="*/ 895582 w 1469111"/>
                <a:gd name="connsiteY22" fmla="*/ 401820 h 3641849"/>
                <a:gd name="connsiteX23" fmla="*/ 920521 w 1469111"/>
                <a:gd name="connsiteY23" fmla="*/ 440606 h 3641849"/>
                <a:gd name="connsiteX24" fmla="*/ 953774 w 1469111"/>
                <a:gd name="connsiteY24" fmla="*/ 466462 h 3641849"/>
                <a:gd name="connsiteX25" fmla="*/ 937146 w 1469111"/>
                <a:gd name="connsiteY25" fmla="*/ 691417 h 3641849"/>
                <a:gd name="connsiteX26" fmla="*/ 809680 w 1469111"/>
                <a:gd name="connsiteY26" fmla="*/ 771575 h 3641849"/>
                <a:gd name="connsiteX27" fmla="*/ 696068 w 1469111"/>
                <a:gd name="connsiteY27" fmla="*/ 779331 h 3641849"/>
                <a:gd name="connsiteX28" fmla="*/ 557515 w 1469111"/>
                <a:gd name="connsiteY28" fmla="*/ 758645 h 3641849"/>
                <a:gd name="connsiteX29" fmla="*/ 466071 w 1469111"/>
                <a:gd name="connsiteY29" fmla="*/ 722445 h 3641849"/>
                <a:gd name="connsiteX30" fmla="*/ 446674 w 1469111"/>
                <a:gd name="connsiteY30" fmla="*/ 750888 h 3641849"/>
                <a:gd name="connsiteX31" fmla="*/ 477316 w 1469111"/>
                <a:gd name="connsiteY31" fmla="*/ 824301 h 3641849"/>
                <a:gd name="connsiteX32" fmla="*/ 482857 w 1469111"/>
                <a:gd name="connsiteY32" fmla="*/ 951000 h 3641849"/>
                <a:gd name="connsiteX33" fmla="*/ 454987 w 1469111"/>
                <a:gd name="connsiteY33" fmla="*/ 1012043 h 3641849"/>
                <a:gd name="connsiteX34" fmla="*/ 510406 w 1469111"/>
                <a:gd name="connsiteY34" fmla="*/ 1032728 h 3641849"/>
                <a:gd name="connsiteX35" fmla="*/ 527034 w 1469111"/>
                <a:gd name="connsiteY35" fmla="*/ 1048242 h 3641849"/>
                <a:gd name="connsiteX36" fmla="*/ 551974 w 1469111"/>
                <a:gd name="connsiteY36" fmla="*/ 1074099 h 3641849"/>
                <a:gd name="connsiteX37" fmla="*/ 549203 w 1469111"/>
                <a:gd name="connsiteY37" fmla="*/ 1076685 h 3641849"/>
                <a:gd name="connsiteX38" fmla="*/ 587996 w 1469111"/>
                <a:gd name="connsiteY38" fmla="*/ 1071514 h 3641849"/>
                <a:gd name="connsiteX39" fmla="*/ 596310 w 1469111"/>
                <a:gd name="connsiteY39" fmla="*/ 1035314 h 3641849"/>
                <a:gd name="connsiteX40" fmla="*/ 557515 w 1469111"/>
                <a:gd name="connsiteY40" fmla="*/ 957743 h 3641849"/>
                <a:gd name="connsiteX41" fmla="*/ 626791 w 1469111"/>
                <a:gd name="connsiteY41" fmla="*/ 911200 h 3641849"/>
                <a:gd name="connsiteX42" fmla="*/ 694563 w 1469111"/>
                <a:gd name="connsiteY42" fmla="*/ 918934 h 3641849"/>
                <a:gd name="connsiteX43" fmla="*/ 718396 w 1469111"/>
                <a:gd name="connsiteY43" fmla="*/ 951001 h 3641849"/>
                <a:gd name="connsiteX44" fmla="*/ 874125 w 1469111"/>
                <a:gd name="connsiteY44" fmla="*/ 1007364 h 3641849"/>
                <a:gd name="connsiteX45" fmla="*/ 859717 w 1469111"/>
                <a:gd name="connsiteY45" fmla="*/ 971687 h 3641849"/>
                <a:gd name="connsiteX46" fmla="*/ 826465 w 1469111"/>
                <a:gd name="connsiteY46" fmla="*/ 932901 h 3641849"/>
                <a:gd name="connsiteX47" fmla="*/ 815381 w 1469111"/>
                <a:gd name="connsiteY47" fmla="*/ 881187 h 3641849"/>
                <a:gd name="connsiteX48" fmla="*/ 854176 w 1469111"/>
                <a:gd name="connsiteY48" fmla="*/ 832060 h 3641849"/>
                <a:gd name="connsiteX49" fmla="*/ 881886 w 1469111"/>
                <a:gd name="connsiteY49" fmla="*/ 803617 h 3641849"/>
                <a:gd name="connsiteX50" fmla="*/ 906826 w 1469111"/>
                <a:gd name="connsiteY50" fmla="*/ 767417 h 3641849"/>
                <a:gd name="connsiteX51" fmla="*/ 987186 w 1469111"/>
                <a:gd name="connsiteY51" fmla="*/ 762245 h 3641849"/>
                <a:gd name="connsiteX52" fmla="*/ 992727 w 1469111"/>
                <a:gd name="connsiteY52" fmla="*/ 741560 h 3641849"/>
                <a:gd name="connsiteX53" fmla="*/ 1017667 w 1469111"/>
                <a:gd name="connsiteY53" fmla="*/ 705360 h 3641849"/>
                <a:gd name="connsiteX54" fmla="*/ 1051471 w 1469111"/>
                <a:gd name="connsiteY54" fmla="*/ 687772 h 3641849"/>
                <a:gd name="connsiteX55" fmla="*/ 1109111 w 1469111"/>
                <a:gd name="connsiteY55" fmla="*/ 700189 h 3641849"/>
                <a:gd name="connsiteX56" fmla="*/ 1147904 w 1469111"/>
                <a:gd name="connsiteY56" fmla="*/ 720875 h 3641849"/>
                <a:gd name="connsiteX57" fmla="*/ 1195012 w 1469111"/>
                <a:gd name="connsiteY57" fmla="*/ 728632 h 3641849"/>
                <a:gd name="connsiteX58" fmla="*/ 1195012 w 1469111"/>
                <a:gd name="connsiteY58" fmla="*/ 733803 h 3641849"/>
                <a:gd name="connsiteX59" fmla="*/ 1217181 w 1469111"/>
                <a:gd name="connsiteY59" fmla="*/ 674332 h 3641849"/>
                <a:gd name="connsiteX60" fmla="*/ 1227156 w 1469111"/>
                <a:gd name="connsiteY60" fmla="*/ 640714 h 3641849"/>
                <a:gd name="connsiteX61" fmla="*/ 1233807 w 1469111"/>
                <a:gd name="connsiteY61" fmla="*/ 622618 h 3641849"/>
                <a:gd name="connsiteX62" fmla="*/ 1236744 w 1469111"/>
                <a:gd name="connsiteY62" fmla="*/ 591288 h 3641849"/>
                <a:gd name="connsiteX63" fmla="*/ 1156218 w 1469111"/>
                <a:gd name="connsiteY63" fmla="*/ 545048 h 3641849"/>
                <a:gd name="connsiteX64" fmla="*/ 1142363 w 1469111"/>
                <a:gd name="connsiteY64" fmla="*/ 472648 h 3641849"/>
                <a:gd name="connsiteX65" fmla="*/ 1142363 w 1469111"/>
                <a:gd name="connsiteY65" fmla="*/ 454548 h 3641849"/>
                <a:gd name="connsiteX66" fmla="*/ 1153446 w 1469111"/>
                <a:gd name="connsiteY66" fmla="*/ 431276 h 3641849"/>
                <a:gd name="connsiteX67" fmla="*/ 1156218 w 1469111"/>
                <a:gd name="connsiteY67" fmla="*/ 415762 h 3641849"/>
                <a:gd name="connsiteX68" fmla="*/ 1156217 w 1469111"/>
                <a:gd name="connsiteY68" fmla="*/ 358878 h 3641849"/>
                <a:gd name="connsiteX69" fmla="*/ 1134049 w 1469111"/>
                <a:gd name="connsiteY69" fmla="*/ 335607 h 3641849"/>
                <a:gd name="connsiteX70" fmla="*/ 1106339 w 1469111"/>
                <a:gd name="connsiteY70" fmla="*/ 304578 h 3641849"/>
                <a:gd name="connsiteX71" fmla="*/ 1102171 w 1469111"/>
                <a:gd name="connsiteY71" fmla="*/ 280325 h 3641849"/>
                <a:gd name="connsiteX72" fmla="*/ 1153447 w 1469111"/>
                <a:gd name="connsiteY72" fmla="*/ 258034 h 3641849"/>
                <a:gd name="connsiteX73" fmla="*/ 1207027 w 1469111"/>
                <a:gd name="connsiteY73" fmla="*/ 267906 h 3641849"/>
                <a:gd name="connsiteX74" fmla="*/ 1285811 w 1469111"/>
                <a:gd name="connsiteY74" fmla="*/ 279816 h 3641849"/>
                <a:gd name="connsiteX75" fmla="*/ 1370134 w 1469111"/>
                <a:gd name="connsiteY75" fmla="*/ 349175 h 3641849"/>
                <a:gd name="connsiteX76" fmla="*/ 1432269 w 1469111"/>
                <a:gd name="connsiteY76" fmla="*/ 425271 h 3641849"/>
                <a:gd name="connsiteX77" fmla="*/ 1331298 w 1469111"/>
                <a:gd name="connsiteY77" fmla="*/ 454265 h 3641849"/>
                <a:gd name="connsiteX78" fmla="*/ 1315764 w 1469111"/>
                <a:gd name="connsiteY78" fmla="*/ 501372 h 3641849"/>
                <a:gd name="connsiteX79" fmla="*/ 1373434 w 1469111"/>
                <a:gd name="connsiteY79" fmla="*/ 585862 h 3641849"/>
                <a:gd name="connsiteX80" fmla="*/ 1408968 w 1469111"/>
                <a:gd name="connsiteY80" fmla="*/ 591964 h 3641849"/>
                <a:gd name="connsiteX81" fmla="*/ 1461588 w 1469111"/>
                <a:gd name="connsiteY81" fmla="*/ 598304 h 3641849"/>
                <a:gd name="connsiteX82" fmla="*/ 1456625 w 1469111"/>
                <a:gd name="connsiteY82" fmla="*/ 709079 h 3641849"/>
                <a:gd name="connsiteX83" fmla="*/ 1467694 w 1469111"/>
                <a:gd name="connsiteY83" fmla="*/ 1040047 h 3641849"/>
                <a:gd name="connsiteX84" fmla="*/ 1458826 w 1469111"/>
                <a:gd name="connsiteY84" fmla="*/ 1842646 h 3641849"/>
                <a:gd name="connsiteX85" fmla="*/ 1467693 w 1469111"/>
                <a:gd name="connsiteY85" fmla="*/ 2297728 h 3641849"/>
                <a:gd name="connsiteX86" fmla="*/ 1441245 w 1469111"/>
                <a:gd name="connsiteY86" fmla="*/ 3607693 h 3641849"/>
                <a:gd name="connsiteX87" fmla="*/ 1182818 w 1469111"/>
                <a:gd name="connsiteY87" fmla="*/ 3564098 h 3641849"/>
                <a:gd name="connsiteX88" fmla="*/ 1014340 w 1469111"/>
                <a:gd name="connsiteY88" fmla="*/ 3497903 h 3641849"/>
                <a:gd name="connsiteX89" fmla="*/ 836994 w 1469111"/>
                <a:gd name="connsiteY89" fmla="*/ 3406887 h 3641849"/>
                <a:gd name="connsiteX90" fmla="*/ 738696 w 1469111"/>
                <a:gd name="connsiteY90" fmla="*/ 3326370 h 3641849"/>
                <a:gd name="connsiteX91" fmla="*/ 1032958 w 1469111"/>
                <a:gd name="connsiteY91" fmla="*/ 3018734 h 3641849"/>
                <a:gd name="connsiteX92" fmla="*/ 749204 w 1469111"/>
                <a:gd name="connsiteY92" fmla="*/ 2480910 h 3641849"/>
                <a:gd name="connsiteX93" fmla="*/ 891554 w 1469111"/>
                <a:gd name="connsiteY93" fmla="*/ 2241825 h 3641849"/>
                <a:gd name="connsiteX94" fmla="*/ 704867 w 1469111"/>
                <a:gd name="connsiteY94" fmla="*/ 1703134 h 3641849"/>
                <a:gd name="connsiteX95" fmla="*/ 456583 w 1469111"/>
                <a:gd name="connsiteY95" fmla="*/ 1471456 h 3641849"/>
                <a:gd name="connsiteX96" fmla="*/ 447716 w 1469111"/>
                <a:gd name="connsiteY96" fmla="*/ 1355617 h 3641849"/>
                <a:gd name="connsiteX97" fmla="*/ 42188 w 1469111"/>
                <a:gd name="connsiteY97" fmla="*/ 551628 h 3641849"/>
                <a:gd name="connsiteX0" fmla="*/ 42188 w 1469111"/>
                <a:gd name="connsiteY0" fmla="*/ 551628 h 3641849"/>
                <a:gd name="connsiteX1" fmla="*/ 11624 w 1469111"/>
                <a:gd name="connsiteY1" fmla="*/ 249265 h 3641849"/>
                <a:gd name="connsiteX2" fmla="*/ 69815 w 1469111"/>
                <a:gd name="connsiteY2" fmla="*/ 158764 h 3641849"/>
                <a:gd name="connsiteX3" fmla="*/ 89213 w 1469111"/>
                <a:gd name="connsiteY3" fmla="*/ 135494 h 3641849"/>
                <a:gd name="connsiteX4" fmla="*/ 103068 w 1469111"/>
                <a:gd name="connsiteY4" fmla="*/ 117394 h 3641849"/>
                <a:gd name="connsiteX5" fmla="*/ 111381 w 1469111"/>
                <a:gd name="connsiteY5" fmla="*/ 73438 h 3641849"/>
                <a:gd name="connsiteX6" fmla="*/ 136320 w 1469111"/>
                <a:gd name="connsiteY6" fmla="*/ 101880 h 3641849"/>
                <a:gd name="connsiteX7" fmla="*/ 166802 w 1469111"/>
                <a:gd name="connsiteY7" fmla="*/ 88952 h 3641849"/>
                <a:gd name="connsiteX8" fmla="*/ 169572 w 1469111"/>
                <a:gd name="connsiteY8" fmla="*/ 63095 h 3641849"/>
                <a:gd name="connsiteX9" fmla="*/ 177886 w 1469111"/>
                <a:gd name="connsiteY9" fmla="*/ 34652 h 3641849"/>
                <a:gd name="connsiteX10" fmla="*/ 180658 w 1469111"/>
                <a:gd name="connsiteY10" fmla="*/ 3624 h 3641849"/>
                <a:gd name="connsiteX11" fmla="*/ 316438 w 1469111"/>
                <a:gd name="connsiteY11" fmla="*/ 57924 h 3641849"/>
                <a:gd name="connsiteX12" fmla="*/ 346918 w 1469111"/>
                <a:gd name="connsiteY12" fmla="*/ 161352 h 3641849"/>
                <a:gd name="connsiteX13" fmla="*/ 360774 w 1469111"/>
                <a:gd name="connsiteY13" fmla="*/ 184622 h 3641849"/>
                <a:gd name="connsiteX14" fmla="*/ 371858 w 1469111"/>
                <a:gd name="connsiteY14" fmla="*/ 187208 h 3641849"/>
                <a:gd name="connsiteX15" fmla="*/ 485470 w 1469111"/>
                <a:gd name="connsiteY15" fmla="*/ 156181 h 3641849"/>
                <a:gd name="connsiteX16" fmla="*/ 551975 w 1469111"/>
                <a:gd name="connsiteY16" fmla="*/ 166522 h 3641849"/>
                <a:gd name="connsiteX17" fmla="*/ 615709 w 1469111"/>
                <a:gd name="connsiteY17" fmla="*/ 213065 h 3641849"/>
                <a:gd name="connsiteX18" fmla="*/ 629736 w 1469111"/>
                <a:gd name="connsiteY18" fmla="*/ 242621 h 3641849"/>
                <a:gd name="connsiteX19" fmla="*/ 684983 w 1469111"/>
                <a:gd name="connsiteY19" fmla="*/ 277708 h 3641849"/>
                <a:gd name="connsiteX20" fmla="*/ 773657 w 1469111"/>
                <a:gd name="connsiteY20" fmla="*/ 303563 h 3641849"/>
                <a:gd name="connsiteX21" fmla="*/ 845703 w 1469111"/>
                <a:gd name="connsiteY21" fmla="*/ 350106 h 3641849"/>
                <a:gd name="connsiteX22" fmla="*/ 895582 w 1469111"/>
                <a:gd name="connsiteY22" fmla="*/ 401820 h 3641849"/>
                <a:gd name="connsiteX23" fmla="*/ 920521 w 1469111"/>
                <a:gd name="connsiteY23" fmla="*/ 440606 h 3641849"/>
                <a:gd name="connsiteX24" fmla="*/ 953774 w 1469111"/>
                <a:gd name="connsiteY24" fmla="*/ 466462 h 3641849"/>
                <a:gd name="connsiteX25" fmla="*/ 937146 w 1469111"/>
                <a:gd name="connsiteY25" fmla="*/ 691417 h 3641849"/>
                <a:gd name="connsiteX26" fmla="*/ 809680 w 1469111"/>
                <a:gd name="connsiteY26" fmla="*/ 771575 h 3641849"/>
                <a:gd name="connsiteX27" fmla="*/ 696068 w 1469111"/>
                <a:gd name="connsiteY27" fmla="*/ 779331 h 3641849"/>
                <a:gd name="connsiteX28" fmla="*/ 557515 w 1469111"/>
                <a:gd name="connsiteY28" fmla="*/ 758645 h 3641849"/>
                <a:gd name="connsiteX29" fmla="*/ 466071 w 1469111"/>
                <a:gd name="connsiteY29" fmla="*/ 722445 h 3641849"/>
                <a:gd name="connsiteX30" fmla="*/ 446674 w 1469111"/>
                <a:gd name="connsiteY30" fmla="*/ 750888 h 3641849"/>
                <a:gd name="connsiteX31" fmla="*/ 477316 w 1469111"/>
                <a:gd name="connsiteY31" fmla="*/ 824301 h 3641849"/>
                <a:gd name="connsiteX32" fmla="*/ 482857 w 1469111"/>
                <a:gd name="connsiteY32" fmla="*/ 951000 h 3641849"/>
                <a:gd name="connsiteX33" fmla="*/ 454987 w 1469111"/>
                <a:gd name="connsiteY33" fmla="*/ 1012043 h 3641849"/>
                <a:gd name="connsiteX34" fmla="*/ 510406 w 1469111"/>
                <a:gd name="connsiteY34" fmla="*/ 1032728 h 3641849"/>
                <a:gd name="connsiteX35" fmla="*/ 527034 w 1469111"/>
                <a:gd name="connsiteY35" fmla="*/ 1048242 h 3641849"/>
                <a:gd name="connsiteX36" fmla="*/ 551974 w 1469111"/>
                <a:gd name="connsiteY36" fmla="*/ 1074099 h 3641849"/>
                <a:gd name="connsiteX37" fmla="*/ 549203 w 1469111"/>
                <a:gd name="connsiteY37" fmla="*/ 1076685 h 3641849"/>
                <a:gd name="connsiteX38" fmla="*/ 587996 w 1469111"/>
                <a:gd name="connsiteY38" fmla="*/ 1071514 h 3641849"/>
                <a:gd name="connsiteX39" fmla="*/ 596310 w 1469111"/>
                <a:gd name="connsiteY39" fmla="*/ 1035314 h 3641849"/>
                <a:gd name="connsiteX40" fmla="*/ 557515 w 1469111"/>
                <a:gd name="connsiteY40" fmla="*/ 957743 h 3641849"/>
                <a:gd name="connsiteX41" fmla="*/ 626791 w 1469111"/>
                <a:gd name="connsiteY41" fmla="*/ 911200 h 3641849"/>
                <a:gd name="connsiteX42" fmla="*/ 694563 w 1469111"/>
                <a:gd name="connsiteY42" fmla="*/ 918934 h 3641849"/>
                <a:gd name="connsiteX43" fmla="*/ 718396 w 1469111"/>
                <a:gd name="connsiteY43" fmla="*/ 951001 h 3641849"/>
                <a:gd name="connsiteX44" fmla="*/ 874125 w 1469111"/>
                <a:gd name="connsiteY44" fmla="*/ 1007364 h 3641849"/>
                <a:gd name="connsiteX45" fmla="*/ 859717 w 1469111"/>
                <a:gd name="connsiteY45" fmla="*/ 971687 h 3641849"/>
                <a:gd name="connsiteX46" fmla="*/ 826465 w 1469111"/>
                <a:gd name="connsiteY46" fmla="*/ 932901 h 3641849"/>
                <a:gd name="connsiteX47" fmla="*/ 815381 w 1469111"/>
                <a:gd name="connsiteY47" fmla="*/ 881187 h 3641849"/>
                <a:gd name="connsiteX48" fmla="*/ 854176 w 1469111"/>
                <a:gd name="connsiteY48" fmla="*/ 832060 h 3641849"/>
                <a:gd name="connsiteX49" fmla="*/ 881886 w 1469111"/>
                <a:gd name="connsiteY49" fmla="*/ 803617 h 3641849"/>
                <a:gd name="connsiteX50" fmla="*/ 906826 w 1469111"/>
                <a:gd name="connsiteY50" fmla="*/ 767417 h 3641849"/>
                <a:gd name="connsiteX51" fmla="*/ 987186 w 1469111"/>
                <a:gd name="connsiteY51" fmla="*/ 762245 h 3641849"/>
                <a:gd name="connsiteX52" fmla="*/ 992727 w 1469111"/>
                <a:gd name="connsiteY52" fmla="*/ 741560 h 3641849"/>
                <a:gd name="connsiteX53" fmla="*/ 1017667 w 1469111"/>
                <a:gd name="connsiteY53" fmla="*/ 705360 h 3641849"/>
                <a:gd name="connsiteX54" fmla="*/ 1051471 w 1469111"/>
                <a:gd name="connsiteY54" fmla="*/ 687772 h 3641849"/>
                <a:gd name="connsiteX55" fmla="*/ 1109111 w 1469111"/>
                <a:gd name="connsiteY55" fmla="*/ 700189 h 3641849"/>
                <a:gd name="connsiteX56" fmla="*/ 1147904 w 1469111"/>
                <a:gd name="connsiteY56" fmla="*/ 720875 h 3641849"/>
                <a:gd name="connsiteX57" fmla="*/ 1195012 w 1469111"/>
                <a:gd name="connsiteY57" fmla="*/ 728632 h 3641849"/>
                <a:gd name="connsiteX58" fmla="*/ 1195012 w 1469111"/>
                <a:gd name="connsiteY58" fmla="*/ 733803 h 3641849"/>
                <a:gd name="connsiteX59" fmla="*/ 1217181 w 1469111"/>
                <a:gd name="connsiteY59" fmla="*/ 674332 h 3641849"/>
                <a:gd name="connsiteX60" fmla="*/ 1227156 w 1469111"/>
                <a:gd name="connsiteY60" fmla="*/ 640714 h 3641849"/>
                <a:gd name="connsiteX61" fmla="*/ 1233807 w 1469111"/>
                <a:gd name="connsiteY61" fmla="*/ 622618 h 3641849"/>
                <a:gd name="connsiteX62" fmla="*/ 1236744 w 1469111"/>
                <a:gd name="connsiteY62" fmla="*/ 591288 h 3641849"/>
                <a:gd name="connsiteX63" fmla="*/ 1156218 w 1469111"/>
                <a:gd name="connsiteY63" fmla="*/ 545048 h 3641849"/>
                <a:gd name="connsiteX64" fmla="*/ 1142363 w 1469111"/>
                <a:gd name="connsiteY64" fmla="*/ 472648 h 3641849"/>
                <a:gd name="connsiteX65" fmla="*/ 1142363 w 1469111"/>
                <a:gd name="connsiteY65" fmla="*/ 454548 h 3641849"/>
                <a:gd name="connsiteX66" fmla="*/ 1153446 w 1469111"/>
                <a:gd name="connsiteY66" fmla="*/ 431276 h 3641849"/>
                <a:gd name="connsiteX67" fmla="*/ 1156218 w 1469111"/>
                <a:gd name="connsiteY67" fmla="*/ 415762 h 3641849"/>
                <a:gd name="connsiteX68" fmla="*/ 1156217 w 1469111"/>
                <a:gd name="connsiteY68" fmla="*/ 358878 h 3641849"/>
                <a:gd name="connsiteX69" fmla="*/ 1134049 w 1469111"/>
                <a:gd name="connsiteY69" fmla="*/ 335607 h 3641849"/>
                <a:gd name="connsiteX70" fmla="*/ 1106339 w 1469111"/>
                <a:gd name="connsiteY70" fmla="*/ 304578 h 3641849"/>
                <a:gd name="connsiteX71" fmla="*/ 1102171 w 1469111"/>
                <a:gd name="connsiteY71" fmla="*/ 280325 h 3641849"/>
                <a:gd name="connsiteX72" fmla="*/ 1153447 w 1469111"/>
                <a:gd name="connsiteY72" fmla="*/ 258034 h 3641849"/>
                <a:gd name="connsiteX73" fmla="*/ 1207027 w 1469111"/>
                <a:gd name="connsiteY73" fmla="*/ 267906 h 3641849"/>
                <a:gd name="connsiteX74" fmla="*/ 1285811 w 1469111"/>
                <a:gd name="connsiteY74" fmla="*/ 279816 h 3641849"/>
                <a:gd name="connsiteX75" fmla="*/ 1370134 w 1469111"/>
                <a:gd name="connsiteY75" fmla="*/ 349175 h 3641849"/>
                <a:gd name="connsiteX76" fmla="*/ 1432269 w 1469111"/>
                <a:gd name="connsiteY76" fmla="*/ 425271 h 3641849"/>
                <a:gd name="connsiteX77" fmla="*/ 1331298 w 1469111"/>
                <a:gd name="connsiteY77" fmla="*/ 454265 h 3641849"/>
                <a:gd name="connsiteX78" fmla="*/ 1315764 w 1469111"/>
                <a:gd name="connsiteY78" fmla="*/ 501372 h 3641849"/>
                <a:gd name="connsiteX79" fmla="*/ 1373434 w 1469111"/>
                <a:gd name="connsiteY79" fmla="*/ 585862 h 3641849"/>
                <a:gd name="connsiteX80" fmla="*/ 1408968 w 1469111"/>
                <a:gd name="connsiteY80" fmla="*/ 591964 h 3641849"/>
                <a:gd name="connsiteX81" fmla="*/ 1461588 w 1469111"/>
                <a:gd name="connsiteY81" fmla="*/ 598304 h 3641849"/>
                <a:gd name="connsiteX82" fmla="*/ 1456625 w 1469111"/>
                <a:gd name="connsiteY82" fmla="*/ 709079 h 3641849"/>
                <a:gd name="connsiteX83" fmla="*/ 1467694 w 1469111"/>
                <a:gd name="connsiteY83" fmla="*/ 1040047 h 3641849"/>
                <a:gd name="connsiteX84" fmla="*/ 1458826 w 1469111"/>
                <a:gd name="connsiteY84" fmla="*/ 1842646 h 3641849"/>
                <a:gd name="connsiteX85" fmla="*/ 1467693 w 1469111"/>
                <a:gd name="connsiteY85" fmla="*/ 2297728 h 3641849"/>
                <a:gd name="connsiteX86" fmla="*/ 1441245 w 1469111"/>
                <a:gd name="connsiteY86" fmla="*/ 3607693 h 3641849"/>
                <a:gd name="connsiteX87" fmla="*/ 1182818 w 1469111"/>
                <a:gd name="connsiteY87" fmla="*/ 3564098 h 3641849"/>
                <a:gd name="connsiteX88" fmla="*/ 1014340 w 1469111"/>
                <a:gd name="connsiteY88" fmla="*/ 3497903 h 3641849"/>
                <a:gd name="connsiteX89" fmla="*/ 836994 w 1469111"/>
                <a:gd name="connsiteY89" fmla="*/ 3406887 h 3641849"/>
                <a:gd name="connsiteX90" fmla="*/ 738696 w 1469111"/>
                <a:gd name="connsiteY90" fmla="*/ 3326370 h 3641849"/>
                <a:gd name="connsiteX91" fmla="*/ 1032958 w 1469111"/>
                <a:gd name="connsiteY91" fmla="*/ 3018734 h 3641849"/>
                <a:gd name="connsiteX92" fmla="*/ 749204 w 1469111"/>
                <a:gd name="connsiteY92" fmla="*/ 2480910 h 3641849"/>
                <a:gd name="connsiteX93" fmla="*/ 891554 w 1469111"/>
                <a:gd name="connsiteY93" fmla="*/ 2241825 h 3641849"/>
                <a:gd name="connsiteX94" fmla="*/ 704867 w 1469111"/>
                <a:gd name="connsiteY94" fmla="*/ 1703134 h 3641849"/>
                <a:gd name="connsiteX95" fmla="*/ 456583 w 1469111"/>
                <a:gd name="connsiteY95" fmla="*/ 1471456 h 3641849"/>
                <a:gd name="connsiteX96" fmla="*/ 447716 w 1469111"/>
                <a:gd name="connsiteY96" fmla="*/ 1355617 h 3641849"/>
                <a:gd name="connsiteX97" fmla="*/ 42188 w 1469111"/>
                <a:gd name="connsiteY97" fmla="*/ 551628 h 3641849"/>
                <a:gd name="connsiteX0" fmla="*/ 31857 w 1458780"/>
                <a:gd name="connsiteY0" fmla="*/ 551628 h 3641849"/>
                <a:gd name="connsiteX1" fmla="*/ 53943 w 1458780"/>
                <a:gd name="connsiteY1" fmla="*/ 381135 h 3641849"/>
                <a:gd name="connsiteX2" fmla="*/ 1293 w 1458780"/>
                <a:gd name="connsiteY2" fmla="*/ 249265 h 3641849"/>
                <a:gd name="connsiteX3" fmla="*/ 59484 w 1458780"/>
                <a:gd name="connsiteY3" fmla="*/ 158764 h 3641849"/>
                <a:gd name="connsiteX4" fmla="*/ 78882 w 1458780"/>
                <a:gd name="connsiteY4" fmla="*/ 135494 h 3641849"/>
                <a:gd name="connsiteX5" fmla="*/ 92737 w 1458780"/>
                <a:gd name="connsiteY5" fmla="*/ 117394 h 3641849"/>
                <a:gd name="connsiteX6" fmla="*/ 101050 w 1458780"/>
                <a:gd name="connsiteY6" fmla="*/ 73438 h 3641849"/>
                <a:gd name="connsiteX7" fmla="*/ 125989 w 1458780"/>
                <a:gd name="connsiteY7" fmla="*/ 101880 h 3641849"/>
                <a:gd name="connsiteX8" fmla="*/ 156471 w 1458780"/>
                <a:gd name="connsiteY8" fmla="*/ 88952 h 3641849"/>
                <a:gd name="connsiteX9" fmla="*/ 159241 w 1458780"/>
                <a:gd name="connsiteY9" fmla="*/ 63095 h 3641849"/>
                <a:gd name="connsiteX10" fmla="*/ 167555 w 1458780"/>
                <a:gd name="connsiteY10" fmla="*/ 34652 h 3641849"/>
                <a:gd name="connsiteX11" fmla="*/ 170327 w 1458780"/>
                <a:gd name="connsiteY11" fmla="*/ 3624 h 3641849"/>
                <a:gd name="connsiteX12" fmla="*/ 306107 w 1458780"/>
                <a:gd name="connsiteY12" fmla="*/ 57924 h 3641849"/>
                <a:gd name="connsiteX13" fmla="*/ 336587 w 1458780"/>
                <a:gd name="connsiteY13" fmla="*/ 161352 h 3641849"/>
                <a:gd name="connsiteX14" fmla="*/ 350443 w 1458780"/>
                <a:gd name="connsiteY14" fmla="*/ 184622 h 3641849"/>
                <a:gd name="connsiteX15" fmla="*/ 361527 w 1458780"/>
                <a:gd name="connsiteY15" fmla="*/ 187208 h 3641849"/>
                <a:gd name="connsiteX16" fmla="*/ 475139 w 1458780"/>
                <a:gd name="connsiteY16" fmla="*/ 156181 h 3641849"/>
                <a:gd name="connsiteX17" fmla="*/ 541644 w 1458780"/>
                <a:gd name="connsiteY17" fmla="*/ 166522 h 3641849"/>
                <a:gd name="connsiteX18" fmla="*/ 605378 w 1458780"/>
                <a:gd name="connsiteY18" fmla="*/ 213065 h 3641849"/>
                <a:gd name="connsiteX19" fmla="*/ 619405 w 1458780"/>
                <a:gd name="connsiteY19" fmla="*/ 242621 h 3641849"/>
                <a:gd name="connsiteX20" fmla="*/ 674652 w 1458780"/>
                <a:gd name="connsiteY20" fmla="*/ 277708 h 3641849"/>
                <a:gd name="connsiteX21" fmla="*/ 763326 w 1458780"/>
                <a:gd name="connsiteY21" fmla="*/ 303563 h 3641849"/>
                <a:gd name="connsiteX22" fmla="*/ 835372 w 1458780"/>
                <a:gd name="connsiteY22" fmla="*/ 350106 h 3641849"/>
                <a:gd name="connsiteX23" fmla="*/ 885251 w 1458780"/>
                <a:gd name="connsiteY23" fmla="*/ 401820 h 3641849"/>
                <a:gd name="connsiteX24" fmla="*/ 910190 w 1458780"/>
                <a:gd name="connsiteY24" fmla="*/ 440606 h 3641849"/>
                <a:gd name="connsiteX25" fmla="*/ 943443 w 1458780"/>
                <a:gd name="connsiteY25" fmla="*/ 466462 h 3641849"/>
                <a:gd name="connsiteX26" fmla="*/ 926815 w 1458780"/>
                <a:gd name="connsiteY26" fmla="*/ 691417 h 3641849"/>
                <a:gd name="connsiteX27" fmla="*/ 799349 w 1458780"/>
                <a:gd name="connsiteY27" fmla="*/ 771575 h 3641849"/>
                <a:gd name="connsiteX28" fmla="*/ 685737 w 1458780"/>
                <a:gd name="connsiteY28" fmla="*/ 779331 h 3641849"/>
                <a:gd name="connsiteX29" fmla="*/ 547184 w 1458780"/>
                <a:gd name="connsiteY29" fmla="*/ 758645 h 3641849"/>
                <a:gd name="connsiteX30" fmla="*/ 455740 w 1458780"/>
                <a:gd name="connsiteY30" fmla="*/ 722445 h 3641849"/>
                <a:gd name="connsiteX31" fmla="*/ 436343 w 1458780"/>
                <a:gd name="connsiteY31" fmla="*/ 750888 h 3641849"/>
                <a:gd name="connsiteX32" fmla="*/ 466985 w 1458780"/>
                <a:gd name="connsiteY32" fmla="*/ 824301 h 3641849"/>
                <a:gd name="connsiteX33" fmla="*/ 472526 w 1458780"/>
                <a:gd name="connsiteY33" fmla="*/ 951000 h 3641849"/>
                <a:gd name="connsiteX34" fmla="*/ 444656 w 1458780"/>
                <a:gd name="connsiteY34" fmla="*/ 1012043 h 3641849"/>
                <a:gd name="connsiteX35" fmla="*/ 500075 w 1458780"/>
                <a:gd name="connsiteY35" fmla="*/ 1032728 h 3641849"/>
                <a:gd name="connsiteX36" fmla="*/ 516703 w 1458780"/>
                <a:gd name="connsiteY36" fmla="*/ 1048242 h 3641849"/>
                <a:gd name="connsiteX37" fmla="*/ 541643 w 1458780"/>
                <a:gd name="connsiteY37" fmla="*/ 1074099 h 3641849"/>
                <a:gd name="connsiteX38" fmla="*/ 538872 w 1458780"/>
                <a:gd name="connsiteY38" fmla="*/ 1076685 h 3641849"/>
                <a:gd name="connsiteX39" fmla="*/ 577665 w 1458780"/>
                <a:gd name="connsiteY39" fmla="*/ 1071514 h 3641849"/>
                <a:gd name="connsiteX40" fmla="*/ 585979 w 1458780"/>
                <a:gd name="connsiteY40" fmla="*/ 1035314 h 3641849"/>
                <a:gd name="connsiteX41" fmla="*/ 547184 w 1458780"/>
                <a:gd name="connsiteY41" fmla="*/ 957743 h 3641849"/>
                <a:gd name="connsiteX42" fmla="*/ 616460 w 1458780"/>
                <a:gd name="connsiteY42" fmla="*/ 911200 h 3641849"/>
                <a:gd name="connsiteX43" fmla="*/ 684232 w 1458780"/>
                <a:gd name="connsiteY43" fmla="*/ 918934 h 3641849"/>
                <a:gd name="connsiteX44" fmla="*/ 708065 w 1458780"/>
                <a:gd name="connsiteY44" fmla="*/ 951001 h 3641849"/>
                <a:gd name="connsiteX45" fmla="*/ 863794 w 1458780"/>
                <a:gd name="connsiteY45" fmla="*/ 1007364 h 3641849"/>
                <a:gd name="connsiteX46" fmla="*/ 849386 w 1458780"/>
                <a:gd name="connsiteY46" fmla="*/ 971687 h 3641849"/>
                <a:gd name="connsiteX47" fmla="*/ 816134 w 1458780"/>
                <a:gd name="connsiteY47" fmla="*/ 932901 h 3641849"/>
                <a:gd name="connsiteX48" fmla="*/ 805050 w 1458780"/>
                <a:gd name="connsiteY48" fmla="*/ 881187 h 3641849"/>
                <a:gd name="connsiteX49" fmla="*/ 843845 w 1458780"/>
                <a:gd name="connsiteY49" fmla="*/ 832060 h 3641849"/>
                <a:gd name="connsiteX50" fmla="*/ 871555 w 1458780"/>
                <a:gd name="connsiteY50" fmla="*/ 803617 h 3641849"/>
                <a:gd name="connsiteX51" fmla="*/ 896495 w 1458780"/>
                <a:gd name="connsiteY51" fmla="*/ 767417 h 3641849"/>
                <a:gd name="connsiteX52" fmla="*/ 976855 w 1458780"/>
                <a:gd name="connsiteY52" fmla="*/ 762245 h 3641849"/>
                <a:gd name="connsiteX53" fmla="*/ 982396 w 1458780"/>
                <a:gd name="connsiteY53" fmla="*/ 741560 h 3641849"/>
                <a:gd name="connsiteX54" fmla="*/ 1007336 w 1458780"/>
                <a:gd name="connsiteY54" fmla="*/ 705360 h 3641849"/>
                <a:gd name="connsiteX55" fmla="*/ 1041140 w 1458780"/>
                <a:gd name="connsiteY55" fmla="*/ 687772 h 3641849"/>
                <a:gd name="connsiteX56" fmla="*/ 1098780 w 1458780"/>
                <a:gd name="connsiteY56" fmla="*/ 700189 h 3641849"/>
                <a:gd name="connsiteX57" fmla="*/ 1137573 w 1458780"/>
                <a:gd name="connsiteY57" fmla="*/ 720875 h 3641849"/>
                <a:gd name="connsiteX58" fmla="*/ 1184681 w 1458780"/>
                <a:gd name="connsiteY58" fmla="*/ 728632 h 3641849"/>
                <a:gd name="connsiteX59" fmla="*/ 1184681 w 1458780"/>
                <a:gd name="connsiteY59" fmla="*/ 733803 h 3641849"/>
                <a:gd name="connsiteX60" fmla="*/ 1206850 w 1458780"/>
                <a:gd name="connsiteY60" fmla="*/ 674332 h 3641849"/>
                <a:gd name="connsiteX61" fmla="*/ 1216825 w 1458780"/>
                <a:gd name="connsiteY61" fmla="*/ 640714 h 3641849"/>
                <a:gd name="connsiteX62" fmla="*/ 1223476 w 1458780"/>
                <a:gd name="connsiteY62" fmla="*/ 622618 h 3641849"/>
                <a:gd name="connsiteX63" fmla="*/ 1226413 w 1458780"/>
                <a:gd name="connsiteY63" fmla="*/ 591288 h 3641849"/>
                <a:gd name="connsiteX64" fmla="*/ 1145887 w 1458780"/>
                <a:gd name="connsiteY64" fmla="*/ 545048 h 3641849"/>
                <a:gd name="connsiteX65" fmla="*/ 1132032 w 1458780"/>
                <a:gd name="connsiteY65" fmla="*/ 472648 h 3641849"/>
                <a:gd name="connsiteX66" fmla="*/ 1132032 w 1458780"/>
                <a:gd name="connsiteY66" fmla="*/ 454548 h 3641849"/>
                <a:gd name="connsiteX67" fmla="*/ 1143115 w 1458780"/>
                <a:gd name="connsiteY67" fmla="*/ 431276 h 3641849"/>
                <a:gd name="connsiteX68" fmla="*/ 1145887 w 1458780"/>
                <a:gd name="connsiteY68" fmla="*/ 415762 h 3641849"/>
                <a:gd name="connsiteX69" fmla="*/ 1145886 w 1458780"/>
                <a:gd name="connsiteY69" fmla="*/ 358878 h 3641849"/>
                <a:gd name="connsiteX70" fmla="*/ 1123718 w 1458780"/>
                <a:gd name="connsiteY70" fmla="*/ 335607 h 3641849"/>
                <a:gd name="connsiteX71" fmla="*/ 1096008 w 1458780"/>
                <a:gd name="connsiteY71" fmla="*/ 304578 h 3641849"/>
                <a:gd name="connsiteX72" fmla="*/ 1091840 w 1458780"/>
                <a:gd name="connsiteY72" fmla="*/ 280325 h 3641849"/>
                <a:gd name="connsiteX73" fmla="*/ 1143116 w 1458780"/>
                <a:gd name="connsiteY73" fmla="*/ 258034 h 3641849"/>
                <a:gd name="connsiteX74" fmla="*/ 1196696 w 1458780"/>
                <a:gd name="connsiteY74" fmla="*/ 267906 h 3641849"/>
                <a:gd name="connsiteX75" fmla="*/ 1275480 w 1458780"/>
                <a:gd name="connsiteY75" fmla="*/ 279816 h 3641849"/>
                <a:gd name="connsiteX76" fmla="*/ 1359803 w 1458780"/>
                <a:gd name="connsiteY76" fmla="*/ 349175 h 3641849"/>
                <a:gd name="connsiteX77" fmla="*/ 1421938 w 1458780"/>
                <a:gd name="connsiteY77" fmla="*/ 425271 h 3641849"/>
                <a:gd name="connsiteX78" fmla="*/ 1320967 w 1458780"/>
                <a:gd name="connsiteY78" fmla="*/ 454265 h 3641849"/>
                <a:gd name="connsiteX79" fmla="*/ 1305433 w 1458780"/>
                <a:gd name="connsiteY79" fmla="*/ 501372 h 3641849"/>
                <a:gd name="connsiteX80" fmla="*/ 1363103 w 1458780"/>
                <a:gd name="connsiteY80" fmla="*/ 585862 h 3641849"/>
                <a:gd name="connsiteX81" fmla="*/ 1398637 w 1458780"/>
                <a:gd name="connsiteY81" fmla="*/ 591964 h 3641849"/>
                <a:gd name="connsiteX82" fmla="*/ 1451257 w 1458780"/>
                <a:gd name="connsiteY82" fmla="*/ 598304 h 3641849"/>
                <a:gd name="connsiteX83" fmla="*/ 1446294 w 1458780"/>
                <a:gd name="connsiteY83" fmla="*/ 709079 h 3641849"/>
                <a:gd name="connsiteX84" fmla="*/ 1457363 w 1458780"/>
                <a:gd name="connsiteY84" fmla="*/ 1040047 h 3641849"/>
                <a:gd name="connsiteX85" fmla="*/ 1448495 w 1458780"/>
                <a:gd name="connsiteY85" fmla="*/ 1842646 h 3641849"/>
                <a:gd name="connsiteX86" fmla="*/ 1457362 w 1458780"/>
                <a:gd name="connsiteY86" fmla="*/ 2297728 h 3641849"/>
                <a:gd name="connsiteX87" fmla="*/ 1430914 w 1458780"/>
                <a:gd name="connsiteY87" fmla="*/ 3607693 h 3641849"/>
                <a:gd name="connsiteX88" fmla="*/ 1172487 w 1458780"/>
                <a:gd name="connsiteY88" fmla="*/ 3564098 h 3641849"/>
                <a:gd name="connsiteX89" fmla="*/ 1004009 w 1458780"/>
                <a:gd name="connsiteY89" fmla="*/ 3497903 h 3641849"/>
                <a:gd name="connsiteX90" fmla="*/ 826663 w 1458780"/>
                <a:gd name="connsiteY90" fmla="*/ 3406887 h 3641849"/>
                <a:gd name="connsiteX91" fmla="*/ 728365 w 1458780"/>
                <a:gd name="connsiteY91" fmla="*/ 3326370 h 3641849"/>
                <a:gd name="connsiteX92" fmla="*/ 1022627 w 1458780"/>
                <a:gd name="connsiteY92" fmla="*/ 3018734 h 3641849"/>
                <a:gd name="connsiteX93" fmla="*/ 738873 w 1458780"/>
                <a:gd name="connsiteY93" fmla="*/ 2480910 h 3641849"/>
                <a:gd name="connsiteX94" fmla="*/ 881223 w 1458780"/>
                <a:gd name="connsiteY94" fmla="*/ 2241825 h 3641849"/>
                <a:gd name="connsiteX95" fmla="*/ 694536 w 1458780"/>
                <a:gd name="connsiteY95" fmla="*/ 1703134 h 3641849"/>
                <a:gd name="connsiteX96" fmla="*/ 446252 w 1458780"/>
                <a:gd name="connsiteY96" fmla="*/ 1471456 h 3641849"/>
                <a:gd name="connsiteX97" fmla="*/ 437385 w 1458780"/>
                <a:gd name="connsiteY97" fmla="*/ 1355617 h 3641849"/>
                <a:gd name="connsiteX98" fmla="*/ 31857 w 1458780"/>
                <a:gd name="connsiteY98" fmla="*/ 551628 h 3641849"/>
                <a:gd name="connsiteX0" fmla="*/ 31790 w 1458713"/>
                <a:gd name="connsiteY0" fmla="*/ 551628 h 3641849"/>
                <a:gd name="connsiteX1" fmla="*/ 167488 w 1458713"/>
                <a:gd name="connsiteY1" fmla="*/ 487148 h 3641849"/>
                <a:gd name="connsiteX2" fmla="*/ 53876 w 1458713"/>
                <a:gd name="connsiteY2" fmla="*/ 381135 h 3641849"/>
                <a:gd name="connsiteX3" fmla="*/ 1226 w 1458713"/>
                <a:gd name="connsiteY3" fmla="*/ 249265 h 3641849"/>
                <a:gd name="connsiteX4" fmla="*/ 59417 w 1458713"/>
                <a:gd name="connsiteY4" fmla="*/ 158764 h 3641849"/>
                <a:gd name="connsiteX5" fmla="*/ 78815 w 1458713"/>
                <a:gd name="connsiteY5" fmla="*/ 135494 h 3641849"/>
                <a:gd name="connsiteX6" fmla="*/ 92670 w 1458713"/>
                <a:gd name="connsiteY6" fmla="*/ 117394 h 3641849"/>
                <a:gd name="connsiteX7" fmla="*/ 100983 w 1458713"/>
                <a:gd name="connsiteY7" fmla="*/ 73438 h 3641849"/>
                <a:gd name="connsiteX8" fmla="*/ 125922 w 1458713"/>
                <a:gd name="connsiteY8" fmla="*/ 101880 h 3641849"/>
                <a:gd name="connsiteX9" fmla="*/ 156404 w 1458713"/>
                <a:gd name="connsiteY9" fmla="*/ 88952 h 3641849"/>
                <a:gd name="connsiteX10" fmla="*/ 159174 w 1458713"/>
                <a:gd name="connsiteY10" fmla="*/ 63095 h 3641849"/>
                <a:gd name="connsiteX11" fmla="*/ 167488 w 1458713"/>
                <a:gd name="connsiteY11" fmla="*/ 34652 h 3641849"/>
                <a:gd name="connsiteX12" fmla="*/ 170260 w 1458713"/>
                <a:gd name="connsiteY12" fmla="*/ 3624 h 3641849"/>
                <a:gd name="connsiteX13" fmla="*/ 306040 w 1458713"/>
                <a:gd name="connsiteY13" fmla="*/ 57924 h 3641849"/>
                <a:gd name="connsiteX14" fmla="*/ 336520 w 1458713"/>
                <a:gd name="connsiteY14" fmla="*/ 161352 h 3641849"/>
                <a:gd name="connsiteX15" fmla="*/ 350376 w 1458713"/>
                <a:gd name="connsiteY15" fmla="*/ 184622 h 3641849"/>
                <a:gd name="connsiteX16" fmla="*/ 361460 w 1458713"/>
                <a:gd name="connsiteY16" fmla="*/ 187208 h 3641849"/>
                <a:gd name="connsiteX17" fmla="*/ 475072 w 1458713"/>
                <a:gd name="connsiteY17" fmla="*/ 156181 h 3641849"/>
                <a:gd name="connsiteX18" fmla="*/ 541577 w 1458713"/>
                <a:gd name="connsiteY18" fmla="*/ 166522 h 3641849"/>
                <a:gd name="connsiteX19" fmla="*/ 605311 w 1458713"/>
                <a:gd name="connsiteY19" fmla="*/ 213065 h 3641849"/>
                <a:gd name="connsiteX20" fmla="*/ 619338 w 1458713"/>
                <a:gd name="connsiteY20" fmla="*/ 242621 h 3641849"/>
                <a:gd name="connsiteX21" fmla="*/ 674585 w 1458713"/>
                <a:gd name="connsiteY21" fmla="*/ 277708 h 3641849"/>
                <a:gd name="connsiteX22" fmla="*/ 763259 w 1458713"/>
                <a:gd name="connsiteY22" fmla="*/ 303563 h 3641849"/>
                <a:gd name="connsiteX23" fmla="*/ 835305 w 1458713"/>
                <a:gd name="connsiteY23" fmla="*/ 350106 h 3641849"/>
                <a:gd name="connsiteX24" fmla="*/ 885184 w 1458713"/>
                <a:gd name="connsiteY24" fmla="*/ 401820 h 3641849"/>
                <a:gd name="connsiteX25" fmla="*/ 910123 w 1458713"/>
                <a:gd name="connsiteY25" fmla="*/ 440606 h 3641849"/>
                <a:gd name="connsiteX26" fmla="*/ 943376 w 1458713"/>
                <a:gd name="connsiteY26" fmla="*/ 466462 h 3641849"/>
                <a:gd name="connsiteX27" fmla="*/ 926748 w 1458713"/>
                <a:gd name="connsiteY27" fmla="*/ 691417 h 3641849"/>
                <a:gd name="connsiteX28" fmla="*/ 799282 w 1458713"/>
                <a:gd name="connsiteY28" fmla="*/ 771575 h 3641849"/>
                <a:gd name="connsiteX29" fmla="*/ 685670 w 1458713"/>
                <a:gd name="connsiteY29" fmla="*/ 779331 h 3641849"/>
                <a:gd name="connsiteX30" fmla="*/ 547117 w 1458713"/>
                <a:gd name="connsiteY30" fmla="*/ 758645 h 3641849"/>
                <a:gd name="connsiteX31" fmla="*/ 455673 w 1458713"/>
                <a:gd name="connsiteY31" fmla="*/ 722445 h 3641849"/>
                <a:gd name="connsiteX32" fmla="*/ 436276 w 1458713"/>
                <a:gd name="connsiteY32" fmla="*/ 750888 h 3641849"/>
                <a:gd name="connsiteX33" fmla="*/ 466918 w 1458713"/>
                <a:gd name="connsiteY33" fmla="*/ 824301 h 3641849"/>
                <a:gd name="connsiteX34" fmla="*/ 472459 w 1458713"/>
                <a:gd name="connsiteY34" fmla="*/ 951000 h 3641849"/>
                <a:gd name="connsiteX35" fmla="*/ 444589 w 1458713"/>
                <a:gd name="connsiteY35" fmla="*/ 1012043 h 3641849"/>
                <a:gd name="connsiteX36" fmla="*/ 500008 w 1458713"/>
                <a:gd name="connsiteY36" fmla="*/ 1032728 h 3641849"/>
                <a:gd name="connsiteX37" fmla="*/ 516636 w 1458713"/>
                <a:gd name="connsiteY37" fmla="*/ 1048242 h 3641849"/>
                <a:gd name="connsiteX38" fmla="*/ 541576 w 1458713"/>
                <a:gd name="connsiteY38" fmla="*/ 1074099 h 3641849"/>
                <a:gd name="connsiteX39" fmla="*/ 538805 w 1458713"/>
                <a:gd name="connsiteY39" fmla="*/ 1076685 h 3641849"/>
                <a:gd name="connsiteX40" fmla="*/ 577598 w 1458713"/>
                <a:gd name="connsiteY40" fmla="*/ 1071514 h 3641849"/>
                <a:gd name="connsiteX41" fmla="*/ 585912 w 1458713"/>
                <a:gd name="connsiteY41" fmla="*/ 1035314 h 3641849"/>
                <a:gd name="connsiteX42" fmla="*/ 547117 w 1458713"/>
                <a:gd name="connsiteY42" fmla="*/ 957743 h 3641849"/>
                <a:gd name="connsiteX43" fmla="*/ 616393 w 1458713"/>
                <a:gd name="connsiteY43" fmla="*/ 911200 h 3641849"/>
                <a:gd name="connsiteX44" fmla="*/ 684165 w 1458713"/>
                <a:gd name="connsiteY44" fmla="*/ 918934 h 3641849"/>
                <a:gd name="connsiteX45" fmla="*/ 707998 w 1458713"/>
                <a:gd name="connsiteY45" fmla="*/ 951001 h 3641849"/>
                <a:gd name="connsiteX46" fmla="*/ 863727 w 1458713"/>
                <a:gd name="connsiteY46" fmla="*/ 1007364 h 3641849"/>
                <a:gd name="connsiteX47" fmla="*/ 849319 w 1458713"/>
                <a:gd name="connsiteY47" fmla="*/ 971687 h 3641849"/>
                <a:gd name="connsiteX48" fmla="*/ 816067 w 1458713"/>
                <a:gd name="connsiteY48" fmla="*/ 932901 h 3641849"/>
                <a:gd name="connsiteX49" fmla="*/ 804983 w 1458713"/>
                <a:gd name="connsiteY49" fmla="*/ 881187 h 3641849"/>
                <a:gd name="connsiteX50" fmla="*/ 843778 w 1458713"/>
                <a:gd name="connsiteY50" fmla="*/ 832060 h 3641849"/>
                <a:gd name="connsiteX51" fmla="*/ 871488 w 1458713"/>
                <a:gd name="connsiteY51" fmla="*/ 803617 h 3641849"/>
                <a:gd name="connsiteX52" fmla="*/ 896428 w 1458713"/>
                <a:gd name="connsiteY52" fmla="*/ 767417 h 3641849"/>
                <a:gd name="connsiteX53" fmla="*/ 976788 w 1458713"/>
                <a:gd name="connsiteY53" fmla="*/ 762245 h 3641849"/>
                <a:gd name="connsiteX54" fmla="*/ 982329 w 1458713"/>
                <a:gd name="connsiteY54" fmla="*/ 741560 h 3641849"/>
                <a:gd name="connsiteX55" fmla="*/ 1007269 w 1458713"/>
                <a:gd name="connsiteY55" fmla="*/ 705360 h 3641849"/>
                <a:gd name="connsiteX56" fmla="*/ 1041073 w 1458713"/>
                <a:gd name="connsiteY56" fmla="*/ 687772 h 3641849"/>
                <a:gd name="connsiteX57" fmla="*/ 1098713 w 1458713"/>
                <a:gd name="connsiteY57" fmla="*/ 700189 h 3641849"/>
                <a:gd name="connsiteX58" fmla="*/ 1137506 w 1458713"/>
                <a:gd name="connsiteY58" fmla="*/ 720875 h 3641849"/>
                <a:gd name="connsiteX59" fmla="*/ 1184614 w 1458713"/>
                <a:gd name="connsiteY59" fmla="*/ 728632 h 3641849"/>
                <a:gd name="connsiteX60" fmla="*/ 1184614 w 1458713"/>
                <a:gd name="connsiteY60" fmla="*/ 733803 h 3641849"/>
                <a:gd name="connsiteX61" fmla="*/ 1206783 w 1458713"/>
                <a:gd name="connsiteY61" fmla="*/ 674332 h 3641849"/>
                <a:gd name="connsiteX62" fmla="*/ 1216758 w 1458713"/>
                <a:gd name="connsiteY62" fmla="*/ 640714 h 3641849"/>
                <a:gd name="connsiteX63" fmla="*/ 1223409 w 1458713"/>
                <a:gd name="connsiteY63" fmla="*/ 622618 h 3641849"/>
                <a:gd name="connsiteX64" fmla="*/ 1226346 w 1458713"/>
                <a:gd name="connsiteY64" fmla="*/ 591288 h 3641849"/>
                <a:gd name="connsiteX65" fmla="*/ 1145820 w 1458713"/>
                <a:gd name="connsiteY65" fmla="*/ 545048 h 3641849"/>
                <a:gd name="connsiteX66" fmla="*/ 1131965 w 1458713"/>
                <a:gd name="connsiteY66" fmla="*/ 472648 h 3641849"/>
                <a:gd name="connsiteX67" fmla="*/ 1131965 w 1458713"/>
                <a:gd name="connsiteY67" fmla="*/ 454548 h 3641849"/>
                <a:gd name="connsiteX68" fmla="*/ 1143048 w 1458713"/>
                <a:gd name="connsiteY68" fmla="*/ 431276 h 3641849"/>
                <a:gd name="connsiteX69" fmla="*/ 1145820 w 1458713"/>
                <a:gd name="connsiteY69" fmla="*/ 415762 h 3641849"/>
                <a:gd name="connsiteX70" fmla="*/ 1145819 w 1458713"/>
                <a:gd name="connsiteY70" fmla="*/ 358878 h 3641849"/>
                <a:gd name="connsiteX71" fmla="*/ 1123651 w 1458713"/>
                <a:gd name="connsiteY71" fmla="*/ 335607 h 3641849"/>
                <a:gd name="connsiteX72" fmla="*/ 1095941 w 1458713"/>
                <a:gd name="connsiteY72" fmla="*/ 304578 h 3641849"/>
                <a:gd name="connsiteX73" fmla="*/ 1091773 w 1458713"/>
                <a:gd name="connsiteY73" fmla="*/ 280325 h 3641849"/>
                <a:gd name="connsiteX74" fmla="*/ 1143049 w 1458713"/>
                <a:gd name="connsiteY74" fmla="*/ 258034 h 3641849"/>
                <a:gd name="connsiteX75" fmla="*/ 1196629 w 1458713"/>
                <a:gd name="connsiteY75" fmla="*/ 267906 h 3641849"/>
                <a:gd name="connsiteX76" fmla="*/ 1275413 w 1458713"/>
                <a:gd name="connsiteY76" fmla="*/ 279816 h 3641849"/>
                <a:gd name="connsiteX77" fmla="*/ 1359736 w 1458713"/>
                <a:gd name="connsiteY77" fmla="*/ 349175 h 3641849"/>
                <a:gd name="connsiteX78" fmla="*/ 1421871 w 1458713"/>
                <a:gd name="connsiteY78" fmla="*/ 425271 h 3641849"/>
                <a:gd name="connsiteX79" fmla="*/ 1320900 w 1458713"/>
                <a:gd name="connsiteY79" fmla="*/ 454265 h 3641849"/>
                <a:gd name="connsiteX80" fmla="*/ 1305366 w 1458713"/>
                <a:gd name="connsiteY80" fmla="*/ 501372 h 3641849"/>
                <a:gd name="connsiteX81" fmla="*/ 1363036 w 1458713"/>
                <a:gd name="connsiteY81" fmla="*/ 585862 h 3641849"/>
                <a:gd name="connsiteX82" fmla="*/ 1398570 w 1458713"/>
                <a:gd name="connsiteY82" fmla="*/ 591964 h 3641849"/>
                <a:gd name="connsiteX83" fmla="*/ 1451190 w 1458713"/>
                <a:gd name="connsiteY83" fmla="*/ 598304 h 3641849"/>
                <a:gd name="connsiteX84" fmla="*/ 1446227 w 1458713"/>
                <a:gd name="connsiteY84" fmla="*/ 709079 h 3641849"/>
                <a:gd name="connsiteX85" fmla="*/ 1457296 w 1458713"/>
                <a:gd name="connsiteY85" fmla="*/ 1040047 h 3641849"/>
                <a:gd name="connsiteX86" fmla="*/ 1448428 w 1458713"/>
                <a:gd name="connsiteY86" fmla="*/ 1842646 h 3641849"/>
                <a:gd name="connsiteX87" fmla="*/ 1457295 w 1458713"/>
                <a:gd name="connsiteY87" fmla="*/ 2297728 h 3641849"/>
                <a:gd name="connsiteX88" fmla="*/ 1430847 w 1458713"/>
                <a:gd name="connsiteY88" fmla="*/ 3607693 h 3641849"/>
                <a:gd name="connsiteX89" fmla="*/ 1172420 w 1458713"/>
                <a:gd name="connsiteY89" fmla="*/ 3564098 h 3641849"/>
                <a:gd name="connsiteX90" fmla="*/ 1003942 w 1458713"/>
                <a:gd name="connsiteY90" fmla="*/ 3497903 h 3641849"/>
                <a:gd name="connsiteX91" fmla="*/ 826596 w 1458713"/>
                <a:gd name="connsiteY91" fmla="*/ 3406887 h 3641849"/>
                <a:gd name="connsiteX92" fmla="*/ 728298 w 1458713"/>
                <a:gd name="connsiteY92" fmla="*/ 3326370 h 3641849"/>
                <a:gd name="connsiteX93" fmla="*/ 1022560 w 1458713"/>
                <a:gd name="connsiteY93" fmla="*/ 3018734 h 3641849"/>
                <a:gd name="connsiteX94" fmla="*/ 738806 w 1458713"/>
                <a:gd name="connsiteY94" fmla="*/ 2480910 h 3641849"/>
                <a:gd name="connsiteX95" fmla="*/ 881156 w 1458713"/>
                <a:gd name="connsiteY95" fmla="*/ 2241825 h 3641849"/>
                <a:gd name="connsiteX96" fmla="*/ 694469 w 1458713"/>
                <a:gd name="connsiteY96" fmla="*/ 1703134 h 3641849"/>
                <a:gd name="connsiteX97" fmla="*/ 446185 w 1458713"/>
                <a:gd name="connsiteY97" fmla="*/ 1471456 h 3641849"/>
                <a:gd name="connsiteX98" fmla="*/ 437318 w 1458713"/>
                <a:gd name="connsiteY98" fmla="*/ 1355617 h 3641849"/>
                <a:gd name="connsiteX99" fmla="*/ 31790 w 1458713"/>
                <a:gd name="connsiteY99" fmla="*/ 551628 h 3641849"/>
                <a:gd name="connsiteX0" fmla="*/ 31790 w 1458713"/>
                <a:gd name="connsiteY0" fmla="*/ 551628 h 3641849"/>
                <a:gd name="connsiteX1" fmla="*/ 195198 w 1458713"/>
                <a:gd name="connsiteY1" fmla="*/ 577648 h 3641849"/>
                <a:gd name="connsiteX2" fmla="*/ 167488 w 1458713"/>
                <a:gd name="connsiteY2" fmla="*/ 487148 h 3641849"/>
                <a:gd name="connsiteX3" fmla="*/ 53876 w 1458713"/>
                <a:gd name="connsiteY3" fmla="*/ 381135 h 3641849"/>
                <a:gd name="connsiteX4" fmla="*/ 1226 w 1458713"/>
                <a:gd name="connsiteY4" fmla="*/ 249265 h 3641849"/>
                <a:gd name="connsiteX5" fmla="*/ 59417 w 1458713"/>
                <a:gd name="connsiteY5" fmla="*/ 158764 h 3641849"/>
                <a:gd name="connsiteX6" fmla="*/ 78815 w 1458713"/>
                <a:gd name="connsiteY6" fmla="*/ 135494 h 3641849"/>
                <a:gd name="connsiteX7" fmla="*/ 92670 w 1458713"/>
                <a:gd name="connsiteY7" fmla="*/ 117394 h 3641849"/>
                <a:gd name="connsiteX8" fmla="*/ 100983 w 1458713"/>
                <a:gd name="connsiteY8" fmla="*/ 73438 h 3641849"/>
                <a:gd name="connsiteX9" fmla="*/ 125922 w 1458713"/>
                <a:gd name="connsiteY9" fmla="*/ 101880 h 3641849"/>
                <a:gd name="connsiteX10" fmla="*/ 156404 w 1458713"/>
                <a:gd name="connsiteY10" fmla="*/ 88952 h 3641849"/>
                <a:gd name="connsiteX11" fmla="*/ 159174 w 1458713"/>
                <a:gd name="connsiteY11" fmla="*/ 63095 h 3641849"/>
                <a:gd name="connsiteX12" fmla="*/ 167488 w 1458713"/>
                <a:gd name="connsiteY12" fmla="*/ 34652 h 3641849"/>
                <a:gd name="connsiteX13" fmla="*/ 170260 w 1458713"/>
                <a:gd name="connsiteY13" fmla="*/ 3624 h 3641849"/>
                <a:gd name="connsiteX14" fmla="*/ 306040 w 1458713"/>
                <a:gd name="connsiteY14" fmla="*/ 57924 h 3641849"/>
                <a:gd name="connsiteX15" fmla="*/ 336520 w 1458713"/>
                <a:gd name="connsiteY15" fmla="*/ 161352 h 3641849"/>
                <a:gd name="connsiteX16" fmla="*/ 350376 w 1458713"/>
                <a:gd name="connsiteY16" fmla="*/ 184622 h 3641849"/>
                <a:gd name="connsiteX17" fmla="*/ 361460 w 1458713"/>
                <a:gd name="connsiteY17" fmla="*/ 187208 h 3641849"/>
                <a:gd name="connsiteX18" fmla="*/ 475072 w 1458713"/>
                <a:gd name="connsiteY18" fmla="*/ 156181 h 3641849"/>
                <a:gd name="connsiteX19" fmla="*/ 541577 w 1458713"/>
                <a:gd name="connsiteY19" fmla="*/ 166522 h 3641849"/>
                <a:gd name="connsiteX20" fmla="*/ 605311 w 1458713"/>
                <a:gd name="connsiteY20" fmla="*/ 213065 h 3641849"/>
                <a:gd name="connsiteX21" fmla="*/ 619338 w 1458713"/>
                <a:gd name="connsiteY21" fmla="*/ 242621 h 3641849"/>
                <a:gd name="connsiteX22" fmla="*/ 674585 w 1458713"/>
                <a:gd name="connsiteY22" fmla="*/ 277708 h 3641849"/>
                <a:gd name="connsiteX23" fmla="*/ 763259 w 1458713"/>
                <a:gd name="connsiteY23" fmla="*/ 303563 h 3641849"/>
                <a:gd name="connsiteX24" fmla="*/ 835305 w 1458713"/>
                <a:gd name="connsiteY24" fmla="*/ 350106 h 3641849"/>
                <a:gd name="connsiteX25" fmla="*/ 885184 w 1458713"/>
                <a:gd name="connsiteY25" fmla="*/ 401820 h 3641849"/>
                <a:gd name="connsiteX26" fmla="*/ 910123 w 1458713"/>
                <a:gd name="connsiteY26" fmla="*/ 440606 h 3641849"/>
                <a:gd name="connsiteX27" fmla="*/ 943376 w 1458713"/>
                <a:gd name="connsiteY27" fmla="*/ 466462 h 3641849"/>
                <a:gd name="connsiteX28" fmla="*/ 926748 w 1458713"/>
                <a:gd name="connsiteY28" fmla="*/ 691417 h 3641849"/>
                <a:gd name="connsiteX29" fmla="*/ 799282 w 1458713"/>
                <a:gd name="connsiteY29" fmla="*/ 771575 h 3641849"/>
                <a:gd name="connsiteX30" fmla="*/ 685670 w 1458713"/>
                <a:gd name="connsiteY30" fmla="*/ 779331 h 3641849"/>
                <a:gd name="connsiteX31" fmla="*/ 547117 w 1458713"/>
                <a:gd name="connsiteY31" fmla="*/ 758645 h 3641849"/>
                <a:gd name="connsiteX32" fmla="*/ 455673 w 1458713"/>
                <a:gd name="connsiteY32" fmla="*/ 722445 h 3641849"/>
                <a:gd name="connsiteX33" fmla="*/ 436276 w 1458713"/>
                <a:gd name="connsiteY33" fmla="*/ 750888 h 3641849"/>
                <a:gd name="connsiteX34" fmla="*/ 466918 w 1458713"/>
                <a:gd name="connsiteY34" fmla="*/ 824301 h 3641849"/>
                <a:gd name="connsiteX35" fmla="*/ 472459 w 1458713"/>
                <a:gd name="connsiteY35" fmla="*/ 951000 h 3641849"/>
                <a:gd name="connsiteX36" fmla="*/ 444589 w 1458713"/>
                <a:gd name="connsiteY36" fmla="*/ 1012043 h 3641849"/>
                <a:gd name="connsiteX37" fmla="*/ 500008 w 1458713"/>
                <a:gd name="connsiteY37" fmla="*/ 1032728 h 3641849"/>
                <a:gd name="connsiteX38" fmla="*/ 516636 w 1458713"/>
                <a:gd name="connsiteY38" fmla="*/ 1048242 h 3641849"/>
                <a:gd name="connsiteX39" fmla="*/ 541576 w 1458713"/>
                <a:gd name="connsiteY39" fmla="*/ 1074099 h 3641849"/>
                <a:gd name="connsiteX40" fmla="*/ 538805 w 1458713"/>
                <a:gd name="connsiteY40" fmla="*/ 1076685 h 3641849"/>
                <a:gd name="connsiteX41" fmla="*/ 577598 w 1458713"/>
                <a:gd name="connsiteY41" fmla="*/ 1071514 h 3641849"/>
                <a:gd name="connsiteX42" fmla="*/ 585912 w 1458713"/>
                <a:gd name="connsiteY42" fmla="*/ 1035314 h 3641849"/>
                <a:gd name="connsiteX43" fmla="*/ 547117 w 1458713"/>
                <a:gd name="connsiteY43" fmla="*/ 957743 h 3641849"/>
                <a:gd name="connsiteX44" fmla="*/ 616393 w 1458713"/>
                <a:gd name="connsiteY44" fmla="*/ 911200 h 3641849"/>
                <a:gd name="connsiteX45" fmla="*/ 684165 w 1458713"/>
                <a:gd name="connsiteY45" fmla="*/ 918934 h 3641849"/>
                <a:gd name="connsiteX46" fmla="*/ 707998 w 1458713"/>
                <a:gd name="connsiteY46" fmla="*/ 951001 h 3641849"/>
                <a:gd name="connsiteX47" fmla="*/ 863727 w 1458713"/>
                <a:gd name="connsiteY47" fmla="*/ 1007364 h 3641849"/>
                <a:gd name="connsiteX48" fmla="*/ 849319 w 1458713"/>
                <a:gd name="connsiteY48" fmla="*/ 971687 h 3641849"/>
                <a:gd name="connsiteX49" fmla="*/ 816067 w 1458713"/>
                <a:gd name="connsiteY49" fmla="*/ 932901 h 3641849"/>
                <a:gd name="connsiteX50" fmla="*/ 804983 w 1458713"/>
                <a:gd name="connsiteY50" fmla="*/ 881187 h 3641849"/>
                <a:gd name="connsiteX51" fmla="*/ 843778 w 1458713"/>
                <a:gd name="connsiteY51" fmla="*/ 832060 h 3641849"/>
                <a:gd name="connsiteX52" fmla="*/ 871488 w 1458713"/>
                <a:gd name="connsiteY52" fmla="*/ 803617 h 3641849"/>
                <a:gd name="connsiteX53" fmla="*/ 896428 w 1458713"/>
                <a:gd name="connsiteY53" fmla="*/ 767417 h 3641849"/>
                <a:gd name="connsiteX54" fmla="*/ 976788 w 1458713"/>
                <a:gd name="connsiteY54" fmla="*/ 762245 h 3641849"/>
                <a:gd name="connsiteX55" fmla="*/ 982329 w 1458713"/>
                <a:gd name="connsiteY55" fmla="*/ 741560 h 3641849"/>
                <a:gd name="connsiteX56" fmla="*/ 1007269 w 1458713"/>
                <a:gd name="connsiteY56" fmla="*/ 705360 h 3641849"/>
                <a:gd name="connsiteX57" fmla="*/ 1041073 w 1458713"/>
                <a:gd name="connsiteY57" fmla="*/ 687772 h 3641849"/>
                <a:gd name="connsiteX58" fmla="*/ 1098713 w 1458713"/>
                <a:gd name="connsiteY58" fmla="*/ 700189 h 3641849"/>
                <a:gd name="connsiteX59" fmla="*/ 1137506 w 1458713"/>
                <a:gd name="connsiteY59" fmla="*/ 720875 h 3641849"/>
                <a:gd name="connsiteX60" fmla="*/ 1184614 w 1458713"/>
                <a:gd name="connsiteY60" fmla="*/ 728632 h 3641849"/>
                <a:gd name="connsiteX61" fmla="*/ 1184614 w 1458713"/>
                <a:gd name="connsiteY61" fmla="*/ 733803 h 3641849"/>
                <a:gd name="connsiteX62" fmla="*/ 1206783 w 1458713"/>
                <a:gd name="connsiteY62" fmla="*/ 674332 h 3641849"/>
                <a:gd name="connsiteX63" fmla="*/ 1216758 w 1458713"/>
                <a:gd name="connsiteY63" fmla="*/ 640714 h 3641849"/>
                <a:gd name="connsiteX64" fmla="*/ 1223409 w 1458713"/>
                <a:gd name="connsiteY64" fmla="*/ 622618 h 3641849"/>
                <a:gd name="connsiteX65" fmla="*/ 1226346 w 1458713"/>
                <a:gd name="connsiteY65" fmla="*/ 591288 h 3641849"/>
                <a:gd name="connsiteX66" fmla="*/ 1145820 w 1458713"/>
                <a:gd name="connsiteY66" fmla="*/ 545048 h 3641849"/>
                <a:gd name="connsiteX67" fmla="*/ 1131965 w 1458713"/>
                <a:gd name="connsiteY67" fmla="*/ 472648 h 3641849"/>
                <a:gd name="connsiteX68" fmla="*/ 1131965 w 1458713"/>
                <a:gd name="connsiteY68" fmla="*/ 454548 h 3641849"/>
                <a:gd name="connsiteX69" fmla="*/ 1143048 w 1458713"/>
                <a:gd name="connsiteY69" fmla="*/ 431276 h 3641849"/>
                <a:gd name="connsiteX70" fmla="*/ 1145820 w 1458713"/>
                <a:gd name="connsiteY70" fmla="*/ 415762 h 3641849"/>
                <a:gd name="connsiteX71" fmla="*/ 1145819 w 1458713"/>
                <a:gd name="connsiteY71" fmla="*/ 358878 h 3641849"/>
                <a:gd name="connsiteX72" fmla="*/ 1123651 w 1458713"/>
                <a:gd name="connsiteY72" fmla="*/ 335607 h 3641849"/>
                <a:gd name="connsiteX73" fmla="*/ 1095941 w 1458713"/>
                <a:gd name="connsiteY73" fmla="*/ 304578 h 3641849"/>
                <a:gd name="connsiteX74" fmla="*/ 1091773 w 1458713"/>
                <a:gd name="connsiteY74" fmla="*/ 280325 h 3641849"/>
                <a:gd name="connsiteX75" fmla="*/ 1143049 w 1458713"/>
                <a:gd name="connsiteY75" fmla="*/ 258034 h 3641849"/>
                <a:gd name="connsiteX76" fmla="*/ 1196629 w 1458713"/>
                <a:gd name="connsiteY76" fmla="*/ 267906 h 3641849"/>
                <a:gd name="connsiteX77" fmla="*/ 1275413 w 1458713"/>
                <a:gd name="connsiteY77" fmla="*/ 279816 h 3641849"/>
                <a:gd name="connsiteX78" fmla="*/ 1359736 w 1458713"/>
                <a:gd name="connsiteY78" fmla="*/ 349175 h 3641849"/>
                <a:gd name="connsiteX79" fmla="*/ 1421871 w 1458713"/>
                <a:gd name="connsiteY79" fmla="*/ 425271 h 3641849"/>
                <a:gd name="connsiteX80" fmla="*/ 1320900 w 1458713"/>
                <a:gd name="connsiteY80" fmla="*/ 454265 h 3641849"/>
                <a:gd name="connsiteX81" fmla="*/ 1305366 w 1458713"/>
                <a:gd name="connsiteY81" fmla="*/ 501372 h 3641849"/>
                <a:gd name="connsiteX82" fmla="*/ 1363036 w 1458713"/>
                <a:gd name="connsiteY82" fmla="*/ 585862 h 3641849"/>
                <a:gd name="connsiteX83" fmla="*/ 1398570 w 1458713"/>
                <a:gd name="connsiteY83" fmla="*/ 591964 h 3641849"/>
                <a:gd name="connsiteX84" fmla="*/ 1451190 w 1458713"/>
                <a:gd name="connsiteY84" fmla="*/ 598304 h 3641849"/>
                <a:gd name="connsiteX85" fmla="*/ 1446227 w 1458713"/>
                <a:gd name="connsiteY85" fmla="*/ 709079 h 3641849"/>
                <a:gd name="connsiteX86" fmla="*/ 1457296 w 1458713"/>
                <a:gd name="connsiteY86" fmla="*/ 1040047 h 3641849"/>
                <a:gd name="connsiteX87" fmla="*/ 1448428 w 1458713"/>
                <a:gd name="connsiteY87" fmla="*/ 1842646 h 3641849"/>
                <a:gd name="connsiteX88" fmla="*/ 1457295 w 1458713"/>
                <a:gd name="connsiteY88" fmla="*/ 2297728 h 3641849"/>
                <a:gd name="connsiteX89" fmla="*/ 1430847 w 1458713"/>
                <a:gd name="connsiteY89" fmla="*/ 3607693 h 3641849"/>
                <a:gd name="connsiteX90" fmla="*/ 1172420 w 1458713"/>
                <a:gd name="connsiteY90" fmla="*/ 3564098 h 3641849"/>
                <a:gd name="connsiteX91" fmla="*/ 1003942 w 1458713"/>
                <a:gd name="connsiteY91" fmla="*/ 3497903 h 3641849"/>
                <a:gd name="connsiteX92" fmla="*/ 826596 w 1458713"/>
                <a:gd name="connsiteY92" fmla="*/ 3406887 h 3641849"/>
                <a:gd name="connsiteX93" fmla="*/ 728298 w 1458713"/>
                <a:gd name="connsiteY93" fmla="*/ 3326370 h 3641849"/>
                <a:gd name="connsiteX94" fmla="*/ 1022560 w 1458713"/>
                <a:gd name="connsiteY94" fmla="*/ 3018734 h 3641849"/>
                <a:gd name="connsiteX95" fmla="*/ 738806 w 1458713"/>
                <a:gd name="connsiteY95" fmla="*/ 2480910 h 3641849"/>
                <a:gd name="connsiteX96" fmla="*/ 881156 w 1458713"/>
                <a:gd name="connsiteY96" fmla="*/ 2241825 h 3641849"/>
                <a:gd name="connsiteX97" fmla="*/ 694469 w 1458713"/>
                <a:gd name="connsiteY97" fmla="*/ 1703134 h 3641849"/>
                <a:gd name="connsiteX98" fmla="*/ 446185 w 1458713"/>
                <a:gd name="connsiteY98" fmla="*/ 1471456 h 3641849"/>
                <a:gd name="connsiteX99" fmla="*/ 437318 w 1458713"/>
                <a:gd name="connsiteY99" fmla="*/ 1355617 h 3641849"/>
                <a:gd name="connsiteX100" fmla="*/ 31790 w 1458713"/>
                <a:gd name="connsiteY100" fmla="*/ 551628 h 3641849"/>
                <a:gd name="connsiteX0" fmla="*/ 31790 w 1458713"/>
                <a:gd name="connsiteY0" fmla="*/ 551628 h 3641849"/>
                <a:gd name="connsiteX1" fmla="*/ 125921 w 1458713"/>
                <a:gd name="connsiteY1" fmla="*/ 582819 h 3641849"/>
                <a:gd name="connsiteX2" fmla="*/ 195198 w 1458713"/>
                <a:gd name="connsiteY2" fmla="*/ 577648 h 3641849"/>
                <a:gd name="connsiteX3" fmla="*/ 167488 w 1458713"/>
                <a:gd name="connsiteY3" fmla="*/ 487148 h 3641849"/>
                <a:gd name="connsiteX4" fmla="*/ 53876 w 1458713"/>
                <a:gd name="connsiteY4" fmla="*/ 381135 h 3641849"/>
                <a:gd name="connsiteX5" fmla="*/ 1226 w 1458713"/>
                <a:gd name="connsiteY5" fmla="*/ 249265 h 3641849"/>
                <a:gd name="connsiteX6" fmla="*/ 59417 w 1458713"/>
                <a:gd name="connsiteY6" fmla="*/ 158764 h 3641849"/>
                <a:gd name="connsiteX7" fmla="*/ 78815 w 1458713"/>
                <a:gd name="connsiteY7" fmla="*/ 135494 h 3641849"/>
                <a:gd name="connsiteX8" fmla="*/ 92670 w 1458713"/>
                <a:gd name="connsiteY8" fmla="*/ 117394 h 3641849"/>
                <a:gd name="connsiteX9" fmla="*/ 100983 w 1458713"/>
                <a:gd name="connsiteY9" fmla="*/ 73438 h 3641849"/>
                <a:gd name="connsiteX10" fmla="*/ 125922 w 1458713"/>
                <a:gd name="connsiteY10" fmla="*/ 101880 h 3641849"/>
                <a:gd name="connsiteX11" fmla="*/ 156404 w 1458713"/>
                <a:gd name="connsiteY11" fmla="*/ 88952 h 3641849"/>
                <a:gd name="connsiteX12" fmla="*/ 159174 w 1458713"/>
                <a:gd name="connsiteY12" fmla="*/ 63095 h 3641849"/>
                <a:gd name="connsiteX13" fmla="*/ 167488 w 1458713"/>
                <a:gd name="connsiteY13" fmla="*/ 34652 h 3641849"/>
                <a:gd name="connsiteX14" fmla="*/ 170260 w 1458713"/>
                <a:gd name="connsiteY14" fmla="*/ 3624 h 3641849"/>
                <a:gd name="connsiteX15" fmla="*/ 306040 w 1458713"/>
                <a:gd name="connsiteY15" fmla="*/ 57924 h 3641849"/>
                <a:gd name="connsiteX16" fmla="*/ 336520 w 1458713"/>
                <a:gd name="connsiteY16" fmla="*/ 161352 h 3641849"/>
                <a:gd name="connsiteX17" fmla="*/ 350376 w 1458713"/>
                <a:gd name="connsiteY17" fmla="*/ 184622 h 3641849"/>
                <a:gd name="connsiteX18" fmla="*/ 361460 w 1458713"/>
                <a:gd name="connsiteY18" fmla="*/ 187208 h 3641849"/>
                <a:gd name="connsiteX19" fmla="*/ 475072 w 1458713"/>
                <a:gd name="connsiteY19" fmla="*/ 156181 h 3641849"/>
                <a:gd name="connsiteX20" fmla="*/ 541577 w 1458713"/>
                <a:gd name="connsiteY20" fmla="*/ 166522 h 3641849"/>
                <a:gd name="connsiteX21" fmla="*/ 605311 w 1458713"/>
                <a:gd name="connsiteY21" fmla="*/ 213065 h 3641849"/>
                <a:gd name="connsiteX22" fmla="*/ 619338 w 1458713"/>
                <a:gd name="connsiteY22" fmla="*/ 242621 h 3641849"/>
                <a:gd name="connsiteX23" fmla="*/ 674585 w 1458713"/>
                <a:gd name="connsiteY23" fmla="*/ 277708 h 3641849"/>
                <a:gd name="connsiteX24" fmla="*/ 763259 w 1458713"/>
                <a:gd name="connsiteY24" fmla="*/ 303563 h 3641849"/>
                <a:gd name="connsiteX25" fmla="*/ 835305 w 1458713"/>
                <a:gd name="connsiteY25" fmla="*/ 350106 h 3641849"/>
                <a:gd name="connsiteX26" fmla="*/ 885184 w 1458713"/>
                <a:gd name="connsiteY26" fmla="*/ 401820 h 3641849"/>
                <a:gd name="connsiteX27" fmla="*/ 910123 w 1458713"/>
                <a:gd name="connsiteY27" fmla="*/ 440606 h 3641849"/>
                <a:gd name="connsiteX28" fmla="*/ 943376 w 1458713"/>
                <a:gd name="connsiteY28" fmla="*/ 466462 h 3641849"/>
                <a:gd name="connsiteX29" fmla="*/ 926748 w 1458713"/>
                <a:gd name="connsiteY29" fmla="*/ 691417 h 3641849"/>
                <a:gd name="connsiteX30" fmla="*/ 799282 w 1458713"/>
                <a:gd name="connsiteY30" fmla="*/ 771575 h 3641849"/>
                <a:gd name="connsiteX31" fmla="*/ 685670 w 1458713"/>
                <a:gd name="connsiteY31" fmla="*/ 779331 h 3641849"/>
                <a:gd name="connsiteX32" fmla="*/ 547117 w 1458713"/>
                <a:gd name="connsiteY32" fmla="*/ 758645 h 3641849"/>
                <a:gd name="connsiteX33" fmla="*/ 455673 w 1458713"/>
                <a:gd name="connsiteY33" fmla="*/ 722445 h 3641849"/>
                <a:gd name="connsiteX34" fmla="*/ 436276 w 1458713"/>
                <a:gd name="connsiteY34" fmla="*/ 750888 h 3641849"/>
                <a:gd name="connsiteX35" fmla="*/ 466918 w 1458713"/>
                <a:gd name="connsiteY35" fmla="*/ 824301 h 3641849"/>
                <a:gd name="connsiteX36" fmla="*/ 472459 w 1458713"/>
                <a:gd name="connsiteY36" fmla="*/ 951000 h 3641849"/>
                <a:gd name="connsiteX37" fmla="*/ 444589 w 1458713"/>
                <a:gd name="connsiteY37" fmla="*/ 1012043 h 3641849"/>
                <a:gd name="connsiteX38" fmla="*/ 500008 w 1458713"/>
                <a:gd name="connsiteY38" fmla="*/ 1032728 h 3641849"/>
                <a:gd name="connsiteX39" fmla="*/ 516636 w 1458713"/>
                <a:gd name="connsiteY39" fmla="*/ 1048242 h 3641849"/>
                <a:gd name="connsiteX40" fmla="*/ 541576 w 1458713"/>
                <a:gd name="connsiteY40" fmla="*/ 1074099 h 3641849"/>
                <a:gd name="connsiteX41" fmla="*/ 538805 w 1458713"/>
                <a:gd name="connsiteY41" fmla="*/ 1076685 h 3641849"/>
                <a:gd name="connsiteX42" fmla="*/ 577598 w 1458713"/>
                <a:gd name="connsiteY42" fmla="*/ 1071514 h 3641849"/>
                <a:gd name="connsiteX43" fmla="*/ 585912 w 1458713"/>
                <a:gd name="connsiteY43" fmla="*/ 1035314 h 3641849"/>
                <a:gd name="connsiteX44" fmla="*/ 547117 w 1458713"/>
                <a:gd name="connsiteY44" fmla="*/ 957743 h 3641849"/>
                <a:gd name="connsiteX45" fmla="*/ 616393 w 1458713"/>
                <a:gd name="connsiteY45" fmla="*/ 911200 h 3641849"/>
                <a:gd name="connsiteX46" fmla="*/ 684165 w 1458713"/>
                <a:gd name="connsiteY46" fmla="*/ 918934 h 3641849"/>
                <a:gd name="connsiteX47" fmla="*/ 707998 w 1458713"/>
                <a:gd name="connsiteY47" fmla="*/ 951001 h 3641849"/>
                <a:gd name="connsiteX48" fmla="*/ 863727 w 1458713"/>
                <a:gd name="connsiteY48" fmla="*/ 1007364 h 3641849"/>
                <a:gd name="connsiteX49" fmla="*/ 849319 w 1458713"/>
                <a:gd name="connsiteY49" fmla="*/ 971687 h 3641849"/>
                <a:gd name="connsiteX50" fmla="*/ 816067 w 1458713"/>
                <a:gd name="connsiteY50" fmla="*/ 932901 h 3641849"/>
                <a:gd name="connsiteX51" fmla="*/ 804983 w 1458713"/>
                <a:gd name="connsiteY51" fmla="*/ 881187 h 3641849"/>
                <a:gd name="connsiteX52" fmla="*/ 843778 w 1458713"/>
                <a:gd name="connsiteY52" fmla="*/ 832060 h 3641849"/>
                <a:gd name="connsiteX53" fmla="*/ 871488 w 1458713"/>
                <a:gd name="connsiteY53" fmla="*/ 803617 h 3641849"/>
                <a:gd name="connsiteX54" fmla="*/ 896428 w 1458713"/>
                <a:gd name="connsiteY54" fmla="*/ 767417 h 3641849"/>
                <a:gd name="connsiteX55" fmla="*/ 976788 w 1458713"/>
                <a:gd name="connsiteY55" fmla="*/ 762245 h 3641849"/>
                <a:gd name="connsiteX56" fmla="*/ 982329 w 1458713"/>
                <a:gd name="connsiteY56" fmla="*/ 741560 h 3641849"/>
                <a:gd name="connsiteX57" fmla="*/ 1007269 w 1458713"/>
                <a:gd name="connsiteY57" fmla="*/ 705360 h 3641849"/>
                <a:gd name="connsiteX58" fmla="*/ 1041073 w 1458713"/>
                <a:gd name="connsiteY58" fmla="*/ 687772 h 3641849"/>
                <a:gd name="connsiteX59" fmla="*/ 1098713 w 1458713"/>
                <a:gd name="connsiteY59" fmla="*/ 700189 h 3641849"/>
                <a:gd name="connsiteX60" fmla="*/ 1137506 w 1458713"/>
                <a:gd name="connsiteY60" fmla="*/ 720875 h 3641849"/>
                <a:gd name="connsiteX61" fmla="*/ 1184614 w 1458713"/>
                <a:gd name="connsiteY61" fmla="*/ 728632 h 3641849"/>
                <a:gd name="connsiteX62" fmla="*/ 1184614 w 1458713"/>
                <a:gd name="connsiteY62" fmla="*/ 733803 h 3641849"/>
                <a:gd name="connsiteX63" fmla="*/ 1206783 w 1458713"/>
                <a:gd name="connsiteY63" fmla="*/ 674332 h 3641849"/>
                <a:gd name="connsiteX64" fmla="*/ 1216758 w 1458713"/>
                <a:gd name="connsiteY64" fmla="*/ 640714 h 3641849"/>
                <a:gd name="connsiteX65" fmla="*/ 1223409 w 1458713"/>
                <a:gd name="connsiteY65" fmla="*/ 622618 h 3641849"/>
                <a:gd name="connsiteX66" fmla="*/ 1226346 w 1458713"/>
                <a:gd name="connsiteY66" fmla="*/ 591288 h 3641849"/>
                <a:gd name="connsiteX67" fmla="*/ 1145820 w 1458713"/>
                <a:gd name="connsiteY67" fmla="*/ 545048 h 3641849"/>
                <a:gd name="connsiteX68" fmla="*/ 1131965 w 1458713"/>
                <a:gd name="connsiteY68" fmla="*/ 472648 h 3641849"/>
                <a:gd name="connsiteX69" fmla="*/ 1131965 w 1458713"/>
                <a:gd name="connsiteY69" fmla="*/ 454548 h 3641849"/>
                <a:gd name="connsiteX70" fmla="*/ 1143048 w 1458713"/>
                <a:gd name="connsiteY70" fmla="*/ 431276 h 3641849"/>
                <a:gd name="connsiteX71" fmla="*/ 1145820 w 1458713"/>
                <a:gd name="connsiteY71" fmla="*/ 415762 h 3641849"/>
                <a:gd name="connsiteX72" fmla="*/ 1145819 w 1458713"/>
                <a:gd name="connsiteY72" fmla="*/ 358878 h 3641849"/>
                <a:gd name="connsiteX73" fmla="*/ 1123651 w 1458713"/>
                <a:gd name="connsiteY73" fmla="*/ 335607 h 3641849"/>
                <a:gd name="connsiteX74" fmla="*/ 1095941 w 1458713"/>
                <a:gd name="connsiteY74" fmla="*/ 304578 h 3641849"/>
                <a:gd name="connsiteX75" fmla="*/ 1091773 w 1458713"/>
                <a:gd name="connsiteY75" fmla="*/ 280325 h 3641849"/>
                <a:gd name="connsiteX76" fmla="*/ 1143049 w 1458713"/>
                <a:gd name="connsiteY76" fmla="*/ 258034 h 3641849"/>
                <a:gd name="connsiteX77" fmla="*/ 1196629 w 1458713"/>
                <a:gd name="connsiteY77" fmla="*/ 267906 h 3641849"/>
                <a:gd name="connsiteX78" fmla="*/ 1275413 w 1458713"/>
                <a:gd name="connsiteY78" fmla="*/ 279816 h 3641849"/>
                <a:gd name="connsiteX79" fmla="*/ 1359736 w 1458713"/>
                <a:gd name="connsiteY79" fmla="*/ 349175 h 3641849"/>
                <a:gd name="connsiteX80" fmla="*/ 1421871 w 1458713"/>
                <a:gd name="connsiteY80" fmla="*/ 425271 h 3641849"/>
                <a:gd name="connsiteX81" fmla="*/ 1320900 w 1458713"/>
                <a:gd name="connsiteY81" fmla="*/ 454265 h 3641849"/>
                <a:gd name="connsiteX82" fmla="*/ 1305366 w 1458713"/>
                <a:gd name="connsiteY82" fmla="*/ 501372 h 3641849"/>
                <a:gd name="connsiteX83" fmla="*/ 1363036 w 1458713"/>
                <a:gd name="connsiteY83" fmla="*/ 585862 h 3641849"/>
                <a:gd name="connsiteX84" fmla="*/ 1398570 w 1458713"/>
                <a:gd name="connsiteY84" fmla="*/ 591964 h 3641849"/>
                <a:gd name="connsiteX85" fmla="*/ 1451190 w 1458713"/>
                <a:gd name="connsiteY85" fmla="*/ 598304 h 3641849"/>
                <a:gd name="connsiteX86" fmla="*/ 1446227 w 1458713"/>
                <a:gd name="connsiteY86" fmla="*/ 709079 h 3641849"/>
                <a:gd name="connsiteX87" fmla="*/ 1457296 w 1458713"/>
                <a:gd name="connsiteY87" fmla="*/ 1040047 h 3641849"/>
                <a:gd name="connsiteX88" fmla="*/ 1448428 w 1458713"/>
                <a:gd name="connsiteY88" fmla="*/ 1842646 h 3641849"/>
                <a:gd name="connsiteX89" fmla="*/ 1457295 w 1458713"/>
                <a:gd name="connsiteY89" fmla="*/ 2297728 h 3641849"/>
                <a:gd name="connsiteX90" fmla="*/ 1430847 w 1458713"/>
                <a:gd name="connsiteY90" fmla="*/ 3607693 h 3641849"/>
                <a:gd name="connsiteX91" fmla="*/ 1172420 w 1458713"/>
                <a:gd name="connsiteY91" fmla="*/ 3564098 h 3641849"/>
                <a:gd name="connsiteX92" fmla="*/ 1003942 w 1458713"/>
                <a:gd name="connsiteY92" fmla="*/ 3497903 h 3641849"/>
                <a:gd name="connsiteX93" fmla="*/ 826596 w 1458713"/>
                <a:gd name="connsiteY93" fmla="*/ 3406887 h 3641849"/>
                <a:gd name="connsiteX94" fmla="*/ 728298 w 1458713"/>
                <a:gd name="connsiteY94" fmla="*/ 3326370 h 3641849"/>
                <a:gd name="connsiteX95" fmla="*/ 1022560 w 1458713"/>
                <a:gd name="connsiteY95" fmla="*/ 3018734 h 3641849"/>
                <a:gd name="connsiteX96" fmla="*/ 738806 w 1458713"/>
                <a:gd name="connsiteY96" fmla="*/ 2480910 h 3641849"/>
                <a:gd name="connsiteX97" fmla="*/ 881156 w 1458713"/>
                <a:gd name="connsiteY97" fmla="*/ 2241825 h 3641849"/>
                <a:gd name="connsiteX98" fmla="*/ 694469 w 1458713"/>
                <a:gd name="connsiteY98" fmla="*/ 1703134 h 3641849"/>
                <a:gd name="connsiteX99" fmla="*/ 446185 w 1458713"/>
                <a:gd name="connsiteY99" fmla="*/ 1471456 h 3641849"/>
                <a:gd name="connsiteX100" fmla="*/ 437318 w 1458713"/>
                <a:gd name="connsiteY100" fmla="*/ 1355617 h 3641849"/>
                <a:gd name="connsiteX101" fmla="*/ 31790 w 1458713"/>
                <a:gd name="connsiteY101" fmla="*/ 551628 h 3641849"/>
                <a:gd name="connsiteX0" fmla="*/ 29070 w 1455993"/>
                <a:gd name="connsiteY0" fmla="*/ 551628 h 3641849"/>
                <a:gd name="connsiteX1" fmla="*/ 123201 w 1455993"/>
                <a:gd name="connsiteY1" fmla="*/ 582819 h 3641849"/>
                <a:gd name="connsiteX2" fmla="*/ 192478 w 1455993"/>
                <a:gd name="connsiteY2" fmla="*/ 577648 h 3641849"/>
                <a:gd name="connsiteX3" fmla="*/ 164768 w 1455993"/>
                <a:gd name="connsiteY3" fmla="*/ 487148 h 3641849"/>
                <a:gd name="connsiteX4" fmla="*/ 51156 w 1455993"/>
                <a:gd name="connsiteY4" fmla="*/ 381135 h 3641849"/>
                <a:gd name="connsiteX5" fmla="*/ 1277 w 1455993"/>
                <a:gd name="connsiteY5" fmla="*/ 251851 h 3641849"/>
                <a:gd name="connsiteX6" fmla="*/ 56697 w 1455993"/>
                <a:gd name="connsiteY6" fmla="*/ 158764 h 3641849"/>
                <a:gd name="connsiteX7" fmla="*/ 76095 w 1455993"/>
                <a:gd name="connsiteY7" fmla="*/ 135494 h 3641849"/>
                <a:gd name="connsiteX8" fmla="*/ 89950 w 1455993"/>
                <a:gd name="connsiteY8" fmla="*/ 117394 h 3641849"/>
                <a:gd name="connsiteX9" fmla="*/ 98263 w 1455993"/>
                <a:gd name="connsiteY9" fmla="*/ 73438 h 3641849"/>
                <a:gd name="connsiteX10" fmla="*/ 123202 w 1455993"/>
                <a:gd name="connsiteY10" fmla="*/ 101880 h 3641849"/>
                <a:gd name="connsiteX11" fmla="*/ 153684 w 1455993"/>
                <a:gd name="connsiteY11" fmla="*/ 88952 h 3641849"/>
                <a:gd name="connsiteX12" fmla="*/ 156454 w 1455993"/>
                <a:gd name="connsiteY12" fmla="*/ 63095 h 3641849"/>
                <a:gd name="connsiteX13" fmla="*/ 164768 w 1455993"/>
                <a:gd name="connsiteY13" fmla="*/ 34652 h 3641849"/>
                <a:gd name="connsiteX14" fmla="*/ 167540 w 1455993"/>
                <a:gd name="connsiteY14" fmla="*/ 3624 h 3641849"/>
                <a:gd name="connsiteX15" fmla="*/ 303320 w 1455993"/>
                <a:gd name="connsiteY15" fmla="*/ 57924 h 3641849"/>
                <a:gd name="connsiteX16" fmla="*/ 333800 w 1455993"/>
                <a:gd name="connsiteY16" fmla="*/ 161352 h 3641849"/>
                <a:gd name="connsiteX17" fmla="*/ 347656 w 1455993"/>
                <a:gd name="connsiteY17" fmla="*/ 184622 h 3641849"/>
                <a:gd name="connsiteX18" fmla="*/ 358740 w 1455993"/>
                <a:gd name="connsiteY18" fmla="*/ 187208 h 3641849"/>
                <a:gd name="connsiteX19" fmla="*/ 472352 w 1455993"/>
                <a:gd name="connsiteY19" fmla="*/ 156181 h 3641849"/>
                <a:gd name="connsiteX20" fmla="*/ 538857 w 1455993"/>
                <a:gd name="connsiteY20" fmla="*/ 166522 h 3641849"/>
                <a:gd name="connsiteX21" fmla="*/ 602591 w 1455993"/>
                <a:gd name="connsiteY21" fmla="*/ 213065 h 3641849"/>
                <a:gd name="connsiteX22" fmla="*/ 616618 w 1455993"/>
                <a:gd name="connsiteY22" fmla="*/ 242621 h 3641849"/>
                <a:gd name="connsiteX23" fmla="*/ 671865 w 1455993"/>
                <a:gd name="connsiteY23" fmla="*/ 277708 h 3641849"/>
                <a:gd name="connsiteX24" fmla="*/ 760539 w 1455993"/>
                <a:gd name="connsiteY24" fmla="*/ 303563 h 3641849"/>
                <a:gd name="connsiteX25" fmla="*/ 832585 w 1455993"/>
                <a:gd name="connsiteY25" fmla="*/ 350106 h 3641849"/>
                <a:gd name="connsiteX26" fmla="*/ 882464 w 1455993"/>
                <a:gd name="connsiteY26" fmla="*/ 401820 h 3641849"/>
                <a:gd name="connsiteX27" fmla="*/ 907403 w 1455993"/>
                <a:gd name="connsiteY27" fmla="*/ 440606 h 3641849"/>
                <a:gd name="connsiteX28" fmla="*/ 940656 w 1455993"/>
                <a:gd name="connsiteY28" fmla="*/ 466462 h 3641849"/>
                <a:gd name="connsiteX29" fmla="*/ 924028 w 1455993"/>
                <a:gd name="connsiteY29" fmla="*/ 691417 h 3641849"/>
                <a:gd name="connsiteX30" fmla="*/ 796562 w 1455993"/>
                <a:gd name="connsiteY30" fmla="*/ 771575 h 3641849"/>
                <a:gd name="connsiteX31" fmla="*/ 682950 w 1455993"/>
                <a:gd name="connsiteY31" fmla="*/ 779331 h 3641849"/>
                <a:gd name="connsiteX32" fmla="*/ 544397 w 1455993"/>
                <a:gd name="connsiteY32" fmla="*/ 758645 h 3641849"/>
                <a:gd name="connsiteX33" fmla="*/ 452953 w 1455993"/>
                <a:gd name="connsiteY33" fmla="*/ 722445 h 3641849"/>
                <a:gd name="connsiteX34" fmla="*/ 433556 w 1455993"/>
                <a:gd name="connsiteY34" fmla="*/ 750888 h 3641849"/>
                <a:gd name="connsiteX35" fmla="*/ 464198 w 1455993"/>
                <a:gd name="connsiteY35" fmla="*/ 824301 h 3641849"/>
                <a:gd name="connsiteX36" fmla="*/ 469739 w 1455993"/>
                <a:gd name="connsiteY36" fmla="*/ 951000 h 3641849"/>
                <a:gd name="connsiteX37" fmla="*/ 441869 w 1455993"/>
                <a:gd name="connsiteY37" fmla="*/ 1012043 h 3641849"/>
                <a:gd name="connsiteX38" fmla="*/ 497288 w 1455993"/>
                <a:gd name="connsiteY38" fmla="*/ 1032728 h 3641849"/>
                <a:gd name="connsiteX39" fmla="*/ 513916 w 1455993"/>
                <a:gd name="connsiteY39" fmla="*/ 1048242 h 3641849"/>
                <a:gd name="connsiteX40" fmla="*/ 538856 w 1455993"/>
                <a:gd name="connsiteY40" fmla="*/ 1074099 h 3641849"/>
                <a:gd name="connsiteX41" fmla="*/ 536085 w 1455993"/>
                <a:gd name="connsiteY41" fmla="*/ 1076685 h 3641849"/>
                <a:gd name="connsiteX42" fmla="*/ 574878 w 1455993"/>
                <a:gd name="connsiteY42" fmla="*/ 1071514 h 3641849"/>
                <a:gd name="connsiteX43" fmla="*/ 583192 w 1455993"/>
                <a:gd name="connsiteY43" fmla="*/ 1035314 h 3641849"/>
                <a:gd name="connsiteX44" fmla="*/ 544397 w 1455993"/>
                <a:gd name="connsiteY44" fmla="*/ 957743 h 3641849"/>
                <a:gd name="connsiteX45" fmla="*/ 613673 w 1455993"/>
                <a:gd name="connsiteY45" fmla="*/ 911200 h 3641849"/>
                <a:gd name="connsiteX46" fmla="*/ 681445 w 1455993"/>
                <a:gd name="connsiteY46" fmla="*/ 918934 h 3641849"/>
                <a:gd name="connsiteX47" fmla="*/ 705278 w 1455993"/>
                <a:gd name="connsiteY47" fmla="*/ 951001 h 3641849"/>
                <a:gd name="connsiteX48" fmla="*/ 861007 w 1455993"/>
                <a:gd name="connsiteY48" fmla="*/ 1007364 h 3641849"/>
                <a:gd name="connsiteX49" fmla="*/ 846599 w 1455993"/>
                <a:gd name="connsiteY49" fmla="*/ 971687 h 3641849"/>
                <a:gd name="connsiteX50" fmla="*/ 813347 w 1455993"/>
                <a:gd name="connsiteY50" fmla="*/ 932901 h 3641849"/>
                <a:gd name="connsiteX51" fmla="*/ 802263 w 1455993"/>
                <a:gd name="connsiteY51" fmla="*/ 881187 h 3641849"/>
                <a:gd name="connsiteX52" fmla="*/ 841058 w 1455993"/>
                <a:gd name="connsiteY52" fmla="*/ 832060 h 3641849"/>
                <a:gd name="connsiteX53" fmla="*/ 868768 w 1455993"/>
                <a:gd name="connsiteY53" fmla="*/ 803617 h 3641849"/>
                <a:gd name="connsiteX54" fmla="*/ 893708 w 1455993"/>
                <a:gd name="connsiteY54" fmla="*/ 767417 h 3641849"/>
                <a:gd name="connsiteX55" fmla="*/ 974068 w 1455993"/>
                <a:gd name="connsiteY55" fmla="*/ 762245 h 3641849"/>
                <a:gd name="connsiteX56" fmla="*/ 979609 w 1455993"/>
                <a:gd name="connsiteY56" fmla="*/ 741560 h 3641849"/>
                <a:gd name="connsiteX57" fmla="*/ 1004549 w 1455993"/>
                <a:gd name="connsiteY57" fmla="*/ 705360 h 3641849"/>
                <a:gd name="connsiteX58" fmla="*/ 1038353 w 1455993"/>
                <a:gd name="connsiteY58" fmla="*/ 687772 h 3641849"/>
                <a:gd name="connsiteX59" fmla="*/ 1095993 w 1455993"/>
                <a:gd name="connsiteY59" fmla="*/ 700189 h 3641849"/>
                <a:gd name="connsiteX60" fmla="*/ 1134786 w 1455993"/>
                <a:gd name="connsiteY60" fmla="*/ 720875 h 3641849"/>
                <a:gd name="connsiteX61" fmla="*/ 1181894 w 1455993"/>
                <a:gd name="connsiteY61" fmla="*/ 728632 h 3641849"/>
                <a:gd name="connsiteX62" fmla="*/ 1181894 w 1455993"/>
                <a:gd name="connsiteY62" fmla="*/ 733803 h 3641849"/>
                <a:gd name="connsiteX63" fmla="*/ 1204063 w 1455993"/>
                <a:gd name="connsiteY63" fmla="*/ 674332 h 3641849"/>
                <a:gd name="connsiteX64" fmla="*/ 1214038 w 1455993"/>
                <a:gd name="connsiteY64" fmla="*/ 640714 h 3641849"/>
                <a:gd name="connsiteX65" fmla="*/ 1220689 w 1455993"/>
                <a:gd name="connsiteY65" fmla="*/ 622618 h 3641849"/>
                <a:gd name="connsiteX66" fmla="*/ 1223626 w 1455993"/>
                <a:gd name="connsiteY66" fmla="*/ 591288 h 3641849"/>
                <a:gd name="connsiteX67" fmla="*/ 1143100 w 1455993"/>
                <a:gd name="connsiteY67" fmla="*/ 545048 h 3641849"/>
                <a:gd name="connsiteX68" fmla="*/ 1129245 w 1455993"/>
                <a:gd name="connsiteY68" fmla="*/ 472648 h 3641849"/>
                <a:gd name="connsiteX69" fmla="*/ 1129245 w 1455993"/>
                <a:gd name="connsiteY69" fmla="*/ 454548 h 3641849"/>
                <a:gd name="connsiteX70" fmla="*/ 1140328 w 1455993"/>
                <a:gd name="connsiteY70" fmla="*/ 431276 h 3641849"/>
                <a:gd name="connsiteX71" fmla="*/ 1143100 w 1455993"/>
                <a:gd name="connsiteY71" fmla="*/ 415762 h 3641849"/>
                <a:gd name="connsiteX72" fmla="*/ 1143099 w 1455993"/>
                <a:gd name="connsiteY72" fmla="*/ 358878 h 3641849"/>
                <a:gd name="connsiteX73" fmla="*/ 1120931 w 1455993"/>
                <a:gd name="connsiteY73" fmla="*/ 335607 h 3641849"/>
                <a:gd name="connsiteX74" fmla="*/ 1093221 w 1455993"/>
                <a:gd name="connsiteY74" fmla="*/ 304578 h 3641849"/>
                <a:gd name="connsiteX75" fmla="*/ 1089053 w 1455993"/>
                <a:gd name="connsiteY75" fmla="*/ 280325 h 3641849"/>
                <a:gd name="connsiteX76" fmla="*/ 1140329 w 1455993"/>
                <a:gd name="connsiteY76" fmla="*/ 258034 h 3641849"/>
                <a:gd name="connsiteX77" fmla="*/ 1193909 w 1455993"/>
                <a:gd name="connsiteY77" fmla="*/ 267906 h 3641849"/>
                <a:gd name="connsiteX78" fmla="*/ 1272693 w 1455993"/>
                <a:gd name="connsiteY78" fmla="*/ 279816 h 3641849"/>
                <a:gd name="connsiteX79" fmla="*/ 1357016 w 1455993"/>
                <a:gd name="connsiteY79" fmla="*/ 349175 h 3641849"/>
                <a:gd name="connsiteX80" fmla="*/ 1419151 w 1455993"/>
                <a:gd name="connsiteY80" fmla="*/ 425271 h 3641849"/>
                <a:gd name="connsiteX81" fmla="*/ 1318180 w 1455993"/>
                <a:gd name="connsiteY81" fmla="*/ 454265 h 3641849"/>
                <a:gd name="connsiteX82" fmla="*/ 1302646 w 1455993"/>
                <a:gd name="connsiteY82" fmla="*/ 501372 h 3641849"/>
                <a:gd name="connsiteX83" fmla="*/ 1360316 w 1455993"/>
                <a:gd name="connsiteY83" fmla="*/ 585862 h 3641849"/>
                <a:gd name="connsiteX84" fmla="*/ 1395850 w 1455993"/>
                <a:gd name="connsiteY84" fmla="*/ 591964 h 3641849"/>
                <a:gd name="connsiteX85" fmla="*/ 1448470 w 1455993"/>
                <a:gd name="connsiteY85" fmla="*/ 598304 h 3641849"/>
                <a:gd name="connsiteX86" fmla="*/ 1443507 w 1455993"/>
                <a:gd name="connsiteY86" fmla="*/ 709079 h 3641849"/>
                <a:gd name="connsiteX87" fmla="*/ 1454576 w 1455993"/>
                <a:gd name="connsiteY87" fmla="*/ 1040047 h 3641849"/>
                <a:gd name="connsiteX88" fmla="*/ 1445708 w 1455993"/>
                <a:gd name="connsiteY88" fmla="*/ 1842646 h 3641849"/>
                <a:gd name="connsiteX89" fmla="*/ 1454575 w 1455993"/>
                <a:gd name="connsiteY89" fmla="*/ 2297728 h 3641849"/>
                <a:gd name="connsiteX90" fmla="*/ 1428127 w 1455993"/>
                <a:gd name="connsiteY90" fmla="*/ 3607693 h 3641849"/>
                <a:gd name="connsiteX91" fmla="*/ 1169700 w 1455993"/>
                <a:gd name="connsiteY91" fmla="*/ 3564098 h 3641849"/>
                <a:gd name="connsiteX92" fmla="*/ 1001222 w 1455993"/>
                <a:gd name="connsiteY92" fmla="*/ 3497903 h 3641849"/>
                <a:gd name="connsiteX93" fmla="*/ 823876 w 1455993"/>
                <a:gd name="connsiteY93" fmla="*/ 3406887 h 3641849"/>
                <a:gd name="connsiteX94" fmla="*/ 725578 w 1455993"/>
                <a:gd name="connsiteY94" fmla="*/ 3326370 h 3641849"/>
                <a:gd name="connsiteX95" fmla="*/ 1019840 w 1455993"/>
                <a:gd name="connsiteY95" fmla="*/ 3018734 h 3641849"/>
                <a:gd name="connsiteX96" fmla="*/ 736086 w 1455993"/>
                <a:gd name="connsiteY96" fmla="*/ 2480910 h 3641849"/>
                <a:gd name="connsiteX97" fmla="*/ 878436 w 1455993"/>
                <a:gd name="connsiteY97" fmla="*/ 2241825 h 3641849"/>
                <a:gd name="connsiteX98" fmla="*/ 691749 w 1455993"/>
                <a:gd name="connsiteY98" fmla="*/ 1703134 h 3641849"/>
                <a:gd name="connsiteX99" fmla="*/ 443465 w 1455993"/>
                <a:gd name="connsiteY99" fmla="*/ 1471456 h 3641849"/>
                <a:gd name="connsiteX100" fmla="*/ 434598 w 1455993"/>
                <a:gd name="connsiteY100" fmla="*/ 1355617 h 3641849"/>
                <a:gd name="connsiteX101" fmla="*/ 29070 w 1455993"/>
                <a:gd name="connsiteY101" fmla="*/ 551628 h 3641849"/>
                <a:gd name="connsiteX0" fmla="*/ 29775 w 1456698"/>
                <a:gd name="connsiteY0" fmla="*/ 551628 h 3641849"/>
                <a:gd name="connsiteX1" fmla="*/ 123906 w 1456698"/>
                <a:gd name="connsiteY1" fmla="*/ 582819 h 3641849"/>
                <a:gd name="connsiteX2" fmla="*/ 193183 w 1456698"/>
                <a:gd name="connsiteY2" fmla="*/ 577648 h 3641849"/>
                <a:gd name="connsiteX3" fmla="*/ 165473 w 1456698"/>
                <a:gd name="connsiteY3" fmla="*/ 487148 h 3641849"/>
                <a:gd name="connsiteX4" fmla="*/ 51861 w 1456698"/>
                <a:gd name="connsiteY4" fmla="*/ 381135 h 3641849"/>
                <a:gd name="connsiteX5" fmla="*/ 13065 w 1456698"/>
                <a:gd name="connsiteY5" fmla="*/ 311321 h 3641849"/>
                <a:gd name="connsiteX6" fmla="*/ 1982 w 1456698"/>
                <a:gd name="connsiteY6" fmla="*/ 251851 h 3641849"/>
                <a:gd name="connsiteX7" fmla="*/ 57402 w 1456698"/>
                <a:gd name="connsiteY7" fmla="*/ 158764 h 3641849"/>
                <a:gd name="connsiteX8" fmla="*/ 76800 w 1456698"/>
                <a:gd name="connsiteY8" fmla="*/ 135494 h 3641849"/>
                <a:gd name="connsiteX9" fmla="*/ 90655 w 1456698"/>
                <a:gd name="connsiteY9" fmla="*/ 117394 h 3641849"/>
                <a:gd name="connsiteX10" fmla="*/ 98968 w 1456698"/>
                <a:gd name="connsiteY10" fmla="*/ 73438 h 3641849"/>
                <a:gd name="connsiteX11" fmla="*/ 123907 w 1456698"/>
                <a:gd name="connsiteY11" fmla="*/ 101880 h 3641849"/>
                <a:gd name="connsiteX12" fmla="*/ 154389 w 1456698"/>
                <a:gd name="connsiteY12" fmla="*/ 88952 h 3641849"/>
                <a:gd name="connsiteX13" fmla="*/ 157159 w 1456698"/>
                <a:gd name="connsiteY13" fmla="*/ 63095 h 3641849"/>
                <a:gd name="connsiteX14" fmla="*/ 165473 w 1456698"/>
                <a:gd name="connsiteY14" fmla="*/ 34652 h 3641849"/>
                <a:gd name="connsiteX15" fmla="*/ 168245 w 1456698"/>
                <a:gd name="connsiteY15" fmla="*/ 3624 h 3641849"/>
                <a:gd name="connsiteX16" fmla="*/ 304025 w 1456698"/>
                <a:gd name="connsiteY16" fmla="*/ 57924 h 3641849"/>
                <a:gd name="connsiteX17" fmla="*/ 334505 w 1456698"/>
                <a:gd name="connsiteY17" fmla="*/ 161352 h 3641849"/>
                <a:gd name="connsiteX18" fmla="*/ 348361 w 1456698"/>
                <a:gd name="connsiteY18" fmla="*/ 184622 h 3641849"/>
                <a:gd name="connsiteX19" fmla="*/ 359445 w 1456698"/>
                <a:gd name="connsiteY19" fmla="*/ 187208 h 3641849"/>
                <a:gd name="connsiteX20" fmla="*/ 473057 w 1456698"/>
                <a:gd name="connsiteY20" fmla="*/ 156181 h 3641849"/>
                <a:gd name="connsiteX21" fmla="*/ 539562 w 1456698"/>
                <a:gd name="connsiteY21" fmla="*/ 166522 h 3641849"/>
                <a:gd name="connsiteX22" fmla="*/ 603296 w 1456698"/>
                <a:gd name="connsiteY22" fmla="*/ 213065 h 3641849"/>
                <a:gd name="connsiteX23" fmla="*/ 617323 w 1456698"/>
                <a:gd name="connsiteY23" fmla="*/ 242621 h 3641849"/>
                <a:gd name="connsiteX24" fmla="*/ 672570 w 1456698"/>
                <a:gd name="connsiteY24" fmla="*/ 277708 h 3641849"/>
                <a:gd name="connsiteX25" fmla="*/ 761244 w 1456698"/>
                <a:gd name="connsiteY25" fmla="*/ 303563 h 3641849"/>
                <a:gd name="connsiteX26" fmla="*/ 833290 w 1456698"/>
                <a:gd name="connsiteY26" fmla="*/ 350106 h 3641849"/>
                <a:gd name="connsiteX27" fmla="*/ 883169 w 1456698"/>
                <a:gd name="connsiteY27" fmla="*/ 401820 h 3641849"/>
                <a:gd name="connsiteX28" fmla="*/ 908108 w 1456698"/>
                <a:gd name="connsiteY28" fmla="*/ 440606 h 3641849"/>
                <a:gd name="connsiteX29" fmla="*/ 941361 w 1456698"/>
                <a:gd name="connsiteY29" fmla="*/ 466462 h 3641849"/>
                <a:gd name="connsiteX30" fmla="*/ 924733 w 1456698"/>
                <a:gd name="connsiteY30" fmla="*/ 691417 h 3641849"/>
                <a:gd name="connsiteX31" fmla="*/ 797267 w 1456698"/>
                <a:gd name="connsiteY31" fmla="*/ 771575 h 3641849"/>
                <a:gd name="connsiteX32" fmla="*/ 683655 w 1456698"/>
                <a:gd name="connsiteY32" fmla="*/ 779331 h 3641849"/>
                <a:gd name="connsiteX33" fmla="*/ 545102 w 1456698"/>
                <a:gd name="connsiteY33" fmla="*/ 758645 h 3641849"/>
                <a:gd name="connsiteX34" fmla="*/ 453658 w 1456698"/>
                <a:gd name="connsiteY34" fmla="*/ 722445 h 3641849"/>
                <a:gd name="connsiteX35" fmla="*/ 434261 w 1456698"/>
                <a:gd name="connsiteY35" fmla="*/ 750888 h 3641849"/>
                <a:gd name="connsiteX36" fmla="*/ 464903 w 1456698"/>
                <a:gd name="connsiteY36" fmla="*/ 824301 h 3641849"/>
                <a:gd name="connsiteX37" fmla="*/ 470444 w 1456698"/>
                <a:gd name="connsiteY37" fmla="*/ 951000 h 3641849"/>
                <a:gd name="connsiteX38" fmla="*/ 442574 w 1456698"/>
                <a:gd name="connsiteY38" fmla="*/ 1012043 h 3641849"/>
                <a:gd name="connsiteX39" fmla="*/ 497993 w 1456698"/>
                <a:gd name="connsiteY39" fmla="*/ 1032728 h 3641849"/>
                <a:gd name="connsiteX40" fmla="*/ 514621 w 1456698"/>
                <a:gd name="connsiteY40" fmla="*/ 1048242 h 3641849"/>
                <a:gd name="connsiteX41" fmla="*/ 539561 w 1456698"/>
                <a:gd name="connsiteY41" fmla="*/ 1074099 h 3641849"/>
                <a:gd name="connsiteX42" fmla="*/ 536790 w 1456698"/>
                <a:gd name="connsiteY42" fmla="*/ 1076685 h 3641849"/>
                <a:gd name="connsiteX43" fmla="*/ 575583 w 1456698"/>
                <a:gd name="connsiteY43" fmla="*/ 1071514 h 3641849"/>
                <a:gd name="connsiteX44" fmla="*/ 583897 w 1456698"/>
                <a:gd name="connsiteY44" fmla="*/ 1035314 h 3641849"/>
                <a:gd name="connsiteX45" fmla="*/ 545102 w 1456698"/>
                <a:gd name="connsiteY45" fmla="*/ 957743 h 3641849"/>
                <a:gd name="connsiteX46" fmla="*/ 614378 w 1456698"/>
                <a:gd name="connsiteY46" fmla="*/ 911200 h 3641849"/>
                <a:gd name="connsiteX47" fmla="*/ 682150 w 1456698"/>
                <a:gd name="connsiteY47" fmla="*/ 918934 h 3641849"/>
                <a:gd name="connsiteX48" fmla="*/ 705983 w 1456698"/>
                <a:gd name="connsiteY48" fmla="*/ 951001 h 3641849"/>
                <a:gd name="connsiteX49" fmla="*/ 861712 w 1456698"/>
                <a:gd name="connsiteY49" fmla="*/ 1007364 h 3641849"/>
                <a:gd name="connsiteX50" fmla="*/ 847304 w 1456698"/>
                <a:gd name="connsiteY50" fmla="*/ 971687 h 3641849"/>
                <a:gd name="connsiteX51" fmla="*/ 814052 w 1456698"/>
                <a:gd name="connsiteY51" fmla="*/ 932901 h 3641849"/>
                <a:gd name="connsiteX52" fmla="*/ 802968 w 1456698"/>
                <a:gd name="connsiteY52" fmla="*/ 881187 h 3641849"/>
                <a:gd name="connsiteX53" fmla="*/ 841763 w 1456698"/>
                <a:gd name="connsiteY53" fmla="*/ 832060 h 3641849"/>
                <a:gd name="connsiteX54" fmla="*/ 869473 w 1456698"/>
                <a:gd name="connsiteY54" fmla="*/ 803617 h 3641849"/>
                <a:gd name="connsiteX55" fmla="*/ 894413 w 1456698"/>
                <a:gd name="connsiteY55" fmla="*/ 767417 h 3641849"/>
                <a:gd name="connsiteX56" fmla="*/ 974773 w 1456698"/>
                <a:gd name="connsiteY56" fmla="*/ 762245 h 3641849"/>
                <a:gd name="connsiteX57" fmla="*/ 980314 w 1456698"/>
                <a:gd name="connsiteY57" fmla="*/ 741560 h 3641849"/>
                <a:gd name="connsiteX58" fmla="*/ 1005254 w 1456698"/>
                <a:gd name="connsiteY58" fmla="*/ 705360 h 3641849"/>
                <a:gd name="connsiteX59" fmla="*/ 1039058 w 1456698"/>
                <a:gd name="connsiteY59" fmla="*/ 687772 h 3641849"/>
                <a:gd name="connsiteX60" fmla="*/ 1096698 w 1456698"/>
                <a:gd name="connsiteY60" fmla="*/ 700189 h 3641849"/>
                <a:gd name="connsiteX61" fmla="*/ 1135491 w 1456698"/>
                <a:gd name="connsiteY61" fmla="*/ 720875 h 3641849"/>
                <a:gd name="connsiteX62" fmla="*/ 1182599 w 1456698"/>
                <a:gd name="connsiteY62" fmla="*/ 728632 h 3641849"/>
                <a:gd name="connsiteX63" fmla="*/ 1182599 w 1456698"/>
                <a:gd name="connsiteY63" fmla="*/ 733803 h 3641849"/>
                <a:gd name="connsiteX64" fmla="*/ 1204768 w 1456698"/>
                <a:gd name="connsiteY64" fmla="*/ 674332 h 3641849"/>
                <a:gd name="connsiteX65" fmla="*/ 1214743 w 1456698"/>
                <a:gd name="connsiteY65" fmla="*/ 640714 h 3641849"/>
                <a:gd name="connsiteX66" fmla="*/ 1221394 w 1456698"/>
                <a:gd name="connsiteY66" fmla="*/ 622618 h 3641849"/>
                <a:gd name="connsiteX67" fmla="*/ 1224331 w 1456698"/>
                <a:gd name="connsiteY67" fmla="*/ 591288 h 3641849"/>
                <a:gd name="connsiteX68" fmla="*/ 1143805 w 1456698"/>
                <a:gd name="connsiteY68" fmla="*/ 545048 h 3641849"/>
                <a:gd name="connsiteX69" fmla="*/ 1129950 w 1456698"/>
                <a:gd name="connsiteY69" fmla="*/ 472648 h 3641849"/>
                <a:gd name="connsiteX70" fmla="*/ 1129950 w 1456698"/>
                <a:gd name="connsiteY70" fmla="*/ 454548 h 3641849"/>
                <a:gd name="connsiteX71" fmla="*/ 1141033 w 1456698"/>
                <a:gd name="connsiteY71" fmla="*/ 431276 h 3641849"/>
                <a:gd name="connsiteX72" fmla="*/ 1143805 w 1456698"/>
                <a:gd name="connsiteY72" fmla="*/ 415762 h 3641849"/>
                <a:gd name="connsiteX73" fmla="*/ 1143804 w 1456698"/>
                <a:gd name="connsiteY73" fmla="*/ 358878 h 3641849"/>
                <a:gd name="connsiteX74" fmla="*/ 1121636 w 1456698"/>
                <a:gd name="connsiteY74" fmla="*/ 335607 h 3641849"/>
                <a:gd name="connsiteX75" fmla="*/ 1093926 w 1456698"/>
                <a:gd name="connsiteY75" fmla="*/ 304578 h 3641849"/>
                <a:gd name="connsiteX76" fmla="*/ 1089758 w 1456698"/>
                <a:gd name="connsiteY76" fmla="*/ 280325 h 3641849"/>
                <a:gd name="connsiteX77" fmla="*/ 1141034 w 1456698"/>
                <a:gd name="connsiteY77" fmla="*/ 258034 h 3641849"/>
                <a:gd name="connsiteX78" fmla="*/ 1194614 w 1456698"/>
                <a:gd name="connsiteY78" fmla="*/ 267906 h 3641849"/>
                <a:gd name="connsiteX79" fmla="*/ 1273398 w 1456698"/>
                <a:gd name="connsiteY79" fmla="*/ 279816 h 3641849"/>
                <a:gd name="connsiteX80" fmla="*/ 1357721 w 1456698"/>
                <a:gd name="connsiteY80" fmla="*/ 349175 h 3641849"/>
                <a:gd name="connsiteX81" fmla="*/ 1419856 w 1456698"/>
                <a:gd name="connsiteY81" fmla="*/ 425271 h 3641849"/>
                <a:gd name="connsiteX82" fmla="*/ 1318885 w 1456698"/>
                <a:gd name="connsiteY82" fmla="*/ 454265 h 3641849"/>
                <a:gd name="connsiteX83" fmla="*/ 1303351 w 1456698"/>
                <a:gd name="connsiteY83" fmla="*/ 501372 h 3641849"/>
                <a:gd name="connsiteX84" fmla="*/ 1361021 w 1456698"/>
                <a:gd name="connsiteY84" fmla="*/ 585862 h 3641849"/>
                <a:gd name="connsiteX85" fmla="*/ 1396555 w 1456698"/>
                <a:gd name="connsiteY85" fmla="*/ 591964 h 3641849"/>
                <a:gd name="connsiteX86" fmla="*/ 1449175 w 1456698"/>
                <a:gd name="connsiteY86" fmla="*/ 598304 h 3641849"/>
                <a:gd name="connsiteX87" fmla="*/ 1444212 w 1456698"/>
                <a:gd name="connsiteY87" fmla="*/ 709079 h 3641849"/>
                <a:gd name="connsiteX88" fmla="*/ 1455281 w 1456698"/>
                <a:gd name="connsiteY88" fmla="*/ 1040047 h 3641849"/>
                <a:gd name="connsiteX89" fmla="*/ 1446413 w 1456698"/>
                <a:gd name="connsiteY89" fmla="*/ 1842646 h 3641849"/>
                <a:gd name="connsiteX90" fmla="*/ 1455280 w 1456698"/>
                <a:gd name="connsiteY90" fmla="*/ 2297728 h 3641849"/>
                <a:gd name="connsiteX91" fmla="*/ 1428832 w 1456698"/>
                <a:gd name="connsiteY91" fmla="*/ 3607693 h 3641849"/>
                <a:gd name="connsiteX92" fmla="*/ 1170405 w 1456698"/>
                <a:gd name="connsiteY92" fmla="*/ 3564098 h 3641849"/>
                <a:gd name="connsiteX93" fmla="*/ 1001927 w 1456698"/>
                <a:gd name="connsiteY93" fmla="*/ 3497903 h 3641849"/>
                <a:gd name="connsiteX94" fmla="*/ 824581 w 1456698"/>
                <a:gd name="connsiteY94" fmla="*/ 3406887 h 3641849"/>
                <a:gd name="connsiteX95" fmla="*/ 726283 w 1456698"/>
                <a:gd name="connsiteY95" fmla="*/ 3326370 h 3641849"/>
                <a:gd name="connsiteX96" fmla="*/ 1020545 w 1456698"/>
                <a:gd name="connsiteY96" fmla="*/ 3018734 h 3641849"/>
                <a:gd name="connsiteX97" fmla="*/ 736791 w 1456698"/>
                <a:gd name="connsiteY97" fmla="*/ 2480910 h 3641849"/>
                <a:gd name="connsiteX98" fmla="*/ 879141 w 1456698"/>
                <a:gd name="connsiteY98" fmla="*/ 2241825 h 3641849"/>
                <a:gd name="connsiteX99" fmla="*/ 692454 w 1456698"/>
                <a:gd name="connsiteY99" fmla="*/ 1703134 h 3641849"/>
                <a:gd name="connsiteX100" fmla="*/ 444170 w 1456698"/>
                <a:gd name="connsiteY100" fmla="*/ 1471456 h 3641849"/>
                <a:gd name="connsiteX101" fmla="*/ 435303 w 1456698"/>
                <a:gd name="connsiteY101" fmla="*/ 1355617 h 3641849"/>
                <a:gd name="connsiteX102" fmla="*/ 29775 w 1456698"/>
                <a:gd name="connsiteY102" fmla="*/ 551628 h 3641849"/>
                <a:gd name="connsiteX0" fmla="*/ 29775 w 1456698"/>
                <a:gd name="connsiteY0" fmla="*/ 551628 h 3641849"/>
                <a:gd name="connsiteX1" fmla="*/ 123906 w 1456698"/>
                <a:gd name="connsiteY1" fmla="*/ 582819 h 3641849"/>
                <a:gd name="connsiteX2" fmla="*/ 193183 w 1456698"/>
                <a:gd name="connsiteY2" fmla="*/ 577648 h 3641849"/>
                <a:gd name="connsiteX3" fmla="*/ 165473 w 1456698"/>
                <a:gd name="connsiteY3" fmla="*/ 487148 h 3641849"/>
                <a:gd name="connsiteX4" fmla="*/ 85113 w 1456698"/>
                <a:gd name="connsiteY4" fmla="*/ 378550 h 3641849"/>
                <a:gd name="connsiteX5" fmla="*/ 13065 w 1456698"/>
                <a:gd name="connsiteY5" fmla="*/ 311321 h 3641849"/>
                <a:gd name="connsiteX6" fmla="*/ 1982 w 1456698"/>
                <a:gd name="connsiteY6" fmla="*/ 251851 h 3641849"/>
                <a:gd name="connsiteX7" fmla="*/ 57402 w 1456698"/>
                <a:gd name="connsiteY7" fmla="*/ 158764 h 3641849"/>
                <a:gd name="connsiteX8" fmla="*/ 76800 w 1456698"/>
                <a:gd name="connsiteY8" fmla="*/ 135494 h 3641849"/>
                <a:gd name="connsiteX9" fmla="*/ 90655 w 1456698"/>
                <a:gd name="connsiteY9" fmla="*/ 117394 h 3641849"/>
                <a:gd name="connsiteX10" fmla="*/ 98968 w 1456698"/>
                <a:gd name="connsiteY10" fmla="*/ 73438 h 3641849"/>
                <a:gd name="connsiteX11" fmla="*/ 123907 w 1456698"/>
                <a:gd name="connsiteY11" fmla="*/ 101880 h 3641849"/>
                <a:gd name="connsiteX12" fmla="*/ 154389 w 1456698"/>
                <a:gd name="connsiteY12" fmla="*/ 88952 h 3641849"/>
                <a:gd name="connsiteX13" fmla="*/ 157159 w 1456698"/>
                <a:gd name="connsiteY13" fmla="*/ 63095 h 3641849"/>
                <a:gd name="connsiteX14" fmla="*/ 165473 w 1456698"/>
                <a:gd name="connsiteY14" fmla="*/ 34652 h 3641849"/>
                <a:gd name="connsiteX15" fmla="*/ 168245 w 1456698"/>
                <a:gd name="connsiteY15" fmla="*/ 3624 h 3641849"/>
                <a:gd name="connsiteX16" fmla="*/ 304025 w 1456698"/>
                <a:gd name="connsiteY16" fmla="*/ 57924 h 3641849"/>
                <a:gd name="connsiteX17" fmla="*/ 334505 w 1456698"/>
                <a:gd name="connsiteY17" fmla="*/ 161352 h 3641849"/>
                <a:gd name="connsiteX18" fmla="*/ 348361 w 1456698"/>
                <a:gd name="connsiteY18" fmla="*/ 184622 h 3641849"/>
                <a:gd name="connsiteX19" fmla="*/ 359445 w 1456698"/>
                <a:gd name="connsiteY19" fmla="*/ 187208 h 3641849"/>
                <a:gd name="connsiteX20" fmla="*/ 473057 w 1456698"/>
                <a:gd name="connsiteY20" fmla="*/ 156181 h 3641849"/>
                <a:gd name="connsiteX21" fmla="*/ 539562 w 1456698"/>
                <a:gd name="connsiteY21" fmla="*/ 166522 h 3641849"/>
                <a:gd name="connsiteX22" fmla="*/ 603296 w 1456698"/>
                <a:gd name="connsiteY22" fmla="*/ 213065 h 3641849"/>
                <a:gd name="connsiteX23" fmla="*/ 617323 w 1456698"/>
                <a:gd name="connsiteY23" fmla="*/ 242621 h 3641849"/>
                <a:gd name="connsiteX24" fmla="*/ 672570 w 1456698"/>
                <a:gd name="connsiteY24" fmla="*/ 277708 h 3641849"/>
                <a:gd name="connsiteX25" fmla="*/ 761244 w 1456698"/>
                <a:gd name="connsiteY25" fmla="*/ 303563 h 3641849"/>
                <a:gd name="connsiteX26" fmla="*/ 833290 w 1456698"/>
                <a:gd name="connsiteY26" fmla="*/ 350106 h 3641849"/>
                <a:gd name="connsiteX27" fmla="*/ 883169 w 1456698"/>
                <a:gd name="connsiteY27" fmla="*/ 401820 h 3641849"/>
                <a:gd name="connsiteX28" fmla="*/ 908108 w 1456698"/>
                <a:gd name="connsiteY28" fmla="*/ 440606 h 3641849"/>
                <a:gd name="connsiteX29" fmla="*/ 941361 w 1456698"/>
                <a:gd name="connsiteY29" fmla="*/ 466462 h 3641849"/>
                <a:gd name="connsiteX30" fmla="*/ 924733 w 1456698"/>
                <a:gd name="connsiteY30" fmla="*/ 691417 h 3641849"/>
                <a:gd name="connsiteX31" fmla="*/ 797267 w 1456698"/>
                <a:gd name="connsiteY31" fmla="*/ 771575 h 3641849"/>
                <a:gd name="connsiteX32" fmla="*/ 683655 w 1456698"/>
                <a:gd name="connsiteY32" fmla="*/ 779331 h 3641849"/>
                <a:gd name="connsiteX33" fmla="*/ 545102 w 1456698"/>
                <a:gd name="connsiteY33" fmla="*/ 758645 h 3641849"/>
                <a:gd name="connsiteX34" fmla="*/ 453658 w 1456698"/>
                <a:gd name="connsiteY34" fmla="*/ 722445 h 3641849"/>
                <a:gd name="connsiteX35" fmla="*/ 434261 w 1456698"/>
                <a:gd name="connsiteY35" fmla="*/ 750888 h 3641849"/>
                <a:gd name="connsiteX36" fmla="*/ 464903 w 1456698"/>
                <a:gd name="connsiteY36" fmla="*/ 824301 h 3641849"/>
                <a:gd name="connsiteX37" fmla="*/ 470444 w 1456698"/>
                <a:gd name="connsiteY37" fmla="*/ 951000 h 3641849"/>
                <a:gd name="connsiteX38" fmla="*/ 442574 w 1456698"/>
                <a:gd name="connsiteY38" fmla="*/ 1012043 h 3641849"/>
                <a:gd name="connsiteX39" fmla="*/ 497993 w 1456698"/>
                <a:gd name="connsiteY39" fmla="*/ 1032728 h 3641849"/>
                <a:gd name="connsiteX40" fmla="*/ 514621 w 1456698"/>
                <a:gd name="connsiteY40" fmla="*/ 1048242 h 3641849"/>
                <a:gd name="connsiteX41" fmla="*/ 539561 w 1456698"/>
                <a:gd name="connsiteY41" fmla="*/ 1074099 h 3641849"/>
                <a:gd name="connsiteX42" fmla="*/ 536790 w 1456698"/>
                <a:gd name="connsiteY42" fmla="*/ 1076685 h 3641849"/>
                <a:gd name="connsiteX43" fmla="*/ 575583 w 1456698"/>
                <a:gd name="connsiteY43" fmla="*/ 1071514 h 3641849"/>
                <a:gd name="connsiteX44" fmla="*/ 583897 w 1456698"/>
                <a:gd name="connsiteY44" fmla="*/ 1035314 h 3641849"/>
                <a:gd name="connsiteX45" fmla="*/ 545102 w 1456698"/>
                <a:gd name="connsiteY45" fmla="*/ 957743 h 3641849"/>
                <a:gd name="connsiteX46" fmla="*/ 614378 w 1456698"/>
                <a:gd name="connsiteY46" fmla="*/ 911200 h 3641849"/>
                <a:gd name="connsiteX47" fmla="*/ 682150 w 1456698"/>
                <a:gd name="connsiteY47" fmla="*/ 918934 h 3641849"/>
                <a:gd name="connsiteX48" fmla="*/ 705983 w 1456698"/>
                <a:gd name="connsiteY48" fmla="*/ 951001 h 3641849"/>
                <a:gd name="connsiteX49" fmla="*/ 861712 w 1456698"/>
                <a:gd name="connsiteY49" fmla="*/ 1007364 h 3641849"/>
                <a:gd name="connsiteX50" fmla="*/ 847304 w 1456698"/>
                <a:gd name="connsiteY50" fmla="*/ 971687 h 3641849"/>
                <a:gd name="connsiteX51" fmla="*/ 814052 w 1456698"/>
                <a:gd name="connsiteY51" fmla="*/ 932901 h 3641849"/>
                <a:gd name="connsiteX52" fmla="*/ 802968 w 1456698"/>
                <a:gd name="connsiteY52" fmla="*/ 881187 h 3641849"/>
                <a:gd name="connsiteX53" fmla="*/ 841763 w 1456698"/>
                <a:gd name="connsiteY53" fmla="*/ 832060 h 3641849"/>
                <a:gd name="connsiteX54" fmla="*/ 869473 w 1456698"/>
                <a:gd name="connsiteY54" fmla="*/ 803617 h 3641849"/>
                <a:gd name="connsiteX55" fmla="*/ 894413 w 1456698"/>
                <a:gd name="connsiteY55" fmla="*/ 767417 h 3641849"/>
                <a:gd name="connsiteX56" fmla="*/ 974773 w 1456698"/>
                <a:gd name="connsiteY56" fmla="*/ 762245 h 3641849"/>
                <a:gd name="connsiteX57" fmla="*/ 980314 w 1456698"/>
                <a:gd name="connsiteY57" fmla="*/ 741560 h 3641849"/>
                <a:gd name="connsiteX58" fmla="*/ 1005254 w 1456698"/>
                <a:gd name="connsiteY58" fmla="*/ 705360 h 3641849"/>
                <a:gd name="connsiteX59" fmla="*/ 1039058 w 1456698"/>
                <a:gd name="connsiteY59" fmla="*/ 687772 h 3641849"/>
                <a:gd name="connsiteX60" fmla="*/ 1096698 w 1456698"/>
                <a:gd name="connsiteY60" fmla="*/ 700189 h 3641849"/>
                <a:gd name="connsiteX61" fmla="*/ 1135491 w 1456698"/>
                <a:gd name="connsiteY61" fmla="*/ 720875 h 3641849"/>
                <a:gd name="connsiteX62" fmla="*/ 1182599 w 1456698"/>
                <a:gd name="connsiteY62" fmla="*/ 728632 h 3641849"/>
                <a:gd name="connsiteX63" fmla="*/ 1182599 w 1456698"/>
                <a:gd name="connsiteY63" fmla="*/ 733803 h 3641849"/>
                <a:gd name="connsiteX64" fmla="*/ 1204768 w 1456698"/>
                <a:gd name="connsiteY64" fmla="*/ 674332 h 3641849"/>
                <a:gd name="connsiteX65" fmla="*/ 1214743 w 1456698"/>
                <a:gd name="connsiteY65" fmla="*/ 640714 h 3641849"/>
                <a:gd name="connsiteX66" fmla="*/ 1221394 w 1456698"/>
                <a:gd name="connsiteY66" fmla="*/ 622618 h 3641849"/>
                <a:gd name="connsiteX67" fmla="*/ 1224331 w 1456698"/>
                <a:gd name="connsiteY67" fmla="*/ 591288 h 3641849"/>
                <a:gd name="connsiteX68" fmla="*/ 1143805 w 1456698"/>
                <a:gd name="connsiteY68" fmla="*/ 545048 h 3641849"/>
                <a:gd name="connsiteX69" fmla="*/ 1129950 w 1456698"/>
                <a:gd name="connsiteY69" fmla="*/ 472648 h 3641849"/>
                <a:gd name="connsiteX70" fmla="*/ 1129950 w 1456698"/>
                <a:gd name="connsiteY70" fmla="*/ 454548 h 3641849"/>
                <a:gd name="connsiteX71" fmla="*/ 1141033 w 1456698"/>
                <a:gd name="connsiteY71" fmla="*/ 431276 h 3641849"/>
                <a:gd name="connsiteX72" fmla="*/ 1143805 w 1456698"/>
                <a:gd name="connsiteY72" fmla="*/ 415762 h 3641849"/>
                <a:gd name="connsiteX73" fmla="*/ 1143804 w 1456698"/>
                <a:gd name="connsiteY73" fmla="*/ 358878 h 3641849"/>
                <a:gd name="connsiteX74" fmla="*/ 1121636 w 1456698"/>
                <a:gd name="connsiteY74" fmla="*/ 335607 h 3641849"/>
                <a:gd name="connsiteX75" fmla="*/ 1093926 w 1456698"/>
                <a:gd name="connsiteY75" fmla="*/ 304578 h 3641849"/>
                <a:gd name="connsiteX76" fmla="*/ 1089758 w 1456698"/>
                <a:gd name="connsiteY76" fmla="*/ 280325 h 3641849"/>
                <a:gd name="connsiteX77" fmla="*/ 1141034 w 1456698"/>
                <a:gd name="connsiteY77" fmla="*/ 258034 h 3641849"/>
                <a:gd name="connsiteX78" fmla="*/ 1194614 w 1456698"/>
                <a:gd name="connsiteY78" fmla="*/ 267906 h 3641849"/>
                <a:gd name="connsiteX79" fmla="*/ 1273398 w 1456698"/>
                <a:gd name="connsiteY79" fmla="*/ 279816 h 3641849"/>
                <a:gd name="connsiteX80" fmla="*/ 1357721 w 1456698"/>
                <a:gd name="connsiteY80" fmla="*/ 349175 h 3641849"/>
                <a:gd name="connsiteX81" fmla="*/ 1419856 w 1456698"/>
                <a:gd name="connsiteY81" fmla="*/ 425271 h 3641849"/>
                <a:gd name="connsiteX82" fmla="*/ 1318885 w 1456698"/>
                <a:gd name="connsiteY82" fmla="*/ 454265 h 3641849"/>
                <a:gd name="connsiteX83" fmla="*/ 1303351 w 1456698"/>
                <a:gd name="connsiteY83" fmla="*/ 501372 h 3641849"/>
                <a:gd name="connsiteX84" fmla="*/ 1361021 w 1456698"/>
                <a:gd name="connsiteY84" fmla="*/ 585862 h 3641849"/>
                <a:gd name="connsiteX85" fmla="*/ 1396555 w 1456698"/>
                <a:gd name="connsiteY85" fmla="*/ 591964 h 3641849"/>
                <a:gd name="connsiteX86" fmla="*/ 1449175 w 1456698"/>
                <a:gd name="connsiteY86" fmla="*/ 598304 h 3641849"/>
                <a:gd name="connsiteX87" fmla="*/ 1444212 w 1456698"/>
                <a:gd name="connsiteY87" fmla="*/ 709079 h 3641849"/>
                <a:gd name="connsiteX88" fmla="*/ 1455281 w 1456698"/>
                <a:gd name="connsiteY88" fmla="*/ 1040047 h 3641849"/>
                <a:gd name="connsiteX89" fmla="*/ 1446413 w 1456698"/>
                <a:gd name="connsiteY89" fmla="*/ 1842646 h 3641849"/>
                <a:gd name="connsiteX90" fmla="*/ 1455280 w 1456698"/>
                <a:gd name="connsiteY90" fmla="*/ 2297728 h 3641849"/>
                <a:gd name="connsiteX91" fmla="*/ 1428832 w 1456698"/>
                <a:gd name="connsiteY91" fmla="*/ 3607693 h 3641849"/>
                <a:gd name="connsiteX92" fmla="*/ 1170405 w 1456698"/>
                <a:gd name="connsiteY92" fmla="*/ 3564098 h 3641849"/>
                <a:gd name="connsiteX93" fmla="*/ 1001927 w 1456698"/>
                <a:gd name="connsiteY93" fmla="*/ 3497903 h 3641849"/>
                <a:gd name="connsiteX94" fmla="*/ 824581 w 1456698"/>
                <a:gd name="connsiteY94" fmla="*/ 3406887 h 3641849"/>
                <a:gd name="connsiteX95" fmla="*/ 726283 w 1456698"/>
                <a:gd name="connsiteY95" fmla="*/ 3326370 h 3641849"/>
                <a:gd name="connsiteX96" fmla="*/ 1020545 w 1456698"/>
                <a:gd name="connsiteY96" fmla="*/ 3018734 h 3641849"/>
                <a:gd name="connsiteX97" fmla="*/ 736791 w 1456698"/>
                <a:gd name="connsiteY97" fmla="*/ 2480910 h 3641849"/>
                <a:gd name="connsiteX98" fmla="*/ 879141 w 1456698"/>
                <a:gd name="connsiteY98" fmla="*/ 2241825 h 3641849"/>
                <a:gd name="connsiteX99" fmla="*/ 692454 w 1456698"/>
                <a:gd name="connsiteY99" fmla="*/ 1703134 h 3641849"/>
                <a:gd name="connsiteX100" fmla="*/ 444170 w 1456698"/>
                <a:gd name="connsiteY100" fmla="*/ 1471456 h 3641849"/>
                <a:gd name="connsiteX101" fmla="*/ 435303 w 1456698"/>
                <a:gd name="connsiteY101" fmla="*/ 1355617 h 3641849"/>
                <a:gd name="connsiteX102" fmla="*/ 29775 w 1456698"/>
                <a:gd name="connsiteY102" fmla="*/ 551628 h 3641849"/>
                <a:gd name="connsiteX0" fmla="*/ 30225 w 1457148"/>
                <a:gd name="connsiteY0" fmla="*/ 551628 h 3641849"/>
                <a:gd name="connsiteX1" fmla="*/ 124356 w 1457148"/>
                <a:gd name="connsiteY1" fmla="*/ 582819 h 3641849"/>
                <a:gd name="connsiteX2" fmla="*/ 193633 w 1457148"/>
                <a:gd name="connsiteY2" fmla="*/ 577648 h 3641849"/>
                <a:gd name="connsiteX3" fmla="*/ 165923 w 1457148"/>
                <a:gd name="connsiteY3" fmla="*/ 487148 h 3641849"/>
                <a:gd name="connsiteX4" fmla="*/ 85563 w 1457148"/>
                <a:gd name="connsiteY4" fmla="*/ 378550 h 3641849"/>
                <a:gd name="connsiteX5" fmla="*/ 10744 w 1457148"/>
                <a:gd name="connsiteY5" fmla="*/ 319079 h 3641849"/>
                <a:gd name="connsiteX6" fmla="*/ 2432 w 1457148"/>
                <a:gd name="connsiteY6" fmla="*/ 251851 h 3641849"/>
                <a:gd name="connsiteX7" fmla="*/ 57852 w 1457148"/>
                <a:gd name="connsiteY7" fmla="*/ 158764 h 3641849"/>
                <a:gd name="connsiteX8" fmla="*/ 77250 w 1457148"/>
                <a:gd name="connsiteY8" fmla="*/ 135494 h 3641849"/>
                <a:gd name="connsiteX9" fmla="*/ 91105 w 1457148"/>
                <a:gd name="connsiteY9" fmla="*/ 117394 h 3641849"/>
                <a:gd name="connsiteX10" fmla="*/ 99418 w 1457148"/>
                <a:gd name="connsiteY10" fmla="*/ 73438 h 3641849"/>
                <a:gd name="connsiteX11" fmla="*/ 124357 w 1457148"/>
                <a:gd name="connsiteY11" fmla="*/ 101880 h 3641849"/>
                <a:gd name="connsiteX12" fmla="*/ 154839 w 1457148"/>
                <a:gd name="connsiteY12" fmla="*/ 88952 h 3641849"/>
                <a:gd name="connsiteX13" fmla="*/ 157609 w 1457148"/>
                <a:gd name="connsiteY13" fmla="*/ 63095 h 3641849"/>
                <a:gd name="connsiteX14" fmla="*/ 165923 w 1457148"/>
                <a:gd name="connsiteY14" fmla="*/ 34652 h 3641849"/>
                <a:gd name="connsiteX15" fmla="*/ 168695 w 1457148"/>
                <a:gd name="connsiteY15" fmla="*/ 3624 h 3641849"/>
                <a:gd name="connsiteX16" fmla="*/ 304475 w 1457148"/>
                <a:gd name="connsiteY16" fmla="*/ 57924 h 3641849"/>
                <a:gd name="connsiteX17" fmla="*/ 334955 w 1457148"/>
                <a:gd name="connsiteY17" fmla="*/ 161352 h 3641849"/>
                <a:gd name="connsiteX18" fmla="*/ 348811 w 1457148"/>
                <a:gd name="connsiteY18" fmla="*/ 184622 h 3641849"/>
                <a:gd name="connsiteX19" fmla="*/ 359895 w 1457148"/>
                <a:gd name="connsiteY19" fmla="*/ 187208 h 3641849"/>
                <a:gd name="connsiteX20" fmla="*/ 473507 w 1457148"/>
                <a:gd name="connsiteY20" fmla="*/ 156181 h 3641849"/>
                <a:gd name="connsiteX21" fmla="*/ 540012 w 1457148"/>
                <a:gd name="connsiteY21" fmla="*/ 166522 h 3641849"/>
                <a:gd name="connsiteX22" fmla="*/ 603746 w 1457148"/>
                <a:gd name="connsiteY22" fmla="*/ 213065 h 3641849"/>
                <a:gd name="connsiteX23" fmla="*/ 617773 w 1457148"/>
                <a:gd name="connsiteY23" fmla="*/ 242621 h 3641849"/>
                <a:gd name="connsiteX24" fmla="*/ 673020 w 1457148"/>
                <a:gd name="connsiteY24" fmla="*/ 277708 h 3641849"/>
                <a:gd name="connsiteX25" fmla="*/ 761694 w 1457148"/>
                <a:gd name="connsiteY25" fmla="*/ 303563 h 3641849"/>
                <a:gd name="connsiteX26" fmla="*/ 833740 w 1457148"/>
                <a:gd name="connsiteY26" fmla="*/ 350106 h 3641849"/>
                <a:gd name="connsiteX27" fmla="*/ 883619 w 1457148"/>
                <a:gd name="connsiteY27" fmla="*/ 401820 h 3641849"/>
                <a:gd name="connsiteX28" fmla="*/ 908558 w 1457148"/>
                <a:gd name="connsiteY28" fmla="*/ 440606 h 3641849"/>
                <a:gd name="connsiteX29" fmla="*/ 941811 w 1457148"/>
                <a:gd name="connsiteY29" fmla="*/ 466462 h 3641849"/>
                <a:gd name="connsiteX30" fmla="*/ 925183 w 1457148"/>
                <a:gd name="connsiteY30" fmla="*/ 691417 h 3641849"/>
                <a:gd name="connsiteX31" fmla="*/ 797717 w 1457148"/>
                <a:gd name="connsiteY31" fmla="*/ 771575 h 3641849"/>
                <a:gd name="connsiteX32" fmla="*/ 684105 w 1457148"/>
                <a:gd name="connsiteY32" fmla="*/ 779331 h 3641849"/>
                <a:gd name="connsiteX33" fmla="*/ 545552 w 1457148"/>
                <a:gd name="connsiteY33" fmla="*/ 758645 h 3641849"/>
                <a:gd name="connsiteX34" fmla="*/ 454108 w 1457148"/>
                <a:gd name="connsiteY34" fmla="*/ 722445 h 3641849"/>
                <a:gd name="connsiteX35" fmla="*/ 434711 w 1457148"/>
                <a:gd name="connsiteY35" fmla="*/ 750888 h 3641849"/>
                <a:gd name="connsiteX36" fmla="*/ 465353 w 1457148"/>
                <a:gd name="connsiteY36" fmla="*/ 824301 h 3641849"/>
                <a:gd name="connsiteX37" fmla="*/ 470894 w 1457148"/>
                <a:gd name="connsiteY37" fmla="*/ 951000 h 3641849"/>
                <a:gd name="connsiteX38" fmla="*/ 443024 w 1457148"/>
                <a:gd name="connsiteY38" fmla="*/ 1012043 h 3641849"/>
                <a:gd name="connsiteX39" fmla="*/ 498443 w 1457148"/>
                <a:gd name="connsiteY39" fmla="*/ 1032728 h 3641849"/>
                <a:gd name="connsiteX40" fmla="*/ 515071 w 1457148"/>
                <a:gd name="connsiteY40" fmla="*/ 1048242 h 3641849"/>
                <a:gd name="connsiteX41" fmla="*/ 540011 w 1457148"/>
                <a:gd name="connsiteY41" fmla="*/ 1074099 h 3641849"/>
                <a:gd name="connsiteX42" fmla="*/ 537240 w 1457148"/>
                <a:gd name="connsiteY42" fmla="*/ 1076685 h 3641849"/>
                <a:gd name="connsiteX43" fmla="*/ 576033 w 1457148"/>
                <a:gd name="connsiteY43" fmla="*/ 1071514 h 3641849"/>
                <a:gd name="connsiteX44" fmla="*/ 584347 w 1457148"/>
                <a:gd name="connsiteY44" fmla="*/ 1035314 h 3641849"/>
                <a:gd name="connsiteX45" fmla="*/ 545552 w 1457148"/>
                <a:gd name="connsiteY45" fmla="*/ 957743 h 3641849"/>
                <a:gd name="connsiteX46" fmla="*/ 614828 w 1457148"/>
                <a:gd name="connsiteY46" fmla="*/ 911200 h 3641849"/>
                <a:gd name="connsiteX47" fmla="*/ 682600 w 1457148"/>
                <a:gd name="connsiteY47" fmla="*/ 918934 h 3641849"/>
                <a:gd name="connsiteX48" fmla="*/ 706433 w 1457148"/>
                <a:gd name="connsiteY48" fmla="*/ 951001 h 3641849"/>
                <a:gd name="connsiteX49" fmla="*/ 862162 w 1457148"/>
                <a:gd name="connsiteY49" fmla="*/ 1007364 h 3641849"/>
                <a:gd name="connsiteX50" fmla="*/ 847754 w 1457148"/>
                <a:gd name="connsiteY50" fmla="*/ 971687 h 3641849"/>
                <a:gd name="connsiteX51" fmla="*/ 814502 w 1457148"/>
                <a:gd name="connsiteY51" fmla="*/ 932901 h 3641849"/>
                <a:gd name="connsiteX52" fmla="*/ 803418 w 1457148"/>
                <a:gd name="connsiteY52" fmla="*/ 881187 h 3641849"/>
                <a:gd name="connsiteX53" fmla="*/ 842213 w 1457148"/>
                <a:gd name="connsiteY53" fmla="*/ 832060 h 3641849"/>
                <a:gd name="connsiteX54" fmla="*/ 869923 w 1457148"/>
                <a:gd name="connsiteY54" fmla="*/ 803617 h 3641849"/>
                <a:gd name="connsiteX55" fmla="*/ 894863 w 1457148"/>
                <a:gd name="connsiteY55" fmla="*/ 767417 h 3641849"/>
                <a:gd name="connsiteX56" fmla="*/ 975223 w 1457148"/>
                <a:gd name="connsiteY56" fmla="*/ 762245 h 3641849"/>
                <a:gd name="connsiteX57" fmla="*/ 980764 w 1457148"/>
                <a:gd name="connsiteY57" fmla="*/ 741560 h 3641849"/>
                <a:gd name="connsiteX58" fmla="*/ 1005704 w 1457148"/>
                <a:gd name="connsiteY58" fmla="*/ 705360 h 3641849"/>
                <a:gd name="connsiteX59" fmla="*/ 1039508 w 1457148"/>
                <a:gd name="connsiteY59" fmla="*/ 687772 h 3641849"/>
                <a:gd name="connsiteX60" fmla="*/ 1097148 w 1457148"/>
                <a:gd name="connsiteY60" fmla="*/ 700189 h 3641849"/>
                <a:gd name="connsiteX61" fmla="*/ 1135941 w 1457148"/>
                <a:gd name="connsiteY61" fmla="*/ 720875 h 3641849"/>
                <a:gd name="connsiteX62" fmla="*/ 1183049 w 1457148"/>
                <a:gd name="connsiteY62" fmla="*/ 728632 h 3641849"/>
                <a:gd name="connsiteX63" fmla="*/ 1183049 w 1457148"/>
                <a:gd name="connsiteY63" fmla="*/ 733803 h 3641849"/>
                <a:gd name="connsiteX64" fmla="*/ 1205218 w 1457148"/>
                <a:gd name="connsiteY64" fmla="*/ 674332 h 3641849"/>
                <a:gd name="connsiteX65" fmla="*/ 1215193 w 1457148"/>
                <a:gd name="connsiteY65" fmla="*/ 640714 h 3641849"/>
                <a:gd name="connsiteX66" fmla="*/ 1221844 w 1457148"/>
                <a:gd name="connsiteY66" fmla="*/ 622618 h 3641849"/>
                <a:gd name="connsiteX67" fmla="*/ 1224781 w 1457148"/>
                <a:gd name="connsiteY67" fmla="*/ 591288 h 3641849"/>
                <a:gd name="connsiteX68" fmla="*/ 1144255 w 1457148"/>
                <a:gd name="connsiteY68" fmla="*/ 545048 h 3641849"/>
                <a:gd name="connsiteX69" fmla="*/ 1130400 w 1457148"/>
                <a:gd name="connsiteY69" fmla="*/ 472648 h 3641849"/>
                <a:gd name="connsiteX70" fmla="*/ 1130400 w 1457148"/>
                <a:gd name="connsiteY70" fmla="*/ 454548 h 3641849"/>
                <a:gd name="connsiteX71" fmla="*/ 1141483 w 1457148"/>
                <a:gd name="connsiteY71" fmla="*/ 431276 h 3641849"/>
                <a:gd name="connsiteX72" fmla="*/ 1144255 w 1457148"/>
                <a:gd name="connsiteY72" fmla="*/ 415762 h 3641849"/>
                <a:gd name="connsiteX73" fmla="*/ 1144254 w 1457148"/>
                <a:gd name="connsiteY73" fmla="*/ 358878 h 3641849"/>
                <a:gd name="connsiteX74" fmla="*/ 1122086 w 1457148"/>
                <a:gd name="connsiteY74" fmla="*/ 335607 h 3641849"/>
                <a:gd name="connsiteX75" fmla="*/ 1094376 w 1457148"/>
                <a:gd name="connsiteY75" fmla="*/ 304578 h 3641849"/>
                <a:gd name="connsiteX76" fmla="*/ 1090208 w 1457148"/>
                <a:gd name="connsiteY76" fmla="*/ 280325 h 3641849"/>
                <a:gd name="connsiteX77" fmla="*/ 1141484 w 1457148"/>
                <a:gd name="connsiteY77" fmla="*/ 258034 h 3641849"/>
                <a:gd name="connsiteX78" fmla="*/ 1195064 w 1457148"/>
                <a:gd name="connsiteY78" fmla="*/ 267906 h 3641849"/>
                <a:gd name="connsiteX79" fmla="*/ 1273848 w 1457148"/>
                <a:gd name="connsiteY79" fmla="*/ 279816 h 3641849"/>
                <a:gd name="connsiteX80" fmla="*/ 1358171 w 1457148"/>
                <a:gd name="connsiteY80" fmla="*/ 349175 h 3641849"/>
                <a:gd name="connsiteX81" fmla="*/ 1420306 w 1457148"/>
                <a:gd name="connsiteY81" fmla="*/ 425271 h 3641849"/>
                <a:gd name="connsiteX82" fmla="*/ 1319335 w 1457148"/>
                <a:gd name="connsiteY82" fmla="*/ 454265 h 3641849"/>
                <a:gd name="connsiteX83" fmla="*/ 1303801 w 1457148"/>
                <a:gd name="connsiteY83" fmla="*/ 501372 h 3641849"/>
                <a:gd name="connsiteX84" fmla="*/ 1361471 w 1457148"/>
                <a:gd name="connsiteY84" fmla="*/ 585862 h 3641849"/>
                <a:gd name="connsiteX85" fmla="*/ 1397005 w 1457148"/>
                <a:gd name="connsiteY85" fmla="*/ 591964 h 3641849"/>
                <a:gd name="connsiteX86" fmla="*/ 1449625 w 1457148"/>
                <a:gd name="connsiteY86" fmla="*/ 598304 h 3641849"/>
                <a:gd name="connsiteX87" fmla="*/ 1444662 w 1457148"/>
                <a:gd name="connsiteY87" fmla="*/ 709079 h 3641849"/>
                <a:gd name="connsiteX88" fmla="*/ 1455731 w 1457148"/>
                <a:gd name="connsiteY88" fmla="*/ 1040047 h 3641849"/>
                <a:gd name="connsiteX89" fmla="*/ 1446863 w 1457148"/>
                <a:gd name="connsiteY89" fmla="*/ 1842646 h 3641849"/>
                <a:gd name="connsiteX90" fmla="*/ 1455730 w 1457148"/>
                <a:gd name="connsiteY90" fmla="*/ 2297728 h 3641849"/>
                <a:gd name="connsiteX91" fmla="*/ 1429282 w 1457148"/>
                <a:gd name="connsiteY91" fmla="*/ 3607693 h 3641849"/>
                <a:gd name="connsiteX92" fmla="*/ 1170855 w 1457148"/>
                <a:gd name="connsiteY92" fmla="*/ 3564098 h 3641849"/>
                <a:gd name="connsiteX93" fmla="*/ 1002377 w 1457148"/>
                <a:gd name="connsiteY93" fmla="*/ 3497903 h 3641849"/>
                <a:gd name="connsiteX94" fmla="*/ 825031 w 1457148"/>
                <a:gd name="connsiteY94" fmla="*/ 3406887 h 3641849"/>
                <a:gd name="connsiteX95" fmla="*/ 726733 w 1457148"/>
                <a:gd name="connsiteY95" fmla="*/ 3326370 h 3641849"/>
                <a:gd name="connsiteX96" fmla="*/ 1020995 w 1457148"/>
                <a:gd name="connsiteY96" fmla="*/ 3018734 h 3641849"/>
                <a:gd name="connsiteX97" fmla="*/ 737241 w 1457148"/>
                <a:gd name="connsiteY97" fmla="*/ 2480910 h 3641849"/>
                <a:gd name="connsiteX98" fmla="*/ 879591 w 1457148"/>
                <a:gd name="connsiteY98" fmla="*/ 2241825 h 3641849"/>
                <a:gd name="connsiteX99" fmla="*/ 692904 w 1457148"/>
                <a:gd name="connsiteY99" fmla="*/ 1703134 h 3641849"/>
                <a:gd name="connsiteX100" fmla="*/ 444620 w 1457148"/>
                <a:gd name="connsiteY100" fmla="*/ 1471456 h 3641849"/>
                <a:gd name="connsiteX101" fmla="*/ 435753 w 1457148"/>
                <a:gd name="connsiteY101" fmla="*/ 1355617 h 3641849"/>
                <a:gd name="connsiteX102" fmla="*/ 30225 w 1457148"/>
                <a:gd name="connsiteY102" fmla="*/ 551628 h 3641849"/>
                <a:gd name="connsiteX0" fmla="*/ 30225 w 1457148"/>
                <a:gd name="connsiteY0" fmla="*/ 551628 h 3641849"/>
                <a:gd name="connsiteX1" fmla="*/ 124356 w 1457148"/>
                <a:gd name="connsiteY1" fmla="*/ 582819 h 3641849"/>
                <a:gd name="connsiteX2" fmla="*/ 193633 w 1457148"/>
                <a:gd name="connsiteY2" fmla="*/ 577648 h 3641849"/>
                <a:gd name="connsiteX3" fmla="*/ 165923 w 1457148"/>
                <a:gd name="connsiteY3" fmla="*/ 487148 h 3641849"/>
                <a:gd name="connsiteX4" fmla="*/ 102189 w 1457148"/>
                <a:gd name="connsiteY4" fmla="*/ 476806 h 3641849"/>
                <a:gd name="connsiteX5" fmla="*/ 85563 w 1457148"/>
                <a:gd name="connsiteY5" fmla="*/ 378550 h 3641849"/>
                <a:gd name="connsiteX6" fmla="*/ 10744 w 1457148"/>
                <a:gd name="connsiteY6" fmla="*/ 319079 h 3641849"/>
                <a:gd name="connsiteX7" fmla="*/ 2432 w 1457148"/>
                <a:gd name="connsiteY7" fmla="*/ 251851 h 3641849"/>
                <a:gd name="connsiteX8" fmla="*/ 57852 w 1457148"/>
                <a:gd name="connsiteY8" fmla="*/ 158764 h 3641849"/>
                <a:gd name="connsiteX9" fmla="*/ 77250 w 1457148"/>
                <a:gd name="connsiteY9" fmla="*/ 135494 h 3641849"/>
                <a:gd name="connsiteX10" fmla="*/ 91105 w 1457148"/>
                <a:gd name="connsiteY10" fmla="*/ 117394 h 3641849"/>
                <a:gd name="connsiteX11" fmla="*/ 99418 w 1457148"/>
                <a:gd name="connsiteY11" fmla="*/ 73438 h 3641849"/>
                <a:gd name="connsiteX12" fmla="*/ 124357 w 1457148"/>
                <a:gd name="connsiteY12" fmla="*/ 101880 h 3641849"/>
                <a:gd name="connsiteX13" fmla="*/ 154839 w 1457148"/>
                <a:gd name="connsiteY13" fmla="*/ 88952 h 3641849"/>
                <a:gd name="connsiteX14" fmla="*/ 157609 w 1457148"/>
                <a:gd name="connsiteY14" fmla="*/ 63095 h 3641849"/>
                <a:gd name="connsiteX15" fmla="*/ 165923 w 1457148"/>
                <a:gd name="connsiteY15" fmla="*/ 34652 h 3641849"/>
                <a:gd name="connsiteX16" fmla="*/ 168695 w 1457148"/>
                <a:gd name="connsiteY16" fmla="*/ 3624 h 3641849"/>
                <a:gd name="connsiteX17" fmla="*/ 304475 w 1457148"/>
                <a:gd name="connsiteY17" fmla="*/ 57924 h 3641849"/>
                <a:gd name="connsiteX18" fmla="*/ 334955 w 1457148"/>
                <a:gd name="connsiteY18" fmla="*/ 161352 h 3641849"/>
                <a:gd name="connsiteX19" fmla="*/ 348811 w 1457148"/>
                <a:gd name="connsiteY19" fmla="*/ 184622 h 3641849"/>
                <a:gd name="connsiteX20" fmla="*/ 359895 w 1457148"/>
                <a:gd name="connsiteY20" fmla="*/ 187208 h 3641849"/>
                <a:gd name="connsiteX21" fmla="*/ 473507 w 1457148"/>
                <a:gd name="connsiteY21" fmla="*/ 156181 h 3641849"/>
                <a:gd name="connsiteX22" fmla="*/ 540012 w 1457148"/>
                <a:gd name="connsiteY22" fmla="*/ 166522 h 3641849"/>
                <a:gd name="connsiteX23" fmla="*/ 603746 w 1457148"/>
                <a:gd name="connsiteY23" fmla="*/ 213065 h 3641849"/>
                <a:gd name="connsiteX24" fmla="*/ 617773 w 1457148"/>
                <a:gd name="connsiteY24" fmla="*/ 242621 h 3641849"/>
                <a:gd name="connsiteX25" fmla="*/ 673020 w 1457148"/>
                <a:gd name="connsiteY25" fmla="*/ 277708 h 3641849"/>
                <a:gd name="connsiteX26" fmla="*/ 761694 w 1457148"/>
                <a:gd name="connsiteY26" fmla="*/ 303563 h 3641849"/>
                <a:gd name="connsiteX27" fmla="*/ 833740 w 1457148"/>
                <a:gd name="connsiteY27" fmla="*/ 350106 h 3641849"/>
                <a:gd name="connsiteX28" fmla="*/ 883619 w 1457148"/>
                <a:gd name="connsiteY28" fmla="*/ 401820 h 3641849"/>
                <a:gd name="connsiteX29" fmla="*/ 908558 w 1457148"/>
                <a:gd name="connsiteY29" fmla="*/ 440606 h 3641849"/>
                <a:gd name="connsiteX30" fmla="*/ 941811 w 1457148"/>
                <a:gd name="connsiteY30" fmla="*/ 466462 h 3641849"/>
                <a:gd name="connsiteX31" fmla="*/ 925183 w 1457148"/>
                <a:gd name="connsiteY31" fmla="*/ 691417 h 3641849"/>
                <a:gd name="connsiteX32" fmla="*/ 797717 w 1457148"/>
                <a:gd name="connsiteY32" fmla="*/ 771575 h 3641849"/>
                <a:gd name="connsiteX33" fmla="*/ 684105 w 1457148"/>
                <a:gd name="connsiteY33" fmla="*/ 779331 h 3641849"/>
                <a:gd name="connsiteX34" fmla="*/ 545552 w 1457148"/>
                <a:gd name="connsiteY34" fmla="*/ 758645 h 3641849"/>
                <a:gd name="connsiteX35" fmla="*/ 454108 w 1457148"/>
                <a:gd name="connsiteY35" fmla="*/ 722445 h 3641849"/>
                <a:gd name="connsiteX36" fmla="*/ 434711 w 1457148"/>
                <a:gd name="connsiteY36" fmla="*/ 750888 h 3641849"/>
                <a:gd name="connsiteX37" fmla="*/ 465353 w 1457148"/>
                <a:gd name="connsiteY37" fmla="*/ 824301 h 3641849"/>
                <a:gd name="connsiteX38" fmla="*/ 470894 w 1457148"/>
                <a:gd name="connsiteY38" fmla="*/ 951000 h 3641849"/>
                <a:gd name="connsiteX39" fmla="*/ 443024 w 1457148"/>
                <a:gd name="connsiteY39" fmla="*/ 1012043 h 3641849"/>
                <a:gd name="connsiteX40" fmla="*/ 498443 w 1457148"/>
                <a:gd name="connsiteY40" fmla="*/ 1032728 h 3641849"/>
                <a:gd name="connsiteX41" fmla="*/ 515071 w 1457148"/>
                <a:gd name="connsiteY41" fmla="*/ 1048242 h 3641849"/>
                <a:gd name="connsiteX42" fmla="*/ 540011 w 1457148"/>
                <a:gd name="connsiteY42" fmla="*/ 1074099 h 3641849"/>
                <a:gd name="connsiteX43" fmla="*/ 537240 w 1457148"/>
                <a:gd name="connsiteY43" fmla="*/ 1076685 h 3641849"/>
                <a:gd name="connsiteX44" fmla="*/ 576033 w 1457148"/>
                <a:gd name="connsiteY44" fmla="*/ 1071514 h 3641849"/>
                <a:gd name="connsiteX45" fmla="*/ 584347 w 1457148"/>
                <a:gd name="connsiteY45" fmla="*/ 1035314 h 3641849"/>
                <a:gd name="connsiteX46" fmla="*/ 545552 w 1457148"/>
                <a:gd name="connsiteY46" fmla="*/ 957743 h 3641849"/>
                <a:gd name="connsiteX47" fmla="*/ 614828 w 1457148"/>
                <a:gd name="connsiteY47" fmla="*/ 911200 h 3641849"/>
                <a:gd name="connsiteX48" fmla="*/ 682600 w 1457148"/>
                <a:gd name="connsiteY48" fmla="*/ 918934 h 3641849"/>
                <a:gd name="connsiteX49" fmla="*/ 706433 w 1457148"/>
                <a:gd name="connsiteY49" fmla="*/ 951001 h 3641849"/>
                <a:gd name="connsiteX50" fmla="*/ 862162 w 1457148"/>
                <a:gd name="connsiteY50" fmla="*/ 1007364 h 3641849"/>
                <a:gd name="connsiteX51" fmla="*/ 847754 w 1457148"/>
                <a:gd name="connsiteY51" fmla="*/ 971687 h 3641849"/>
                <a:gd name="connsiteX52" fmla="*/ 814502 w 1457148"/>
                <a:gd name="connsiteY52" fmla="*/ 932901 h 3641849"/>
                <a:gd name="connsiteX53" fmla="*/ 803418 w 1457148"/>
                <a:gd name="connsiteY53" fmla="*/ 881187 h 3641849"/>
                <a:gd name="connsiteX54" fmla="*/ 842213 w 1457148"/>
                <a:gd name="connsiteY54" fmla="*/ 832060 h 3641849"/>
                <a:gd name="connsiteX55" fmla="*/ 869923 w 1457148"/>
                <a:gd name="connsiteY55" fmla="*/ 803617 h 3641849"/>
                <a:gd name="connsiteX56" fmla="*/ 894863 w 1457148"/>
                <a:gd name="connsiteY56" fmla="*/ 767417 h 3641849"/>
                <a:gd name="connsiteX57" fmla="*/ 975223 w 1457148"/>
                <a:gd name="connsiteY57" fmla="*/ 762245 h 3641849"/>
                <a:gd name="connsiteX58" fmla="*/ 980764 w 1457148"/>
                <a:gd name="connsiteY58" fmla="*/ 741560 h 3641849"/>
                <a:gd name="connsiteX59" fmla="*/ 1005704 w 1457148"/>
                <a:gd name="connsiteY59" fmla="*/ 705360 h 3641849"/>
                <a:gd name="connsiteX60" fmla="*/ 1039508 w 1457148"/>
                <a:gd name="connsiteY60" fmla="*/ 687772 h 3641849"/>
                <a:gd name="connsiteX61" fmla="*/ 1097148 w 1457148"/>
                <a:gd name="connsiteY61" fmla="*/ 700189 h 3641849"/>
                <a:gd name="connsiteX62" fmla="*/ 1135941 w 1457148"/>
                <a:gd name="connsiteY62" fmla="*/ 720875 h 3641849"/>
                <a:gd name="connsiteX63" fmla="*/ 1183049 w 1457148"/>
                <a:gd name="connsiteY63" fmla="*/ 728632 h 3641849"/>
                <a:gd name="connsiteX64" fmla="*/ 1183049 w 1457148"/>
                <a:gd name="connsiteY64" fmla="*/ 733803 h 3641849"/>
                <a:gd name="connsiteX65" fmla="*/ 1205218 w 1457148"/>
                <a:gd name="connsiteY65" fmla="*/ 674332 h 3641849"/>
                <a:gd name="connsiteX66" fmla="*/ 1215193 w 1457148"/>
                <a:gd name="connsiteY66" fmla="*/ 640714 h 3641849"/>
                <a:gd name="connsiteX67" fmla="*/ 1221844 w 1457148"/>
                <a:gd name="connsiteY67" fmla="*/ 622618 h 3641849"/>
                <a:gd name="connsiteX68" fmla="*/ 1224781 w 1457148"/>
                <a:gd name="connsiteY68" fmla="*/ 591288 h 3641849"/>
                <a:gd name="connsiteX69" fmla="*/ 1144255 w 1457148"/>
                <a:gd name="connsiteY69" fmla="*/ 545048 h 3641849"/>
                <a:gd name="connsiteX70" fmla="*/ 1130400 w 1457148"/>
                <a:gd name="connsiteY70" fmla="*/ 472648 h 3641849"/>
                <a:gd name="connsiteX71" fmla="*/ 1130400 w 1457148"/>
                <a:gd name="connsiteY71" fmla="*/ 454548 h 3641849"/>
                <a:gd name="connsiteX72" fmla="*/ 1141483 w 1457148"/>
                <a:gd name="connsiteY72" fmla="*/ 431276 h 3641849"/>
                <a:gd name="connsiteX73" fmla="*/ 1144255 w 1457148"/>
                <a:gd name="connsiteY73" fmla="*/ 415762 h 3641849"/>
                <a:gd name="connsiteX74" fmla="*/ 1144254 w 1457148"/>
                <a:gd name="connsiteY74" fmla="*/ 358878 h 3641849"/>
                <a:gd name="connsiteX75" fmla="*/ 1122086 w 1457148"/>
                <a:gd name="connsiteY75" fmla="*/ 335607 h 3641849"/>
                <a:gd name="connsiteX76" fmla="*/ 1094376 w 1457148"/>
                <a:gd name="connsiteY76" fmla="*/ 304578 h 3641849"/>
                <a:gd name="connsiteX77" fmla="*/ 1090208 w 1457148"/>
                <a:gd name="connsiteY77" fmla="*/ 280325 h 3641849"/>
                <a:gd name="connsiteX78" fmla="*/ 1141484 w 1457148"/>
                <a:gd name="connsiteY78" fmla="*/ 258034 h 3641849"/>
                <a:gd name="connsiteX79" fmla="*/ 1195064 w 1457148"/>
                <a:gd name="connsiteY79" fmla="*/ 267906 h 3641849"/>
                <a:gd name="connsiteX80" fmla="*/ 1273848 w 1457148"/>
                <a:gd name="connsiteY80" fmla="*/ 279816 h 3641849"/>
                <a:gd name="connsiteX81" fmla="*/ 1358171 w 1457148"/>
                <a:gd name="connsiteY81" fmla="*/ 349175 h 3641849"/>
                <a:gd name="connsiteX82" fmla="*/ 1420306 w 1457148"/>
                <a:gd name="connsiteY82" fmla="*/ 425271 h 3641849"/>
                <a:gd name="connsiteX83" fmla="*/ 1319335 w 1457148"/>
                <a:gd name="connsiteY83" fmla="*/ 454265 h 3641849"/>
                <a:gd name="connsiteX84" fmla="*/ 1303801 w 1457148"/>
                <a:gd name="connsiteY84" fmla="*/ 501372 h 3641849"/>
                <a:gd name="connsiteX85" fmla="*/ 1361471 w 1457148"/>
                <a:gd name="connsiteY85" fmla="*/ 585862 h 3641849"/>
                <a:gd name="connsiteX86" fmla="*/ 1397005 w 1457148"/>
                <a:gd name="connsiteY86" fmla="*/ 591964 h 3641849"/>
                <a:gd name="connsiteX87" fmla="*/ 1449625 w 1457148"/>
                <a:gd name="connsiteY87" fmla="*/ 598304 h 3641849"/>
                <a:gd name="connsiteX88" fmla="*/ 1444662 w 1457148"/>
                <a:gd name="connsiteY88" fmla="*/ 709079 h 3641849"/>
                <a:gd name="connsiteX89" fmla="*/ 1455731 w 1457148"/>
                <a:gd name="connsiteY89" fmla="*/ 1040047 h 3641849"/>
                <a:gd name="connsiteX90" fmla="*/ 1446863 w 1457148"/>
                <a:gd name="connsiteY90" fmla="*/ 1842646 h 3641849"/>
                <a:gd name="connsiteX91" fmla="*/ 1455730 w 1457148"/>
                <a:gd name="connsiteY91" fmla="*/ 2297728 h 3641849"/>
                <a:gd name="connsiteX92" fmla="*/ 1429282 w 1457148"/>
                <a:gd name="connsiteY92" fmla="*/ 3607693 h 3641849"/>
                <a:gd name="connsiteX93" fmla="*/ 1170855 w 1457148"/>
                <a:gd name="connsiteY93" fmla="*/ 3564098 h 3641849"/>
                <a:gd name="connsiteX94" fmla="*/ 1002377 w 1457148"/>
                <a:gd name="connsiteY94" fmla="*/ 3497903 h 3641849"/>
                <a:gd name="connsiteX95" fmla="*/ 825031 w 1457148"/>
                <a:gd name="connsiteY95" fmla="*/ 3406887 h 3641849"/>
                <a:gd name="connsiteX96" fmla="*/ 726733 w 1457148"/>
                <a:gd name="connsiteY96" fmla="*/ 3326370 h 3641849"/>
                <a:gd name="connsiteX97" fmla="*/ 1020995 w 1457148"/>
                <a:gd name="connsiteY97" fmla="*/ 3018734 h 3641849"/>
                <a:gd name="connsiteX98" fmla="*/ 737241 w 1457148"/>
                <a:gd name="connsiteY98" fmla="*/ 2480910 h 3641849"/>
                <a:gd name="connsiteX99" fmla="*/ 879591 w 1457148"/>
                <a:gd name="connsiteY99" fmla="*/ 2241825 h 3641849"/>
                <a:gd name="connsiteX100" fmla="*/ 692904 w 1457148"/>
                <a:gd name="connsiteY100" fmla="*/ 1703134 h 3641849"/>
                <a:gd name="connsiteX101" fmla="*/ 444620 w 1457148"/>
                <a:gd name="connsiteY101" fmla="*/ 1471456 h 3641849"/>
                <a:gd name="connsiteX102" fmla="*/ 435753 w 1457148"/>
                <a:gd name="connsiteY102" fmla="*/ 1355617 h 3641849"/>
                <a:gd name="connsiteX103" fmla="*/ 30225 w 1457148"/>
                <a:gd name="connsiteY103" fmla="*/ 551628 h 3641849"/>
                <a:gd name="connsiteX0" fmla="*/ 30225 w 1457148"/>
                <a:gd name="connsiteY0" fmla="*/ 551628 h 3641849"/>
                <a:gd name="connsiteX1" fmla="*/ 124356 w 1457148"/>
                <a:gd name="connsiteY1" fmla="*/ 582819 h 3641849"/>
                <a:gd name="connsiteX2" fmla="*/ 193633 w 1457148"/>
                <a:gd name="connsiteY2" fmla="*/ 577648 h 3641849"/>
                <a:gd name="connsiteX3" fmla="*/ 165923 w 1457148"/>
                <a:gd name="connsiteY3" fmla="*/ 487148 h 3641849"/>
                <a:gd name="connsiteX4" fmla="*/ 102189 w 1457148"/>
                <a:gd name="connsiteY4" fmla="*/ 476806 h 3641849"/>
                <a:gd name="connsiteX5" fmla="*/ 85563 w 1457148"/>
                <a:gd name="connsiteY5" fmla="*/ 378550 h 3641849"/>
                <a:gd name="connsiteX6" fmla="*/ 10744 w 1457148"/>
                <a:gd name="connsiteY6" fmla="*/ 319079 h 3641849"/>
                <a:gd name="connsiteX7" fmla="*/ 2432 w 1457148"/>
                <a:gd name="connsiteY7" fmla="*/ 251851 h 3641849"/>
                <a:gd name="connsiteX8" fmla="*/ 57852 w 1457148"/>
                <a:gd name="connsiteY8" fmla="*/ 158764 h 3641849"/>
                <a:gd name="connsiteX9" fmla="*/ 77250 w 1457148"/>
                <a:gd name="connsiteY9" fmla="*/ 135494 h 3641849"/>
                <a:gd name="connsiteX10" fmla="*/ 91105 w 1457148"/>
                <a:gd name="connsiteY10" fmla="*/ 117394 h 3641849"/>
                <a:gd name="connsiteX11" fmla="*/ 99418 w 1457148"/>
                <a:gd name="connsiteY11" fmla="*/ 73438 h 3641849"/>
                <a:gd name="connsiteX12" fmla="*/ 124357 w 1457148"/>
                <a:gd name="connsiteY12" fmla="*/ 101880 h 3641849"/>
                <a:gd name="connsiteX13" fmla="*/ 154839 w 1457148"/>
                <a:gd name="connsiteY13" fmla="*/ 88952 h 3641849"/>
                <a:gd name="connsiteX14" fmla="*/ 157609 w 1457148"/>
                <a:gd name="connsiteY14" fmla="*/ 63095 h 3641849"/>
                <a:gd name="connsiteX15" fmla="*/ 165923 w 1457148"/>
                <a:gd name="connsiteY15" fmla="*/ 34652 h 3641849"/>
                <a:gd name="connsiteX16" fmla="*/ 168695 w 1457148"/>
                <a:gd name="connsiteY16" fmla="*/ 3624 h 3641849"/>
                <a:gd name="connsiteX17" fmla="*/ 304475 w 1457148"/>
                <a:gd name="connsiteY17" fmla="*/ 57924 h 3641849"/>
                <a:gd name="connsiteX18" fmla="*/ 334955 w 1457148"/>
                <a:gd name="connsiteY18" fmla="*/ 161352 h 3641849"/>
                <a:gd name="connsiteX19" fmla="*/ 348811 w 1457148"/>
                <a:gd name="connsiteY19" fmla="*/ 184622 h 3641849"/>
                <a:gd name="connsiteX20" fmla="*/ 359895 w 1457148"/>
                <a:gd name="connsiteY20" fmla="*/ 187208 h 3641849"/>
                <a:gd name="connsiteX21" fmla="*/ 473507 w 1457148"/>
                <a:gd name="connsiteY21" fmla="*/ 156181 h 3641849"/>
                <a:gd name="connsiteX22" fmla="*/ 540012 w 1457148"/>
                <a:gd name="connsiteY22" fmla="*/ 166522 h 3641849"/>
                <a:gd name="connsiteX23" fmla="*/ 603746 w 1457148"/>
                <a:gd name="connsiteY23" fmla="*/ 213065 h 3641849"/>
                <a:gd name="connsiteX24" fmla="*/ 617773 w 1457148"/>
                <a:gd name="connsiteY24" fmla="*/ 242621 h 3641849"/>
                <a:gd name="connsiteX25" fmla="*/ 673020 w 1457148"/>
                <a:gd name="connsiteY25" fmla="*/ 277708 h 3641849"/>
                <a:gd name="connsiteX26" fmla="*/ 761694 w 1457148"/>
                <a:gd name="connsiteY26" fmla="*/ 303563 h 3641849"/>
                <a:gd name="connsiteX27" fmla="*/ 833740 w 1457148"/>
                <a:gd name="connsiteY27" fmla="*/ 350106 h 3641849"/>
                <a:gd name="connsiteX28" fmla="*/ 883619 w 1457148"/>
                <a:gd name="connsiteY28" fmla="*/ 401820 h 3641849"/>
                <a:gd name="connsiteX29" fmla="*/ 908558 w 1457148"/>
                <a:gd name="connsiteY29" fmla="*/ 440606 h 3641849"/>
                <a:gd name="connsiteX30" fmla="*/ 941811 w 1457148"/>
                <a:gd name="connsiteY30" fmla="*/ 466462 h 3641849"/>
                <a:gd name="connsiteX31" fmla="*/ 925183 w 1457148"/>
                <a:gd name="connsiteY31" fmla="*/ 691417 h 3641849"/>
                <a:gd name="connsiteX32" fmla="*/ 797717 w 1457148"/>
                <a:gd name="connsiteY32" fmla="*/ 771575 h 3641849"/>
                <a:gd name="connsiteX33" fmla="*/ 684105 w 1457148"/>
                <a:gd name="connsiteY33" fmla="*/ 779331 h 3641849"/>
                <a:gd name="connsiteX34" fmla="*/ 545552 w 1457148"/>
                <a:gd name="connsiteY34" fmla="*/ 758645 h 3641849"/>
                <a:gd name="connsiteX35" fmla="*/ 454108 w 1457148"/>
                <a:gd name="connsiteY35" fmla="*/ 722445 h 3641849"/>
                <a:gd name="connsiteX36" fmla="*/ 434711 w 1457148"/>
                <a:gd name="connsiteY36" fmla="*/ 750888 h 3641849"/>
                <a:gd name="connsiteX37" fmla="*/ 465353 w 1457148"/>
                <a:gd name="connsiteY37" fmla="*/ 824301 h 3641849"/>
                <a:gd name="connsiteX38" fmla="*/ 470894 w 1457148"/>
                <a:gd name="connsiteY38" fmla="*/ 951000 h 3641849"/>
                <a:gd name="connsiteX39" fmla="*/ 443024 w 1457148"/>
                <a:gd name="connsiteY39" fmla="*/ 1012043 h 3641849"/>
                <a:gd name="connsiteX40" fmla="*/ 498443 w 1457148"/>
                <a:gd name="connsiteY40" fmla="*/ 1032728 h 3641849"/>
                <a:gd name="connsiteX41" fmla="*/ 515071 w 1457148"/>
                <a:gd name="connsiteY41" fmla="*/ 1048242 h 3641849"/>
                <a:gd name="connsiteX42" fmla="*/ 540011 w 1457148"/>
                <a:gd name="connsiteY42" fmla="*/ 1074099 h 3641849"/>
                <a:gd name="connsiteX43" fmla="*/ 537240 w 1457148"/>
                <a:gd name="connsiteY43" fmla="*/ 1076685 h 3641849"/>
                <a:gd name="connsiteX44" fmla="*/ 576033 w 1457148"/>
                <a:gd name="connsiteY44" fmla="*/ 1071514 h 3641849"/>
                <a:gd name="connsiteX45" fmla="*/ 584347 w 1457148"/>
                <a:gd name="connsiteY45" fmla="*/ 1035314 h 3641849"/>
                <a:gd name="connsiteX46" fmla="*/ 545552 w 1457148"/>
                <a:gd name="connsiteY46" fmla="*/ 957743 h 3641849"/>
                <a:gd name="connsiteX47" fmla="*/ 614828 w 1457148"/>
                <a:gd name="connsiteY47" fmla="*/ 911200 h 3641849"/>
                <a:gd name="connsiteX48" fmla="*/ 682600 w 1457148"/>
                <a:gd name="connsiteY48" fmla="*/ 918934 h 3641849"/>
                <a:gd name="connsiteX49" fmla="*/ 706433 w 1457148"/>
                <a:gd name="connsiteY49" fmla="*/ 951001 h 3641849"/>
                <a:gd name="connsiteX50" fmla="*/ 862162 w 1457148"/>
                <a:gd name="connsiteY50" fmla="*/ 1007364 h 3641849"/>
                <a:gd name="connsiteX51" fmla="*/ 847754 w 1457148"/>
                <a:gd name="connsiteY51" fmla="*/ 971687 h 3641849"/>
                <a:gd name="connsiteX52" fmla="*/ 814502 w 1457148"/>
                <a:gd name="connsiteY52" fmla="*/ 932901 h 3641849"/>
                <a:gd name="connsiteX53" fmla="*/ 803418 w 1457148"/>
                <a:gd name="connsiteY53" fmla="*/ 881187 h 3641849"/>
                <a:gd name="connsiteX54" fmla="*/ 842213 w 1457148"/>
                <a:gd name="connsiteY54" fmla="*/ 832060 h 3641849"/>
                <a:gd name="connsiteX55" fmla="*/ 869923 w 1457148"/>
                <a:gd name="connsiteY55" fmla="*/ 803617 h 3641849"/>
                <a:gd name="connsiteX56" fmla="*/ 894863 w 1457148"/>
                <a:gd name="connsiteY56" fmla="*/ 767417 h 3641849"/>
                <a:gd name="connsiteX57" fmla="*/ 975223 w 1457148"/>
                <a:gd name="connsiteY57" fmla="*/ 762245 h 3641849"/>
                <a:gd name="connsiteX58" fmla="*/ 980764 w 1457148"/>
                <a:gd name="connsiteY58" fmla="*/ 741560 h 3641849"/>
                <a:gd name="connsiteX59" fmla="*/ 1005704 w 1457148"/>
                <a:gd name="connsiteY59" fmla="*/ 705360 h 3641849"/>
                <a:gd name="connsiteX60" fmla="*/ 1039508 w 1457148"/>
                <a:gd name="connsiteY60" fmla="*/ 687772 h 3641849"/>
                <a:gd name="connsiteX61" fmla="*/ 1097148 w 1457148"/>
                <a:gd name="connsiteY61" fmla="*/ 700189 h 3641849"/>
                <a:gd name="connsiteX62" fmla="*/ 1135941 w 1457148"/>
                <a:gd name="connsiteY62" fmla="*/ 720875 h 3641849"/>
                <a:gd name="connsiteX63" fmla="*/ 1183049 w 1457148"/>
                <a:gd name="connsiteY63" fmla="*/ 728632 h 3641849"/>
                <a:gd name="connsiteX64" fmla="*/ 1183049 w 1457148"/>
                <a:gd name="connsiteY64" fmla="*/ 733803 h 3641849"/>
                <a:gd name="connsiteX65" fmla="*/ 1205218 w 1457148"/>
                <a:gd name="connsiteY65" fmla="*/ 674332 h 3641849"/>
                <a:gd name="connsiteX66" fmla="*/ 1215193 w 1457148"/>
                <a:gd name="connsiteY66" fmla="*/ 640714 h 3641849"/>
                <a:gd name="connsiteX67" fmla="*/ 1221844 w 1457148"/>
                <a:gd name="connsiteY67" fmla="*/ 622618 h 3641849"/>
                <a:gd name="connsiteX68" fmla="*/ 1224781 w 1457148"/>
                <a:gd name="connsiteY68" fmla="*/ 591288 h 3641849"/>
                <a:gd name="connsiteX69" fmla="*/ 1144255 w 1457148"/>
                <a:gd name="connsiteY69" fmla="*/ 545048 h 3641849"/>
                <a:gd name="connsiteX70" fmla="*/ 1130400 w 1457148"/>
                <a:gd name="connsiteY70" fmla="*/ 472648 h 3641849"/>
                <a:gd name="connsiteX71" fmla="*/ 1130400 w 1457148"/>
                <a:gd name="connsiteY71" fmla="*/ 454548 h 3641849"/>
                <a:gd name="connsiteX72" fmla="*/ 1141483 w 1457148"/>
                <a:gd name="connsiteY72" fmla="*/ 431276 h 3641849"/>
                <a:gd name="connsiteX73" fmla="*/ 1144255 w 1457148"/>
                <a:gd name="connsiteY73" fmla="*/ 415762 h 3641849"/>
                <a:gd name="connsiteX74" fmla="*/ 1144254 w 1457148"/>
                <a:gd name="connsiteY74" fmla="*/ 358878 h 3641849"/>
                <a:gd name="connsiteX75" fmla="*/ 1122086 w 1457148"/>
                <a:gd name="connsiteY75" fmla="*/ 335607 h 3641849"/>
                <a:gd name="connsiteX76" fmla="*/ 1094376 w 1457148"/>
                <a:gd name="connsiteY76" fmla="*/ 304578 h 3641849"/>
                <a:gd name="connsiteX77" fmla="*/ 1090208 w 1457148"/>
                <a:gd name="connsiteY77" fmla="*/ 280325 h 3641849"/>
                <a:gd name="connsiteX78" fmla="*/ 1141484 w 1457148"/>
                <a:gd name="connsiteY78" fmla="*/ 258034 h 3641849"/>
                <a:gd name="connsiteX79" fmla="*/ 1195064 w 1457148"/>
                <a:gd name="connsiteY79" fmla="*/ 267906 h 3641849"/>
                <a:gd name="connsiteX80" fmla="*/ 1273848 w 1457148"/>
                <a:gd name="connsiteY80" fmla="*/ 279816 h 3641849"/>
                <a:gd name="connsiteX81" fmla="*/ 1358171 w 1457148"/>
                <a:gd name="connsiteY81" fmla="*/ 349175 h 3641849"/>
                <a:gd name="connsiteX82" fmla="*/ 1420306 w 1457148"/>
                <a:gd name="connsiteY82" fmla="*/ 425271 h 3641849"/>
                <a:gd name="connsiteX83" fmla="*/ 1319335 w 1457148"/>
                <a:gd name="connsiteY83" fmla="*/ 454265 h 3641849"/>
                <a:gd name="connsiteX84" fmla="*/ 1303801 w 1457148"/>
                <a:gd name="connsiteY84" fmla="*/ 501372 h 3641849"/>
                <a:gd name="connsiteX85" fmla="*/ 1361471 w 1457148"/>
                <a:gd name="connsiteY85" fmla="*/ 585862 h 3641849"/>
                <a:gd name="connsiteX86" fmla="*/ 1397005 w 1457148"/>
                <a:gd name="connsiteY86" fmla="*/ 591964 h 3641849"/>
                <a:gd name="connsiteX87" fmla="*/ 1449625 w 1457148"/>
                <a:gd name="connsiteY87" fmla="*/ 598304 h 3641849"/>
                <a:gd name="connsiteX88" fmla="*/ 1444662 w 1457148"/>
                <a:gd name="connsiteY88" fmla="*/ 709079 h 3641849"/>
                <a:gd name="connsiteX89" fmla="*/ 1455731 w 1457148"/>
                <a:gd name="connsiteY89" fmla="*/ 1040047 h 3641849"/>
                <a:gd name="connsiteX90" fmla="*/ 1446863 w 1457148"/>
                <a:gd name="connsiteY90" fmla="*/ 1842646 h 3641849"/>
                <a:gd name="connsiteX91" fmla="*/ 1455730 w 1457148"/>
                <a:gd name="connsiteY91" fmla="*/ 2297728 h 3641849"/>
                <a:gd name="connsiteX92" fmla="*/ 1429282 w 1457148"/>
                <a:gd name="connsiteY92" fmla="*/ 3607693 h 3641849"/>
                <a:gd name="connsiteX93" fmla="*/ 1170855 w 1457148"/>
                <a:gd name="connsiteY93" fmla="*/ 3564098 h 3641849"/>
                <a:gd name="connsiteX94" fmla="*/ 1002377 w 1457148"/>
                <a:gd name="connsiteY94" fmla="*/ 3497903 h 3641849"/>
                <a:gd name="connsiteX95" fmla="*/ 825031 w 1457148"/>
                <a:gd name="connsiteY95" fmla="*/ 3406887 h 3641849"/>
                <a:gd name="connsiteX96" fmla="*/ 726733 w 1457148"/>
                <a:gd name="connsiteY96" fmla="*/ 3326370 h 3641849"/>
                <a:gd name="connsiteX97" fmla="*/ 1020995 w 1457148"/>
                <a:gd name="connsiteY97" fmla="*/ 3018734 h 3641849"/>
                <a:gd name="connsiteX98" fmla="*/ 737241 w 1457148"/>
                <a:gd name="connsiteY98" fmla="*/ 2480910 h 3641849"/>
                <a:gd name="connsiteX99" fmla="*/ 879591 w 1457148"/>
                <a:gd name="connsiteY99" fmla="*/ 2241825 h 3641849"/>
                <a:gd name="connsiteX100" fmla="*/ 692904 w 1457148"/>
                <a:gd name="connsiteY100" fmla="*/ 1703134 h 3641849"/>
                <a:gd name="connsiteX101" fmla="*/ 444620 w 1457148"/>
                <a:gd name="connsiteY101" fmla="*/ 1471456 h 3641849"/>
                <a:gd name="connsiteX102" fmla="*/ 435753 w 1457148"/>
                <a:gd name="connsiteY102" fmla="*/ 1355617 h 3641849"/>
                <a:gd name="connsiteX103" fmla="*/ 30225 w 1457148"/>
                <a:gd name="connsiteY103" fmla="*/ 551628 h 3641849"/>
                <a:gd name="connsiteX0" fmla="*/ 30225 w 1457148"/>
                <a:gd name="connsiteY0" fmla="*/ 551628 h 3641849"/>
                <a:gd name="connsiteX1" fmla="*/ 124356 w 1457148"/>
                <a:gd name="connsiteY1" fmla="*/ 582819 h 3641849"/>
                <a:gd name="connsiteX2" fmla="*/ 193633 w 1457148"/>
                <a:gd name="connsiteY2" fmla="*/ 577648 h 3641849"/>
                <a:gd name="connsiteX3" fmla="*/ 165923 w 1457148"/>
                <a:gd name="connsiteY3" fmla="*/ 487148 h 3641849"/>
                <a:gd name="connsiteX4" fmla="*/ 71709 w 1457148"/>
                <a:gd name="connsiteY4" fmla="*/ 497491 h 3641849"/>
                <a:gd name="connsiteX5" fmla="*/ 102189 w 1457148"/>
                <a:gd name="connsiteY5" fmla="*/ 476806 h 3641849"/>
                <a:gd name="connsiteX6" fmla="*/ 85563 w 1457148"/>
                <a:gd name="connsiteY6" fmla="*/ 378550 h 3641849"/>
                <a:gd name="connsiteX7" fmla="*/ 10744 w 1457148"/>
                <a:gd name="connsiteY7" fmla="*/ 319079 h 3641849"/>
                <a:gd name="connsiteX8" fmla="*/ 2432 w 1457148"/>
                <a:gd name="connsiteY8" fmla="*/ 251851 h 3641849"/>
                <a:gd name="connsiteX9" fmla="*/ 57852 w 1457148"/>
                <a:gd name="connsiteY9" fmla="*/ 158764 h 3641849"/>
                <a:gd name="connsiteX10" fmla="*/ 77250 w 1457148"/>
                <a:gd name="connsiteY10" fmla="*/ 135494 h 3641849"/>
                <a:gd name="connsiteX11" fmla="*/ 91105 w 1457148"/>
                <a:gd name="connsiteY11" fmla="*/ 117394 h 3641849"/>
                <a:gd name="connsiteX12" fmla="*/ 99418 w 1457148"/>
                <a:gd name="connsiteY12" fmla="*/ 73438 h 3641849"/>
                <a:gd name="connsiteX13" fmla="*/ 124357 w 1457148"/>
                <a:gd name="connsiteY13" fmla="*/ 101880 h 3641849"/>
                <a:gd name="connsiteX14" fmla="*/ 154839 w 1457148"/>
                <a:gd name="connsiteY14" fmla="*/ 88952 h 3641849"/>
                <a:gd name="connsiteX15" fmla="*/ 157609 w 1457148"/>
                <a:gd name="connsiteY15" fmla="*/ 63095 h 3641849"/>
                <a:gd name="connsiteX16" fmla="*/ 165923 w 1457148"/>
                <a:gd name="connsiteY16" fmla="*/ 34652 h 3641849"/>
                <a:gd name="connsiteX17" fmla="*/ 168695 w 1457148"/>
                <a:gd name="connsiteY17" fmla="*/ 3624 h 3641849"/>
                <a:gd name="connsiteX18" fmla="*/ 304475 w 1457148"/>
                <a:gd name="connsiteY18" fmla="*/ 57924 h 3641849"/>
                <a:gd name="connsiteX19" fmla="*/ 334955 w 1457148"/>
                <a:gd name="connsiteY19" fmla="*/ 161352 h 3641849"/>
                <a:gd name="connsiteX20" fmla="*/ 348811 w 1457148"/>
                <a:gd name="connsiteY20" fmla="*/ 184622 h 3641849"/>
                <a:gd name="connsiteX21" fmla="*/ 359895 w 1457148"/>
                <a:gd name="connsiteY21" fmla="*/ 187208 h 3641849"/>
                <a:gd name="connsiteX22" fmla="*/ 473507 w 1457148"/>
                <a:gd name="connsiteY22" fmla="*/ 156181 h 3641849"/>
                <a:gd name="connsiteX23" fmla="*/ 540012 w 1457148"/>
                <a:gd name="connsiteY23" fmla="*/ 166522 h 3641849"/>
                <a:gd name="connsiteX24" fmla="*/ 603746 w 1457148"/>
                <a:gd name="connsiteY24" fmla="*/ 213065 h 3641849"/>
                <a:gd name="connsiteX25" fmla="*/ 617773 w 1457148"/>
                <a:gd name="connsiteY25" fmla="*/ 242621 h 3641849"/>
                <a:gd name="connsiteX26" fmla="*/ 673020 w 1457148"/>
                <a:gd name="connsiteY26" fmla="*/ 277708 h 3641849"/>
                <a:gd name="connsiteX27" fmla="*/ 761694 w 1457148"/>
                <a:gd name="connsiteY27" fmla="*/ 303563 h 3641849"/>
                <a:gd name="connsiteX28" fmla="*/ 833740 w 1457148"/>
                <a:gd name="connsiteY28" fmla="*/ 350106 h 3641849"/>
                <a:gd name="connsiteX29" fmla="*/ 883619 w 1457148"/>
                <a:gd name="connsiteY29" fmla="*/ 401820 h 3641849"/>
                <a:gd name="connsiteX30" fmla="*/ 908558 w 1457148"/>
                <a:gd name="connsiteY30" fmla="*/ 440606 h 3641849"/>
                <a:gd name="connsiteX31" fmla="*/ 941811 w 1457148"/>
                <a:gd name="connsiteY31" fmla="*/ 466462 h 3641849"/>
                <a:gd name="connsiteX32" fmla="*/ 925183 w 1457148"/>
                <a:gd name="connsiteY32" fmla="*/ 691417 h 3641849"/>
                <a:gd name="connsiteX33" fmla="*/ 797717 w 1457148"/>
                <a:gd name="connsiteY33" fmla="*/ 771575 h 3641849"/>
                <a:gd name="connsiteX34" fmla="*/ 684105 w 1457148"/>
                <a:gd name="connsiteY34" fmla="*/ 779331 h 3641849"/>
                <a:gd name="connsiteX35" fmla="*/ 545552 w 1457148"/>
                <a:gd name="connsiteY35" fmla="*/ 758645 h 3641849"/>
                <a:gd name="connsiteX36" fmla="*/ 454108 w 1457148"/>
                <a:gd name="connsiteY36" fmla="*/ 722445 h 3641849"/>
                <a:gd name="connsiteX37" fmla="*/ 434711 w 1457148"/>
                <a:gd name="connsiteY37" fmla="*/ 750888 h 3641849"/>
                <a:gd name="connsiteX38" fmla="*/ 465353 w 1457148"/>
                <a:gd name="connsiteY38" fmla="*/ 824301 h 3641849"/>
                <a:gd name="connsiteX39" fmla="*/ 470894 w 1457148"/>
                <a:gd name="connsiteY39" fmla="*/ 951000 h 3641849"/>
                <a:gd name="connsiteX40" fmla="*/ 443024 w 1457148"/>
                <a:gd name="connsiteY40" fmla="*/ 1012043 h 3641849"/>
                <a:gd name="connsiteX41" fmla="*/ 498443 w 1457148"/>
                <a:gd name="connsiteY41" fmla="*/ 1032728 h 3641849"/>
                <a:gd name="connsiteX42" fmla="*/ 515071 w 1457148"/>
                <a:gd name="connsiteY42" fmla="*/ 1048242 h 3641849"/>
                <a:gd name="connsiteX43" fmla="*/ 540011 w 1457148"/>
                <a:gd name="connsiteY43" fmla="*/ 1074099 h 3641849"/>
                <a:gd name="connsiteX44" fmla="*/ 537240 w 1457148"/>
                <a:gd name="connsiteY44" fmla="*/ 1076685 h 3641849"/>
                <a:gd name="connsiteX45" fmla="*/ 576033 w 1457148"/>
                <a:gd name="connsiteY45" fmla="*/ 1071514 h 3641849"/>
                <a:gd name="connsiteX46" fmla="*/ 584347 w 1457148"/>
                <a:gd name="connsiteY46" fmla="*/ 1035314 h 3641849"/>
                <a:gd name="connsiteX47" fmla="*/ 545552 w 1457148"/>
                <a:gd name="connsiteY47" fmla="*/ 957743 h 3641849"/>
                <a:gd name="connsiteX48" fmla="*/ 614828 w 1457148"/>
                <a:gd name="connsiteY48" fmla="*/ 911200 h 3641849"/>
                <a:gd name="connsiteX49" fmla="*/ 682600 w 1457148"/>
                <a:gd name="connsiteY49" fmla="*/ 918934 h 3641849"/>
                <a:gd name="connsiteX50" fmla="*/ 706433 w 1457148"/>
                <a:gd name="connsiteY50" fmla="*/ 951001 h 3641849"/>
                <a:gd name="connsiteX51" fmla="*/ 862162 w 1457148"/>
                <a:gd name="connsiteY51" fmla="*/ 1007364 h 3641849"/>
                <a:gd name="connsiteX52" fmla="*/ 847754 w 1457148"/>
                <a:gd name="connsiteY52" fmla="*/ 971687 h 3641849"/>
                <a:gd name="connsiteX53" fmla="*/ 814502 w 1457148"/>
                <a:gd name="connsiteY53" fmla="*/ 932901 h 3641849"/>
                <a:gd name="connsiteX54" fmla="*/ 803418 w 1457148"/>
                <a:gd name="connsiteY54" fmla="*/ 881187 h 3641849"/>
                <a:gd name="connsiteX55" fmla="*/ 842213 w 1457148"/>
                <a:gd name="connsiteY55" fmla="*/ 832060 h 3641849"/>
                <a:gd name="connsiteX56" fmla="*/ 869923 w 1457148"/>
                <a:gd name="connsiteY56" fmla="*/ 803617 h 3641849"/>
                <a:gd name="connsiteX57" fmla="*/ 894863 w 1457148"/>
                <a:gd name="connsiteY57" fmla="*/ 767417 h 3641849"/>
                <a:gd name="connsiteX58" fmla="*/ 975223 w 1457148"/>
                <a:gd name="connsiteY58" fmla="*/ 762245 h 3641849"/>
                <a:gd name="connsiteX59" fmla="*/ 980764 w 1457148"/>
                <a:gd name="connsiteY59" fmla="*/ 741560 h 3641849"/>
                <a:gd name="connsiteX60" fmla="*/ 1005704 w 1457148"/>
                <a:gd name="connsiteY60" fmla="*/ 705360 h 3641849"/>
                <a:gd name="connsiteX61" fmla="*/ 1039508 w 1457148"/>
                <a:gd name="connsiteY61" fmla="*/ 687772 h 3641849"/>
                <a:gd name="connsiteX62" fmla="*/ 1097148 w 1457148"/>
                <a:gd name="connsiteY62" fmla="*/ 700189 h 3641849"/>
                <a:gd name="connsiteX63" fmla="*/ 1135941 w 1457148"/>
                <a:gd name="connsiteY63" fmla="*/ 720875 h 3641849"/>
                <a:gd name="connsiteX64" fmla="*/ 1183049 w 1457148"/>
                <a:gd name="connsiteY64" fmla="*/ 728632 h 3641849"/>
                <a:gd name="connsiteX65" fmla="*/ 1183049 w 1457148"/>
                <a:gd name="connsiteY65" fmla="*/ 733803 h 3641849"/>
                <a:gd name="connsiteX66" fmla="*/ 1205218 w 1457148"/>
                <a:gd name="connsiteY66" fmla="*/ 674332 h 3641849"/>
                <a:gd name="connsiteX67" fmla="*/ 1215193 w 1457148"/>
                <a:gd name="connsiteY67" fmla="*/ 640714 h 3641849"/>
                <a:gd name="connsiteX68" fmla="*/ 1221844 w 1457148"/>
                <a:gd name="connsiteY68" fmla="*/ 622618 h 3641849"/>
                <a:gd name="connsiteX69" fmla="*/ 1224781 w 1457148"/>
                <a:gd name="connsiteY69" fmla="*/ 591288 h 3641849"/>
                <a:gd name="connsiteX70" fmla="*/ 1144255 w 1457148"/>
                <a:gd name="connsiteY70" fmla="*/ 545048 h 3641849"/>
                <a:gd name="connsiteX71" fmla="*/ 1130400 w 1457148"/>
                <a:gd name="connsiteY71" fmla="*/ 472648 h 3641849"/>
                <a:gd name="connsiteX72" fmla="*/ 1130400 w 1457148"/>
                <a:gd name="connsiteY72" fmla="*/ 454548 h 3641849"/>
                <a:gd name="connsiteX73" fmla="*/ 1141483 w 1457148"/>
                <a:gd name="connsiteY73" fmla="*/ 431276 h 3641849"/>
                <a:gd name="connsiteX74" fmla="*/ 1144255 w 1457148"/>
                <a:gd name="connsiteY74" fmla="*/ 415762 h 3641849"/>
                <a:gd name="connsiteX75" fmla="*/ 1144254 w 1457148"/>
                <a:gd name="connsiteY75" fmla="*/ 358878 h 3641849"/>
                <a:gd name="connsiteX76" fmla="*/ 1122086 w 1457148"/>
                <a:gd name="connsiteY76" fmla="*/ 335607 h 3641849"/>
                <a:gd name="connsiteX77" fmla="*/ 1094376 w 1457148"/>
                <a:gd name="connsiteY77" fmla="*/ 304578 h 3641849"/>
                <a:gd name="connsiteX78" fmla="*/ 1090208 w 1457148"/>
                <a:gd name="connsiteY78" fmla="*/ 280325 h 3641849"/>
                <a:gd name="connsiteX79" fmla="*/ 1141484 w 1457148"/>
                <a:gd name="connsiteY79" fmla="*/ 258034 h 3641849"/>
                <a:gd name="connsiteX80" fmla="*/ 1195064 w 1457148"/>
                <a:gd name="connsiteY80" fmla="*/ 267906 h 3641849"/>
                <a:gd name="connsiteX81" fmla="*/ 1273848 w 1457148"/>
                <a:gd name="connsiteY81" fmla="*/ 279816 h 3641849"/>
                <a:gd name="connsiteX82" fmla="*/ 1358171 w 1457148"/>
                <a:gd name="connsiteY82" fmla="*/ 349175 h 3641849"/>
                <a:gd name="connsiteX83" fmla="*/ 1420306 w 1457148"/>
                <a:gd name="connsiteY83" fmla="*/ 425271 h 3641849"/>
                <a:gd name="connsiteX84" fmla="*/ 1319335 w 1457148"/>
                <a:gd name="connsiteY84" fmla="*/ 454265 h 3641849"/>
                <a:gd name="connsiteX85" fmla="*/ 1303801 w 1457148"/>
                <a:gd name="connsiteY85" fmla="*/ 501372 h 3641849"/>
                <a:gd name="connsiteX86" fmla="*/ 1361471 w 1457148"/>
                <a:gd name="connsiteY86" fmla="*/ 585862 h 3641849"/>
                <a:gd name="connsiteX87" fmla="*/ 1397005 w 1457148"/>
                <a:gd name="connsiteY87" fmla="*/ 591964 h 3641849"/>
                <a:gd name="connsiteX88" fmla="*/ 1449625 w 1457148"/>
                <a:gd name="connsiteY88" fmla="*/ 598304 h 3641849"/>
                <a:gd name="connsiteX89" fmla="*/ 1444662 w 1457148"/>
                <a:gd name="connsiteY89" fmla="*/ 709079 h 3641849"/>
                <a:gd name="connsiteX90" fmla="*/ 1455731 w 1457148"/>
                <a:gd name="connsiteY90" fmla="*/ 1040047 h 3641849"/>
                <a:gd name="connsiteX91" fmla="*/ 1446863 w 1457148"/>
                <a:gd name="connsiteY91" fmla="*/ 1842646 h 3641849"/>
                <a:gd name="connsiteX92" fmla="*/ 1455730 w 1457148"/>
                <a:gd name="connsiteY92" fmla="*/ 2297728 h 3641849"/>
                <a:gd name="connsiteX93" fmla="*/ 1429282 w 1457148"/>
                <a:gd name="connsiteY93" fmla="*/ 3607693 h 3641849"/>
                <a:gd name="connsiteX94" fmla="*/ 1170855 w 1457148"/>
                <a:gd name="connsiteY94" fmla="*/ 3564098 h 3641849"/>
                <a:gd name="connsiteX95" fmla="*/ 1002377 w 1457148"/>
                <a:gd name="connsiteY95" fmla="*/ 3497903 h 3641849"/>
                <a:gd name="connsiteX96" fmla="*/ 825031 w 1457148"/>
                <a:gd name="connsiteY96" fmla="*/ 3406887 h 3641849"/>
                <a:gd name="connsiteX97" fmla="*/ 726733 w 1457148"/>
                <a:gd name="connsiteY97" fmla="*/ 3326370 h 3641849"/>
                <a:gd name="connsiteX98" fmla="*/ 1020995 w 1457148"/>
                <a:gd name="connsiteY98" fmla="*/ 3018734 h 3641849"/>
                <a:gd name="connsiteX99" fmla="*/ 737241 w 1457148"/>
                <a:gd name="connsiteY99" fmla="*/ 2480910 h 3641849"/>
                <a:gd name="connsiteX100" fmla="*/ 879591 w 1457148"/>
                <a:gd name="connsiteY100" fmla="*/ 2241825 h 3641849"/>
                <a:gd name="connsiteX101" fmla="*/ 692904 w 1457148"/>
                <a:gd name="connsiteY101" fmla="*/ 1703134 h 3641849"/>
                <a:gd name="connsiteX102" fmla="*/ 444620 w 1457148"/>
                <a:gd name="connsiteY102" fmla="*/ 1471456 h 3641849"/>
                <a:gd name="connsiteX103" fmla="*/ 435753 w 1457148"/>
                <a:gd name="connsiteY103" fmla="*/ 1355617 h 3641849"/>
                <a:gd name="connsiteX104" fmla="*/ 30225 w 1457148"/>
                <a:gd name="connsiteY104" fmla="*/ 551628 h 3641849"/>
                <a:gd name="connsiteX0" fmla="*/ 30225 w 1457148"/>
                <a:gd name="connsiteY0" fmla="*/ 551628 h 3641849"/>
                <a:gd name="connsiteX1" fmla="*/ 124356 w 1457148"/>
                <a:gd name="connsiteY1" fmla="*/ 582819 h 3641849"/>
                <a:gd name="connsiteX2" fmla="*/ 193633 w 1457148"/>
                <a:gd name="connsiteY2" fmla="*/ 577648 h 3641849"/>
                <a:gd name="connsiteX3" fmla="*/ 165923 w 1457148"/>
                <a:gd name="connsiteY3" fmla="*/ 487148 h 3641849"/>
                <a:gd name="connsiteX4" fmla="*/ 71709 w 1457148"/>
                <a:gd name="connsiteY4" fmla="*/ 497491 h 3641849"/>
                <a:gd name="connsiteX5" fmla="*/ 96646 w 1457148"/>
                <a:gd name="connsiteY5" fmla="*/ 494906 h 3641849"/>
                <a:gd name="connsiteX6" fmla="*/ 85563 w 1457148"/>
                <a:gd name="connsiteY6" fmla="*/ 378550 h 3641849"/>
                <a:gd name="connsiteX7" fmla="*/ 10744 w 1457148"/>
                <a:gd name="connsiteY7" fmla="*/ 319079 h 3641849"/>
                <a:gd name="connsiteX8" fmla="*/ 2432 w 1457148"/>
                <a:gd name="connsiteY8" fmla="*/ 251851 h 3641849"/>
                <a:gd name="connsiteX9" fmla="*/ 57852 w 1457148"/>
                <a:gd name="connsiteY9" fmla="*/ 158764 h 3641849"/>
                <a:gd name="connsiteX10" fmla="*/ 77250 w 1457148"/>
                <a:gd name="connsiteY10" fmla="*/ 135494 h 3641849"/>
                <a:gd name="connsiteX11" fmla="*/ 91105 w 1457148"/>
                <a:gd name="connsiteY11" fmla="*/ 117394 h 3641849"/>
                <a:gd name="connsiteX12" fmla="*/ 99418 w 1457148"/>
                <a:gd name="connsiteY12" fmla="*/ 73438 h 3641849"/>
                <a:gd name="connsiteX13" fmla="*/ 124357 w 1457148"/>
                <a:gd name="connsiteY13" fmla="*/ 101880 h 3641849"/>
                <a:gd name="connsiteX14" fmla="*/ 154839 w 1457148"/>
                <a:gd name="connsiteY14" fmla="*/ 88952 h 3641849"/>
                <a:gd name="connsiteX15" fmla="*/ 157609 w 1457148"/>
                <a:gd name="connsiteY15" fmla="*/ 63095 h 3641849"/>
                <a:gd name="connsiteX16" fmla="*/ 165923 w 1457148"/>
                <a:gd name="connsiteY16" fmla="*/ 34652 h 3641849"/>
                <a:gd name="connsiteX17" fmla="*/ 168695 w 1457148"/>
                <a:gd name="connsiteY17" fmla="*/ 3624 h 3641849"/>
                <a:gd name="connsiteX18" fmla="*/ 304475 w 1457148"/>
                <a:gd name="connsiteY18" fmla="*/ 57924 h 3641849"/>
                <a:gd name="connsiteX19" fmla="*/ 334955 w 1457148"/>
                <a:gd name="connsiteY19" fmla="*/ 161352 h 3641849"/>
                <a:gd name="connsiteX20" fmla="*/ 348811 w 1457148"/>
                <a:gd name="connsiteY20" fmla="*/ 184622 h 3641849"/>
                <a:gd name="connsiteX21" fmla="*/ 359895 w 1457148"/>
                <a:gd name="connsiteY21" fmla="*/ 187208 h 3641849"/>
                <a:gd name="connsiteX22" fmla="*/ 473507 w 1457148"/>
                <a:gd name="connsiteY22" fmla="*/ 156181 h 3641849"/>
                <a:gd name="connsiteX23" fmla="*/ 540012 w 1457148"/>
                <a:gd name="connsiteY23" fmla="*/ 166522 h 3641849"/>
                <a:gd name="connsiteX24" fmla="*/ 603746 w 1457148"/>
                <a:gd name="connsiteY24" fmla="*/ 213065 h 3641849"/>
                <a:gd name="connsiteX25" fmla="*/ 617773 w 1457148"/>
                <a:gd name="connsiteY25" fmla="*/ 242621 h 3641849"/>
                <a:gd name="connsiteX26" fmla="*/ 673020 w 1457148"/>
                <a:gd name="connsiteY26" fmla="*/ 277708 h 3641849"/>
                <a:gd name="connsiteX27" fmla="*/ 761694 w 1457148"/>
                <a:gd name="connsiteY27" fmla="*/ 303563 h 3641849"/>
                <a:gd name="connsiteX28" fmla="*/ 833740 w 1457148"/>
                <a:gd name="connsiteY28" fmla="*/ 350106 h 3641849"/>
                <a:gd name="connsiteX29" fmla="*/ 883619 w 1457148"/>
                <a:gd name="connsiteY29" fmla="*/ 401820 h 3641849"/>
                <a:gd name="connsiteX30" fmla="*/ 908558 w 1457148"/>
                <a:gd name="connsiteY30" fmla="*/ 440606 h 3641849"/>
                <a:gd name="connsiteX31" fmla="*/ 941811 w 1457148"/>
                <a:gd name="connsiteY31" fmla="*/ 466462 h 3641849"/>
                <a:gd name="connsiteX32" fmla="*/ 925183 w 1457148"/>
                <a:gd name="connsiteY32" fmla="*/ 691417 h 3641849"/>
                <a:gd name="connsiteX33" fmla="*/ 797717 w 1457148"/>
                <a:gd name="connsiteY33" fmla="*/ 771575 h 3641849"/>
                <a:gd name="connsiteX34" fmla="*/ 684105 w 1457148"/>
                <a:gd name="connsiteY34" fmla="*/ 779331 h 3641849"/>
                <a:gd name="connsiteX35" fmla="*/ 545552 w 1457148"/>
                <a:gd name="connsiteY35" fmla="*/ 758645 h 3641849"/>
                <a:gd name="connsiteX36" fmla="*/ 454108 w 1457148"/>
                <a:gd name="connsiteY36" fmla="*/ 722445 h 3641849"/>
                <a:gd name="connsiteX37" fmla="*/ 434711 w 1457148"/>
                <a:gd name="connsiteY37" fmla="*/ 750888 h 3641849"/>
                <a:gd name="connsiteX38" fmla="*/ 465353 w 1457148"/>
                <a:gd name="connsiteY38" fmla="*/ 824301 h 3641849"/>
                <a:gd name="connsiteX39" fmla="*/ 470894 w 1457148"/>
                <a:gd name="connsiteY39" fmla="*/ 951000 h 3641849"/>
                <a:gd name="connsiteX40" fmla="*/ 443024 w 1457148"/>
                <a:gd name="connsiteY40" fmla="*/ 1012043 h 3641849"/>
                <a:gd name="connsiteX41" fmla="*/ 498443 w 1457148"/>
                <a:gd name="connsiteY41" fmla="*/ 1032728 h 3641849"/>
                <a:gd name="connsiteX42" fmla="*/ 515071 w 1457148"/>
                <a:gd name="connsiteY42" fmla="*/ 1048242 h 3641849"/>
                <a:gd name="connsiteX43" fmla="*/ 540011 w 1457148"/>
                <a:gd name="connsiteY43" fmla="*/ 1074099 h 3641849"/>
                <a:gd name="connsiteX44" fmla="*/ 537240 w 1457148"/>
                <a:gd name="connsiteY44" fmla="*/ 1076685 h 3641849"/>
                <a:gd name="connsiteX45" fmla="*/ 576033 w 1457148"/>
                <a:gd name="connsiteY45" fmla="*/ 1071514 h 3641849"/>
                <a:gd name="connsiteX46" fmla="*/ 584347 w 1457148"/>
                <a:gd name="connsiteY46" fmla="*/ 1035314 h 3641849"/>
                <a:gd name="connsiteX47" fmla="*/ 545552 w 1457148"/>
                <a:gd name="connsiteY47" fmla="*/ 957743 h 3641849"/>
                <a:gd name="connsiteX48" fmla="*/ 614828 w 1457148"/>
                <a:gd name="connsiteY48" fmla="*/ 911200 h 3641849"/>
                <a:gd name="connsiteX49" fmla="*/ 682600 w 1457148"/>
                <a:gd name="connsiteY49" fmla="*/ 918934 h 3641849"/>
                <a:gd name="connsiteX50" fmla="*/ 706433 w 1457148"/>
                <a:gd name="connsiteY50" fmla="*/ 951001 h 3641849"/>
                <a:gd name="connsiteX51" fmla="*/ 862162 w 1457148"/>
                <a:gd name="connsiteY51" fmla="*/ 1007364 h 3641849"/>
                <a:gd name="connsiteX52" fmla="*/ 847754 w 1457148"/>
                <a:gd name="connsiteY52" fmla="*/ 971687 h 3641849"/>
                <a:gd name="connsiteX53" fmla="*/ 814502 w 1457148"/>
                <a:gd name="connsiteY53" fmla="*/ 932901 h 3641849"/>
                <a:gd name="connsiteX54" fmla="*/ 803418 w 1457148"/>
                <a:gd name="connsiteY54" fmla="*/ 881187 h 3641849"/>
                <a:gd name="connsiteX55" fmla="*/ 842213 w 1457148"/>
                <a:gd name="connsiteY55" fmla="*/ 832060 h 3641849"/>
                <a:gd name="connsiteX56" fmla="*/ 869923 w 1457148"/>
                <a:gd name="connsiteY56" fmla="*/ 803617 h 3641849"/>
                <a:gd name="connsiteX57" fmla="*/ 894863 w 1457148"/>
                <a:gd name="connsiteY57" fmla="*/ 767417 h 3641849"/>
                <a:gd name="connsiteX58" fmla="*/ 975223 w 1457148"/>
                <a:gd name="connsiteY58" fmla="*/ 762245 h 3641849"/>
                <a:gd name="connsiteX59" fmla="*/ 980764 w 1457148"/>
                <a:gd name="connsiteY59" fmla="*/ 741560 h 3641849"/>
                <a:gd name="connsiteX60" fmla="*/ 1005704 w 1457148"/>
                <a:gd name="connsiteY60" fmla="*/ 705360 h 3641849"/>
                <a:gd name="connsiteX61" fmla="*/ 1039508 w 1457148"/>
                <a:gd name="connsiteY61" fmla="*/ 687772 h 3641849"/>
                <a:gd name="connsiteX62" fmla="*/ 1097148 w 1457148"/>
                <a:gd name="connsiteY62" fmla="*/ 700189 h 3641849"/>
                <a:gd name="connsiteX63" fmla="*/ 1135941 w 1457148"/>
                <a:gd name="connsiteY63" fmla="*/ 720875 h 3641849"/>
                <a:gd name="connsiteX64" fmla="*/ 1183049 w 1457148"/>
                <a:gd name="connsiteY64" fmla="*/ 728632 h 3641849"/>
                <a:gd name="connsiteX65" fmla="*/ 1183049 w 1457148"/>
                <a:gd name="connsiteY65" fmla="*/ 733803 h 3641849"/>
                <a:gd name="connsiteX66" fmla="*/ 1205218 w 1457148"/>
                <a:gd name="connsiteY66" fmla="*/ 674332 h 3641849"/>
                <a:gd name="connsiteX67" fmla="*/ 1215193 w 1457148"/>
                <a:gd name="connsiteY67" fmla="*/ 640714 h 3641849"/>
                <a:gd name="connsiteX68" fmla="*/ 1221844 w 1457148"/>
                <a:gd name="connsiteY68" fmla="*/ 622618 h 3641849"/>
                <a:gd name="connsiteX69" fmla="*/ 1224781 w 1457148"/>
                <a:gd name="connsiteY69" fmla="*/ 591288 h 3641849"/>
                <a:gd name="connsiteX70" fmla="*/ 1144255 w 1457148"/>
                <a:gd name="connsiteY70" fmla="*/ 545048 h 3641849"/>
                <a:gd name="connsiteX71" fmla="*/ 1130400 w 1457148"/>
                <a:gd name="connsiteY71" fmla="*/ 472648 h 3641849"/>
                <a:gd name="connsiteX72" fmla="*/ 1130400 w 1457148"/>
                <a:gd name="connsiteY72" fmla="*/ 454548 h 3641849"/>
                <a:gd name="connsiteX73" fmla="*/ 1141483 w 1457148"/>
                <a:gd name="connsiteY73" fmla="*/ 431276 h 3641849"/>
                <a:gd name="connsiteX74" fmla="*/ 1144255 w 1457148"/>
                <a:gd name="connsiteY74" fmla="*/ 415762 h 3641849"/>
                <a:gd name="connsiteX75" fmla="*/ 1144254 w 1457148"/>
                <a:gd name="connsiteY75" fmla="*/ 358878 h 3641849"/>
                <a:gd name="connsiteX76" fmla="*/ 1122086 w 1457148"/>
                <a:gd name="connsiteY76" fmla="*/ 335607 h 3641849"/>
                <a:gd name="connsiteX77" fmla="*/ 1094376 w 1457148"/>
                <a:gd name="connsiteY77" fmla="*/ 304578 h 3641849"/>
                <a:gd name="connsiteX78" fmla="*/ 1090208 w 1457148"/>
                <a:gd name="connsiteY78" fmla="*/ 280325 h 3641849"/>
                <a:gd name="connsiteX79" fmla="*/ 1141484 w 1457148"/>
                <a:gd name="connsiteY79" fmla="*/ 258034 h 3641849"/>
                <a:gd name="connsiteX80" fmla="*/ 1195064 w 1457148"/>
                <a:gd name="connsiteY80" fmla="*/ 267906 h 3641849"/>
                <a:gd name="connsiteX81" fmla="*/ 1273848 w 1457148"/>
                <a:gd name="connsiteY81" fmla="*/ 279816 h 3641849"/>
                <a:gd name="connsiteX82" fmla="*/ 1358171 w 1457148"/>
                <a:gd name="connsiteY82" fmla="*/ 349175 h 3641849"/>
                <a:gd name="connsiteX83" fmla="*/ 1420306 w 1457148"/>
                <a:gd name="connsiteY83" fmla="*/ 425271 h 3641849"/>
                <a:gd name="connsiteX84" fmla="*/ 1319335 w 1457148"/>
                <a:gd name="connsiteY84" fmla="*/ 454265 h 3641849"/>
                <a:gd name="connsiteX85" fmla="*/ 1303801 w 1457148"/>
                <a:gd name="connsiteY85" fmla="*/ 501372 h 3641849"/>
                <a:gd name="connsiteX86" fmla="*/ 1361471 w 1457148"/>
                <a:gd name="connsiteY86" fmla="*/ 585862 h 3641849"/>
                <a:gd name="connsiteX87" fmla="*/ 1397005 w 1457148"/>
                <a:gd name="connsiteY87" fmla="*/ 591964 h 3641849"/>
                <a:gd name="connsiteX88" fmla="*/ 1449625 w 1457148"/>
                <a:gd name="connsiteY88" fmla="*/ 598304 h 3641849"/>
                <a:gd name="connsiteX89" fmla="*/ 1444662 w 1457148"/>
                <a:gd name="connsiteY89" fmla="*/ 709079 h 3641849"/>
                <a:gd name="connsiteX90" fmla="*/ 1455731 w 1457148"/>
                <a:gd name="connsiteY90" fmla="*/ 1040047 h 3641849"/>
                <a:gd name="connsiteX91" fmla="*/ 1446863 w 1457148"/>
                <a:gd name="connsiteY91" fmla="*/ 1842646 h 3641849"/>
                <a:gd name="connsiteX92" fmla="*/ 1455730 w 1457148"/>
                <a:gd name="connsiteY92" fmla="*/ 2297728 h 3641849"/>
                <a:gd name="connsiteX93" fmla="*/ 1429282 w 1457148"/>
                <a:gd name="connsiteY93" fmla="*/ 3607693 h 3641849"/>
                <a:gd name="connsiteX94" fmla="*/ 1170855 w 1457148"/>
                <a:gd name="connsiteY94" fmla="*/ 3564098 h 3641849"/>
                <a:gd name="connsiteX95" fmla="*/ 1002377 w 1457148"/>
                <a:gd name="connsiteY95" fmla="*/ 3497903 h 3641849"/>
                <a:gd name="connsiteX96" fmla="*/ 825031 w 1457148"/>
                <a:gd name="connsiteY96" fmla="*/ 3406887 h 3641849"/>
                <a:gd name="connsiteX97" fmla="*/ 726733 w 1457148"/>
                <a:gd name="connsiteY97" fmla="*/ 3326370 h 3641849"/>
                <a:gd name="connsiteX98" fmla="*/ 1020995 w 1457148"/>
                <a:gd name="connsiteY98" fmla="*/ 3018734 h 3641849"/>
                <a:gd name="connsiteX99" fmla="*/ 737241 w 1457148"/>
                <a:gd name="connsiteY99" fmla="*/ 2480910 h 3641849"/>
                <a:gd name="connsiteX100" fmla="*/ 879591 w 1457148"/>
                <a:gd name="connsiteY100" fmla="*/ 2241825 h 3641849"/>
                <a:gd name="connsiteX101" fmla="*/ 692904 w 1457148"/>
                <a:gd name="connsiteY101" fmla="*/ 1703134 h 3641849"/>
                <a:gd name="connsiteX102" fmla="*/ 444620 w 1457148"/>
                <a:gd name="connsiteY102" fmla="*/ 1471456 h 3641849"/>
                <a:gd name="connsiteX103" fmla="*/ 435753 w 1457148"/>
                <a:gd name="connsiteY103" fmla="*/ 1355617 h 3641849"/>
                <a:gd name="connsiteX104" fmla="*/ 30225 w 1457148"/>
                <a:gd name="connsiteY104" fmla="*/ 551628 h 3641849"/>
                <a:gd name="connsiteX0" fmla="*/ 30225 w 1457148"/>
                <a:gd name="connsiteY0" fmla="*/ 551628 h 3641849"/>
                <a:gd name="connsiteX1" fmla="*/ 124356 w 1457148"/>
                <a:gd name="connsiteY1" fmla="*/ 582819 h 3641849"/>
                <a:gd name="connsiteX2" fmla="*/ 193633 w 1457148"/>
                <a:gd name="connsiteY2" fmla="*/ 577648 h 3641849"/>
                <a:gd name="connsiteX3" fmla="*/ 165923 w 1457148"/>
                <a:gd name="connsiteY3" fmla="*/ 487148 h 3641849"/>
                <a:gd name="connsiteX4" fmla="*/ 179779 w 1457148"/>
                <a:gd name="connsiteY4" fmla="*/ 655218 h 3641849"/>
                <a:gd name="connsiteX5" fmla="*/ 96646 w 1457148"/>
                <a:gd name="connsiteY5" fmla="*/ 494906 h 3641849"/>
                <a:gd name="connsiteX6" fmla="*/ 85563 w 1457148"/>
                <a:gd name="connsiteY6" fmla="*/ 378550 h 3641849"/>
                <a:gd name="connsiteX7" fmla="*/ 10744 w 1457148"/>
                <a:gd name="connsiteY7" fmla="*/ 319079 h 3641849"/>
                <a:gd name="connsiteX8" fmla="*/ 2432 w 1457148"/>
                <a:gd name="connsiteY8" fmla="*/ 251851 h 3641849"/>
                <a:gd name="connsiteX9" fmla="*/ 57852 w 1457148"/>
                <a:gd name="connsiteY9" fmla="*/ 158764 h 3641849"/>
                <a:gd name="connsiteX10" fmla="*/ 77250 w 1457148"/>
                <a:gd name="connsiteY10" fmla="*/ 135494 h 3641849"/>
                <a:gd name="connsiteX11" fmla="*/ 91105 w 1457148"/>
                <a:gd name="connsiteY11" fmla="*/ 117394 h 3641849"/>
                <a:gd name="connsiteX12" fmla="*/ 99418 w 1457148"/>
                <a:gd name="connsiteY12" fmla="*/ 73438 h 3641849"/>
                <a:gd name="connsiteX13" fmla="*/ 124357 w 1457148"/>
                <a:gd name="connsiteY13" fmla="*/ 101880 h 3641849"/>
                <a:gd name="connsiteX14" fmla="*/ 154839 w 1457148"/>
                <a:gd name="connsiteY14" fmla="*/ 88952 h 3641849"/>
                <a:gd name="connsiteX15" fmla="*/ 157609 w 1457148"/>
                <a:gd name="connsiteY15" fmla="*/ 63095 h 3641849"/>
                <a:gd name="connsiteX16" fmla="*/ 165923 w 1457148"/>
                <a:gd name="connsiteY16" fmla="*/ 34652 h 3641849"/>
                <a:gd name="connsiteX17" fmla="*/ 168695 w 1457148"/>
                <a:gd name="connsiteY17" fmla="*/ 3624 h 3641849"/>
                <a:gd name="connsiteX18" fmla="*/ 304475 w 1457148"/>
                <a:gd name="connsiteY18" fmla="*/ 57924 h 3641849"/>
                <a:gd name="connsiteX19" fmla="*/ 334955 w 1457148"/>
                <a:gd name="connsiteY19" fmla="*/ 161352 h 3641849"/>
                <a:gd name="connsiteX20" fmla="*/ 348811 w 1457148"/>
                <a:gd name="connsiteY20" fmla="*/ 184622 h 3641849"/>
                <a:gd name="connsiteX21" fmla="*/ 359895 w 1457148"/>
                <a:gd name="connsiteY21" fmla="*/ 187208 h 3641849"/>
                <a:gd name="connsiteX22" fmla="*/ 473507 w 1457148"/>
                <a:gd name="connsiteY22" fmla="*/ 156181 h 3641849"/>
                <a:gd name="connsiteX23" fmla="*/ 540012 w 1457148"/>
                <a:gd name="connsiteY23" fmla="*/ 166522 h 3641849"/>
                <a:gd name="connsiteX24" fmla="*/ 603746 w 1457148"/>
                <a:gd name="connsiteY24" fmla="*/ 213065 h 3641849"/>
                <a:gd name="connsiteX25" fmla="*/ 617773 w 1457148"/>
                <a:gd name="connsiteY25" fmla="*/ 242621 h 3641849"/>
                <a:gd name="connsiteX26" fmla="*/ 673020 w 1457148"/>
                <a:gd name="connsiteY26" fmla="*/ 277708 h 3641849"/>
                <a:gd name="connsiteX27" fmla="*/ 761694 w 1457148"/>
                <a:gd name="connsiteY27" fmla="*/ 303563 h 3641849"/>
                <a:gd name="connsiteX28" fmla="*/ 833740 w 1457148"/>
                <a:gd name="connsiteY28" fmla="*/ 350106 h 3641849"/>
                <a:gd name="connsiteX29" fmla="*/ 883619 w 1457148"/>
                <a:gd name="connsiteY29" fmla="*/ 401820 h 3641849"/>
                <a:gd name="connsiteX30" fmla="*/ 908558 w 1457148"/>
                <a:gd name="connsiteY30" fmla="*/ 440606 h 3641849"/>
                <a:gd name="connsiteX31" fmla="*/ 941811 w 1457148"/>
                <a:gd name="connsiteY31" fmla="*/ 466462 h 3641849"/>
                <a:gd name="connsiteX32" fmla="*/ 925183 w 1457148"/>
                <a:gd name="connsiteY32" fmla="*/ 691417 h 3641849"/>
                <a:gd name="connsiteX33" fmla="*/ 797717 w 1457148"/>
                <a:gd name="connsiteY33" fmla="*/ 771575 h 3641849"/>
                <a:gd name="connsiteX34" fmla="*/ 684105 w 1457148"/>
                <a:gd name="connsiteY34" fmla="*/ 779331 h 3641849"/>
                <a:gd name="connsiteX35" fmla="*/ 545552 w 1457148"/>
                <a:gd name="connsiteY35" fmla="*/ 758645 h 3641849"/>
                <a:gd name="connsiteX36" fmla="*/ 454108 w 1457148"/>
                <a:gd name="connsiteY36" fmla="*/ 722445 h 3641849"/>
                <a:gd name="connsiteX37" fmla="*/ 434711 w 1457148"/>
                <a:gd name="connsiteY37" fmla="*/ 750888 h 3641849"/>
                <a:gd name="connsiteX38" fmla="*/ 465353 w 1457148"/>
                <a:gd name="connsiteY38" fmla="*/ 824301 h 3641849"/>
                <a:gd name="connsiteX39" fmla="*/ 470894 w 1457148"/>
                <a:gd name="connsiteY39" fmla="*/ 951000 h 3641849"/>
                <a:gd name="connsiteX40" fmla="*/ 443024 w 1457148"/>
                <a:gd name="connsiteY40" fmla="*/ 1012043 h 3641849"/>
                <a:gd name="connsiteX41" fmla="*/ 498443 w 1457148"/>
                <a:gd name="connsiteY41" fmla="*/ 1032728 h 3641849"/>
                <a:gd name="connsiteX42" fmla="*/ 515071 w 1457148"/>
                <a:gd name="connsiteY42" fmla="*/ 1048242 h 3641849"/>
                <a:gd name="connsiteX43" fmla="*/ 540011 w 1457148"/>
                <a:gd name="connsiteY43" fmla="*/ 1074099 h 3641849"/>
                <a:gd name="connsiteX44" fmla="*/ 537240 w 1457148"/>
                <a:gd name="connsiteY44" fmla="*/ 1076685 h 3641849"/>
                <a:gd name="connsiteX45" fmla="*/ 576033 w 1457148"/>
                <a:gd name="connsiteY45" fmla="*/ 1071514 h 3641849"/>
                <a:gd name="connsiteX46" fmla="*/ 584347 w 1457148"/>
                <a:gd name="connsiteY46" fmla="*/ 1035314 h 3641849"/>
                <a:gd name="connsiteX47" fmla="*/ 545552 w 1457148"/>
                <a:gd name="connsiteY47" fmla="*/ 957743 h 3641849"/>
                <a:gd name="connsiteX48" fmla="*/ 614828 w 1457148"/>
                <a:gd name="connsiteY48" fmla="*/ 911200 h 3641849"/>
                <a:gd name="connsiteX49" fmla="*/ 682600 w 1457148"/>
                <a:gd name="connsiteY49" fmla="*/ 918934 h 3641849"/>
                <a:gd name="connsiteX50" fmla="*/ 706433 w 1457148"/>
                <a:gd name="connsiteY50" fmla="*/ 951001 h 3641849"/>
                <a:gd name="connsiteX51" fmla="*/ 862162 w 1457148"/>
                <a:gd name="connsiteY51" fmla="*/ 1007364 h 3641849"/>
                <a:gd name="connsiteX52" fmla="*/ 847754 w 1457148"/>
                <a:gd name="connsiteY52" fmla="*/ 971687 h 3641849"/>
                <a:gd name="connsiteX53" fmla="*/ 814502 w 1457148"/>
                <a:gd name="connsiteY53" fmla="*/ 932901 h 3641849"/>
                <a:gd name="connsiteX54" fmla="*/ 803418 w 1457148"/>
                <a:gd name="connsiteY54" fmla="*/ 881187 h 3641849"/>
                <a:gd name="connsiteX55" fmla="*/ 842213 w 1457148"/>
                <a:gd name="connsiteY55" fmla="*/ 832060 h 3641849"/>
                <a:gd name="connsiteX56" fmla="*/ 869923 w 1457148"/>
                <a:gd name="connsiteY56" fmla="*/ 803617 h 3641849"/>
                <a:gd name="connsiteX57" fmla="*/ 894863 w 1457148"/>
                <a:gd name="connsiteY57" fmla="*/ 767417 h 3641849"/>
                <a:gd name="connsiteX58" fmla="*/ 975223 w 1457148"/>
                <a:gd name="connsiteY58" fmla="*/ 762245 h 3641849"/>
                <a:gd name="connsiteX59" fmla="*/ 980764 w 1457148"/>
                <a:gd name="connsiteY59" fmla="*/ 741560 h 3641849"/>
                <a:gd name="connsiteX60" fmla="*/ 1005704 w 1457148"/>
                <a:gd name="connsiteY60" fmla="*/ 705360 h 3641849"/>
                <a:gd name="connsiteX61" fmla="*/ 1039508 w 1457148"/>
                <a:gd name="connsiteY61" fmla="*/ 687772 h 3641849"/>
                <a:gd name="connsiteX62" fmla="*/ 1097148 w 1457148"/>
                <a:gd name="connsiteY62" fmla="*/ 700189 h 3641849"/>
                <a:gd name="connsiteX63" fmla="*/ 1135941 w 1457148"/>
                <a:gd name="connsiteY63" fmla="*/ 720875 h 3641849"/>
                <a:gd name="connsiteX64" fmla="*/ 1183049 w 1457148"/>
                <a:gd name="connsiteY64" fmla="*/ 728632 h 3641849"/>
                <a:gd name="connsiteX65" fmla="*/ 1183049 w 1457148"/>
                <a:gd name="connsiteY65" fmla="*/ 733803 h 3641849"/>
                <a:gd name="connsiteX66" fmla="*/ 1205218 w 1457148"/>
                <a:gd name="connsiteY66" fmla="*/ 674332 h 3641849"/>
                <a:gd name="connsiteX67" fmla="*/ 1215193 w 1457148"/>
                <a:gd name="connsiteY67" fmla="*/ 640714 h 3641849"/>
                <a:gd name="connsiteX68" fmla="*/ 1221844 w 1457148"/>
                <a:gd name="connsiteY68" fmla="*/ 622618 h 3641849"/>
                <a:gd name="connsiteX69" fmla="*/ 1224781 w 1457148"/>
                <a:gd name="connsiteY69" fmla="*/ 591288 h 3641849"/>
                <a:gd name="connsiteX70" fmla="*/ 1144255 w 1457148"/>
                <a:gd name="connsiteY70" fmla="*/ 545048 h 3641849"/>
                <a:gd name="connsiteX71" fmla="*/ 1130400 w 1457148"/>
                <a:gd name="connsiteY71" fmla="*/ 472648 h 3641849"/>
                <a:gd name="connsiteX72" fmla="*/ 1130400 w 1457148"/>
                <a:gd name="connsiteY72" fmla="*/ 454548 h 3641849"/>
                <a:gd name="connsiteX73" fmla="*/ 1141483 w 1457148"/>
                <a:gd name="connsiteY73" fmla="*/ 431276 h 3641849"/>
                <a:gd name="connsiteX74" fmla="*/ 1144255 w 1457148"/>
                <a:gd name="connsiteY74" fmla="*/ 415762 h 3641849"/>
                <a:gd name="connsiteX75" fmla="*/ 1144254 w 1457148"/>
                <a:gd name="connsiteY75" fmla="*/ 358878 h 3641849"/>
                <a:gd name="connsiteX76" fmla="*/ 1122086 w 1457148"/>
                <a:gd name="connsiteY76" fmla="*/ 335607 h 3641849"/>
                <a:gd name="connsiteX77" fmla="*/ 1094376 w 1457148"/>
                <a:gd name="connsiteY77" fmla="*/ 304578 h 3641849"/>
                <a:gd name="connsiteX78" fmla="*/ 1090208 w 1457148"/>
                <a:gd name="connsiteY78" fmla="*/ 280325 h 3641849"/>
                <a:gd name="connsiteX79" fmla="*/ 1141484 w 1457148"/>
                <a:gd name="connsiteY79" fmla="*/ 258034 h 3641849"/>
                <a:gd name="connsiteX80" fmla="*/ 1195064 w 1457148"/>
                <a:gd name="connsiteY80" fmla="*/ 267906 h 3641849"/>
                <a:gd name="connsiteX81" fmla="*/ 1273848 w 1457148"/>
                <a:gd name="connsiteY81" fmla="*/ 279816 h 3641849"/>
                <a:gd name="connsiteX82" fmla="*/ 1358171 w 1457148"/>
                <a:gd name="connsiteY82" fmla="*/ 349175 h 3641849"/>
                <a:gd name="connsiteX83" fmla="*/ 1420306 w 1457148"/>
                <a:gd name="connsiteY83" fmla="*/ 425271 h 3641849"/>
                <a:gd name="connsiteX84" fmla="*/ 1319335 w 1457148"/>
                <a:gd name="connsiteY84" fmla="*/ 454265 h 3641849"/>
                <a:gd name="connsiteX85" fmla="*/ 1303801 w 1457148"/>
                <a:gd name="connsiteY85" fmla="*/ 501372 h 3641849"/>
                <a:gd name="connsiteX86" fmla="*/ 1361471 w 1457148"/>
                <a:gd name="connsiteY86" fmla="*/ 585862 h 3641849"/>
                <a:gd name="connsiteX87" fmla="*/ 1397005 w 1457148"/>
                <a:gd name="connsiteY87" fmla="*/ 591964 h 3641849"/>
                <a:gd name="connsiteX88" fmla="*/ 1449625 w 1457148"/>
                <a:gd name="connsiteY88" fmla="*/ 598304 h 3641849"/>
                <a:gd name="connsiteX89" fmla="*/ 1444662 w 1457148"/>
                <a:gd name="connsiteY89" fmla="*/ 709079 h 3641849"/>
                <a:gd name="connsiteX90" fmla="*/ 1455731 w 1457148"/>
                <a:gd name="connsiteY90" fmla="*/ 1040047 h 3641849"/>
                <a:gd name="connsiteX91" fmla="*/ 1446863 w 1457148"/>
                <a:gd name="connsiteY91" fmla="*/ 1842646 h 3641849"/>
                <a:gd name="connsiteX92" fmla="*/ 1455730 w 1457148"/>
                <a:gd name="connsiteY92" fmla="*/ 2297728 h 3641849"/>
                <a:gd name="connsiteX93" fmla="*/ 1429282 w 1457148"/>
                <a:gd name="connsiteY93" fmla="*/ 3607693 h 3641849"/>
                <a:gd name="connsiteX94" fmla="*/ 1170855 w 1457148"/>
                <a:gd name="connsiteY94" fmla="*/ 3564098 h 3641849"/>
                <a:gd name="connsiteX95" fmla="*/ 1002377 w 1457148"/>
                <a:gd name="connsiteY95" fmla="*/ 3497903 h 3641849"/>
                <a:gd name="connsiteX96" fmla="*/ 825031 w 1457148"/>
                <a:gd name="connsiteY96" fmla="*/ 3406887 h 3641849"/>
                <a:gd name="connsiteX97" fmla="*/ 726733 w 1457148"/>
                <a:gd name="connsiteY97" fmla="*/ 3326370 h 3641849"/>
                <a:gd name="connsiteX98" fmla="*/ 1020995 w 1457148"/>
                <a:gd name="connsiteY98" fmla="*/ 3018734 h 3641849"/>
                <a:gd name="connsiteX99" fmla="*/ 737241 w 1457148"/>
                <a:gd name="connsiteY99" fmla="*/ 2480910 h 3641849"/>
                <a:gd name="connsiteX100" fmla="*/ 879591 w 1457148"/>
                <a:gd name="connsiteY100" fmla="*/ 2241825 h 3641849"/>
                <a:gd name="connsiteX101" fmla="*/ 692904 w 1457148"/>
                <a:gd name="connsiteY101" fmla="*/ 1703134 h 3641849"/>
                <a:gd name="connsiteX102" fmla="*/ 444620 w 1457148"/>
                <a:gd name="connsiteY102" fmla="*/ 1471456 h 3641849"/>
                <a:gd name="connsiteX103" fmla="*/ 435753 w 1457148"/>
                <a:gd name="connsiteY103" fmla="*/ 1355617 h 3641849"/>
                <a:gd name="connsiteX104" fmla="*/ 30225 w 1457148"/>
                <a:gd name="connsiteY104" fmla="*/ 551628 h 3641849"/>
                <a:gd name="connsiteX0" fmla="*/ 30225 w 1457148"/>
                <a:gd name="connsiteY0" fmla="*/ 551628 h 3641849"/>
                <a:gd name="connsiteX1" fmla="*/ 124356 w 1457148"/>
                <a:gd name="connsiteY1" fmla="*/ 582819 h 3641849"/>
                <a:gd name="connsiteX2" fmla="*/ 193633 w 1457148"/>
                <a:gd name="connsiteY2" fmla="*/ 577648 h 3641849"/>
                <a:gd name="connsiteX3" fmla="*/ 165923 w 1457148"/>
                <a:gd name="connsiteY3" fmla="*/ 487148 h 3641849"/>
                <a:gd name="connsiteX4" fmla="*/ 143755 w 1457148"/>
                <a:gd name="connsiteY4" fmla="*/ 559548 h 3641849"/>
                <a:gd name="connsiteX5" fmla="*/ 96646 w 1457148"/>
                <a:gd name="connsiteY5" fmla="*/ 494906 h 3641849"/>
                <a:gd name="connsiteX6" fmla="*/ 85563 w 1457148"/>
                <a:gd name="connsiteY6" fmla="*/ 378550 h 3641849"/>
                <a:gd name="connsiteX7" fmla="*/ 10744 w 1457148"/>
                <a:gd name="connsiteY7" fmla="*/ 319079 h 3641849"/>
                <a:gd name="connsiteX8" fmla="*/ 2432 w 1457148"/>
                <a:gd name="connsiteY8" fmla="*/ 251851 h 3641849"/>
                <a:gd name="connsiteX9" fmla="*/ 57852 w 1457148"/>
                <a:gd name="connsiteY9" fmla="*/ 158764 h 3641849"/>
                <a:gd name="connsiteX10" fmla="*/ 77250 w 1457148"/>
                <a:gd name="connsiteY10" fmla="*/ 135494 h 3641849"/>
                <a:gd name="connsiteX11" fmla="*/ 91105 w 1457148"/>
                <a:gd name="connsiteY11" fmla="*/ 117394 h 3641849"/>
                <a:gd name="connsiteX12" fmla="*/ 99418 w 1457148"/>
                <a:gd name="connsiteY12" fmla="*/ 73438 h 3641849"/>
                <a:gd name="connsiteX13" fmla="*/ 124357 w 1457148"/>
                <a:gd name="connsiteY13" fmla="*/ 101880 h 3641849"/>
                <a:gd name="connsiteX14" fmla="*/ 154839 w 1457148"/>
                <a:gd name="connsiteY14" fmla="*/ 88952 h 3641849"/>
                <a:gd name="connsiteX15" fmla="*/ 157609 w 1457148"/>
                <a:gd name="connsiteY15" fmla="*/ 63095 h 3641849"/>
                <a:gd name="connsiteX16" fmla="*/ 165923 w 1457148"/>
                <a:gd name="connsiteY16" fmla="*/ 34652 h 3641849"/>
                <a:gd name="connsiteX17" fmla="*/ 168695 w 1457148"/>
                <a:gd name="connsiteY17" fmla="*/ 3624 h 3641849"/>
                <a:gd name="connsiteX18" fmla="*/ 304475 w 1457148"/>
                <a:gd name="connsiteY18" fmla="*/ 57924 h 3641849"/>
                <a:gd name="connsiteX19" fmla="*/ 334955 w 1457148"/>
                <a:gd name="connsiteY19" fmla="*/ 161352 h 3641849"/>
                <a:gd name="connsiteX20" fmla="*/ 348811 w 1457148"/>
                <a:gd name="connsiteY20" fmla="*/ 184622 h 3641849"/>
                <a:gd name="connsiteX21" fmla="*/ 359895 w 1457148"/>
                <a:gd name="connsiteY21" fmla="*/ 187208 h 3641849"/>
                <a:gd name="connsiteX22" fmla="*/ 473507 w 1457148"/>
                <a:gd name="connsiteY22" fmla="*/ 156181 h 3641849"/>
                <a:gd name="connsiteX23" fmla="*/ 540012 w 1457148"/>
                <a:gd name="connsiteY23" fmla="*/ 166522 h 3641849"/>
                <a:gd name="connsiteX24" fmla="*/ 603746 w 1457148"/>
                <a:gd name="connsiteY24" fmla="*/ 213065 h 3641849"/>
                <a:gd name="connsiteX25" fmla="*/ 617773 w 1457148"/>
                <a:gd name="connsiteY25" fmla="*/ 242621 h 3641849"/>
                <a:gd name="connsiteX26" fmla="*/ 673020 w 1457148"/>
                <a:gd name="connsiteY26" fmla="*/ 277708 h 3641849"/>
                <a:gd name="connsiteX27" fmla="*/ 761694 w 1457148"/>
                <a:gd name="connsiteY27" fmla="*/ 303563 h 3641849"/>
                <a:gd name="connsiteX28" fmla="*/ 833740 w 1457148"/>
                <a:gd name="connsiteY28" fmla="*/ 350106 h 3641849"/>
                <a:gd name="connsiteX29" fmla="*/ 883619 w 1457148"/>
                <a:gd name="connsiteY29" fmla="*/ 401820 h 3641849"/>
                <a:gd name="connsiteX30" fmla="*/ 908558 w 1457148"/>
                <a:gd name="connsiteY30" fmla="*/ 440606 h 3641849"/>
                <a:gd name="connsiteX31" fmla="*/ 941811 w 1457148"/>
                <a:gd name="connsiteY31" fmla="*/ 466462 h 3641849"/>
                <a:gd name="connsiteX32" fmla="*/ 925183 w 1457148"/>
                <a:gd name="connsiteY32" fmla="*/ 691417 h 3641849"/>
                <a:gd name="connsiteX33" fmla="*/ 797717 w 1457148"/>
                <a:gd name="connsiteY33" fmla="*/ 771575 h 3641849"/>
                <a:gd name="connsiteX34" fmla="*/ 684105 w 1457148"/>
                <a:gd name="connsiteY34" fmla="*/ 779331 h 3641849"/>
                <a:gd name="connsiteX35" fmla="*/ 545552 w 1457148"/>
                <a:gd name="connsiteY35" fmla="*/ 758645 h 3641849"/>
                <a:gd name="connsiteX36" fmla="*/ 454108 w 1457148"/>
                <a:gd name="connsiteY36" fmla="*/ 722445 h 3641849"/>
                <a:gd name="connsiteX37" fmla="*/ 434711 w 1457148"/>
                <a:gd name="connsiteY37" fmla="*/ 750888 h 3641849"/>
                <a:gd name="connsiteX38" fmla="*/ 465353 w 1457148"/>
                <a:gd name="connsiteY38" fmla="*/ 824301 h 3641849"/>
                <a:gd name="connsiteX39" fmla="*/ 470894 w 1457148"/>
                <a:gd name="connsiteY39" fmla="*/ 951000 h 3641849"/>
                <a:gd name="connsiteX40" fmla="*/ 443024 w 1457148"/>
                <a:gd name="connsiteY40" fmla="*/ 1012043 h 3641849"/>
                <a:gd name="connsiteX41" fmla="*/ 498443 w 1457148"/>
                <a:gd name="connsiteY41" fmla="*/ 1032728 h 3641849"/>
                <a:gd name="connsiteX42" fmla="*/ 515071 w 1457148"/>
                <a:gd name="connsiteY42" fmla="*/ 1048242 h 3641849"/>
                <a:gd name="connsiteX43" fmla="*/ 540011 w 1457148"/>
                <a:gd name="connsiteY43" fmla="*/ 1074099 h 3641849"/>
                <a:gd name="connsiteX44" fmla="*/ 537240 w 1457148"/>
                <a:gd name="connsiteY44" fmla="*/ 1076685 h 3641849"/>
                <a:gd name="connsiteX45" fmla="*/ 576033 w 1457148"/>
                <a:gd name="connsiteY45" fmla="*/ 1071514 h 3641849"/>
                <a:gd name="connsiteX46" fmla="*/ 584347 w 1457148"/>
                <a:gd name="connsiteY46" fmla="*/ 1035314 h 3641849"/>
                <a:gd name="connsiteX47" fmla="*/ 545552 w 1457148"/>
                <a:gd name="connsiteY47" fmla="*/ 957743 h 3641849"/>
                <a:gd name="connsiteX48" fmla="*/ 614828 w 1457148"/>
                <a:gd name="connsiteY48" fmla="*/ 911200 h 3641849"/>
                <a:gd name="connsiteX49" fmla="*/ 682600 w 1457148"/>
                <a:gd name="connsiteY49" fmla="*/ 918934 h 3641849"/>
                <a:gd name="connsiteX50" fmla="*/ 706433 w 1457148"/>
                <a:gd name="connsiteY50" fmla="*/ 951001 h 3641849"/>
                <a:gd name="connsiteX51" fmla="*/ 862162 w 1457148"/>
                <a:gd name="connsiteY51" fmla="*/ 1007364 h 3641849"/>
                <a:gd name="connsiteX52" fmla="*/ 847754 w 1457148"/>
                <a:gd name="connsiteY52" fmla="*/ 971687 h 3641849"/>
                <a:gd name="connsiteX53" fmla="*/ 814502 w 1457148"/>
                <a:gd name="connsiteY53" fmla="*/ 932901 h 3641849"/>
                <a:gd name="connsiteX54" fmla="*/ 803418 w 1457148"/>
                <a:gd name="connsiteY54" fmla="*/ 881187 h 3641849"/>
                <a:gd name="connsiteX55" fmla="*/ 842213 w 1457148"/>
                <a:gd name="connsiteY55" fmla="*/ 832060 h 3641849"/>
                <a:gd name="connsiteX56" fmla="*/ 869923 w 1457148"/>
                <a:gd name="connsiteY56" fmla="*/ 803617 h 3641849"/>
                <a:gd name="connsiteX57" fmla="*/ 894863 w 1457148"/>
                <a:gd name="connsiteY57" fmla="*/ 767417 h 3641849"/>
                <a:gd name="connsiteX58" fmla="*/ 975223 w 1457148"/>
                <a:gd name="connsiteY58" fmla="*/ 762245 h 3641849"/>
                <a:gd name="connsiteX59" fmla="*/ 980764 w 1457148"/>
                <a:gd name="connsiteY59" fmla="*/ 741560 h 3641849"/>
                <a:gd name="connsiteX60" fmla="*/ 1005704 w 1457148"/>
                <a:gd name="connsiteY60" fmla="*/ 705360 h 3641849"/>
                <a:gd name="connsiteX61" fmla="*/ 1039508 w 1457148"/>
                <a:gd name="connsiteY61" fmla="*/ 687772 h 3641849"/>
                <a:gd name="connsiteX62" fmla="*/ 1097148 w 1457148"/>
                <a:gd name="connsiteY62" fmla="*/ 700189 h 3641849"/>
                <a:gd name="connsiteX63" fmla="*/ 1135941 w 1457148"/>
                <a:gd name="connsiteY63" fmla="*/ 720875 h 3641849"/>
                <a:gd name="connsiteX64" fmla="*/ 1183049 w 1457148"/>
                <a:gd name="connsiteY64" fmla="*/ 728632 h 3641849"/>
                <a:gd name="connsiteX65" fmla="*/ 1183049 w 1457148"/>
                <a:gd name="connsiteY65" fmla="*/ 733803 h 3641849"/>
                <a:gd name="connsiteX66" fmla="*/ 1205218 w 1457148"/>
                <a:gd name="connsiteY66" fmla="*/ 674332 h 3641849"/>
                <a:gd name="connsiteX67" fmla="*/ 1215193 w 1457148"/>
                <a:gd name="connsiteY67" fmla="*/ 640714 h 3641849"/>
                <a:gd name="connsiteX68" fmla="*/ 1221844 w 1457148"/>
                <a:gd name="connsiteY68" fmla="*/ 622618 h 3641849"/>
                <a:gd name="connsiteX69" fmla="*/ 1224781 w 1457148"/>
                <a:gd name="connsiteY69" fmla="*/ 591288 h 3641849"/>
                <a:gd name="connsiteX70" fmla="*/ 1144255 w 1457148"/>
                <a:gd name="connsiteY70" fmla="*/ 545048 h 3641849"/>
                <a:gd name="connsiteX71" fmla="*/ 1130400 w 1457148"/>
                <a:gd name="connsiteY71" fmla="*/ 472648 h 3641849"/>
                <a:gd name="connsiteX72" fmla="*/ 1130400 w 1457148"/>
                <a:gd name="connsiteY72" fmla="*/ 454548 h 3641849"/>
                <a:gd name="connsiteX73" fmla="*/ 1141483 w 1457148"/>
                <a:gd name="connsiteY73" fmla="*/ 431276 h 3641849"/>
                <a:gd name="connsiteX74" fmla="*/ 1144255 w 1457148"/>
                <a:gd name="connsiteY74" fmla="*/ 415762 h 3641849"/>
                <a:gd name="connsiteX75" fmla="*/ 1144254 w 1457148"/>
                <a:gd name="connsiteY75" fmla="*/ 358878 h 3641849"/>
                <a:gd name="connsiteX76" fmla="*/ 1122086 w 1457148"/>
                <a:gd name="connsiteY76" fmla="*/ 335607 h 3641849"/>
                <a:gd name="connsiteX77" fmla="*/ 1094376 w 1457148"/>
                <a:gd name="connsiteY77" fmla="*/ 304578 h 3641849"/>
                <a:gd name="connsiteX78" fmla="*/ 1090208 w 1457148"/>
                <a:gd name="connsiteY78" fmla="*/ 280325 h 3641849"/>
                <a:gd name="connsiteX79" fmla="*/ 1141484 w 1457148"/>
                <a:gd name="connsiteY79" fmla="*/ 258034 h 3641849"/>
                <a:gd name="connsiteX80" fmla="*/ 1195064 w 1457148"/>
                <a:gd name="connsiteY80" fmla="*/ 267906 h 3641849"/>
                <a:gd name="connsiteX81" fmla="*/ 1273848 w 1457148"/>
                <a:gd name="connsiteY81" fmla="*/ 279816 h 3641849"/>
                <a:gd name="connsiteX82" fmla="*/ 1358171 w 1457148"/>
                <a:gd name="connsiteY82" fmla="*/ 349175 h 3641849"/>
                <a:gd name="connsiteX83" fmla="*/ 1420306 w 1457148"/>
                <a:gd name="connsiteY83" fmla="*/ 425271 h 3641849"/>
                <a:gd name="connsiteX84" fmla="*/ 1319335 w 1457148"/>
                <a:gd name="connsiteY84" fmla="*/ 454265 h 3641849"/>
                <a:gd name="connsiteX85" fmla="*/ 1303801 w 1457148"/>
                <a:gd name="connsiteY85" fmla="*/ 501372 h 3641849"/>
                <a:gd name="connsiteX86" fmla="*/ 1361471 w 1457148"/>
                <a:gd name="connsiteY86" fmla="*/ 585862 h 3641849"/>
                <a:gd name="connsiteX87" fmla="*/ 1397005 w 1457148"/>
                <a:gd name="connsiteY87" fmla="*/ 591964 h 3641849"/>
                <a:gd name="connsiteX88" fmla="*/ 1449625 w 1457148"/>
                <a:gd name="connsiteY88" fmla="*/ 598304 h 3641849"/>
                <a:gd name="connsiteX89" fmla="*/ 1444662 w 1457148"/>
                <a:gd name="connsiteY89" fmla="*/ 709079 h 3641849"/>
                <a:gd name="connsiteX90" fmla="*/ 1455731 w 1457148"/>
                <a:gd name="connsiteY90" fmla="*/ 1040047 h 3641849"/>
                <a:gd name="connsiteX91" fmla="*/ 1446863 w 1457148"/>
                <a:gd name="connsiteY91" fmla="*/ 1842646 h 3641849"/>
                <a:gd name="connsiteX92" fmla="*/ 1455730 w 1457148"/>
                <a:gd name="connsiteY92" fmla="*/ 2297728 h 3641849"/>
                <a:gd name="connsiteX93" fmla="*/ 1429282 w 1457148"/>
                <a:gd name="connsiteY93" fmla="*/ 3607693 h 3641849"/>
                <a:gd name="connsiteX94" fmla="*/ 1170855 w 1457148"/>
                <a:gd name="connsiteY94" fmla="*/ 3564098 h 3641849"/>
                <a:gd name="connsiteX95" fmla="*/ 1002377 w 1457148"/>
                <a:gd name="connsiteY95" fmla="*/ 3497903 h 3641849"/>
                <a:gd name="connsiteX96" fmla="*/ 825031 w 1457148"/>
                <a:gd name="connsiteY96" fmla="*/ 3406887 h 3641849"/>
                <a:gd name="connsiteX97" fmla="*/ 726733 w 1457148"/>
                <a:gd name="connsiteY97" fmla="*/ 3326370 h 3641849"/>
                <a:gd name="connsiteX98" fmla="*/ 1020995 w 1457148"/>
                <a:gd name="connsiteY98" fmla="*/ 3018734 h 3641849"/>
                <a:gd name="connsiteX99" fmla="*/ 737241 w 1457148"/>
                <a:gd name="connsiteY99" fmla="*/ 2480910 h 3641849"/>
                <a:gd name="connsiteX100" fmla="*/ 879591 w 1457148"/>
                <a:gd name="connsiteY100" fmla="*/ 2241825 h 3641849"/>
                <a:gd name="connsiteX101" fmla="*/ 692904 w 1457148"/>
                <a:gd name="connsiteY101" fmla="*/ 1703134 h 3641849"/>
                <a:gd name="connsiteX102" fmla="*/ 444620 w 1457148"/>
                <a:gd name="connsiteY102" fmla="*/ 1471456 h 3641849"/>
                <a:gd name="connsiteX103" fmla="*/ 435753 w 1457148"/>
                <a:gd name="connsiteY103" fmla="*/ 1355617 h 3641849"/>
                <a:gd name="connsiteX104" fmla="*/ 30225 w 1457148"/>
                <a:gd name="connsiteY104" fmla="*/ 551628 h 3641849"/>
                <a:gd name="connsiteX0" fmla="*/ 30225 w 1457148"/>
                <a:gd name="connsiteY0" fmla="*/ 551628 h 3641849"/>
                <a:gd name="connsiteX1" fmla="*/ 124356 w 1457148"/>
                <a:gd name="connsiteY1" fmla="*/ 582819 h 3641849"/>
                <a:gd name="connsiteX2" fmla="*/ 165923 w 1457148"/>
                <a:gd name="connsiteY2" fmla="*/ 487148 h 3641849"/>
                <a:gd name="connsiteX3" fmla="*/ 143755 w 1457148"/>
                <a:gd name="connsiteY3" fmla="*/ 559548 h 3641849"/>
                <a:gd name="connsiteX4" fmla="*/ 96646 w 1457148"/>
                <a:gd name="connsiteY4" fmla="*/ 494906 h 3641849"/>
                <a:gd name="connsiteX5" fmla="*/ 85563 w 1457148"/>
                <a:gd name="connsiteY5" fmla="*/ 378550 h 3641849"/>
                <a:gd name="connsiteX6" fmla="*/ 10744 w 1457148"/>
                <a:gd name="connsiteY6" fmla="*/ 319079 h 3641849"/>
                <a:gd name="connsiteX7" fmla="*/ 2432 w 1457148"/>
                <a:gd name="connsiteY7" fmla="*/ 251851 h 3641849"/>
                <a:gd name="connsiteX8" fmla="*/ 57852 w 1457148"/>
                <a:gd name="connsiteY8" fmla="*/ 158764 h 3641849"/>
                <a:gd name="connsiteX9" fmla="*/ 77250 w 1457148"/>
                <a:gd name="connsiteY9" fmla="*/ 135494 h 3641849"/>
                <a:gd name="connsiteX10" fmla="*/ 91105 w 1457148"/>
                <a:gd name="connsiteY10" fmla="*/ 117394 h 3641849"/>
                <a:gd name="connsiteX11" fmla="*/ 99418 w 1457148"/>
                <a:gd name="connsiteY11" fmla="*/ 73438 h 3641849"/>
                <a:gd name="connsiteX12" fmla="*/ 124357 w 1457148"/>
                <a:gd name="connsiteY12" fmla="*/ 101880 h 3641849"/>
                <a:gd name="connsiteX13" fmla="*/ 154839 w 1457148"/>
                <a:gd name="connsiteY13" fmla="*/ 88952 h 3641849"/>
                <a:gd name="connsiteX14" fmla="*/ 157609 w 1457148"/>
                <a:gd name="connsiteY14" fmla="*/ 63095 h 3641849"/>
                <a:gd name="connsiteX15" fmla="*/ 165923 w 1457148"/>
                <a:gd name="connsiteY15" fmla="*/ 34652 h 3641849"/>
                <a:gd name="connsiteX16" fmla="*/ 168695 w 1457148"/>
                <a:gd name="connsiteY16" fmla="*/ 3624 h 3641849"/>
                <a:gd name="connsiteX17" fmla="*/ 304475 w 1457148"/>
                <a:gd name="connsiteY17" fmla="*/ 57924 h 3641849"/>
                <a:gd name="connsiteX18" fmla="*/ 334955 w 1457148"/>
                <a:gd name="connsiteY18" fmla="*/ 161352 h 3641849"/>
                <a:gd name="connsiteX19" fmla="*/ 348811 w 1457148"/>
                <a:gd name="connsiteY19" fmla="*/ 184622 h 3641849"/>
                <a:gd name="connsiteX20" fmla="*/ 359895 w 1457148"/>
                <a:gd name="connsiteY20" fmla="*/ 187208 h 3641849"/>
                <a:gd name="connsiteX21" fmla="*/ 473507 w 1457148"/>
                <a:gd name="connsiteY21" fmla="*/ 156181 h 3641849"/>
                <a:gd name="connsiteX22" fmla="*/ 540012 w 1457148"/>
                <a:gd name="connsiteY22" fmla="*/ 166522 h 3641849"/>
                <a:gd name="connsiteX23" fmla="*/ 603746 w 1457148"/>
                <a:gd name="connsiteY23" fmla="*/ 213065 h 3641849"/>
                <a:gd name="connsiteX24" fmla="*/ 617773 w 1457148"/>
                <a:gd name="connsiteY24" fmla="*/ 242621 h 3641849"/>
                <a:gd name="connsiteX25" fmla="*/ 673020 w 1457148"/>
                <a:gd name="connsiteY25" fmla="*/ 277708 h 3641849"/>
                <a:gd name="connsiteX26" fmla="*/ 761694 w 1457148"/>
                <a:gd name="connsiteY26" fmla="*/ 303563 h 3641849"/>
                <a:gd name="connsiteX27" fmla="*/ 833740 w 1457148"/>
                <a:gd name="connsiteY27" fmla="*/ 350106 h 3641849"/>
                <a:gd name="connsiteX28" fmla="*/ 883619 w 1457148"/>
                <a:gd name="connsiteY28" fmla="*/ 401820 h 3641849"/>
                <a:gd name="connsiteX29" fmla="*/ 908558 w 1457148"/>
                <a:gd name="connsiteY29" fmla="*/ 440606 h 3641849"/>
                <a:gd name="connsiteX30" fmla="*/ 941811 w 1457148"/>
                <a:gd name="connsiteY30" fmla="*/ 466462 h 3641849"/>
                <a:gd name="connsiteX31" fmla="*/ 925183 w 1457148"/>
                <a:gd name="connsiteY31" fmla="*/ 691417 h 3641849"/>
                <a:gd name="connsiteX32" fmla="*/ 797717 w 1457148"/>
                <a:gd name="connsiteY32" fmla="*/ 771575 h 3641849"/>
                <a:gd name="connsiteX33" fmla="*/ 684105 w 1457148"/>
                <a:gd name="connsiteY33" fmla="*/ 779331 h 3641849"/>
                <a:gd name="connsiteX34" fmla="*/ 545552 w 1457148"/>
                <a:gd name="connsiteY34" fmla="*/ 758645 h 3641849"/>
                <a:gd name="connsiteX35" fmla="*/ 454108 w 1457148"/>
                <a:gd name="connsiteY35" fmla="*/ 722445 h 3641849"/>
                <a:gd name="connsiteX36" fmla="*/ 434711 w 1457148"/>
                <a:gd name="connsiteY36" fmla="*/ 750888 h 3641849"/>
                <a:gd name="connsiteX37" fmla="*/ 465353 w 1457148"/>
                <a:gd name="connsiteY37" fmla="*/ 824301 h 3641849"/>
                <a:gd name="connsiteX38" fmla="*/ 470894 w 1457148"/>
                <a:gd name="connsiteY38" fmla="*/ 951000 h 3641849"/>
                <a:gd name="connsiteX39" fmla="*/ 443024 w 1457148"/>
                <a:gd name="connsiteY39" fmla="*/ 1012043 h 3641849"/>
                <a:gd name="connsiteX40" fmla="*/ 498443 w 1457148"/>
                <a:gd name="connsiteY40" fmla="*/ 1032728 h 3641849"/>
                <a:gd name="connsiteX41" fmla="*/ 515071 w 1457148"/>
                <a:gd name="connsiteY41" fmla="*/ 1048242 h 3641849"/>
                <a:gd name="connsiteX42" fmla="*/ 540011 w 1457148"/>
                <a:gd name="connsiteY42" fmla="*/ 1074099 h 3641849"/>
                <a:gd name="connsiteX43" fmla="*/ 537240 w 1457148"/>
                <a:gd name="connsiteY43" fmla="*/ 1076685 h 3641849"/>
                <a:gd name="connsiteX44" fmla="*/ 576033 w 1457148"/>
                <a:gd name="connsiteY44" fmla="*/ 1071514 h 3641849"/>
                <a:gd name="connsiteX45" fmla="*/ 584347 w 1457148"/>
                <a:gd name="connsiteY45" fmla="*/ 1035314 h 3641849"/>
                <a:gd name="connsiteX46" fmla="*/ 545552 w 1457148"/>
                <a:gd name="connsiteY46" fmla="*/ 957743 h 3641849"/>
                <a:gd name="connsiteX47" fmla="*/ 614828 w 1457148"/>
                <a:gd name="connsiteY47" fmla="*/ 911200 h 3641849"/>
                <a:gd name="connsiteX48" fmla="*/ 682600 w 1457148"/>
                <a:gd name="connsiteY48" fmla="*/ 918934 h 3641849"/>
                <a:gd name="connsiteX49" fmla="*/ 706433 w 1457148"/>
                <a:gd name="connsiteY49" fmla="*/ 951001 h 3641849"/>
                <a:gd name="connsiteX50" fmla="*/ 862162 w 1457148"/>
                <a:gd name="connsiteY50" fmla="*/ 1007364 h 3641849"/>
                <a:gd name="connsiteX51" fmla="*/ 847754 w 1457148"/>
                <a:gd name="connsiteY51" fmla="*/ 971687 h 3641849"/>
                <a:gd name="connsiteX52" fmla="*/ 814502 w 1457148"/>
                <a:gd name="connsiteY52" fmla="*/ 932901 h 3641849"/>
                <a:gd name="connsiteX53" fmla="*/ 803418 w 1457148"/>
                <a:gd name="connsiteY53" fmla="*/ 881187 h 3641849"/>
                <a:gd name="connsiteX54" fmla="*/ 842213 w 1457148"/>
                <a:gd name="connsiteY54" fmla="*/ 832060 h 3641849"/>
                <a:gd name="connsiteX55" fmla="*/ 869923 w 1457148"/>
                <a:gd name="connsiteY55" fmla="*/ 803617 h 3641849"/>
                <a:gd name="connsiteX56" fmla="*/ 894863 w 1457148"/>
                <a:gd name="connsiteY56" fmla="*/ 767417 h 3641849"/>
                <a:gd name="connsiteX57" fmla="*/ 975223 w 1457148"/>
                <a:gd name="connsiteY57" fmla="*/ 762245 h 3641849"/>
                <a:gd name="connsiteX58" fmla="*/ 980764 w 1457148"/>
                <a:gd name="connsiteY58" fmla="*/ 741560 h 3641849"/>
                <a:gd name="connsiteX59" fmla="*/ 1005704 w 1457148"/>
                <a:gd name="connsiteY59" fmla="*/ 705360 h 3641849"/>
                <a:gd name="connsiteX60" fmla="*/ 1039508 w 1457148"/>
                <a:gd name="connsiteY60" fmla="*/ 687772 h 3641849"/>
                <a:gd name="connsiteX61" fmla="*/ 1097148 w 1457148"/>
                <a:gd name="connsiteY61" fmla="*/ 700189 h 3641849"/>
                <a:gd name="connsiteX62" fmla="*/ 1135941 w 1457148"/>
                <a:gd name="connsiteY62" fmla="*/ 720875 h 3641849"/>
                <a:gd name="connsiteX63" fmla="*/ 1183049 w 1457148"/>
                <a:gd name="connsiteY63" fmla="*/ 728632 h 3641849"/>
                <a:gd name="connsiteX64" fmla="*/ 1183049 w 1457148"/>
                <a:gd name="connsiteY64" fmla="*/ 733803 h 3641849"/>
                <a:gd name="connsiteX65" fmla="*/ 1205218 w 1457148"/>
                <a:gd name="connsiteY65" fmla="*/ 674332 h 3641849"/>
                <a:gd name="connsiteX66" fmla="*/ 1215193 w 1457148"/>
                <a:gd name="connsiteY66" fmla="*/ 640714 h 3641849"/>
                <a:gd name="connsiteX67" fmla="*/ 1221844 w 1457148"/>
                <a:gd name="connsiteY67" fmla="*/ 622618 h 3641849"/>
                <a:gd name="connsiteX68" fmla="*/ 1224781 w 1457148"/>
                <a:gd name="connsiteY68" fmla="*/ 591288 h 3641849"/>
                <a:gd name="connsiteX69" fmla="*/ 1144255 w 1457148"/>
                <a:gd name="connsiteY69" fmla="*/ 545048 h 3641849"/>
                <a:gd name="connsiteX70" fmla="*/ 1130400 w 1457148"/>
                <a:gd name="connsiteY70" fmla="*/ 472648 h 3641849"/>
                <a:gd name="connsiteX71" fmla="*/ 1130400 w 1457148"/>
                <a:gd name="connsiteY71" fmla="*/ 454548 h 3641849"/>
                <a:gd name="connsiteX72" fmla="*/ 1141483 w 1457148"/>
                <a:gd name="connsiteY72" fmla="*/ 431276 h 3641849"/>
                <a:gd name="connsiteX73" fmla="*/ 1144255 w 1457148"/>
                <a:gd name="connsiteY73" fmla="*/ 415762 h 3641849"/>
                <a:gd name="connsiteX74" fmla="*/ 1144254 w 1457148"/>
                <a:gd name="connsiteY74" fmla="*/ 358878 h 3641849"/>
                <a:gd name="connsiteX75" fmla="*/ 1122086 w 1457148"/>
                <a:gd name="connsiteY75" fmla="*/ 335607 h 3641849"/>
                <a:gd name="connsiteX76" fmla="*/ 1094376 w 1457148"/>
                <a:gd name="connsiteY76" fmla="*/ 304578 h 3641849"/>
                <a:gd name="connsiteX77" fmla="*/ 1090208 w 1457148"/>
                <a:gd name="connsiteY77" fmla="*/ 280325 h 3641849"/>
                <a:gd name="connsiteX78" fmla="*/ 1141484 w 1457148"/>
                <a:gd name="connsiteY78" fmla="*/ 258034 h 3641849"/>
                <a:gd name="connsiteX79" fmla="*/ 1195064 w 1457148"/>
                <a:gd name="connsiteY79" fmla="*/ 267906 h 3641849"/>
                <a:gd name="connsiteX80" fmla="*/ 1273848 w 1457148"/>
                <a:gd name="connsiteY80" fmla="*/ 279816 h 3641849"/>
                <a:gd name="connsiteX81" fmla="*/ 1358171 w 1457148"/>
                <a:gd name="connsiteY81" fmla="*/ 349175 h 3641849"/>
                <a:gd name="connsiteX82" fmla="*/ 1420306 w 1457148"/>
                <a:gd name="connsiteY82" fmla="*/ 425271 h 3641849"/>
                <a:gd name="connsiteX83" fmla="*/ 1319335 w 1457148"/>
                <a:gd name="connsiteY83" fmla="*/ 454265 h 3641849"/>
                <a:gd name="connsiteX84" fmla="*/ 1303801 w 1457148"/>
                <a:gd name="connsiteY84" fmla="*/ 501372 h 3641849"/>
                <a:gd name="connsiteX85" fmla="*/ 1361471 w 1457148"/>
                <a:gd name="connsiteY85" fmla="*/ 585862 h 3641849"/>
                <a:gd name="connsiteX86" fmla="*/ 1397005 w 1457148"/>
                <a:gd name="connsiteY86" fmla="*/ 591964 h 3641849"/>
                <a:gd name="connsiteX87" fmla="*/ 1449625 w 1457148"/>
                <a:gd name="connsiteY87" fmla="*/ 598304 h 3641849"/>
                <a:gd name="connsiteX88" fmla="*/ 1444662 w 1457148"/>
                <a:gd name="connsiteY88" fmla="*/ 709079 h 3641849"/>
                <a:gd name="connsiteX89" fmla="*/ 1455731 w 1457148"/>
                <a:gd name="connsiteY89" fmla="*/ 1040047 h 3641849"/>
                <a:gd name="connsiteX90" fmla="*/ 1446863 w 1457148"/>
                <a:gd name="connsiteY90" fmla="*/ 1842646 h 3641849"/>
                <a:gd name="connsiteX91" fmla="*/ 1455730 w 1457148"/>
                <a:gd name="connsiteY91" fmla="*/ 2297728 h 3641849"/>
                <a:gd name="connsiteX92" fmla="*/ 1429282 w 1457148"/>
                <a:gd name="connsiteY92" fmla="*/ 3607693 h 3641849"/>
                <a:gd name="connsiteX93" fmla="*/ 1170855 w 1457148"/>
                <a:gd name="connsiteY93" fmla="*/ 3564098 h 3641849"/>
                <a:gd name="connsiteX94" fmla="*/ 1002377 w 1457148"/>
                <a:gd name="connsiteY94" fmla="*/ 3497903 h 3641849"/>
                <a:gd name="connsiteX95" fmla="*/ 825031 w 1457148"/>
                <a:gd name="connsiteY95" fmla="*/ 3406887 h 3641849"/>
                <a:gd name="connsiteX96" fmla="*/ 726733 w 1457148"/>
                <a:gd name="connsiteY96" fmla="*/ 3326370 h 3641849"/>
                <a:gd name="connsiteX97" fmla="*/ 1020995 w 1457148"/>
                <a:gd name="connsiteY97" fmla="*/ 3018734 h 3641849"/>
                <a:gd name="connsiteX98" fmla="*/ 737241 w 1457148"/>
                <a:gd name="connsiteY98" fmla="*/ 2480910 h 3641849"/>
                <a:gd name="connsiteX99" fmla="*/ 879591 w 1457148"/>
                <a:gd name="connsiteY99" fmla="*/ 2241825 h 3641849"/>
                <a:gd name="connsiteX100" fmla="*/ 692904 w 1457148"/>
                <a:gd name="connsiteY100" fmla="*/ 1703134 h 3641849"/>
                <a:gd name="connsiteX101" fmla="*/ 444620 w 1457148"/>
                <a:gd name="connsiteY101" fmla="*/ 1471456 h 3641849"/>
                <a:gd name="connsiteX102" fmla="*/ 435753 w 1457148"/>
                <a:gd name="connsiteY102" fmla="*/ 1355617 h 3641849"/>
                <a:gd name="connsiteX103" fmla="*/ 30225 w 1457148"/>
                <a:gd name="connsiteY103" fmla="*/ 551628 h 3641849"/>
                <a:gd name="connsiteX0" fmla="*/ 30225 w 1457148"/>
                <a:gd name="connsiteY0" fmla="*/ 551628 h 3641849"/>
                <a:gd name="connsiteX1" fmla="*/ 124356 w 1457148"/>
                <a:gd name="connsiteY1" fmla="*/ 582819 h 3641849"/>
                <a:gd name="connsiteX2" fmla="*/ 143755 w 1457148"/>
                <a:gd name="connsiteY2" fmla="*/ 559548 h 3641849"/>
                <a:gd name="connsiteX3" fmla="*/ 96646 w 1457148"/>
                <a:gd name="connsiteY3" fmla="*/ 494906 h 3641849"/>
                <a:gd name="connsiteX4" fmla="*/ 85563 w 1457148"/>
                <a:gd name="connsiteY4" fmla="*/ 378550 h 3641849"/>
                <a:gd name="connsiteX5" fmla="*/ 10744 w 1457148"/>
                <a:gd name="connsiteY5" fmla="*/ 319079 h 3641849"/>
                <a:gd name="connsiteX6" fmla="*/ 2432 w 1457148"/>
                <a:gd name="connsiteY6" fmla="*/ 251851 h 3641849"/>
                <a:gd name="connsiteX7" fmla="*/ 57852 w 1457148"/>
                <a:gd name="connsiteY7" fmla="*/ 158764 h 3641849"/>
                <a:gd name="connsiteX8" fmla="*/ 77250 w 1457148"/>
                <a:gd name="connsiteY8" fmla="*/ 135494 h 3641849"/>
                <a:gd name="connsiteX9" fmla="*/ 91105 w 1457148"/>
                <a:gd name="connsiteY9" fmla="*/ 117394 h 3641849"/>
                <a:gd name="connsiteX10" fmla="*/ 99418 w 1457148"/>
                <a:gd name="connsiteY10" fmla="*/ 73438 h 3641849"/>
                <a:gd name="connsiteX11" fmla="*/ 124357 w 1457148"/>
                <a:gd name="connsiteY11" fmla="*/ 101880 h 3641849"/>
                <a:gd name="connsiteX12" fmla="*/ 154839 w 1457148"/>
                <a:gd name="connsiteY12" fmla="*/ 88952 h 3641849"/>
                <a:gd name="connsiteX13" fmla="*/ 157609 w 1457148"/>
                <a:gd name="connsiteY13" fmla="*/ 63095 h 3641849"/>
                <a:gd name="connsiteX14" fmla="*/ 165923 w 1457148"/>
                <a:gd name="connsiteY14" fmla="*/ 34652 h 3641849"/>
                <a:gd name="connsiteX15" fmla="*/ 168695 w 1457148"/>
                <a:gd name="connsiteY15" fmla="*/ 3624 h 3641849"/>
                <a:gd name="connsiteX16" fmla="*/ 304475 w 1457148"/>
                <a:gd name="connsiteY16" fmla="*/ 57924 h 3641849"/>
                <a:gd name="connsiteX17" fmla="*/ 334955 w 1457148"/>
                <a:gd name="connsiteY17" fmla="*/ 161352 h 3641849"/>
                <a:gd name="connsiteX18" fmla="*/ 348811 w 1457148"/>
                <a:gd name="connsiteY18" fmla="*/ 184622 h 3641849"/>
                <a:gd name="connsiteX19" fmla="*/ 359895 w 1457148"/>
                <a:gd name="connsiteY19" fmla="*/ 187208 h 3641849"/>
                <a:gd name="connsiteX20" fmla="*/ 473507 w 1457148"/>
                <a:gd name="connsiteY20" fmla="*/ 156181 h 3641849"/>
                <a:gd name="connsiteX21" fmla="*/ 540012 w 1457148"/>
                <a:gd name="connsiteY21" fmla="*/ 166522 h 3641849"/>
                <a:gd name="connsiteX22" fmla="*/ 603746 w 1457148"/>
                <a:gd name="connsiteY22" fmla="*/ 213065 h 3641849"/>
                <a:gd name="connsiteX23" fmla="*/ 617773 w 1457148"/>
                <a:gd name="connsiteY23" fmla="*/ 242621 h 3641849"/>
                <a:gd name="connsiteX24" fmla="*/ 673020 w 1457148"/>
                <a:gd name="connsiteY24" fmla="*/ 277708 h 3641849"/>
                <a:gd name="connsiteX25" fmla="*/ 761694 w 1457148"/>
                <a:gd name="connsiteY25" fmla="*/ 303563 h 3641849"/>
                <a:gd name="connsiteX26" fmla="*/ 833740 w 1457148"/>
                <a:gd name="connsiteY26" fmla="*/ 350106 h 3641849"/>
                <a:gd name="connsiteX27" fmla="*/ 883619 w 1457148"/>
                <a:gd name="connsiteY27" fmla="*/ 401820 h 3641849"/>
                <a:gd name="connsiteX28" fmla="*/ 908558 w 1457148"/>
                <a:gd name="connsiteY28" fmla="*/ 440606 h 3641849"/>
                <a:gd name="connsiteX29" fmla="*/ 941811 w 1457148"/>
                <a:gd name="connsiteY29" fmla="*/ 466462 h 3641849"/>
                <a:gd name="connsiteX30" fmla="*/ 925183 w 1457148"/>
                <a:gd name="connsiteY30" fmla="*/ 691417 h 3641849"/>
                <a:gd name="connsiteX31" fmla="*/ 797717 w 1457148"/>
                <a:gd name="connsiteY31" fmla="*/ 771575 h 3641849"/>
                <a:gd name="connsiteX32" fmla="*/ 684105 w 1457148"/>
                <a:gd name="connsiteY32" fmla="*/ 779331 h 3641849"/>
                <a:gd name="connsiteX33" fmla="*/ 545552 w 1457148"/>
                <a:gd name="connsiteY33" fmla="*/ 758645 h 3641849"/>
                <a:gd name="connsiteX34" fmla="*/ 454108 w 1457148"/>
                <a:gd name="connsiteY34" fmla="*/ 722445 h 3641849"/>
                <a:gd name="connsiteX35" fmla="*/ 434711 w 1457148"/>
                <a:gd name="connsiteY35" fmla="*/ 750888 h 3641849"/>
                <a:gd name="connsiteX36" fmla="*/ 465353 w 1457148"/>
                <a:gd name="connsiteY36" fmla="*/ 824301 h 3641849"/>
                <a:gd name="connsiteX37" fmla="*/ 470894 w 1457148"/>
                <a:gd name="connsiteY37" fmla="*/ 951000 h 3641849"/>
                <a:gd name="connsiteX38" fmla="*/ 443024 w 1457148"/>
                <a:gd name="connsiteY38" fmla="*/ 1012043 h 3641849"/>
                <a:gd name="connsiteX39" fmla="*/ 498443 w 1457148"/>
                <a:gd name="connsiteY39" fmla="*/ 1032728 h 3641849"/>
                <a:gd name="connsiteX40" fmla="*/ 515071 w 1457148"/>
                <a:gd name="connsiteY40" fmla="*/ 1048242 h 3641849"/>
                <a:gd name="connsiteX41" fmla="*/ 540011 w 1457148"/>
                <a:gd name="connsiteY41" fmla="*/ 1074099 h 3641849"/>
                <a:gd name="connsiteX42" fmla="*/ 537240 w 1457148"/>
                <a:gd name="connsiteY42" fmla="*/ 1076685 h 3641849"/>
                <a:gd name="connsiteX43" fmla="*/ 576033 w 1457148"/>
                <a:gd name="connsiteY43" fmla="*/ 1071514 h 3641849"/>
                <a:gd name="connsiteX44" fmla="*/ 584347 w 1457148"/>
                <a:gd name="connsiteY44" fmla="*/ 1035314 h 3641849"/>
                <a:gd name="connsiteX45" fmla="*/ 545552 w 1457148"/>
                <a:gd name="connsiteY45" fmla="*/ 957743 h 3641849"/>
                <a:gd name="connsiteX46" fmla="*/ 614828 w 1457148"/>
                <a:gd name="connsiteY46" fmla="*/ 911200 h 3641849"/>
                <a:gd name="connsiteX47" fmla="*/ 682600 w 1457148"/>
                <a:gd name="connsiteY47" fmla="*/ 918934 h 3641849"/>
                <a:gd name="connsiteX48" fmla="*/ 706433 w 1457148"/>
                <a:gd name="connsiteY48" fmla="*/ 951001 h 3641849"/>
                <a:gd name="connsiteX49" fmla="*/ 862162 w 1457148"/>
                <a:gd name="connsiteY49" fmla="*/ 1007364 h 3641849"/>
                <a:gd name="connsiteX50" fmla="*/ 847754 w 1457148"/>
                <a:gd name="connsiteY50" fmla="*/ 971687 h 3641849"/>
                <a:gd name="connsiteX51" fmla="*/ 814502 w 1457148"/>
                <a:gd name="connsiteY51" fmla="*/ 932901 h 3641849"/>
                <a:gd name="connsiteX52" fmla="*/ 803418 w 1457148"/>
                <a:gd name="connsiteY52" fmla="*/ 881187 h 3641849"/>
                <a:gd name="connsiteX53" fmla="*/ 842213 w 1457148"/>
                <a:gd name="connsiteY53" fmla="*/ 832060 h 3641849"/>
                <a:gd name="connsiteX54" fmla="*/ 869923 w 1457148"/>
                <a:gd name="connsiteY54" fmla="*/ 803617 h 3641849"/>
                <a:gd name="connsiteX55" fmla="*/ 894863 w 1457148"/>
                <a:gd name="connsiteY55" fmla="*/ 767417 h 3641849"/>
                <a:gd name="connsiteX56" fmla="*/ 975223 w 1457148"/>
                <a:gd name="connsiteY56" fmla="*/ 762245 h 3641849"/>
                <a:gd name="connsiteX57" fmla="*/ 980764 w 1457148"/>
                <a:gd name="connsiteY57" fmla="*/ 741560 h 3641849"/>
                <a:gd name="connsiteX58" fmla="*/ 1005704 w 1457148"/>
                <a:gd name="connsiteY58" fmla="*/ 705360 h 3641849"/>
                <a:gd name="connsiteX59" fmla="*/ 1039508 w 1457148"/>
                <a:gd name="connsiteY59" fmla="*/ 687772 h 3641849"/>
                <a:gd name="connsiteX60" fmla="*/ 1097148 w 1457148"/>
                <a:gd name="connsiteY60" fmla="*/ 700189 h 3641849"/>
                <a:gd name="connsiteX61" fmla="*/ 1135941 w 1457148"/>
                <a:gd name="connsiteY61" fmla="*/ 720875 h 3641849"/>
                <a:gd name="connsiteX62" fmla="*/ 1183049 w 1457148"/>
                <a:gd name="connsiteY62" fmla="*/ 728632 h 3641849"/>
                <a:gd name="connsiteX63" fmla="*/ 1183049 w 1457148"/>
                <a:gd name="connsiteY63" fmla="*/ 733803 h 3641849"/>
                <a:gd name="connsiteX64" fmla="*/ 1205218 w 1457148"/>
                <a:gd name="connsiteY64" fmla="*/ 674332 h 3641849"/>
                <a:gd name="connsiteX65" fmla="*/ 1215193 w 1457148"/>
                <a:gd name="connsiteY65" fmla="*/ 640714 h 3641849"/>
                <a:gd name="connsiteX66" fmla="*/ 1221844 w 1457148"/>
                <a:gd name="connsiteY66" fmla="*/ 622618 h 3641849"/>
                <a:gd name="connsiteX67" fmla="*/ 1224781 w 1457148"/>
                <a:gd name="connsiteY67" fmla="*/ 591288 h 3641849"/>
                <a:gd name="connsiteX68" fmla="*/ 1144255 w 1457148"/>
                <a:gd name="connsiteY68" fmla="*/ 545048 h 3641849"/>
                <a:gd name="connsiteX69" fmla="*/ 1130400 w 1457148"/>
                <a:gd name="connsiteY69" fmla="*/ 472648 h 3641849"/>
                <a:gd name="connsiteX70" fmla="*/ 1130400 w 1457148"/>
                <a:gd name="connsiteY70" fmla="*/ 454548 h 3641849"/>
                <a:gd name="connsiteX71" fmla="*/ 1141483 w 1457148"/>
                <a:gd name="connsiteY71" fmla="*/ 431276 h 3641849"/>
                <a:gd name="connsiteX72" fmla="*/ 1144255 w 1457148"/>
                <a:gd name="connsiteY72" fmla="*/ 415762 h 3641849"/>
                <a:gd name="connsiteX73" fmla="*/ 1144254 w 1457148"/>
                <a:gd name="connsiteY73" fmla="*/ 358878 h 3641849"/>
                <a:gd name="connsiteX74" fmla="*/ 1122086 w 1457148"/>
                <a:gd name="connsiteY74" fmla="*/ 335607 h 3641849"/>
                <a:gd name="connsiteX75" fmla="*/ 1094376 w 1457148"/>
                <a:gd name="connsiteY75" fmla="*/ 304578 h 3641849"/>
                <a:gd name="connsiteX76" fmla="*/ 1090208 w 1457148"/>
                <a:gd name="connsiteY76" fmla="*/ 280325 h 3641849"/>
                <a:gd name="connsiteX77" fmla="*/ 1141484 w 1457148"/>
                <a:gd name="connsiteY77" fmla="*/ 258034 h 3641849"/>
                <a:gd name="connsiteX78" fmla="*/ 1195064 w 1457148"/>
                <a:gd name="connsiteY78" fmla="*/ 267906 h 3641849"/>
                <a:gd name="connsiteX79" fmla="*/ 1273848 w 1457148"/>
                <a:gd name="connsiteY79" fmla="*/ 279816 h 3641849"/>
                <a:gd name="connsiteX80" fmla="*/ 1358171 w 1457148"/>
                <a:gd name="connsiteY80" fmla="*/ 349175 h 3641849"/>
                <a:gd name="connsiteX81" fmla="*/ 1420306 w 1457148"/>
                <a:gd name="connsiteY81" fmla="*/ 425271 h 3641849"/>
                <a:gd name="connsiteX82" fmla="*/ 1319335 w 1457148"/>
                <a:gd name="connsiteY82" fmla="*/ 454265 h 3641849"/>
                <a:gd name="connsiteX83" fmla="*/ 1303801 w 1457148"/>
                <a:gd name="connsiteY83" fmla="*/ 501372 h 3641849"/>
                <a:gd name="connsiteX84" fmla="*/ 1361471 w 1457148"/>
                <a:gd name="connsiteY84" fmla="*/ 585862 h 3641849"/>
                <a:gd name="connsiteX85" fmla="*/ 1397005 w 1457148"/>
                <a:gd name="connsiteY85" fmla="*/ 591964 h 3641849"/>
                <a:gd name="connsiteX86" fmla="*/ 1449625 w 1457148"/>
                <a:gd name="connsiteY86" fmla="*/ 598304 h 3641849"/>
                <a:gd name="connsiteX87" fmla="*/ 1444662 w 1457148"/>
                <a:gd name="connsiteY87" fmla="*/ 709079 h 3641849"/>
                <a:gd name="connsiteX88" fmla="*/ 1455731 w 1457148"/>
                <a:gd name="connsiteY88" fmla="*/ 1040047 h 3641849"/>
                <a:gd name="connsiteX89" fmla="*/ 1446863 w 1457148"/>
                <a:gd name="connsiteY89" fmla="*/ 1842646 h 3641849"/>
                <a:gd name="connsiteX90" fmla="*/ 1455730 w 1457148"/>
                <a:gd name="connsiteY90" fmla="*/ 2297728 h 3641849"/>
                <a:gd name="connsiteX91" fmla="*/ 1429282 w 1457148"/>
                <a:gd name="connsiteY91" fmla="*/ 3607693 h 3641849"/>
                <a:gd name="connsiteX92" fmla="*/ 1170855 w 1457148"/>
                <a:gd name="connsiteY92" fmla="*/ 3564098 h 3641849"/>
                <a:gd name="connsiteX93" fmla="*/ 1002377 w 1457148"/>
                <a:gd name="connsiteY93" fmla="*/ 3497903 h 3641849"/>
                <a:gd name="connsiteX94" fmla="*/ 825031 w 1457148"/>
                <a:gd name="connsiteY94" fmla="*/ 3406887 h 3641849"/>
                <a:gd name="connsiteX95" fmla="*/ 726733 w 1457148"/>
                <a:gd name="connsiteY95" fmla="*/ 3326370 h 3641849"/>
                <a:gd name="connsiteX96" fmla="*/ 1020995 w 1457148"/>
                <a:gd name="connsiteY96" fmla="*/ 3018734 h 3641849"/>
                <a:gd name="connsiteX97" fmla="*/ 737241 w 1457148"/>
                <a:gd name="connsiteY97" fmla="*/ 2480910 h 3641849"/>
                <a:gd name="connsiteX98" fmla="*/ 879591 w 1457148"/>
                <a:gd name="connsiteY98" fmla="*/ 2241825 h 3641849"/>
                <a:gd name="connsiteX99" fmla="*/ 692904 w 1457148"/>
                <a:gd name="connsiteY99" fmla="*/ 1703134 h 3641849"/>
                <a:gd name="connsiteX100" fmla="*/ 444620 w 1457148"/>
                <a:gd name="connsiteY100" fmla="*/ 1471456 h 3641849"/>
                <a:gd name="connsiteX101" fmla="*/ 435753 w 1457148"/>
                <a:gd name="connsiteY101" fmla="*/ 1355617 h 3641849"/>
                <a:gd name="connsiteX102" fmla="*/ 30225 w 1457148"/>
                <a:gd name="connsiteY102" fmla="*/ 551628 h 3641849"/>
                <a:gd name="connsiteX0" fmla="*/ 30225 w 1457148"/>
                <a:gd name="connsiteY0" fmla="*/ 551628 h 3641849"/>
                <a:gd name="connsiteX1" fmla="*/ 124356 w 1457148"/>
                <a:gd name="connsiteY1" fmla="*/ 582819 h 3641849"/>
                <a:gd name="connsiteX2" fmla="*/ 96646 w 1457148"/>
                <a:gd name="connsiteY2" fmla="*/ 494906 h 3641849"/>
                <a:gd name="connsiteX3" fmla="*/ 85563 w 1457148"/>
                <a:gd name="connsiteY3" fmla="*/ 378550 h 3641849"/>
                <a:gd name="connsiteX4" fmla="*/ 10744 w 1457148"/>
                <a:gd name="connsiteY4" fmla="*/ 319079 h 3641849"/>
                <a:gd name="connsiteX5" fmla="*/ 2432 w 1457148"/>
                <a:gd name="connsiteY5" fmla="*/ 251851 h 3641849"/>
                <a:gd name="connsiteX6" fmla="*/ 57852 w 1457148"/>
                <a:gd name="connsiteY6" fmla="*/ 158764 h 3641849"/>
                <a:gd name="connsiteX7" fmla="*/ 77250 w 1457148"/>
                <a:gd name="connsiteY7" fmla="*/ 135494 h 3641849"/>
                <a:gd name="connsiteX8" fmla="*/ 91105 w 1457148"/>
                <a:gd name="connsiteY8" fmla="*/ 117394 h 3641849"/>
                <a:gd name="connsiteX9" fmla="*/ 99418 w 1457148"/>
                <a:gd name="connsiteY9" fmla="*/ 73438 h 3641849"/>
                <a:gd name="connsiteX10" fmla="*/ 124357 w 1457148"/>
                <a:gd name="connsiteY10" fmla="*/ 101880 h 3641849"/>
                <a:gd name="connsiteX11" fmla="*/ 154839 w 1457148"/>
                <a:gd name="connsiteY11" fmla="*/ 88952 h 3641849"/>
                <a:gd name="connsiteX12" fmla="*/ 157609 w 1457148"/>
                <a:gd name="connsiteY12" fmla="*/ 63095 h 3641849"/>
                <a:gd name="connsiteX13" fmla="*/ 165923 w 1457148"/>
                <a:gd name="connsiteY13" fmla="*/ 34652 h 3641849"/>
                <a:gd name="connsiteX14" fmla="*/ 168695 w 1457148"/>
                <a:gd name="connsiteY14" fmla="*/ 3624 h 3641849"/>
                <a:gd name="connsiteX15" fmla="*/ 304475 w 1457148"/>
                <a:gd name="connsiteY15" fmla="*/ 57924 h 3641849"/>
                <a:gd name="connsiteX16" fmla="*/ 334955 w 1457148"/>
                <a:gd name="connsiteY16" fmla="*/ 161352 h 3641849"/>
                <a:gd name="connsiteX17" fmla="*/ 348811 w 1457148"/>
                <a:gd name="connsiteY17" fmla="*/ 184622 h 3641849"/>
                <a:gd name="connsiteX18" fmla="*/ 359895 w 1457148"/>
                <a:gd name="connsiteY18" fmla="*/ 187208 h 3641849"/>
                <a:gd name="connsiteX19" fmla="*/ 473507 w 1457148"/>
                <a:gd name="connsiteY19" fmla="*/ 156181 h 3641849"/>
                <a:gd name="connsiteX20" fmla="*/ 540012 w 1457148"/>
                <a:gd name="connsiteY20" fmla="*/ 166522 h 3641849"/>
                <a:gd name="connsiteX21" fmla="*/ 603746 w 1457148"/>
                <a:gd name="connsiteY21" fmla="*/ 213065 h 3641849"/>
                <a:gd name="connsiteX22" fmla="*/ 617773 w 1457148"/>
                <a:gd name="connsiteY22" fmla="*/ 242621 h 3641849"/>
                <a:gd name="connsiteX23" fmla="*/ 673020 w 1457148"/>
                <a:gd name="connsiteY23" fmla="*/ 277708 h 3641849"/>
                <a:gd name="connsiteX24" fmla="*/ 761694 w 1457148"/>
                <a:gd name="connsiteY24" fmla="*/ 303563 h 3641849"/>
                <a:gd name="connsiteX25" fmla="*/ 833740 w 1457148"/>
                <a:gd name="connsiteY25" fmla="*/ 350106 h 3641849"/>
                <a:gd name="connsiteX26" fmla="*/ 883619 w 1457148"/>
                <a:gd name="connsiteY26" fmla="*/ 401820 h 3641849"/>
                <a:gd name="connsiteX27" fmla="*/ 908558 w 1457148"/>
                <a:gd name="connsiteY27" fmla="*/ 440606 h 3641849"/>
                <a:gd name="connsiteX28" fmla="*/ 941811 w 1457148"/>
                <a:gd name="connsiteY28" fmla="*/ 466462 h 3641849"/>
                <a:gd name="connsiteX29" fmla="*/ 925183 w 1457148"/>
                <a:gd name="connsiteY29" fmla="*/ 691417 h 3641849"/>
                <a:gd name="connsiteX30" fmla="*/ 797717 w 1457148"/>
                <a:gd name="connsiteY30" fmla="*/ 771575 h 3641849"/>
                <a:gd name="connsiteX31" fmla="*/ 684105 w 1457148"/>
                <a:gd name="connsiteY31" fmla="*/ 779331 h 3641849"/>
                <a:gd name="connsiteX32" fmla="*/ 545552 w 1457148"/>
                <a:gd name="connsiteY32" fmla="*/ 758645 h 3641849"/>
                <a:gd name="connsiteX33" fmla="*/ 454108 w 1457148"/>
                <a:gd name="connsiteY33" fmla="*/ 722445 h 3641849"/>
                <a:gd name="connsiteX34" fmla="*/ 434711 w 1457148"/>
                <a:gd name="connsiteY34" fmla="*/ 750888 h 3641849"/>
                <a:gd name="connsiteX35" fmla="*/ 465353 w 1457148"/>
                <a:gd name="connsiteY35" fmla="*/ 824301 h 3641849"/>
                <a:gd name="connsiteX36" fmla="*/ 470894 w 1457148"/>
                <a:gd name="connsiteY36" fmla="*/ 951000 h 3641849"/>
                <a:gd name="connsiteX37" fmla="*/ 443024 w 1457148"/>
                <a:gd name="connsiteY37" fmla="*/ 1012043 h 3641849"/>
                <a:gd name="connsiteX38" fmla="*/ 498443 w 1457148"/>
                <a:gd name="connsiteY38" fmla="*/ 1032728 h 3641849"/>
                <a:gd name="connsiteX39" fmla="*/ 515071 w 1457148"/>
                <a:gd name="connsiteY39" fmla="*/ 1048242 h 3641849"/>
                <a:gd name="connsiteX40" fmla="*/ 540011 w 1457148"/>
                <a:gd name="connsiteY40" fmla="*/ 1074099 h 3641849"/>
                <a:gd name="connsiteX41" fmla="*/ 537240 w 1457148"/>
                <a:gd name="connsiteY41" fmla="*/ 1076685 h 3641849"/>
                <a:gd name="connsiteX42" fmla="*/ 576033 w 1457148"/>
                <a:gd name="connsiteY42" fmla="*/ 1071514 h 3641849"/>
                <a:gd name="connsiteX43" fmla="*/ 584347 w 1457148"/>
                <a:gd name="connsiteY43" fmla="*/ 1035314 h 3641849"/>
                <a:gd name="connsiteX44" fmla="*/ 545552 w 1457148"/>
                <a:gd name="connsiteY44" fmla="*/ 957743 h 3641849"/>
                <a:gd name="connsiteX45" fmla="*/ 614828 w 1457148"/>
                <a:gd name="connsiteY45" fmla="*/ 911200 h 3641849"/>
                <a:gd name="connsiteX46" fmla="*/ 682600 w 1457148"/>
                <a:gd name="connsiteY46" fmla="*/ 918934 h 3641849"/>
                <a:gd name="connsiteX47" fmla="*/ 706433 w 1457148"/>
                <a:gd name="connsiteY47" fmla="*/ 951001 h 3641849"/>
                <a:gd name="connsiteX48" fmla="*/ 862162 w 1457148"/>
                <a:gd name="connsiteY48" fmla="*/ 1007364 h 3641849"/>
                <a:gd name="connsiteX49" fmla="*/ 847754 w 1457148"/>
                <a:gd name="connsiteY49" fmla="*/ 971687 h 3641849"/>
                <a:gd name="connsiteX50" fmla="*/ 814502 w 1457148"/>
                <a:gd name="connsiteY50" fmla="*/ 932901 h 3641849"/>
                <a:gd name="connsiteX51" fmla="*/ 803418 w 1457148"/>
                <a:gd name="connsiteY51" fmla="*/ 881187 h 3641849"/>
                <a:gd name="connsiteX52" fmla="*/ 842213 w 1457148"/>
                <a:gd name="connsiteY52" fmla="*/ 832060 h 3641849"/>
                <a:gd name="connsiteX53" fmla="*/ 869923 w 1457148"/>
                <a:gd name="connsiteY53" fmla="*/ 803617 h 3641849"/>
                <a:gd name="connsiteX54" fmla="*/ 894863 w 1457148"/>
                <a:gd name="connsiteY54" fmla="*/ 767417 h 3641849"/>
                <a:gd name="connsiteX55" fmla="*/ 975223 w 1457148"/>
                <a:gd name="connsiteY55" fmla="*/ 762245 h 3641849"/>
                <a:gd name="connsiteX56" fmla="*/ 980764 w 1457148"/>
                <a:gd name="connsiteY56" fmla="*/ 741560 h 3641849"/>
                <a:gd name="connsiteX57" fmla="*/ 1005704 w 1457148"/>
                <a:gd name="connsiteY57" fmla="*/ 705360 h 3641849"/>
                <a:gd name="connsiteX58" fmla="*/ 1039508 w 1457148"/>
                <a:gd name="connsiteY58" fmla="*/ 687772 h 3641849"/>
                <a:gd name="connsiteX59" fmla="*/ 1097148 w 1457148"/>
                <a:gd name="connsiteY59" fmla="*/ 700189 h 3641849"/>
                <a:gd name="connsiteX60" fmla="*/ 1135941 w 1457148"/>
                <a:gd name="connsiteY60" fmla="*/ 720875 h 3641849"/>
                <a:gd name="connsiteX61" fmla="*/ 1183049 w 1457148"/>
                <a:gd name="connsiteY61" fmla="*/ 728632 h 3641849"/>
                <a:gd name="connsiteX62" fmla="*/ 1183049 w 1457148"/>
                <a:gd name="connsiteY62" fmla="*/ 733803 h 3641849"/>
                <a:gd name="connsiteX63" fmla="*/ 1205218 w 1457148"/>
                <a:gd name="connsiteY63" fmla="*/ 674332 h 3641849"/>
                <a:gd name="connsiteX64" fmla="*/ 1215193 w 1457148"/>
                <a:gd name="connsiteY64" fmla="*/ 640714 h 3641849"/>
                <a:gd name="connsiteX65" fmla="*/ 1221844 w 1457148"/>
                <a:gd name="connsiteY65" fmla="*/ 622618 h 3641849"/>
                <a:gd name="connsiteX66" fmla="*/ 1224781 w 1457148"/>
                <a:gd name="connsiteY66" fmla="*/ 591288 h 3641849"/>
                <a:gd name="connsiteX67" fmla="*/ 1144255 w 1457148"/>
                <a:gd name="connsiteY67" fmla="*/ 545048 h 3641849"/>
                <a:gd name="connsiteX68" fmla="*/ 1130400 w 1457148"/>
                <a:gd name="connsiteY68" fmla="*/ 472648 h 3641849"/>
                <a:gd name="connsiteX69" fmla="*/ 1130400 w 1457148"/>
                <a:gd name="connsiteY69" fmla="*/ 454548 h 3641849"/>
                <a:gd name="connsiteX70" fmla="*/ 1141483 w 1457148"/>
                <a:gd name="connsiteY70" fmla="*/ 431276 h 3641849"/>
                <a:gd name="connsiteX71" fmla="*/ 1144255 w 1457148"/>
                <a:gd name="connsiteY71" fmla="*/ 415762 h 3641849"/>
                <a:gd name="connsiteX72" fmla="*/ 1144254 w 1457148"/>
                <a:gd name="connsiteY72" fmla="*/ 358878 h 3641849"/>
                <a:gd name="connsiteX73" fmla="*/ 1122086 w 1457148"/>
                <a:gd name="connsiteY73" fmla="*/ 335607 h 3641849"/>
                <a:gd name="connsiteX74" fmla="*/ 1094376 w 1457148"/>
                <a:gd name="connsiteY74" fmla="*/ 304578 h 3641849"/>
                <a:gd name="connsiteX75" fmla="*/ 1090208 w 1457148"/>
                <a:gd name="connsiteY75" fmla="*/ 280325 h 3641849"/>
                <a:gd name="connsiteX76" fmla="*/ 1141484 w 1457148"/>
                <a:gd name="connsiteY76" fmla="*/ 258034 h 3641849"/>
                <a:gd name="connsiteX77" fmla="*/ 1195064 w 1457148"/>
                <a:gd name="connsiteY77" fmla="*/ 267906 h 3641849"/>
                <a:gd name="connsiteX78" fmla="*/ 1273848 w 1457148"/>
                <a:gd name="connsiteY78" fmla="*/ 279816 h 3641849"/>
                <a:gd name="connsiteX79" fmla="*/ 1358171 w 1457148"/>
                <a:gd name="connsiteY79" fmla="*/ 349175 h 3641849"/>
                <a:gd name="connsiteX80" fmla="*/ 1420306 w 1457148"/>
                <a:gd name="connsiteY80" fmla="*/ 425271 h 3641849"/>
                <a:gd name="connsiteX81" fmla="*/ 1319335 w 1457148"/>
                <a:gd name="connsiteY81" fmla="*/ 454265 h 3641849"/>
                <a:gd name="connsiteX82" fmla="*/ 1303801 w 1457148"/>
                <a:gd name="connsiteY82" fmla="*/ 501372 h 3641849"/>
                <a:gd name="connsiteX83" fmla="*/ 1361471 w 1457148"/>
                <a:gd name="connsiteY83" fmla="*/ 585862 h 3641849"/>
                <a:gd name="connsiteX84" fmla="*/ 1397005 w 1457148"/>
                <a:gd name="connsiteY84" fmla="*/ 591964 h 3641849"/>
                <a:gd name="connsiteX85" fmla="*/ 1449625 w 1457148"/>
                <a:gd name="connsiteY85" fmla="*/ 598304 h 3641849"/>
                <a:gd name="connsiteX86" fmla="*/ 1444662 w 1457148"/>
                <a:gd name="connsiteY86" fmla="*/ 709079 h 3641849"/>
                <a:gd name="connsiteX87" fmla="*/ 1455731 w 1457148"/>
                <a:gd name="connsiteY87" fmla="*/ 1040047 h 3641849"/>
                <a:gd name="connsiteX88" fmla="*/ 1446863 w 1457148"/>
                <a:gd name="connsiteY88" fmla="*/ 1842646 h 3641849"/>
                <a:gd name="connsiteX89" fmla="*/ 1455730 w 1457148"/>
                <a:gd name="connsiteY89" fmla="*/ 2297728 h 3641849"/>
                <a:gd name="connsiteX90" fmla="*/ 1429282 w 1457148"/>
                <a:gd name="connsiteY90" fmla="*/ 3607693 h 3641849"/>
                <a:gd name="connsiteX91" fmla="*/ 1170855 w 1457148"/>
                <a:gd name="connsiteY91" fmla="*/ 3564098 h 3641849"/>
                <a:gd name="connsiteX92" fmla="*/ 1002377 w 1457148"/>
                <a:gd name="connsiteY92" fmla="*/ 3497903 h 3641849"/>
                <a:gd name="connsiteX93" fmla="*/ 825031 w 1457148"/>
                <a:gd name="connsiteY93" fmla="*/ 3406887 h 3641849"/>
                <a:gd name="connsiteX94" fmla="*/ 726733 w 1457148"/>
                <a:gd name="connsiteY94" fmla="*/ 3326370 h 3641849"/>
                <a:gd name="connsiteX95" fmla="*/ 1020995 w 1457148"/>
                <a:gd name="connsiteY95" fmla="*/ 3018734 h 3641849"/>
                <a:gd name="connsiteX96" fmla="*/ 737241 w 1457148"/>
                <a:gd name="connsiteY96" fmla="*/ 2480910 h 3641849"/>
                <a:gd name="connsiteX97" fmla="*/ 879591 w 1457148"/>
                <a:gd name="connsiteY97" fmla="*/ 2241825 h 3641849"/>
                <a:gd name="connsiteX98" fmla="*/ 692904 w 1457148"/>
                <a:gd name="connsiteY98" fmla="*/ 1703134 h 3641849"/>
                <a:gd name="connsiteX99" fmla="*/ 444620 w 1457148"/>
                <a:gd name="connsiteY99" fmla="*/ 1471456 h 3641849"/>
                <a:gd name="connsiteX100" fmla="*/ 435753 w 1457148"/>
                <a:gd name="connsiteY100" fmla="*/ 1355617 h 3641849"/>
                <a:gd name="connsiteX101" fmla="*/ 30225 w 1457148"/>
                <a:gd name="connsiteY101" fmla="*/ 551628 h 3641849"/>
                <a:gd name="connsiteX0" fmla="*/ 30225 w 1457148"/>
                <a:gd name="connsiteY0" fmla="*/ 551628 h 3641849"/>
                <a:gd name="connsiteX1" fmla="*/ 96646 w 1457148"/>
                <a:gd name="connsiteY1" fmla="*/ 494906 h 3641849"/>
                <a:gd name="connsiteX2" fmla="*/ 85563 w 1457148"/>
                <a:gd name="connsiteY2" fmla="*/ 378550 h 3641849"/>
                <a:gd name="connsiteX3" fmla="*/ 10744 w 1457148"/>
                <a:gd name="connsiteY3" fmla="*/ 319079 h 3641849"/>
                <a:gd name="connsiteX4" fmla="*/ 2432 w 1457148"/>
                <a:gd name="connsiteY4" fmla="*/ 251851 h 3641849"/>
                <a:gd name="connsiteX5" fmla="*/ 57852 w 1457148"/>
                <a:gd name="connsiteY5" fmla="*/ 158764 h 3641849"/>
                <a:gd name="connsiteX6" fmla="*/ 77250 w 1457148"/>
                <a:gd name="connsiteY6" fmla="*/ 135494 h 3641849"/>
                <a:gd name="connsiteX7" fmla="*/ 91105 w 1457148"/>
                <a:gd name="connsiteY7" fmla="*/ 117394 h 3641849"/>
                <a:gd name="connsiteX8" fmla="*/ 99418 w 1457148"/>
                <a:gd name="connsiteY8" fmla="*/ 73438 h 3641849"/>
                <a:gd name="connsiteX9" fmla="*/ 124357 w 1457148"/>
                <a:gd name="connsiteY9" fmla="*/ 101880 h 3641849"/>
                <a:gd name="connsiteX10" fmla="*/ 154839 w 1457148"/>
                <a:gd name="connsiteY10" fmla="*/ 88952 h 3641849"/>
                <a:gd name="connsiteX11" fmla="*/ 157609 w 1457148"/>
                <a:gd name="connsiteY11" fmla="*/ 63095 h 3641849"/>
                <a:gd name="connsiteX12" fmla="*/ 165923 w 1457148"/>
                <a:gd name="connsiteY12" fmla="*/ 34652 h 3641849"/>
                <a:gd name="connsiteX13" fmla="*/ 168695 w 1457148"/>
                <a:gd name="connsiteY13" fmla="*/ 3624 h 3641849"/>
                <a:gd name="connsiteX14" fmla="*/ 304475 w 1457148"/>
                <a:gd name="connsiteY14" fmla="*/ 57924 h 3641849"/>
                <a:gd name="connsiteX15" fmla="*/ 334955 w 1457148"/>
                <a:gd name="connsiteY15" fmla="*/ 161352 h 3641849"/>
                <a:gd name="connsiteX16" fmla="*/ 348811 w 1457148"/>
                <a:gd name="connsiteY16" fmla="*/ 184622 h 3641849"/>
                <a:gd name="connsiteX17" fmla="*/ 359895 w 1457148"/>
                <a:gd name="connsiteY17" fmla="*/ 187208 h 3641849"/>
                <a:gd name="connsiteX18" fmla="*/ 473507 w 1457148"/>
                <a:gd name="connsiteY18" fmla="*/ 156181 h 3641849"/>
                <a:gd name="connsiteX19" fmla="*/ 540012 w 1457148"/>
                <a:gd name="connsiteY19" fmla="*/ 166522 h 3641849"/>
                <a:gd name="connsiteX20" fmla="*/ 603746 w 1457148"/>
                <a:gd name="connsiteY20" fmla="*/ 213065 h 3641849"/>
                <a:gd name="connsiteX21" fmla="*/ 617773 w 1457148"/>
                <a:gd name="connsiteY21" fmla="*/ 242621 h 3641849"/>
                <a:gd name="connsiteX22" fmla="*/ 673020 w 1457148"/>
                <a:gd name="connsiteY22" fmla="*/ 277708 h 3641849"/>
                <a:gd name="connsiteX23" fmla="*/ 761694 w 1457148"/>
                <a:gd name="connsiteY23" fmla="*/ 303563 h 3641849"/>
                <a:gd name="connsiteX24" fmla="*/ 833740 w 1457148"/>
                <a:gd name="connsiteY24" fmla="*/ 350106 h 3641849"/>
                <a:gd name="connsiteX25" fmla="*/ 883619 w 1457148"/>
                <a:gd name="connsiteY25" fmla="*/ 401820 h 3641849"/>
                <a:gd name="connsiteX26" fmla="*/ 908558 w 1457148"/>
                <a:gd name="connsiteY26" fmla="*/ 440606 h 3641849"/>
                <a:gd name="connsiteX27" fmla="*/ 941811 w 1457148"/>
                <a:gd name="connsiteY27" fmla="*/ 466462 h 3641849"/>
                <a:gd name="connsiteX28" fmla="*/ 925183 w 1457148"/>
                <a:gd name="connsiteY28" fmla="*/ 691417 h 3641849"/>
                <a:gd name="connsiteX29" fmla="*/ 797717 w 1457148"/>
                <a:gd name="connsiteY29" fmla="*/ 771575 h 3641849"/>
                <a:gd name="connsiteX30" fmla="*/ 684105 w 1457148"/>
                <a:gd name="connsiteY30" fmla="*/ 779331 h 3641849"/>
                <a:gd name="connsiteX31" fmla="*/ 545552 w 1457148"/>
                <a:gd name="connsiteY31" fmla="*/ 758645 h 3641849"/>
                <a:gd name="connsiteX32" fmla="*/ 454108 w 1457148"/>
                <a:gd name="connsiteY32" fmla="*/ 722445 h 3641849"/>
                <a:gd name="connsiteX33" fmla="*/ 434711 w 1457148"/>
                <a:gd name="connsiteY33" fmla="*/ 750888 h 3641849"/>
                <a:gd name="connsiteX34" fmla="*/ 465353 w 1457148"/>
                <a:gd name="connsiteY34" fmla="*/ 824301 h 3641849"/>
                <a:gd name="connsiteX35" fmla="*/ 470894 w 1457148"/>
                <a:gd name="connsiteY35" fmla="*/ 951000 h 3641849"/>
                <a:gd name="connsiteX36" fmla="*/ 443024 w 1457148"/>
                <a:gd name="connsiteY36" fmla="*/ 1012043 h 3641849"/>
                <a:gd name="connsiteX37" fmla="*/ 498443 w 1457148"/>
                <a:gd name="connsiteY37" fmla="*/ 1032728 h 3641849"/>
                <a:gd name="connsiteX38" fmla="*/ 515071 w 1457148"/>
                <a:gd name="connsiteY38" fmla="*/ 1048242 h 3641849"/>
                <a:gd name="connsiteX39" fmla="*/ 540011 w 1457148"/>
                <a:gd name="connsiteY39" fmla="*/ 1074099 h 3641849"/>
                <a:gd name="connsiteX40" fmla="*/ 537240 w 1457148"/>
                <a:gd name="connsiteY40" fmla="*/ 1076685 h 3641849"/>
                <a:gd name="connsiteX41" fmla="*/ 576033 w 1457148"/>
                <a:gd name="connsiteY41" fmla="*/ 1071514 h 3641849"/>
                <a:gd name="connsiteX42" fmla="*/ 584347 w 1457148"/>
                <a:gd name="connsiteY42" fmla="*/ 1035314 h 3641849"/>
                <a:gd name="connsiteX43" fmla="*/ 545552 w 1457148"/>
                <a:gd name="connsiteY43" fmla="*/ 957743 h 3641849"/>
                <a:gd name="connsiteX44" fmla="*/ 614828 w 1457148"/>
                <a:gd name="connsiteY44" fmla="*/ 911200 h 3641849"/>
                <a:gd name="connsiteX45" fmla="*/ 682600 w 1457148"/>
                <a:gd name="connsiteY45" fmla="*/ 918934 h 3641849"/>
                <a:gd name="connsiteX46" fmla="*/ 706433 w 1457148"/>
                <a:gd name="connsiteY46" fmla="*/ 951001 h 3641849"/>
                <a:gd name="connsiteX47" fmla="*/ 862162 w 1457148"/>
                <a:gd name="connsiteY47" fmla="*/ 1007364 h 3641849"/>
                <a:gd name="connsiteX48" fmla="*/ 847754 w 1457148"/>
                <a:gd name="connsiteY48" fmla="*/ 971687 h 3641849"/>
                <a:gd name="connsiteX49" fmla="*/ 814502 w 1457148"/>
                <a:gd name="connsiteY49" fmla="*/ 932901 h 3641849"/>
                <a:gd name="connsiteX50" fmla="*/ 803418 w 1457148"/>
                <a:gd name="connsiteY50" fmla="*/ 881187 h 3641849"/>
                <a:gd name="connsiteX51" fmla="*/ 842213 w 1457148"/>
                <a:gd name="connsiteY51" fmla="*/ 832060 h 3641849"/>
                <a:gd name="connsiteX52" fmla="*/ 869923 w 1457148"/>
                <a:gd name="connsiteY52" fmla="*/ 803617 h 3641849"/>
                <a:gd name="connsiteX53" fmla="*/ 894863 w 1457148"/>
                <a:gd name="connsiteY53" fmla="*/ 767417 h 3641849"/>
                <a:gd name="connsiteX54" fmla="*/ 975223 w 1457148"/>
                <a:gd name="connsiteY54" fmla="*/ 762245 h 3641849"/>
                <a:gd name="connsiteX55" fmla="*/ 980764 w 1457148"/>
                <a:gd name="connsiteY55" fmla="*/ 741560 h 3641849"/>
                <a:gd name="connsiteX56" fmla="*/ 1005704 w 1457148"/>
                <a:gd name="connsiteY56" fmla="*/ 705360 h 3641849"/>
                <a:gd name="connsiteX57" fmla="*/ 1039508 w 1457148"/>
                <a:gd name="connsiteY57" fmla="*/ 687772 h 3641849"/>
                <a:gd name="connsiteX58" fmla="*/ 1097148 w 1457148"/>
                <a:gd name="connsiteY58" fmla="*/ 700189 h 3641849"/>
                <a:gd name="connsiteX59" fmla="*/ 1135941 w 1457148"/>
                <a:gd name="connsiteY59" fmla="*/ 720875 h 3641849"/>
                <a:gd name="connsiteX60" fmla="*/ 1183049 w 1457148"/>
                <a:gd name="connsiteY60" fmla="*/ 728632 h 3641849"/>
                <a:gd name="connsiteX61" fmla="*/ 1183049 w 1457148"/>
                <a:gd name="connsiteY61" fmla="*/ 733803 h 3641849"/>
                <a:gd name="connsiteX62" fmla="*/ 1205218 w 1457148"/>
                <a:gd name="connsiteY62" fmla="*/ 674332 h 3641849"/>
                <a:gd name="connsiteX63" fmla="*/ 1215193 w 1457148"/>
                <a:gd name="connsiteY63" fmla="*/ 640714 h 3641849"/>
                <a:gd name="connsiteX64" fmla="*/ 1221844 w 1457148"/>
                <a:gd name="connsiteY64" fmla="*/ 622618 h 3641849"/>
                <a:gd name="connsiteX65" fmla="*/ 1224781 w 1457148"/>
                <a:gd name="connsiteY65" fmla="*/ 591288 h 3641849"/>
                <a:gd name="connsiteX66" fmla="*/ 1144255 w 1457148"/>
                <a:gd name="connsiteY66" fmla="*/ 545048 h 3641849"/>
                <a:gd name="connsiteX67" fmla="*/ 1130400 w 1457148"/>
                <a:gd name="connsiteY67" fmla="*/ 472648 h 3641849"/>
                <a:gd name="connsiteX68" fmla="*/ 1130400 w 1457148"/>
                <a:gd name="connsiteY68" fmla="*/ 454548 h 3641849"/>
                <a:gd name="connsiteX69" fmla="*/ 1141483 w 1457148"/>
                <a:gd name="connsiteY69" fmla="*/ 431276 h 3641849"/>
                <a:gd name="connsiteX70" fmla="*/ 1144255 w 1457148"/>
                <a:gd name="connsiteY70" fmla="*/ 415762 h 3641849"/>
                <a:gd name="connsiteX71" fmla="*/ 1144254 w 1457148"/>
                <a:gd name="connsiteY71" fmla="*/ 358878 h 3641849"/>
                <a:gd name="connsiteX72" fmla="*/ 1122086 w 1457148"/>
                <a:gd name="connsiteY72" fmla="*/ 335607 h 3641849"/>
                <a:gd name="connsiteX73" fmla="*/ 1094376 w 1457148"/>
                <a:gd name="connsiteY73" fmla="*/ 304578 h 3641849"/>
                <a:gd name="connsiteX74" fmla="*/ 1090208 w 1457148"/>
                <a:gd name="connsiteY74" fmla="*/ 280325 h 3641849"/>
                <a:gd name="connsiteX75" fmla="*/ 1141484 w 1457148"/>
                <a:gd name="connsiteY75" fmla="*/ 258034 h 3641849"/>
                <a:gd name="connsiteX76" fmla="*/ 1195064 w 1457148"/>
                <a:gd name="connsiteY76" fmla="*/ 267906 h 3641849"/>
                <a:gd name="connsiteX77" fmla="*/ 1273848 w 1457148"/>
                <a:gd name="connsiteY77" fmla="*/ 279816 h 3641849"/>
                <a:gd name="connsiteX78" fmla="*/ 1358171 w 1457148"/>
                <a:gd name="connsiteY78" fmla="*/ 349175 h 3641849"/>
                <a:gd name="connsiteX79" fmla="*/ 1420306 w 1457148"/>
                <a:gd name="connsiteY79" fmla="*/ 425271 h 3641849"/>
                <a:gd name="connsiteX80" fmla="*/ 1319335 w 1457148"/>
                <a:gd name="connsiteY80" fmla="*/ 454265 h 3641849"/>
                <a:gd name="connsiteX81" fmla="*/ 1303801 w 1457148"/>
                <a:gd name="connsiteY81" fmla="*/ 501372 h 3641849"/>
                <a:gd name="connsiteX82" fmla="*/ 1361471 w 1457148"/>
                <a:gd name="connsiteY82" fmla="*/ 585862 h 3641849"/>
                <a:gd name="connsiteX83" fmla="*/ 1397005 w 1457148"/>
                <a:gd name="connsiteY83" fmla="*/ 591964 h 3641849"/>
                <a:gd name="connsiteX84" fmla="*/ 1449625 w 1457148"/>
                <a:gd name="connsiteY84" fmla="*/ 598304 h 3641849"/>
                <a:gd name="connsiteX85" fmla="*/ 1444662 w 1457148"/>
                <a:gd name="connsiteY85" fmla="*/ 709079 h 3641849"/>
                <a:gd name="connsiteX86" fmla="*/ 1455731 w 1457148"/>
                <a:gd name="connsiteY86" fmla="*/ 1040047 h 3641849"/>
                <a:gd name="connsiteX87" fmla="*/ 1446863 w 1457148"/>
                <a:gd name="connsiteY87" fmla="*/ 1842646 h 3641849"/>
                <a:gd name="connsiteX88" fmla="*/ 1455730 w 1457148"/>
                <a:gd name="connsiteY88" fmla="*/ 2297728 h 3641849"/>
                <a:gd name="connsiteX89" fmla="*/ 1429282 w 1457148"/>
                <a:gd name="connsiteY89" fmla="*/ 3607693 h 3641849"/>
                <a:gd name="connsiteX90" fmla="*/ 1170855 w 1457148"/>
                <a:gd name="connsiteY90" fmla="*/ 3564098 h 3641849"/>
                <a:gd name="connsiteX91" fmla="*/ 1002377 w 1457148"/>
                <a:gd name="connsiteY91" fmla="*/ 3497903 h 3641849"/>
                <a:gd name="connsiteX92" fmla="*/ 825031 w 1457148"/>
                <a:gd name="connsiteY92" fmla="*/ 3406887 h 3641849"/>
                <a:gd name="connsiteX93" fmla="*/ 726733 w 1457148"/>
                <a:gd name="connsiteY93" fmla="*/ 3326370 h 3641849"/>
                <a:gd name="connsiteX94" fmla="*/ 1020995 w 1457148"/>
                <a:gd name="connsiteY94" fmla="*/ 3018734 h 3641849"/>
                <a:gd name="connsiteX95" fmla="*/ 737241 w 1457148"/>
                <a:gd name="connsiteY95" fmla="*/ 2480910 h 3641849"/>
                <a:gd name="connsiteX96" fmla="*/ 879591 w 1457148"/>
                <a:gd name="connsiteY96" fmla="*/ 2241825 h 3641849"/>
                <a:gd name="connsiteX97" fmla="*/ 692904 w 1457148"/>
                <a:gd name="connsiteY97" fmla="*/ 1703134 h 3641849"/>
                <a:gd name="connsiteX98" fmla="*/ 444620 w 1457148"/>
                <a:gd name="connsiteY98" fmla="*/ 1471456 h 3641849"/>
                <a:gd name="connsiteX99" fmla="*/ 435753 w 1457148"/>
                <a:gd name="connsiteY99" fmla="*/ 1355617 h 3641849"/>
                <a:gd name="connsiteX100" fmla="*/ 30225 w 1457148"/>
                <a:gd name="connsiteY100" fmla="*/ 551628 h 3641849"/>
                <a:gd name="connsiteX0" fmla="*/ 30225 w 1457148"/>
                <a:gd name="connsiteY0" fmla="*/ 551628 h 3641849"/>
                <a:gd name="connsiteX1" fmla="*/ 85562 w 1457148"/>
                <a:gd name="connsiteY1" fmla="*/ 546620 h 3641849"/>
                <a:gd name="connsiteX2" fmla="*/ 85563 w 1457148"/>
                <a:gd name="connsiteY2" fmla="*/ 378550 h 3641849"/>
                <a:gd name="connsiteX3" fmla="*/ 10744 w 1457148"/>
                <a:gd name="connsiteY3" fmla="*/ 319079 h 3641849"/>
                <a:gd name="connsiteX4" fmla="*/ 2432 w 1457148"/>
                <a:gd name="connsiteY4" fmla="*/ 251851 h 3641849"/>
                <a:gd name="connsiteX5" fmla="*/ 57852 w 1457148"/>
                <a:gd name="connsiteY5" fmla="*/ 158764 h 3641849"/>
                <a:gd name="connsiteX6" fmla="*/ 77250 w 1457148"/>
                <a:gd name="connsiteY6" fmla="*/ 135494 h 3641849"/>
                <a:gd name="connsiteX7" fmla="*/ 91105 w 1457148"/>
                <a:gd name="connsiteY7" fmla="*/ 117394 h 3641849"/>
                <a:gd name="connsiteX8" fmla="*/ 99418 w 1457148"/>
                <a:gd name="connsiteY8" fmla="*/ 73438 h 3641849"/>
                <a:gd name="connsiteX9" fmla="*/ 124357 w 1457148"/>
                <a:gd name="connsiteY9" fmla="*/ 101880 h 3641849"/>
                <a:gd name="connsiteX10" fmla="*/ 154839 w 1457148"/>
                <a:gd name="connsiteY10" fmla="*/ 88952 h 3641849"/>
                <a:gd name="connsiteX11" fmla="*/ 157609 w 1457148"/>
                <a:gd name="connsiteY11" fmla="*/ 63095 h 3641849"/>
                <a:gd name="connsiteX12" fmla="*/ 165923 w 1457148"/>
                <a:gd name="connsiteY12" fmla="*/ 34652 h 3641849"/>
                <a:gd name="connsiteX13" fmla="*/ 168695 w 1457148"/>
                <a:gd name="connsiteY13" fmla="*/ 3624 h 3641849"/>
                <a:gd name="connsiteX14" fmla="*/ 304475 w 1457148"/>
                <a:gd name="connsiteY14" fmla="*/ 57924 h 3641849"/>
                <a:gd name="connsiteX15" fmla="*/ 334955 w 1457148"/>
                <a:gd name="connsiteY15" fmla="*/ 161352 h 3641849"/>
                <a:gd name="connsiteX16" fmla="*/ 348811 w 1457148"/>
                <a:gd name="connsiteY16" fmla="*/ 184622 h 3641849"/>
                <a:gd name="connsiteX17" fmla="*/ 359895 w 1457148"/>
                <a:gd name="connsiteY17" fmla="*/ 187208 h 3641849"/>
                <a:gd name="connsiteX18" fmla="*/ 473507 w 1457148"/>
                <a:gd name="connsiteY18" fmla="*/ 156181 h 3641849"/>
                <a:gd name="connsiteX19" fmla="*/ 540012 w 1457148"/>
                <a:gd name="connsiteY19" fmla="*/ 166522 h 3641849"/>
                <a:gd name="connsiteX20" fmla="*/ 603746 w 1457148"/>
                <a:gd name="connsiteY20" fmla="*/ 213065 h 3641849"/>
                <a:gd name="connsiteX21" fmla="*/ 617773 w 1457148"/>
                <a:gd name="connsiteY21" fmla="*/ 242621 h 3641849"/>
                <a:gd name="connsiteX22" fmla="*/ 673020 w 1457148"/>
                <a:gd name="connsiteY22" fmla="*/ 277708 h 3641849"/>
                <a:gd name="connsiteX23" fmla="*/ 761694 w 1457148"/>
                <a:gd name="connsiteY23" fmla="*/ 303563 h 3641849"/>
                <a:gd name="connsiteX24" fmla="*/ 833740 w 1457148"/>
                <a:gd name="connsiteY24" fmla="*/ 350106 h 3641849"/>
                <a:gd name="connsiteX25" fmla="*/ 883619 w 1457148"/>
                <a:gd name="connsiteY25" fmla="*/ 401820 h 3641849"/>
                <a:gd name="connsiteX26" fmla="*/ 908558 w 1457148"/>
                <a:gd name="connsiteY26" fmla="*/ 440606 h 3641849"/>
                <a:gd name="connsiteX27" fmla="*/ 941811 w 1457148"/>
                <a:gd name="connsiteY27" fmla="*/ 466462 h 3641849"/>
                <a:gd name="connsiteX28" fmla="*/ 925183 w 1457148"/>
                <a:gd name="connsiteY28" fmla="*/ 691417 h 3641849"/>
                <a:gd name="connsiteX29" fmla="*/ 797717 w 1457148"/>
                <a:gd name="connsiteY29" fmla="*/ 771575 h 3641849"/>
                <a:gd name="connsiteX30" fmla="*/ 684105 w 1457148"/>
                <a:gd name="connsiteY30" fmla="*/ 779331 h 3641849"/>
                <a:gd name="connsiteX31" fmla="*/ 545552 w 1457148"/>
                <a:gd name="connsiteY31" fmla="*/ 758645 h 3641849"/>
                <a:gd name="connsiteX32" fmla="*/ 454108 w 1457148"/>
                <a:gd name="connsiteY32" fmla="*/ 722445 h 3641849"/>
                <a:gd name="connsiteX33" fmla="*/ 434711 w 1457148"/>
                <a:gd name="connsiteY33" fmla="*/ 750888 h 3641849"/>
                <a:gd name="connsiteX34" fmla="*/ 465353 w 1457148"/>
                <a:gd name="connsiteY34" fmla="*/ 824301 h 3641849"/>
                <a:gd name="connsiteX35" fmla="*/ 470894 w 1457148"/>
                <a:gd name="connsiteY35" fmla="*/ 951000 h 3641849"/>
                <a:gd name="connsiteX36" fmla="*/ 443024 w 1457148"/>
                <a:gd name="connsiteY36" fmla="*/ 1012043 h 3641849"/>
                <a:gd name="connsiteX37" fmla="*/ 498443 w 1457148"/>
                <a:gd name="connsiteY37" fmla="*/ 1032728 h 3641849"/>
                <a:gd name="connsiteX38" fmla="*/ 515071 w 1457148"/>
                <a:gd name="connsiteY38" fmla="*/ 1048242 h 3641849"/>
                <a:gd name="connsiteX39" fmla="*/ 540011 w 1457148"/>
                <a:gd name="connsiteY39" fmla="*/ 1074099 h 3641849"/>
                <a:gd name="connsiteX40" fmla="*/ 537240 w 1457148"/>
                <a:gd name="connsiteY40" fmla="*/ 1076685 h 3641849"/>
                <a:gd name="connsiteX41" fmla="*/ 576033 w 1457148"/>
                <a:gd name="connsiteY41" fmla="*/ 1071514 h 3641849"/>
                <a:gd name="connsiteX42" fmla="*/ 584347 w 1457148"/>
                <a:gd name="connsiteY42" fmla="*/ 1035314 h 3641849"/>
                <a:gd name="connsiteX43" fmla="*/ 545552 w 1457148"/>
                <a:gd name="connsiteY43" fmla="*/ 957743 h 3641849"/>
                <a:gd name="connsiteX44" fmla="*/ 614828 w 1457148"/>
                <a:gd name="connsiteY44" fmla="*/ 911200 h 3641849"/>
                <a:gd name="connsiteX45" fmla="*/ 682600 w 1457148"/>
                <a:gd name="connsiteY45" fmla="*/ 918934 h 3641849"/>
                <a:gd name="connsiteX46" fmla="*/ 706433 w 1457148"/>
                <a:gd name="connsiteY46" fmla="*/ 951001 h 3641849"/>
                <a:gd name="connsiteX47" fmla="*/ 862162 w 1457148"/>
                <a:gd name="connsiteY47" fmla="*/ 1007364 h 3641849"/>
                <a:gd name="connsiteX48" fmla="*/ 847754 w 1457148"/>
                <a:gd name="connsiteY48" fmla="*/ 971687 h 3641849"/>
                <a:gd name="connsiteX49" fmla="*/ 814502 w 1457148"/>
                <a:gd name="connsiteY49" fmla="*/ 932901 h 3641849"/>
                <a:gd name="connsiteX50" fmla="*/ 803418 w 1457148"/>
                <a:gd name="connsiteY50" fmla="*/ 881187 h 3641849"/>
                <a:gd name="connsiteX51" fmla="*/ 842213 w 1457148"/>
                <a:gd name="connsiteY51" fmla="*/ 832060 h 3641849"/>
                <a:gd name="connsiteX52" fmla="*/ 869923 w 1457148"/>
                <a:gd name="connsiteY52" fmla="*/ 803617 h 3641849"/>
                <a:gd name="connsiteX53" fmla="*/ 894863 w 1457148"/>
                <a:gd name="connsiteY53" fmla="*/ 767417 h 3641849"/>
                <a:gd name="connsiteX54" fmla="*/ 975223 w 1457148"/>
                <a:gd name="connsiteY54" fmla="*/ 762245 h 3641849"/>
                <a:gd name="connsiteX55" fmla="*/ 980764 w 1457148"/>
                <a:gd name="connsiteY55" fmla="*/ 741560 h 3641849"/>
                <a:gd name="connsiteX56" fmla="*/ 1005704 w 1457148"/>
                <a:gd name="connsiteY56" fmla="*/ 705360 h 3641849"/>
                <a:gd name="connsiteX57" fmla="*/ 1039508 w 1457148"/>
                <a:gd name="connsiteY57" fmla="*/ 687772 h 3641849"/>
                <a:gd name="connsiteX58" fmla="*/ 1097148 w 1457148"/>
                <a:gd name="connsiteY58" fmla="*/ 700189 h 3641849"/>
                <a:gd name="connsiteX59" fmla="*/ 1135941 w 1457148"/>
                <a:gd name="connsiteY59" fmla="*/ 720875 h 3641849"/>
                <a:gd name="connsiteX60" fmla="*/ 1183049 w 1457148"/>
                <a:gd name="connsiteY60" fmla="*/ 728632 h 3641849"/>
                <a:gd name="connsiteX61" fmla="*/ 1183049 w 1457148"/>
                <a:gd name="connsiteY61" fmla="*/ 733803 h 3641849"/>
                <a:gd name="connsiteX62" fmla="*/ 1205218 w 1457148"/>
                <a:gd name="connsiteY62" fmla="*/ 674332 h 3641849"/>
                <a:gd name="connsiteX63" fmla="*/ 1215193 w 1457148"/>
                <a:gd name="connsiteY63" fmla="*/ 640714 h 3641849"/>
                <a:gd name="connsiteX64" fmla="*/ 1221844 w 1457148"/>
                <a:gd name="connsiteY64" fmla="*/ 622618 h 3641849"/>
                <a:gd name="connsiteX65" fmla="*/ 1224781 w 1457148"/>
                <a:gd name="connsiteY65" fmla="*/ 591288 h 3641849"/>
                <a:gd name="connsiteX66" fmla="*/ 1144255 w 1457148"/>
                <a:gd name="connsiteY66" fmla="*/ 545048 h 3641849"/>
                <a:gd name="connsiteX67" fmla="*/ 1130400 w 1457148"/>
                <a:gd name="connsiteY67" fmla="*/ 472648 h 3641849"/>
                <a:gd name="connsiteX68" fmla="*/ 1130400 w 1457148"/>
                <a:gd name="connsiteY68" fmla="*/ 454548 h 3641849"/>
                <a:gd name="connsiteX69" fmla="*/ 1141483 w 1457148"/>
                <a:gd name="connsiteY69" fmla="*/ 431276 h 3641849"/>
                <a:gd name="connsiteX70" fmla="*/ 1144255 w 1457148"/>
                <a:gd name="connsiteY70" fmla="*/ 415762 h 3641849"/>
                <a:gd name="connsiteX71" fmla="*/ 1144254 w 1457148"/>
                <a:gd name="connsiteY71" fmla="*/ 358878 h 3641849"/>
                <a:gd name="connsiteX72" fmla="*/ 1122086 w 1457148"/>
                <a:gd name="connsiteY72" fmla="*/ 335607 h 3641849"/>
                <a:gd name="connsiteX73" fmla="*/ 1094376 w 1457148"/>
                <a:gd name="connsiteY73" fmla="*/ 304578 h 3641849"/>
                <a:gd name="connsiteX74" fmla="*/ 1090208 w 1457148"/>
                <a:gd name="connsiteY74" fmla="*/ 280325 h 3641849"/>
                <a:gd name="connsiteX75" fmla="*/ 1141484 w 1457148"/>
                <a:gd name="connsiteY75" fmla="*/ 258034 h 3641849"/>
                <a:gd name="connsiteX76" fmla="*/ 1195064 w 1457148"/>
                <a:gd name="connsiteY76" fmla="*/ 267906 h 3641849"/>
                <a:gd name="connsiteX77" fmla="*/ 1273848 w 1457148"/>
                <a:gd name="connsiteY77" fmla="*/ 279816 h 3641849"/>
                <a:gd name="connsiteX78" fmla="*/ 1358171 w 1457148"/>
                <a:gd name="connsiteY78" fmla="*/ 349175 h 3641849"/>
                <a:gd name="connsiteX79" fmla="*/ 1420306 w 1457148"/>
                <a:gd name="connsiteY79" fmla="*/ 425271 h 3641849"/>
                <a:gd name="connsiteX80" fmla="*/ 1319335 w 1457148"/>
                <a:gd name="connsiteY80" fmla="*/ 454265 h 3641849"/>
                <a:gd name="connsiteX81" fmla="*/ 1303801 w 1457148"/>
                <a:gd name="connsiteY81" fmla="*/ 501372 h 3641849"/>
                <a:gd name="connsiteX82" fmla="*/ 1361471 w 1457148"/>
                <a:gd name="connsiteY82" fmla="*/ 585862 h 3641849"/>
                <a:gd name="connsiteX83" fmla="*/ 1397005 w 1457148"/>
                <a:gd name="connsiteY83" fmla="*/ 591964 h 3641849"/>
                <a:gd name="connsiteX84" fmla="*/ 1449625 w 1457148"/>
                <a:gd name="connsiteY84" fmla="*/ 598304 h 3641849"/>
                <a:gd name="connsiteX85" fmla="*/ 1444662 w 1457148"/>
                <a:gd name="connsiteY85" fmla="*/ 709079 h 3641849"/>
                <a:gd name="connsiteX86" fmla="*/ 1455731 w 1457148"/>
                <a:gd name="connsiteY86" fmla="*/ 1040047 h 3641849"/>
                <a:gd name="connsiteX87" fmla="*/ 1446863 w 1457148"/>
                <a:gd name="connsiteY87" fmla="*/ 1842646 h 3641849"/>
                <a:gd name="connsiteX88" fmla="*/ 1455730 w 1457148"/>
                <a:gd name="connsiteY88" fmla="*/ 2297728 h 3641849"/>
                <a:gd name="connsiteX89" fmla="*/ 1429282 w 1457148"/>
                <a:gd name="connsiteY89" fmla="*/ 3607693 h 3641849"/>
                <a:gd name="connsiteX90" fmla="*/ 1170855 w 1457148"/>
                <a:gd name="connsiteY90" fmla="*/ 3564098 h 3641849"/>
                <a:gd name="connsiteX91" fmla="*/ 1002377 w 1457148"/>
                <a:gd name="connsiteY91" fmla="*/ 3497903 h 3641849"/>
                <a:gd name="connsiteX92" fmla="*/ 825031 w 1457148"/>
                <a:gd name="connsiteY92" fmla="*/ 3406887 h 3641849"/>
                <a:gd name="connsiteX93" fmla="*/ 726733 w 1457148"/>
                <a:gd name="connsiteY93" fmla="*/ 3326370 h 3641849"/>
                <a:gd name="connsiteX94" fmla="*/ 1020995 w 1457148"/>
                <a:gd name="connsiteY94" fmla="*/ 3018734 h 3641849"/>
                <a:gd name="connsiteX95" fmla="*/ 737241 w 1457148"/>
                <a:gd name="connsiteY95" fmla="*/ 2480910 h 3641849"/>
                <a:gd name="connsiteX96" fmla="*/ 879591 w 1457148"/>
                <a:gd name="connsiteY96" fmla="*/ 2241825 h 3641849"/>
                <a:gd name="connsiteX97" fmla="*/ 692904 w 1457148"/>
                <a:gd name="connsiteY97" fmla="*/ 1703134 h 3641849"/>
                <a:gd name="connsiteX98" fmla="*/ 444620 w 1457148"/>
                <a:gd name="connsiteY98" fmla="*/ 1471456 h 3641849"/>
                <a:gd name="connsiteX99" fmla="*/ 435753 w 1457148"/>
                <a:gd name="connsiteY99" fmla="*/ 1355617 h 3641849"/>
                <a:gd name="connsiteX100" fmla="*/ 30225 w 1457148"/>
                <a:gd name="connsiteY100" fmla="*/ 551628 h 3641849"/>
                <a:gd name="connsiteX0" fmla="*/ 30225 w 1457148"/>
                <a:gd name="connsiteY0" fmla="*/ 551628 h 3641849"/>
                <a:gd name="connsiteX1" fmla="*/ 171466 w 1457148"/>
                <a:gd name="connsiteY1" fmla="*/ 595748 h 3641849"/>
                <a:gd name="connsiteX2" fmla="*/ 85562 w 1457148"/>
                <a:gd name="connsiteY2" fmla="*/ 546620 h 3641849"/>
                <a:gd name="connsiteX3" fmla="*/ 85563 w 1457148"/>
                <a:gd name="connsiteY3" fmla="*/ 378550 h 3641849"/>
                <a:gd name="connsiteX4" fmla="*/ 10744 w 1457148"/>
                <a:gd name="connsiteY4" fmla="*/ 319079 h 3641849"/>
                <a:gd name="connsiteX5" fmla="*/ 2432 w 1457148"/>
                <a:gd name="connsiteY5" fmla="*/ 251851 h 3641849"/>
                <a:gd name="connsiteX6" fmla="*/ 57852 w 1457148"/>
                <a:gd name="connsiteY6" fmla="*/ 158764 h 3641849"/>
                <a:gd name="connsiteX7" fmla="*/ 77250 w 1457148"/>
                <a:gd name="connsiteY7" fmla="*/ 135494 h 3641849"/>
                <a:gd name="connsiteX8" fmla="*/ 91105 w 1457148"/>
                <a:gd name="connsiteY8" fmla="*/ 117394 h 3641849"/>
                <a:gd name="connsiteX9" fmla="*/ 99418 w 1457148"/>
                <a:gd name="connsiteY9" fmla="*/ 73438 h 3641849"/>
                <a:gd name="connsiteX10" fmla="*/ 124357 w 1457148"/>
                <a:gd name="connsiteY10" fmla="*/ 101880 h 3641849"/>
                <a:gd name="connsiteX11" fmla="*/ 154839 w 1457148"/>
                <a:gd name="connsiteY11" fmla="*/ 88952 h 3641849"/>
                <a:gd name="connsiteX12" fmla="*/ 157609 w 1457148"/>
                <a:gd name="connsiteY12" fmla="*/ 63095 h 3641849"/>
                <a:gd name="connsiteX13" fmla="*/ 165923 w 1457148"/>
                <a:gd name="connsiteY13" fmla="*/ 34652 h 3641849"/>
                <a:gd name="connsiteX14" fmla="*/ 168695 w 1457148"/>
                <a:gd name="connsiteY14" fmla="*/ 3624 h 3641849"/>
                <a:gd name="connsiteX15" fmla="*/ 304475 w 1457148"/>
                <a:gd name="connsiteY15" fmla="*/ 57924 h 3641849"/>
                <a:gd name="connsiteX16" fmla="*/ 334955 w 1457148"/>
                <a:gd name="connsiteY16" fmla="*/ 161352 h 3641849"/>
                <a:gd name="connsiteX17" fmla="*/ 348811 w 1457148"/>
                <a:gd name="connsiteY17" fmla="*/ 184622 h 3641849"/>
                <a:gd name="connsiteX18" fmla="*/ 359895 w 1457148"/>
                <a:gd name="connsiteY18" fmla="*/ 187208 h 3641849"/>
                <a:gd name="connsiteX19" fmla="*/ 473507 w 1457148"/>
                <a:gd name="connsiteY19" fmla="*/ 156181 h 3641849"/>
                <a:gd name="connsiteX20" fmla="*/ 540012 w 1457148"/>
                <a:gd name="connsiteY20" fmla="*/ 166522 h 3641849"/>
                <a:gd name="connsiteX21" fmla="*/ 603746 w 1457148"/>
                <a:gd name="connsiteY21" fmla="*/ 213065 h 3641849"/>
                <a:gd name="connsiteX22" fmla="*/ 617773 w 1457148"/>
                <a:gd name="connsiteY22" fmla="*/ 242621 h 3641849"/>
                <a:gd name="connsiteX23" fmla="*/ 673020 w 1457148"/>
                <a:gd name="connsiteY23" fmla="*/ 277708 h 3641849"/>
                <a:gd name="connsiteX24" fmla="*/ 761694 w 1457148"/>
                <a:gd name="connsiteY24" fmla="*/ 303563 h 3641849"/>
                <a:gd name="connsiteX25" fmla="*/ 833740 w 1457148"/>
                <a:gd name="connsiteY25" fmla="*/ 350106 h 3641849"/>
                <a:gd name="connsiteX26" fmla="*/ 883619 w 1457148"/>
                <a:gd name="connsiteY26" fmla="*/ 401820 h 3641849"/>
                <a:gd name="connsiteX27" fmla="*/ 908558 w 1457148"/>
                <a:gd name="connsiteY27" fmla="*/ 440606 h 3641849"/>
                <a:gd name="connsiteX28" fmla="*/ 941811 w 1457148"/>
                <a:gd name="connsiteY28" fmla="*/ 466462 h 3641849"/>
                <a:gd name="connsiteX29" fmla="*/ 925183 w 1457148"/>
                <a:gd name="connsiteY29" fmla="*/ 691417 h 3641849"/>
                <a:gd name="connsiteX30" fmla="*/ 797717 w 1457148"/>
                <a:gd name="connsiteY30" fmla="*/ 771575 h 3641849"/>
                <a:gd name="connsiteX31" fmla="*/ 684105 w 1457148"/>
                <a:gd name="connsiteY31" fmla="*/ 779331 h 3641849"/>
                <a:gd name="connsiteX32" fmla="*/ 545552 w 1457148"/>
                <a:gd name="connsiteY32" fmla="*/ 758645 h 3641849"/>
                <a:gd name="connsiteX33" fmla="*/ 454108 w 1457148"/>
                <a:gd name="connsiteY33" fmla="*/ 722445 h 3641849"/>
                <a:gd name="connsiteX34" fmla="*/ 434711 w 1457148"/>
                <a:gd name="connsiteY34" fmla="*/ 750888 h 3641849"/>
                <a:gd name="connsiteX35" fmla="*/ 465353 w 1457148"/>
                <a:gd name="connsiteY35" fmla="*/ 824301 h 3641849"/>
                <a:gd name="connsiteX36" fmla="*/ 470894 w 1457148"/>
                <a:gd name="connsiteY36" fmla="*/ 951000 h 3641849"/>
                <a:gd name="connsiteX37" fmla="*/ 443024 w 1457148"/>
                <a:gd name="connsiteY37" fmla="*/ 1012043 h 3641849"/>
                <a:gd name="connsiteX38" fmla="*/ 498443 w 1457148"/>
                <a:gd name="connsiteY38" fmla="*/ 1032728 h 3641849"/>
                <a:gd name="connsiteX39" fmla="*/ 515071 w 1457148"/>
                <a:gd name="connsiteY39" fmla="*/ 1048242 h 3641849"/>
                <a:gd name="connsiteX40" fmla="*/ 540011 w 1457148"/>
                <a:gd name="connsiteY40" fmla="*/ 1074099 h 3641849"/>
                <a:gd name="connsiteX41" fmla="*/ 537240 w 1457148"/>
                <a:gd name="connsiteY41" fmla="*/ 1076685 h 3641849"/>
                <a:gd name="connsiteX42" fmla="*/ 576033 w 1457148"/>
                <a:gd name="connsiteY42" fmla="*/ 1071514 h 3641849"/>
                <a:gd name="connsiteX43" fmla="*/ 584347 w 1457148"/>
                <a:gd name="connsiteY43" fmla="*/ 1035314 h 3641849"/>
                <a:gd name="connsiteX44" fmla="*/ 545552 w 1457148"/>
                <a:gd name="connsiteY44" fmla="*/ 957743 h 3641849"/>
                <a:gd name="connsiteX45" fmla="*/ 614828 w 1457148"/>
                <a:gd name="connsiteY45" fmla="*/ 911200 h 3641849"/>
                <a:gd name="connsiteX46" fmla="*/ 682600 w 1457148"/>
                <a:gd name="connsiteY46" fmla="*/ 918934 h 3641849"/>
                <a:gd name="connsiteX47" fmla="*/ 706433 w 1457148"/>
                <a:gd name="connsiteY47" fmla="*/ 951001 h 3641849"/>
                <a:gd name="connsiteX48" fmla="*/ 862162 w 1457148"/>
                <a:gd name="connsiteY48" fmla="*/ 1007364 h 3641849"/>
                <a:gd name="connsiteX49" fmla="*/ 847754 w 1457148"/>
                <a:gd name="connsiteY49" fmla="*/ 971687 h 3641849"/>
                <a:gd name="connsiteX50" fmla="*/ 814502 w 1457148"/>
                <a:gd name="connsiteY50" fmla="*/ 932901 h 3641849"/>
                <a:gd name="connsiteX51" fmla="*/ 803418 w 1457148"/>
                <a:gd name="connsiteY51" fmla="*/ 881187 h 3641849"/>
                <a:gd name="connsiteX52" fmla="*/ 842213 w 1457148"/>
                <a:gd name="connsiteY52" fmla="*/ 832060 h 3641849"/>
                <a:gd name="connsiteX53" fmla="*/ 869923 w 1457148"/>
                <a:gd name="connsiteY53" fmla="*/ 803617 h 3641849"/>
                <a:gd name="connsiteX54" fmla="*/ 894863 w 1457148"/>
                <a:gd name="connsiteY54" fmla="*/ 767417 h 3641849"/>
                <a:gd name="connsiteX55" fmla="*/ 975223 w 1457148"/>
                <a:gd name="connsiteY55" fmla="*/ 762245 h 3641849"/>
                <a:gd name="connsiteX56" fmla="*/ 980764 w 1457148"/>
                <a:gd name="connsiteY56" fmla="*/ 741560 h 3641849"/>
                <a:gd name="connsiteX57" fmla="*/ 1005704 w 1457148"/>
                <a:gd name="connsiteY57" fmla="*/ 705360 h 3641849"/>
                <a:gd name="connsiteX58" fmla="*/ 1039508 w 1457148"/>
                <a:gd name="connsiteY58" fmla="*/ 687772 h 3641849"/>
                <a:gd name="connsiteX59" fmla="*/ 1097148 w 1457148"/>
                <a:gd name="connsiteY59" fmla="*/ 700189 h 3641849"/>
                <a:gd name="connsiteX60" fmla="*/ 1135941 w 1457148"/>
                <a:gd name="connsiteY60" fmla="*/ 720875 h 3641849"/>
                <a:gd name="connsiteX61" fmla="*/ 1183049 w 1457148"/>
                <a:gd name="connsiteY61" fmla="*/ 728632 h 3641849"/>
                <a:gd name="connsiteX62" fmla="*/ 1183049 w 1457148"/>
                <a:gd name="connsiteY62" fmla="*/ 733803 h 3641849"/>
                <a:gd name="connsiteX63" fmla="*/ 1205218 w 1457148"/>
                <a:gd name="connsiteY63" fmla="*/ 674332 h 3641849"/>
                <a:gd name="connsiteX64" fmla="*/ 1215193 w 1457148"/>
                <a:gd name="connsiteY64" fmla="*/ 640714 h 3641849"/>
                <a:gd name="connsiteX65" fmla="*/ 1221844 w 1457148"/>
                <a:gd name="connsiteY65" fmla="*/ 622618 h 3641849"/>
                <a:gd name="connsiteX66" fmla="*/ 1224781 w 1457148"/>
                <a:gd name="connsiteY66" fmla="*/ 591288 h 3641849"/>
                <a:gd name="connsiteX67" fmla="*/ 1144255 w 1457148"/>
                <a:gd name="connsiteY67" fmla="*/ 545048 h 3641849"/>
                <a:gd name="connsiteX68" fmla="*/ 1130400 w 1457148"/>
                <a:gd name="connsiteY68" fmla="*/ 472648 h 3641849"/>
                <a:gd name="connsiteX69" fmla="*/ 1130400 w 1457148"/>
                <a:gd name="connsiteY69" fmla="*/ 454548 h 3641849"/>
                <a:gd name="connsiteX70" fmla="*/ 1141483 w 1457148"/>
                <a:gd name="connsiteY70" fmla="*/ 431276 h 3641849"/>
                <a:gd name="connsiteX71" fmla="*/ 1144255 w 1457148"/>
                <a:gd name="connsiteY71" fmla="*/ 415762 h 3641849"/>
                <a:gd name="connsiteX72" fmla="*/ 1144254 w 1457148"/>
                <a:gd name="connsiteY72" fmla="*/ 358878 h 3641849"/>
                <a:gd name="connsiteX73" fmla="*/ 1122086 w 1457148"/>
                <a:gd name="connsiteY73" fmla="*/ 335607 h 3641849"/>
                <a:gd name="connsiteX74" fmla="*/ 1094376 w 1457148"/>
                <a:gd name="connsiteY74" fmla="*/ 304578 h 3641849"/>
                <a:gd name="connsiteX75" fmla="*/ 1090208 w 1457148"/>
                <a:gd name="connsiteY75" fmla="*/ 280325 h 3641849"/>
                <a:gd name="connsiteX76" fmla="*/ 1141484 w 1457148"/>
                <a:gd name="connsiteY76" fmla="*/ 258034 h 3641849"/>
                <a:gd name="connsiteX77" fmla="*/ 1195064 w 1457148"/>
                <a:gd name="connsiteY77" fmla="*/ 267906 h 3641849"/>
                <a:gd name="connsiteX78" fmla="*/ 1273848 w 1457148"/>
                <a:gd name="connsiteY78" fmla="*/ 279816 h 3641849"/>
                <a:gd name="connsiteX79" fmla="*/ 1358171 w 1457148"/>
                <a:gd name="connsiteY79" fmla="*/ 349175 h 3641849"/>
                <a:gd name="connsiteX80" fmla="*/ 1420306 w 1457148"/>
                <a:gd name="connsiteY80" fmla="*/ 425271 h 3641849"/>
                <a:gd name="connsiteX81" fmla="*/ 1319335 w 1457148"/>
                <a:gd name="connsiteY81" fmla="*/ 454265 h 3641849"/>
                <a:gd name="connsiteX82" fmla="*/ 1303801 w 1457148"/>
                <a:gd name="connsiteY82" fmla="*/ 501372 h 3641849"/>
                <a:gd name="connsiteX83" fmla="*/ 1361471 w 1457148"/>
                <a:gd name="connsiteY83" fmla="*/ 585862 h 3641849"/>
                <a:gd name="connsiteX84" fmla="*/ 1397005 w 1457148"/>
                <a:gd name="connsiteY84" fmla="*/ 591964 h 3641849"/>
                <a:gd name="connsiteX85" fmla="*/ 1449625 w 1457148"/>
                <a:gd name="connsiteY85" fmla="*/ 598304 h 3641849"/>
                <a:gd name="connsiteX86" fmla="*/ 1444662 w 1457148"/>
                <a:gd name="connsiteY86" fmla="*/ 709079 h 3641849"/>
                <a:gd name="connsiteX87" fmla="*/ 1455731 w 1457148"/>
                <a:gd name="connsiteY87" fmla="*/ 1040047 h 3641849"/>
                <a:gd name="connsiteX88" fmla="*/ 1446863 w 1457148"/>
                <a:gd name="connsiteY88" fmla="*/ 1842646 h 3641849"/>
                <a:gd name="connsiteX89" fmla="*/ 1455730 w 1457148"/>
                <a:gd name="connsiteY89" fmla="*/ 2297728 h 3641849"/>
                <a:gd name="connsiteX90" fmla="*/ 1429282 w 1457148"/>
                <a:gd name="connsiteY90" fmla="*/ 3607693 h 3641849"/>
                <a:gd name="connsiteX91" fmla="*/ 1170855 w 1457148"/>
                <a:gd name="connsiteY91" fmla="*/ 3564098 h 3641849"/>
                <a:gd name="connsiteX92" fmla="*/ 1002377 w 1457148"/>
                <a:gd name="connsiteY92" fmla="*/ 3497903 h 3641849"/>
                <a:gd name="connsiteX93" fmla="*/ 825031 w 1457148"/>
                <a:gd name="connsiteY93" fmla="*/ 3406887 h 3641849"/>
                <a:gd name="connsiteX94" fmla="*/ 726733 w 1457148"/>
                <a:gd name="connsiteY94" fmla="*/ 3326370 h 3641849"/>
                <a:gd name="connsiteX95" fmla="*/ 1020995 w 1457148"/>
                <a:gd name="connsiteY95" fmla="*/ 3018734 h 3641849"/>
                <a:gd name="connsiteX96" fmla="*/ 737241 w 1457148"/>
                <a:gd name="connsiteY96" fmla="*/ 2480910 h 3641849"/>
                <a:gd name="connsiteX97" fmla="*/ 879591 w 1457148"/>
                <a:gd name="connsiteY97" fmla="*/ 2241825 h 3641849"/>
                <a:gd name="connsiteX98" fmla="*/ 692904 w 1457148"/>
                <a:gd name="connsiteY98" fmla="*/ 1703134 h 3641849"/>
                <a:gd name="connsiteX99" fmla="*/ 444620 w 1457148"/>
                <a:gd name="connsiteY99" fmla="*/ 1471456 h 3641849"/>
                <a:gd name="connsiteX100" fmla="*/ 435753 w 1457148"/>
                <a:gd name="connsiteY100" fmla="*/ 1355617 h 3641849"/>
                <a:gd name="connsiteX101" fmla="*/ 30225 w 1457148"/>
                <a:gd name="connsiteY101" fmla="*/ 551628 h 3641849"/>
                <a:gd name="connsiteX0" fmla="*/ 30225 w 1457148"/>
                <a:gd name="connsiteY0" fmla="*/ 551628 h 3641849"/>
                <a:gd name="connsiteX1" fmla="*/ 85562 w 1457148"/>
                <a:gd name="connsiteY1" fmla="*/ 546620 h 3641849"/>
                <a:gd name="connsiteX2" fmla="*/ 85563 w 1457148"/>
                <a:gd name="connsiteY2" fmla="*/ 378550 h 3641849"/>
                <a:gd name="connsiteX3" fmla="*/ 10744 w 1457148"/>
                <a:gd name="connsiteY3" fmla="*/ 319079 h 3641849"/>
                <a:gd name="connsiteX4" fmla="*/ 2432 w 1457148"/>
                <a:gd name="connsiteY4" fmla="*/ 251851 h 3641849"/>
                <a:gd name="connsiteX5" fmla="*/ 57852 w 1457148"/>
                <a:gd name="connsiteY5" fmla="*/ 158764 h 3641849"/>
                <a:gd name="connsiteX6" fmla="*/ 77250 w 1457148"/>
                <a:gd name="connsiteY6" fmla="*/ 135494 h 3641849"/>
                <a:gd name="connsiteX7" fmla="*/ 91105 w 1457148"/>
                <a:gd name="connsiteY7" fmla="*/ 117394 h 3641849"/>
                <a:gd name="connsiteX8" fmla="*/ 99418 w 1457148"/>
                <a:gd name="connsiteY8" fmla="*/ 73438 h 3641849"/>
                <a:gd name="connsiteX9" fmla="*/ 124357 w 1457148"/>
                <a:gd name="connsiteY9" fmla="*/ 101880 h 3641849"/>
                <a:gd name="connsiteX10" fmla="*/ 154839 w 1457148"/>
                <a:gd name="connsiteY10" fmla="*/ 88952 h 3641849"/>
                <a:gd name="connsiteX11" fmla="*/ 157609 w 1457148"/>
                <a:gd name="connsiteY11" fmla="*/ 63095 h 3641849"/>
                <a:gd name="connsiteX12" fmla="*/ 165923 w 1457148"/>
                <a:gd name="connsiteY12" fmla="*/ 34652 h 3641849"/>
                <a:gd name="connsiteX13" fmla="*/ 168695 w 1457148"/>
                <a:gd name="connsiteY13" fmla="*/ 3624 h 3641849"/>
                <a:gd name="connsiteX14" fmla="*/ 304475 w 1457148"/>
                <a:gd name="connsiteY14" fmla="*/ 57924 h 3641849"/>
                <a:gd name="connsiteX15" fmla="*/ 334955 w 1457148"/>
                <a:gd name="connsiteY15" fmla="*/ 161352 h 3641849"/>
                <a:gd name="connsiteX16" fmla="*/ 348811 w 1457148"/>
                <a:gd name="connsiteY16" fmla="*/ 184622 h 3641849"/>
                <a:gd name="connsiteX17" fmla="*/ 359895 w 1457148"/>
                <a:gd name="connsiteY17" fmla="*/ 187208 h 3641849"/>
                <a:gd name="connsiteX18" fmla="*/ 473507 w 1457148"/>
                <a:gd name="connsiteY18" fmla="*/ 156181 h 3641849"/>
                <a:gd name="connsiteX19" fmla="*/ 540012 w 1457148"/>
                <a:gd name="connsiteY19" fmla="*/ 166522 h 3641849"/>
                <a:gd name="connsiteX20" fmla="*/ 603746 w 1457148"/>
                <a:gd name="connsiteY20" fmla="*/ 213065 h 3641849"/>
                <a:gd name="connsiteX21" fmla="*/ 617773 w 1457148"/>
                <a:gd name="connsiteY21" fmla="*/ 242621 h 3641849"/>
                <a:gd name="connsiteX22" fmla="*/ 673020 w 1457148"/>
                <a:gd name="connsiteY22" fmla="*/ 277708 h 3641849"/>
                <a:gd name="connsiteX23" fmla="*/ 761694 w 1457148"/>
                <a:gd name="connsiteY23" fmla="*/ 303563 h 3641849"/>
                <a:gd name="connsiteX24" fmla="*/ 833740 w 1457148"/>
                <a:gd name="connsiteY24" fmla="*/ 350106 h 3641849"/>
                <a:gd name="connsiteX25" fmla="*/ 883619 w 1457148"/>
                <a:gd name="connsiteY25" fmla="*/ 401820 h 3641849"/>
                <a:gd name="connsiteX26" fmla="*/ 908558 w 1457148"/>
                <a:gd name="connsiteY26" fmla="*/ 440606 h 3641849"/>
                <a:gd name="connsiteX27" fmla="*/ 941811 w 1457148"/>
                <a:gd name="connsiteY27" fmla="*/ 466462 h 3641849"/>
                <a:gd name="connsiteX28" fmla="*/ 925183 w 1457148"/>
                <a:gd name="connsiteY28" fmla="*/ 691417 h 3641849"/>
                <a:gd name="connsiteX29" fmla="*/ 797717 w 1457148"/>
                <a:gd name="connsiteY29" fmla="*/ 771575 h 3641849"/>
                <a:gd name="connsiteX30" fmla="*/ 684105 w 1457148"/>
                <a:gd name="connsiteY30" fmla="*/ 779331 h 3641849"/>
                <a:gd name="connsiteX31" fmla="*/ 545552 w 1457148"/>
                <a:gd name="connsiteY31" fmla="*/ 758645 h 3641849"/>
                <a:gd name="connsiteX32" fmla="*/ 454108 w 1457148"/>
                <a:gd name="connsiteY32" fmla="*/ 722445 h 3641849"/>
                <a:gd name="connsiteX33" fmla="*/ 434711 w 1457148"/>
                <a:gd name="connsiteY33" fmla="*/ 750888 h 3641849"/>
                <a:gd name="connsiteX34" fmla="*/ 465353 w 1457148"/>
                <a:gd name="connsiteY34" fmla="*/ 824301 h 3641849"/>
                <a:gd name="connsiteX35" fmla="*/ 470894 w 1457148"/>
                <a:gd name="connsiteY35" fmla="*/ 951000 h 3641849"/>
                <a:gd name="connsiteX36" fmla="*/ 443024 w 1457148"/>
                <a:gd name="connsiteY36" fmla="*/ 1012043 h 3641849"/>
                <a:gd name="connsiteX37" fmla="*/ 498443 w 1457148"/>
                <a:gd name="connsiteY37" fmla="*/ 1032728 h 3641849"/>
                <a:gd name="connsiteX38" fmla="*/ 515071 w 1457148"/>
                <a:gd name="connsiteY38" fmla="*/ 1048242 h 3641849"/>
                <a:gd name="connsiteX39" fmla="*/ 540011 w 1457148"/>
                <a:gd name="connsiteY39" fmla="*/ 1074099 h 3641849"/>
                <a:gd name="connsiteX40" fmla="*/ 537240 w 1457148"/>
                <a:gd name="connsiteY40" fmla="*/ 1076685 h 3641849"/>
                <a:gd name="connsiteX41" fmla="*/ 576033 w 1457148"/>
                <a:gd name="connsiteY41" fmla="*/ 1071514 h 3641849"/>
                <a:gd name="connsiteX42" fmla="*/ 584347 w 1457148"/>
                <a:gd name="connsiteY42" fmla="*/ 1035314 h 3641849"/>
                <a:gd name="connsiteX43" fmla="*/ 545552 w 1457148"/>
                <a:gd name="connsiteY43" fmla="*/ 957743 h 3641849"/>
                <a:gd name="connsiteX44" fmla="*/ 614828 w 1457148"/>
                <a:gd name="connsiteY44" fmla="*/ 911200 h 3641849"/>
                <a:gd name="connsiteX45" fmla="*/ 682600 w 1457148"/>
                <a:gd name="connsiteY45" fmla="*/ 918934 h 3641849"/>
                <a:gd name="connsiteX46" fmla="*/ 706433 w 1457148"/>
                <a:gd name="connsiteY46" fmla="*/ 951001 h 3641849"/>
                <a:gd name="connsiteX47" fmla="*/ 862162 w 1457148"/>
                <a:gd name="connsiteY47" fmla="*/ 1007364 h 3641849"/>
                <a:gd name="connsiteX48" fmla="*/ 847754 w 1457148"/>
                <a:gd name="connsiteY48" fmla="*/ 971687 h 3641849"/>
                <a:gd name="connsiteX49" fmla="*/ 814502 w 1457148"/>
                <a:gd name="connsiteY49" fmla="*/ 932901 h 3641849"/>
                <a:gd name="connsiteX50" fmla="*/ 803418 w 1457148"/>
                <a:gd name="connsiteY50" fmla="*/ 881187 h 3641849"/>
                <a:gd name="connsiteX51" fmla="*/ 842213 w 1457148"/>
                <a:gd name="connsiteY51" fmla="*/ 832060 h 3641849"/>
                <a:gd name="connsiteX52" fmla="*/ 869923 w 1457148"/>
                <a:gd name="connsiteY52" fmla="*/ 803617 h 3641849"/>
                <a:gd name="connsiteX53" fmla="*/ 894863 w 1457148"/>
                <a:gd name="connsiteY53" fmla="*/ 767417 h 3641849"/>
                <a:gd name="connsiteX54" fmla="*/ 975223 w 1457148"/>
                <a:gd name="connsiteY54" fmla="*/ 762245 h 3641849"/>
                <a:gd name="connsiteX55" fmla="*/ 980764 w 1457148"/>
                <a:gd name="connsiteY55" fmla="*/ 741560 h 3641849"/>
                <a:gd name="connsiteX56" fmla="*/ 1005704 w 1457148"/>
                <a:gd name="connsiteY56" fmla="*/ 705360 h 3641849"/>
                <a:gd name="connsiteX57" fmla="*/ 1039508 w 1457148"/>
                <a:gd name="connsiteY57" fmla="*/ 687772 h 3641849"/>
                <a:gd name="connsiteX58" fmla="*/ 1097148 w 1457148"/>
                <a:gd name="connsiteY58" fmla="*/ 700189 h 3641849"/>
                <a:gd name="connsiteX59" fmla="*/ 1135941 w 1457148"/>
                <a:gd name="connsiteY59" fmla="*/ 720875 h 3641849"/>
                <a:gd name="connsiteX60" fmla="*/ 1183049 w 1457148"/>
                <a:gd name="connsiteY60" fmla="*/ 728632 h 3641849"/>
                <a:gd name="connsiteX61" fmla="*/ 1183049 w 1457148"/>
                <a:gd name="connsiteY61" fmla="*/ 733803 h 3641849"/>
                <a:gd name="connsiteX62" fmla="*/ 1205218 w 1457148"/>
                <a:gd name="connsiteY62" fmla="*/ 674332 h 3641849"/>
                <a:gd name="connsiteX63" fmla="*/ 1215193 w 1457148"/>
                <a:gd name="connsiteY63" fmla="*/ 640714 h 3641849"/>
                <a:gd name="connsiteX64" fmla="*/ 1221844 w 1457148"/>
                <a:gd name="connsiteY64" fmla="*/ 622618 h 3641849"/>
                <a:gd name="connsiteX65" fmla="*/ 1224781 w 1457148"/>
                <a:gd name="connsiteY65" fmla="*/ 591288 h 3641849"/>
                <a:gd name="connsiteX66" fmla="*/ 1144255 w 1457148"/>
                <a:gd name="connsiteY66" fmla="*/ 545048 h 3641849"/>
                <a:gd name="connsiteX67" fmla="*/ 1130400 w 1457148"/>
                <a:gd name="connsiteY67" fmla="*/ 472648 h 3641849"/>
                <a:gd name="connsiteX68" fmla="*/ 1130400 w 1457148"/>
                <a:gd name="connsiteY68" fmla="*/ 454548 h 3641849"/>
                <a:gd name="connsiteX69" fmla="*/ 1141483 w 1457148"/>
                <a:gd name="connsiteY69" fmla="*/ 431276 h 3641849"/>
                <a:gd name="connsiteX70" fmla="*/ 1144255 w 1457148"/>
                <a:gd name="connsiteY70" fmla="*/ 415762 h 3641849"/>
                <a:gd name="connsiteX71" fmla="*/ 1144254 w 1457148"/>
                <a:gd name="connsiteY71" fmla="*/ 358878 h 3641849"/>
                <a:gd name="connsiteX72" fmla="*/ 1122086 w 1457148"/>
                <a:gd name="connsiteY72" fmla="*/ 335607 h 3641849"/>
                <a:gd name="connsiteX73" fmla="*/ 1094376 w 1457148"/>
                <a:gd name="connsiteY73" fmla="*/ 304578 h 3641849"/>
                <a:gd name="connsiteX74" fmla="*/ 1090208 w 1457148"/>
                <a:gd name="connsiteY74" fmla="*/ 280325 h 3641849"/>
                <a:gd name="connsiteX75" fmla="*/ 1141484 w 1457148"/>
                <a:gd name="connsiteY75" fmla="*/ 258034 h 3641849"/>
                <a:gd name="connsiteX76" fmla="*/ 1195064 w 1457148"/>
                <a:gd name="connsiteY76" fmla="*/ 267906 h 3641849"/>
                <a:gd name="connsiteX77" fmla="*/ 1273848 w 1457148"/>
                <a:gd name="connsiteY77" fmla="*/ 279816 h 3641849"/>
                <a:gd name="connsiteX78" fmla="*/ 1358171 w 1457148"/>
                <a:gd name="connsiteY78" fmla="*/ 349175 h 3641849"/>
                <a:gd name="connsiteX79" fmla="*/ 1420306 w 1457148"/>
                <a:gd name="connsiteY79" fmla="*/ 425271 h 3641849"/>
                <a:gd name="connsiteX80" fmla="*/ 1319335 w 1457148"/>
                <a:gd name="connsiteY80" fmla="*/ 454265 h 3641849"/>
                <a:gd name="connsiteX81" fmla="*/ 1303801 w 1457148"/>
                <a:gd name="connsiteY81" fmla="*/ 501372 h 3641849"/>
                <a:gd name="connsiteX82" fmla="*/ 1361471 w 1457148"/>
                <a:gd name="connsiteY82" fmla="*/ 585862 h 3641849"/>
                <a:gd name="connsiteX83" fmla="*/ 1397005 w 1457148"/>
                <a:gd name="connsiteY83" fmla="*/ 591964 h 3641849"/>
                <a:gd name="connsiteX84" fmla="*/ 1449625 w 1457148"/>
                <a:gd name="connsiteY84" fmla="*/ 598304 h 3641849"/>
                <a:gd name="connsiteX85" fmla="*/ 1444662 w 1457148"/>
                <a:gd name="connsiteY85" fmla="*/ 709079 h 3641849"/>
                <a:gd name="connsiteX86" fmla="*/ 1455731 w 1457148"/>
                <a:gd name="connsiteY86" fmla="*/ 1040047 h 3641849"/>
                <a:gd name="connsiteX87" fmla="*/ 1446863 w 1457148"/>
                <a:gd name="connsiteY87" fmla="*/ 1842646 h 3641849"/>
                <a:gd name="connsiteX88" fmla="*/ 1455730 w 1457148"/>
                <a:gd name="connsiteY88" fmla="*/ 2297728 h 3641849"/>
                <a:gd name="connsiteX89" fmla="*/ 1429282 w 1457148"/>
                <a:gd name="connsiteY89" fmla="*/ 3607693 h 3641849"/>
                <a:gd name="connsiteX90" fmla="*/ 1170855 w 1457148"/>
                <a:gd name="connsiteY90" fmla="*/ 3564098 h 3641849"/>
                <a:gd name="connsiteX91" fmla="*/ 1002377 w 1457148"/>
                <a:gd name="connsiteY91" fmla="*/ 3497903 h 3641849"/>
                <a:gd name="connsiteX92" fmla="*/ 825031 w 1457148"/>
                <a:gd name="connsiteY92" fmla="*/ 3406887 h 3641849"/>
                <a:gd name="connsiteX93" fmla="*/ 726733 w 1457148"/>
                <a:gd name="connsiteY93" fmla="*/ 3326370 h 3641849"/>
                <a:gd name="connsiteX94" fmla="*/ 1020995 w 1457148"/>
                <a:gd name="connsiteY94" fmla="*/ 3018734 h 3641849"/>
                <a:gd name="connsiteX95" fmla="*/ 737241 w 1457148"/>
                <a:gd name="connsiteY95" fmla="*/ 2480910 h 3641849"/>
                <a:gd name="connsiteX96" fmla="*/ 879591 w 1457148"/>
                <a:gd name="connsiteY96" fmla="*/ 2241825 h 3641849"/>
                <a:gd name="connsiteX97" fmla="*/ 692904 w 1457148"/>
                <a:gd name="connsiteY97" fmla="*/ 1703134 h 3641849"/>
                <a:gd name="connsiteX98" fmla="*/ 444620 w 1457148"/>
                <a:gd name="connsiteY98" fmla="*/ 1471456 h 3641849"/>
                <a:gd name="connsiteX99" fmla="*/ 435753 w 1457148"/>
                <a:gd name="connsiteY99" fmla="*/ 1355617 h 3641849"/>
                <a:gd name="connsiteX100" fmla="*/ 30225 w 1457148"/>
                <a:gd name="connsiteY100" fmla="*/ 551628 h 3641849"/>
                <a:gd name="connsiteX0" fmla="*/ 435753 w 1457148"/>
                <a:gd name="connsiteY0" fmla="*/ 1355617 h 3641849"/>
                <a:gd name="connsiteX1" fmla="*/ 85562 w 1457148"/>
                <a:gd name="connsiteY1" fmla="*/ 546620 h 3641849"/>
                <a:gd name="connsiteX2" fmla="*/ 85563 w 1457148"/>
                <a:gd name="connsiteY2" fmla="*/ 378550 h 3641849"/>
                <a:gd name="connsiteX3" fmla="*/ 10744 w 1457148"/>
                <a:gd name="connsiteY3" fmla="*/ 319079 h 3641849"/>
                <a:gd name="connsiteX4" fmla="*/ 2432 w 1457148"/>
                <a:gd name="connsiteY4" fmla="*/ 251851 h 3641849"/>
                <a:gd name="connsiteX5" fmla="*/ 57852 w 1457148"/>
                <a:gd name="connsiteY5" fmla="*/ 158764 h 3641849"/>
                <a:gd name="connsiteX6" fmla="*/ 77250 w 1457148"/>
                <a:gd name="connsiteY6" fmla="*/ 135494 h 3641849"/>
                <a:gd name="connsiteX7" fmla="*/ 91105 w 1457148"/>
                <a:gd name="connsiteY7" fmla="*/ 117394 h 3641849"/>
                <a:gd name="connsiteX8" fmla="*/ 99418 w 1457148"/>
                <a:gd name="connsiteY8" fmla="*/ 73438 h 3641849"/>
                <a:gd name="connsiteX9" fmla="*/ 124357 w 1457148"/>
                <a:gd name="connsiteY9" fmla="*/ 101880 h 3641849"/>
                <a:gd name="connsiteX10" fmla="*/ 154839 w 1457148"/>
                <a:gd name="connsiteY10" fmla="*/ 88952 h 3641849"/>
                <a:gd name="connsiteX11" fmla="*/ 157609 w 1457148"/>
                <a:gd name="connsiteY11" fmla="*/ 63095 h 3641849"/>
                <a:gd name="connsiteX12" fmla="*/ 165923 w 1457148"/>
                <a:gd name="connsiteY12" fmla="*/ 34652 h 3641849"/>
                <a:gd name="connsiteX13" fmla="*/ 168695 w 1457148"/>
                <a:gd name="connsiteY13" fmla="*/ 3624 h 3641849"/>
                <a:gd name="connsiteX14" fmla="*/ 304475 w 1457148"/>
                <a:gd name="connsiteY14" fmla="*/ 57924 h 3641849"/>
                <a:gd name="connsiteX15" fmla="*/ 334955 w 1457148"/>
                <a:gd name="connsiteY15" fmla="*/ 161352 h 3641849"/>
                <a:gd name="connsiteX16" fmla="*/ 348811 w 1457148"/>
                <a:gd name="connsiteY16" fmla="*/ 184622 h 3641849"/>
                <a:gd name="connsiteX17" fmla="*/ 359895 w 1457148"/>
                <a:gd name="connsiteY17" fmla="*/ 187208 h 3641849"/>
                <a:gd name="connsiteX18" fmla="*/ 473507 w 1457148"/>
                <a:gd name="connsiteY18" fmla="*/ 156181 h 3641849"/>
                <a:gd name="connsiteX19" fmla="*/ 540012 w 1457148"/>
                <a:gd name="connsiteY19" fmla="*/ 166522 h 3641849"/>
                <a:gd name="connsiteX20" fmla="*/ 603746 w 1457148"/>
                <a:gd name="connsiteY20" fmla="*/ 213065 h 3641849"/>
                <a:gd name="connsiteX21" fmla="*/ 617773 w 1457148"/>
                <a:gd name="connsiteY21" fmla="*/ 242621 h 3641849"/>
                <a:gd name="connsiteX22" fmla="*/ 673020 w 1457148"/>
                <a:gd name="connsiteY22" fmla="*/ 277708 h 3641849"/>
                <a:gd name="connsiteX23" fmla="*/ 761694 w 1457148"/>
                <a:gd name="connsiteY23" fmla="*/ 303563 h 3641849"/>
                <a:gd name="connsiteX24" fmla="*/ 833740 w 1457148"/>
                <a:gd name="connsiteY24" fmla="*/ 350106 h 3641849"/>
                <a:gd name="connsiteX25" fmla="*/ 883619 w 1457148"/>
                <a:gd name="connsiteY25" fmla="*/ 401820 h 3641849"/>
                <a:gd name="connsiteX26" fmla="*/ 908558 w 1457148"/>
                <a:gd name="connsiteY26" fmla="*/ 440606 h 3641849"/>
                <a:gd name="connsiteX27" fmla="*/ 941811 w 1457148"/>
                <a:gd name="connsiteY27" fmla="*/ 466462 h 3641849"/>
                <a:gd name="connsiteX28" fmla="*/ 925183 w 1457148"/>
                <a:gd name="connsiteY28" fmla="*/ 691417 h 3641849"/>
                <a:gd name="connsiteX29" fmla="*/ 797717 w 1457148"/>
                <a:gd name="connsiteY29" fmla="*/ 771575 h 3641849"/>
                <a:gd name="connsiteX30" fmla="*/ 684105 w 1457148"/>
                <a:gd name="connsiteY30" fmla="*/ 779331 h 3641849"/>
                <a:gd name="connsiteX31" fmla="*/ 545552 w 1457148"/>
                <a:gd name="connsiteY31" fmla="*/ 758645 h 3641849"/>
                <a:gd name="connsiteX32" fmla="*/ 454108 w 1457148"/>
                <a:gd name="connsiteY32" fmla="*/ 722445 h 3641849"/>
                <a:gd name="connsiteX33" fmla="*/ 434711 w 1457148"/>
                <a:gd name="connsiteY33" fmla="*/ 750888 h 3641849"/>
                <a:gd name="connsiteX34" fmla="*/ 465353 w 1457148"/>
                <a:gd name="connsiteY34" fmla="*/ 824301 h 3641849"/>
                <a:gd name="connsiteX35" fmla="*/ 470894 w 1457148"/>
                <a:gd name="connsiteY35" fmla="*/ 951000 h 3641849"/>
                <a:gd name="connsiteX36" fmla="*/ 443024 w 1457148"/>
                <a:gd name="connsiteY36" fmla="*/ 1012043 h 3641849"/>
                <a:gd name="connsiteX37" fmla="*/ 498443 w 1457148"/>
                <a:gd name="connsiteY37" fmla="*/ 1032728 h 3641849"/>
                <a:gd name="connsiteX38" fmla="*/ 515071 w 1457148"/>
                <a:gd name="connsiteY38" fmla="*/ 1048242 h 3641849"/>
                <a:gd name="connsiteX39" fmla="*/ 540011 w 1457148"/>
                <a:gd name="connsiteY39" fmla="*/ 1074099 h 3641849"/>
                <a:gd name="connsiteX40" fmla="*/ 537240 w 1457148"/>
                <a:gd name="connsiteY40" fmla="*/ 1076685 h 3641849"/>
                <a:gd name="connsiteX41" fmla="*/ 576033 w 1457148"/>
                <a:gd name="connsiteY41" fmla="*/ 1071514 h 3641849"/>
                <a:gd name="connsiteX42" fmla="*/ 584347 w 1457148"/>
                <a:gd name="connsiteY42" fmla="*/ 1035314 h 3641849"/>
                <a:gd name="connsiteX43" fmla="*/ 545552 w 1457148"/>
                <a:gd name="connsiteY43" fmla="*/ 957743 h 3641849"/>
                <a:gd name="connsiteX44" fmla="*/ 614828 w 1457148"/>
                <a:gd name="connsiteY44" fmla="*/ 911200 h 3641849"/>
                <a:gd name="connsiteX45" fmla="*/ 682600 w 1457148"/>
                <a:gd name="connsiteY45" fmla="*/ 918934 h 3641849"/>
                <a:gd name="connsiteX46" fmla="*/ 706433 w 1457148"/>
                <a:gd name="connsiteY46" fmla="*/ 951001 h 3641849"/>
                <a:gd name="connsiteX47" fmla="*/ 862162 w 1457148"/>
                <a:gd name="connsiteY47" fmla="*/ 1007364 h 3641849"/>
                <a:gd name="connsiteX48" fmla="*/ 847754 w 1457148"/>
                <a:gd name="connsiteY48" fmla="*/ 971687 h 3641849"/>
                <a:gd name="connsiteX49" fmla="*/ 814502 w 1457148"/>
                <a:gd name="connsiteY49" fmla="*/ 932901 h 3641849"/>
                <a:gd name="connsiteX50" fmla="*/ 803418 w 1457148"/>
                <a:gd name="connsiteY50" fmla="*/ 881187 h 3641849"/>
                <a:gd name="connsiteX51" fmla="*/ 842213 w 1457148"/>
                <a:gd name="connsiteY51" fmla="*/ 832060 h 3641849"/>
                <a:gd name="connsiteX52" fmla="*/ 869923 w 1457148"/>
                <a:gd name="connsiteY52" fmla="*/ 803617 h 3641849"/>
                <a:gd name="connsiteX53" fmla="*/ 894863 w 1457148"/>
                <a:gd name="connsiteY53" fmla="*/ 767417 h 3641849"/>
                <a:gd name="connsiteX54" fmla="*/ 975223 w 1457148"/>
                <a:gd name="connsiteY54" fmla="*/ 762245 h 3641849"/>
                <a:gd name="connsiteX55" fmla="*/ 980764 w 1457148"/>
                <a:gd name="connsiteY55" fmla="*/ 741560 h 3641849"/>
                <a:gd name="connsiteX56" fmla="*/ 1005704 w 1457148"/>
                <a:gd name="connsiteY56" fmla="*/ 705360 h 3641849"/>
                <a:gd name="connsiteX57" fmla="*/ 1039508 w 1457148"/>
                <a:gd name="connsiteY57" fmla="*/ 687772 h 3641849"/>
                <a:gd name="connsiteX58" fmla="*/ 1097148 w 1457148"/>
                <a:gd name="connsiteY58" fmla="*/ 700189 h 3641849"/>
                <a:gd name="connsiteX59" fmla="*/ 1135941 w 1457148"/>
                <a:gd name="connsiteY59" fmla="*/ 720875 h 3641849"/>
                <a:gd name="connsiteX60" fmla="*/ 1183049 w 1457148"/>
                <a:gd name="connsiteY60" fmla="*/ 728632 h 3641849"/>
                <a:gd name="connsiteX61" fmla="*/ 1183049 w 1457148"/>
                <a:gd name="connsiteY61" fmla="*/ 733803 h 3641849"/>
                <a:gd name="connsiteX62" fmla="*/ 1205218 w 1457148"/>
                <a:gd name="connsiteY62" fmla="*/ 674332 h 3641849"/>
                <a:gd name="connsiteX63" fmla="*/ 1215193 w 1457148"/>
                <a:gd name="connsiteY63" fmla="*/ 640714 h 3641849"/>
                <a:gd name="connsiteX64" fmla="*/ 1221844 w 1457148"/>
                <a:gd name="connsiteY64" fmla="*/ 622618 h 3641849"/>
                <a:gd name="connsiteX65" fmla="*/ 1224781 w 1457148"/>
                <a:gd name="connsiteY65" fmla="*/ 591288 h 3641849"/>
                <a:gd name="connsiteX66" fmla="*/ 1144255 w 1457148"/>
                <a:gd name="connsiteY66" fmla="*/ 545048 h 3641849"/>
                <a:gd name="connsiteX67" fmla="*/ 1130400 w 1457148"/>
                <a:gd name="connsiteY67" fmla="*/ 472648 h 3641849"/>
                <a:gd name="connsiteX68" fmla="*/ 1130400 w 1457148"/>
                <a:gd name="connsiteY68" fmla="*/ 454548 h 3641849"/>
                <a:gd name="connsiteX69" fmla="*/ 1141483 w 1457148"/>
                <a:gd name="connsiteY69" fmla="*/ 431276 h 3641849"/>
                <a:gd name="connsiteX70" fmla="*/ 1144255 w 1457148"/>
                <a:gd name="connsiteY70" fmla="*/ 415762 h 3641849"/>
                <a:gd name="connsiteX71" fmla="*/ 1144254 w 1457148"/>
                <a:gd name="connsiteY71" fmla="*/ 358878 h 3641849"/>
                <a:gd name="connsiteX72" fmla="*/ 1122086 w 1457148"/>
                <a:gd name="connsiteY72" fmla="*/ 335607 h 3641849"/>
                <a:gd name="connsiteX73" fmla="*/ 1094376 w 1457148"/>
                <a:gd name="connsiteY73" fmla="*/ 304578 h 3641849"/>
                <a:gd name="connsiteX74" fmla="*/ 1090208 w 1457148"/>
                <a:gd name="connsiteY74" fmla="*/ 280325 h 3641849"/>
                <a:gd name="connsiteX75" fmla="*/ 1141484 w 1457148"/>
                <a:gd name="connsiteY75" fmla="*/ 258034 h 3641849"/>
                <a:gd name="connsiteX76" fmla="*/ 1195064 w 1457148"/>
                <a:gd name="connsiteY76" fmla="*/ 267906 h 3641849"/>
                <a:gd name="connsiteX77" fmla="*/ 1273848 w 1457148"/>
                <a:gd name="connsiteY77" fmla="*/ 279816 h 3641849"/>
                <a:gd name="connsiteX78" fmla="*/ 1358171 w 1457148"/>
                <a:gd name="connsiteY78" fmla="*/ 349175 h 3641849"/>
                <a:gd name="connsiteX79" fmla="*/ 1420306 w 1457148"/>
                <a:gd name="connsiteY79" fmla="*/ 425271 h 3641849"/>
                <a:gd name="connsiteX80" fmla="*/ 1319335 w 1457148"/>
                <a:gd name="connsiteY80" fmla="*/ 454265 h 3641849"/>
                <a:gd name="connsiteX81" fmla="*/ 1303801 w 1457148"/>
                <a:gd name="connsiteY81" fmla="*/ 501372 h 3641849"/>
                <a:gd name="connsiteX82" fmla="*/ 1361471 w 1457148"/>
                <a:gd name="connsiteY82" fmla="*/ 585862 h 3641849"/>
                <a:gd name="connsiteX83" fmla="*/ 1397005 w 1457148"/>
                <a:gd name="connsiteY83" fmla="*/ 591964 h 3641849"/>
                <a:gd name="connsiteX84" fmla="*/ 1449625 w 1457148"/>
                <a:gd name="connsiteY84" fmla="*/ 598304 h 3641849"/>
                <a:gd name="connsiteX85" fmla="*/ 1444662 w 1457148"/>
                <a:gd name="connsiteY85" fmla="*/ 709079 h 3641849"/>
                <a:gd name="connsiteX86" fmla="*/ 1455731 w 1457148"/>
                <a:gd name="connsiteY86" fmla="*/ 1040047 h 3641849"/>
                <a:gd name="connsiteX87" fmla="*/ 1446863 w 1457148"/>
                <a:gd name="connsiteY87" fmla="*/ 1842646 h 3641849"/>
                <a:gd name="connsiteX88" fmla="*/ 1455730 w 1457148"/>
                <a:gd name="connsiteY88" fmla="*/ 2297728 h 3641849"/>
                <a:gd name="connsiteX89" fmla="*/ 1429282 w 1457148"/>
                <a:gd name="connsiteY89" fmla="*/ 3607693 h 3641849"/>
                <a:gd name="connsiteX90" fmla="*/ 1170855 w 1457148"/>
                <a:gd name="connsiteY90" fmla="*/ 3564098 h 3641849"/>
                <a:gd name="connsiteX91" fmla="*/ 1002377 w 1457148"/>
                <a:gd name="connsiteY91" fmla="*/ 3497903 h 3641849"/>
                <a:gd name="connsiteX92" fmla="*/ 825031 w 1457148"/>
                <a:gd name="connsiteY92" fmla="*/ 3406887 h 3641849"/>
                <a:gd name="connsiteX93" fmla="*/ 726733 w 1457148"/>
                <a:gd name="connsiteY93" fmla="*/ 3326370 h 3641849"/>
                <a:gd name="connsiteX94" fmla="*/ 1020995 w 1457148"/>
                <a:gd name="connsiteY94" fmla="*/ 3018734 h 3641849"/>
                <a:gd name="connsiteX95" fmla="*/ 737241 w 1457148"/>
                <a:gd name="connsiteY95" fmla="*/ 2480910 h 3641849"/>
                <a:gd name="connsiteX96" fmla="*/ 879591 w 1457148"/>
                <a:gd name="connsiteY96" fmla="*/ 2241825 h 3641849"/>
                <a:gd name="connsiteX97" fmla="*/ 692904 w 1457148"/>
                <a:gd name="connsiteY97" fmla="*/ 1703134 h 3641849"/>
                <a:gd name="connsiteX98" fmla="*/ 444620 w 1457148"/>
                <a:gd name="connsiteY98" fmla="*/ 1471456 h 3641849"/>
                <a:gd name="connsiteX99" fmla="*/ 435753 w 1457148"/>
                <a:gd name="connsiteY99" fmla="*/ 1355617 h 3641849"/>
                <a:gd name="connsiteX0" fmla="*/ 435753 w 1457148"/>
                <a:gd name="connsiteY0" fmla="*/ 1355617 h 3641849"/>
                <a:gd name="connsiteX1" fmla="*/ 88334 w 1457148"/>
                <a:gd name="connsiteY1" fmla="*/ 458707 h 3641849"/>
                <a:gd name="connsiteX2" fmla="*/ 85563 w 1457148"/>
                <a:gd name="connsiteY2" fmla="*/ 378550 h 3641849"/>
                <a:gd name="connsiteX3" fmla="*/ 10744 w 1457148"/>
                <a:gd name="connsiteY3" fmla="*/ 319079 h 3641849"/>
                <a:gd name="connsiteX4" fmla="*/ 2432 w 1457148"/>
                <a:gd name="connsiteY4" fmla="*/ 251851 h 3641849"/>
                <a:gd name="connsiteX5" fmla="*/ 57852 w 1457148"/>
                <a:gd name="connsiteY5" fmla="*/ 158764 h 3641849"/>
                <a:gd name="connsiteX6" fmla="*/ 77250 w 1457148"/>
                <a:gd name="connsiteY6" fmla="*/ 135494 h 3641849"/>
                <a:gd name="connsiteX7" fmla="*/ 91105 w 1457148"/>
                <a:gd name="connsiteY7" fmla="*/ 117394 h 3641849"/>
                <a:gd name="connsiteX8" fmla="*/ 99418 w 1457148"/>
                <a:gd name="connsiteY8" fmla="*/ 73438 h 3641849"/>
                <a:gd name="connsiteX9" fmla="*/ 124357 w 1457148"/>
                <a:gd name="connsiteY9" fmla="*/ 101880 h 3641849"/>
                <a:gd name="connsiteX10" fmla="*/ 154839 w 1457148"/>
                <a:gd name="connsiteY10" fmla="*/ 88952 h 3641849"/>
                <a:gd name="connsiteX11" fmla="*/ 157609 w 1457148"/>
                <a:gd name="connsiteY11" fmla="*/ 63095 h 3641849"/>
                <a:gd name="connsiteX12" fmla="*/ 165923 w 1457148"/>
                <a:gd name="connsiteY12" fmla="*/ 34652 h 3641849"/>
                <a:gd name="connsiteX13" fmla="*/ 168695 w 1457148"/>
                <a:gd name="connsiteY13" fmla="*/ 3624 h 3641849"/>
                <a:gd name="connsiteX14" fmla="*/ 304475 w 1457148"/>
                <a:gd name="connsiteY14" fmla="*/ 57924 h 3641849"/>
                <a:gd name="connsiteX15" fmla="*/ 334955 w 1457148"/>
                <a:gd name="connsiteY15" fmla="*/ 161352 h 3641849"/>
                <a:gd name="connsiteX16" fmla="*/ 348811 w 1457148"/>
                <a:gd name="connsiteY16" fmla="*/ 184622 h 3641849"/>
                <a:gd name="connsiteX17" fmla="*/ 359895 w 1457148"/>
                <a:gd name="connsiteY17" fmla="*/ 187208 h 3641849"/>
                <a:gd name="connsiteX18" fmla="*/ 473507 w 1457148"/>
                <a:gd name="connsiteY18" fmla="*/ 156181 h 3641849"/>
                <a:gd name="connsiteX19" fmla="*/ 540012 w 1457148"/>
                <a:gd name="connsiteY19" fmla="*/ 166522 h 3641849"/>
                <a:gd name="connsiteX20" fmla="*/ 603746 w 1457148"/>
                <a:gd name="connsiteY20" fmla="*/ 213065 h 3641849"/>
                <a:gd name="connsiteX21" fmla="*/ 617773 w 1457148"/>
                <a:gd name="connsiteY21" fmla="*/ 242621 h 3641849"/>
                <a:gd name="connsiteX22" fmla="*/ 673020 w 1457148"/>
                <a:gd name="connsiteY22" fmla="*/ 277708 h 3641849"/>
                <a:gd name="connsiteX23" fmla="*/ 761694 w 1457148"/>
                <a:gd name="connsiteY23" fmla="*/ 303563 h 3641849"/>
                <a:gd name="connsiteX24" fmla="*/ 833740 w 1457148"/>
                <a:gd name="connsiteY24" fmla="*/ 350106 h 3641849"/>
                <a:gd name="connsiteX25" fmla="*/ 883619 w 1457148"/>
                <a:gd name="connsiteY25" fmla="*/ 401820 h 3641849"/>
                <a:gd name="connsiteX26" fmla="*/ 908558 w 1457148"/>
                <a:gd name="connsiteY26" fmla="*/ 440606 h 3641849"/>
                <a:gd name="connsiteX27" fmla="*/ 941811 w 1457148"/>
                <a:gd name="connsiteY27" fmla="*/ 466462 h 3641849"/>
                <a:gd name="connsiteX28" fmla="*/ 925183 w 1457148"/>
                <a:gd name="connsiteY28" fmla="*/ 691417 h 3641849"/>
                <a:gd name="connsiteX29" fmla="*/ 797717 w 1457148"/>
                <a:gd name="connsiteY29" fmla="*/ 771575 h 3641849"/>
                <a:gd name="connsiteX30" fmla="*/ 684105 w 1457148"/>
                <a:gd name="connsiteY30" fmla="*/ 779331 h 3641849"/>
                <a:gd name="connsiteX31" fmla="*/ 545552 w 1457148"/>
                <a:gd name="connsiteY31" fmla="*/ 758645 h 3641849"/>
                <a:gd name="connsiteX32" fmla="*/ 454108 w 1457148"/>
                <a:gd name="connsiteY32" fmla="*/ 722445 h 3641849"/>
                <a:gd name="connsiteX33" fmla="*/ 434711 w 1457148"/>
                <a:gd name="connsiteY33" fmla="*/ 750888 h 3641849"/>
                <a:gd name="connsiteX34" fmla="*/ 465353 w 1457148"/>
                <a:gd name="connsiteY34" fmla="*/ 824301 h 3641849"/>
                <a:gd name="connsiteX35" fmla="*/ 470894 w 1457148"/>
                <a:gd name="connsiteY35" fmla="*/ 951000 h 3641849"/>
                <a:gd name="connsiteX36" fmla="*/ 443024 w 1457148"/>
                <a:gd name="connsiteY36" fmla="*/ 1012043 h 3641849"/>
                <a:gd name="connsiteX37" fmla="*/ 498443 w 1457148"/>
                <a:gd name="connsiteY37" fmla="*/ 1032728 h 3641849"/>
                <a:gd name="connsiteX38" fmla="*/ 515071 w 1457148"/>
                <a:gd name="connsiteY38" fmla="*/ 1048242 h 3641849"/>
                <a:gd name="connsiteX39" fmla="*/ 540011 w 1457148"/>
                <a:gd name="connsiteY39" fmla="*/ 1074099 h 3641849"/>
                <a:gd name="connsiteX40" fmla="*/ 537240 w 1457148"/>
                <a:gd name="connsiteY40" fmla="*/ 1076685 h 3641849"/>
                <a:gd name="connsiteX41" fmla="*/ 576033 w 1457148"/>
                <a:gd name="connsiteY41" fmla="*/ 1071514 h 3641849"/>
                <a:gd name="connsiteX42" fmla="*/ 584347 w 1457148"/>
                <a:gd name="connsiteY42" fmla="*/ 1035314 h 3641849"/>
                <a:gd name="connsiteX43" fmla="*/ 545552 w 1457148"/>
                <a:gd name="connsiteY43" fmla="*/ 957743 h 3641849"/>
                <a:gd name="connsiteX44" fmla="*/ 614828 w 1457148"/>
                <a:gd name="connsiteY44" fmla="*/ 911200 h 3641849"/>
                <a:gd name="connsiteX45" fmla="*/ 682600 w 1457148"/>
                <a:gd name="connsiteY45" fmla="*/ 918934 h 3641849"/>
                <a:gd name="connsiteX46" fmla="*/ 706433 w 1457148"/>
                <a:gd name="connsiteY46" fmla="*/ 951001 h 3641849"/>
                <a:gd name="connsiteX47" fmla="*/ 862162 w 1457148"/>
                <a:gd name="connsiteY47" fmla="*/ 1007364 h 3641849"/>
                <a:gd name="connsiteX48" fmla="*/ 847754 w 1457148"/>
                <a:gd name="connsiteY48" fmla="*/ 971687 h 3641849"/>
                <a:gd name="connsiteX49" fmla="*/ 814502 w 1457148"/>
                <a:gd name="connsiteY49" fmla="*/ 932901 h 3641849"/>
                <a:gd name="connsiteX50" fmla="*/ 803418 w 1457148"/>
                <a:gd name="connsiteY50" fmla="*/ 881187 h 3641849"/>
                <a:gd name="connsiteX51" fmla="*/ 842213 w 1457148"/>
                <a:gd name="connsiteY51" fmla="*/ 832060 h 3641849"/>
                <a:gd name="connsiteX52" fmla="*/ 869923 w 1457148"/>
                <a:gd name="connsiteY52" fmla="*/ 803617 h 3641849"/>
                <a:gd name="connsiteX53" fmla="*/ 894863 w 1457148"/>
                <a:gd name="connsiteY53" fmla="*/ 767417 h 3641849"/>
                <a:gd name="connsiteX54" fmla="*/ 975223 w 1457148"/>
                <a:gd name="connsiteY54" fmla="*/ 762245 h 3641849"/>
                <a:gd name="connsiteX55" fmla="*/ 980764 w 1457148"/>
                <a:gd name="connsiteY55" fmla="*/ 741560 h 3641849"/>
                <a:gd name="connsiteX56" fmla="*/ 1005704 w 1457148"/>
                <a:gd name="connsiteY56" fmla="*/ 705360 h 3641849"/>
                <a:gd name="connsiteX57" fmla="*/ 1039508 w 1457148"/>
                <a:gd name="connsiteY57" fmla="*/ 687772 h 3641849"/>
                <a:gd name="connsiteX58" fmla="*/ 1097148 w 1457148"/>
                <a:gd name="connsiteY58" fmla="*/ 700189 h 3641849"/>
                <a:gd name="connsiteX59" fmla="*/ 1135941 w 1457148"/>
                <a:gd name="connsiteY59" fmla="*/ 720875 h 3641849"/>
                <a:gd name="connsiteX60" fmla="*/ 1183049 w 1457148"/>
                <a:gd name="connsiteY60" fmla="*/ 728632 h 3641849"/>
                <a:gd name="connsiteX61" fmla="*/ 1183049 w 1457148"/>
                <a:gd name="connsiteY61" fmla="*/ 733803 h 3641849"/>
                <a:gd name="connsiteX62" fmla="*/ 1205218 w 1457148"/>
                <a:gd name="connsiteY62" fmla="*/ 674332 h 3641849"/>
                <a:gd name="connsiteX63" fmla="*/ 1215193 w 1457148"/>
                <a:gd name="connsiteY63" fmla="*/ 640714 h 3641849"/>
                <a:gd name="connsiteX64" fmla="*/ 1221844 w 1457148"/>
                <a:gd name="connsiteY64" fmla="*/ 622618 h 3641849"/>
                <a:gd name="connsiteX65" fmla="*/ 1224781 w 1457148"/>
                <a:gd name="connsiteY65" fmla="*/ 591288 h 3641849"/>
                <a:gd name="connsiteX66" fmla="*/ 1144255 w 1457148"/>
                <a:gd name="connsiteY66" fmla="*/ 545048 h 3641849"/>
                <a:gd name="connsiteX67" fmla="*/ 1130400 w 1457148"/>
                <a:gd name="connsiteY67" fmla="*/ 472648 h 3641849"/>
                <a:gd name="connsiteX68" fmla="*/ 1130400 w 1457148"/>
                <a:gd name="connsiteY68" fmla="*/ 454548 h 3641849"/>
                <a:gd name="connsiteX69" fmla="*/ 1141483 w 1457148"/>
                <a:gd name="connsiteY69" fmla="*/ 431276 h 3641849"/>
                <a:gd name="connsiteX70" fmla="*/ 1144255 w 1457148"/>
                <a:gd name="connsiteY70" fmla="*/ 415762 h 3641849"/>
                <a:gd name="connsiteX71" fmla="*/ 1144254 w 1457148"/>
                <a:gd name="connsiteY71" fmla="*/ 358878 h 3641849"/>
                <a:gd name="connsiteX72" fmla="*/ 1122086 w 1457148"/>
                <a:gd name="connsiteY72" fmla="*/ 335607 h 3641849"/>
                <a:gd name="connsiteX73" fmla="*/ 1094376 w 1457148"/>
                <a:gd name="connsiteY73" fmla="*/ 304578 h 3641849"/>
                <a:gd name="connsiteX74" fmla="*/ 1090208 w 1457148"/>
                <a:gd name="connsiteY74" fmla="*/ 280325 h 3641849"/>
                <a:gd name="connsiteX75" fmla="*/ 1141484 w 1457148"/>
                <a:gd name="connsiteY75" fmla="*/ 258034 h 3641849"/>
                <a:gd name="connsiteX76" fmla="*/ 1195064 w 1457148"/>
                <a:gd name="connsiteY76" fmla="*/ 267906 h 3641849"/>
                <a:gd name="connsiteX77" fmla="*/ 1273848 w 1457148"/>
                <a:gd name="connsiteY77" fmla="*/ 279816 h 3641849"/>
                <a:gd name="connsiteX78" fmla="*/ 1358171 w 1457148"/>
                <a:gd name="connsiteY78" fmla="*/ 349175 h 3641849"/>
                <a:gd name="connsiteX79" fmla="*/ 1420306 w 1457148"/>
                <a:gd name="connsiteY79" fmla="*/ 425271 h 3641849"/>
                <a:gd name="connsiteX80" fmla="*/ 1319335 w 1457148"/>
                <a:gd name="connsiteY80" fmla="*/ 454265 h 3641849"/>
                <a:gd name="connsiteX81" fmla="*/ 1303801 w 1457148"/>
                <a:gd name="connsiteY81" fmla="*/ 501372 h 3641849"/>
                <a:gd name="connsiteX82" fmla="*/ 1361471 w 1457148"/>
                <a:gd name="connsiteY82" fmla="*/ 585862 h 3641849"/>
                <a:gd name="connsiteX83" fmla="*/ 1397005 w 1457148"/>
                <a:gd name="connsiteY83" fmla="*/ 591964 h 3641849"/>
                <a:gd name="connsiteX84" fmla="*/ 1449625 w 1457148"/>
                <a:gd name="connsiteY84" fmla="*/ 598304 h 3641849"/>
                <a:gd name="connsiteX85" fmla="*/ 1444662 w 1457148"/>
                <a:gd name="connsiteY85" fmla="*/ 709079 h 3641849"/>
                <a:gd name="connsiteX86" fmla="*/ 1455731 w 1457148"/>
                <a:gd name="connsiteY86" fmla="*/ 1040047 h 3641849"/>
                <a:gd name="connsiteX87" fmla="*/ 1446863 w 1457148"/>
                <a:gd name="connsiteY87" fmla="*/ 1842646 h 3641849"/>
                <a:gd name="connsiteX88" fmla="*/ 1455730 w 1457148"/>
                <a:gd name="connsiteY88" fmla="*/ 2297728 h 3641849"/>
                <a:gd name="connsiteX89" fmla="*/ 1429282 w 1457148"/>
                <a:gd name="connsiteY89" fmla="*/ 3607693 h 3641849"/>
                <a:gd name="connsiteX90" fmla="*/ 1170855 w 1457148"/>
                <a:gd name="connsiteY90" fmla="*/ 3564098 h 3641849"/>
                <a:gd name="connsiteX91" fmla="*/ 1002377 w 1457148"/>
                <a:gd name="connsiteY91" fmla="*/ 3497903 h 3641849"/>
                <a:gd name="connsiteX92" fmla="*/ 825031 w 1457148"/>
                <a:gd name="connsiteY92" fmla="*/ 3406887 h 3641849"/>
                <a:gd name="connsiteX93" fmla="*/ 726733 w 1457148"/>
                <a:gd name="connsiteY93" fmla="*/ 3326370 h 3641849"/>
                <a:gd name="connsiteX94" fmla="*/ 1020995 w 1457148"/>
                <a:gd name="connsiteY94" fmla="*/ 3018734 h 3641849"/>
                <a:gd name="connsiteX95" fmla="*/ 737241 w 1457148"/>
                <a:gd name="connsiteY95" fmla="*/ 2480910 h 3641849"/>
                <a:gd name="connsiteX96" fmla="*/ 879591 w 1457148"/>
                <a:gd name="connsiteY96" fmla="*/ 2241825 h 3641849"/>
                <a:gd name="connsiteX97" fmla="*/ 692904 w 1457148"/>
                <a:gd name="connsiteY97" fmla="*/ 1703134 h 3641849"/>
                <a:gd name="connsiteX98" fmla="*/ 444620 w 1457148"/>
                <a:gd name="connsiteY98" fmla="*/ 1471456 h 3641849"/>
                <a:gd name="connsiteX99" fmla="*/ 435753 w 1457148"/>
                <a:gd name="connsiteY99" fmla="*/ 1355617 h 3641849"/>
                <a:gd name="connsiteX0" fmla="*/ 435753 w 1457148"/>
                <a:gd name="connsiteY0" fmla="*/ 1355617 h 3641849"/>
                <a:gd name="connsiteX1" fmla="*/ 113273 w 1457148"/>
                <a:gd name="connsiteY1" fmla="*/ 520762 h 3641849"/>
                <a:gd name="connsiteX2" fmla="*/ 88334 w 1457148"/>
                <a:gd name="connsiteY2" fmla="*/ 458707 h 3641849"/>
                <a:gd name="connsiteX3" fmla="*/ 85563 w 1457148"/>
                <a:gd name="connsiteY3" fmla="*/ 378550 h 3641849"/>
                <a:gd name="connsiteX4" fmla="*/ 10744 w 1457148"/>
                <a:gd name="connsiteY4" fmla="*/ 319079 h 3641849"/>
                <a:gd name="connsiteX5" fmla="*/ 2432 w 1457148"/>
                <a:gd name="connsiteY5" fmla="*/ 251851 h 3641849"/>
                <a:gd name="connsiteX6" fmla="*/ 57852 w 1457148"/>
                <a:gd name="connsiteY6" fmla="*/ 158764 h 3641849"/>
                <a:gd name="connsiteX7" fmla="*/ 77250 w 1457148"/>
                <a:gd name="connsiteY7" fmla="*/ 135494 h 3641849"/>
                <a:gd name="connsiteX8" fmla="*/ 91105 w 1457148"/>
                <a:gd name="connsiteY8" fmla="*/ 117394 h 3641849"/>
                <a:gd name="connsiteX9" fmla="*/ 99418 w 1457148"/>
                <a:gd name="connsiteY9" fmla="*/ 73438 h 3641849"/>
                <a:gd name="connsiteX10" fmla="*/ 124357 w 1457148"/>
                <a:gd name="connsiteY10" fmla="*/ 101880 h 3641849"/>
                <a:gd name="connsiteX11" fmla="*/ 154839 w 1457148"/>
                <a:gd name="connsiteY11" fmla="*/ 88952 h 3641849"/>
                <a:gd name="connsiteX12" fmla="*/ 157609 w 1457148"/>
                <a:gd name="connsiteY12" fmla="*/ 63095 h 3641849"/>
                <a:gd name="connsiteX13" fmla="*/ 165923 w 1457148"/>
                <a:gd name="connsiteY13" fmla="*/ 34652 h 3641849"/>
                <a:gd name="connsiteX14" fmla="*/ 168695 w 1457148"/>
                <a:gd name="connsiteY14" fmla="*/ 3624 h 3641849"/>
                <a:gd name="connsiteX15" fmla="*/ 304475 w 1457148"/>
                <a:gd name="connsiteY15" fmla="*/ 57924 h 3641849"/>
                <a:gd name="connsiteX16" fmla="*/ 334955 w 1457148"/>
                <a:gd name="connsiteY16" fmla="*/ 161352 h 3641849"/>
                <a:gd name="connsiteX17" fmla="*/ 348811 w 1457148"/>
                <a:gd name="connsiteY17" fmla="*/ 184622 h 3641849"/>
                <a:gd name="connsiteX18" fmla="*/ 359895 w 1457148"/>
                <a:gd name="connsiteY18" fmla="*/ 187208 h 3641849"/>
                <a:gd name="connsiteX19" fmla="*/ 473507 w 1457148"/>
                <a:gd name="connsiteY19" fmla="*/ 156181 h 3641849"/>
                <a:gd name="connsiteX20" fmla="*/ 540012 w 1457148"/>
                <a:gd name="connsiteY20" fmla="*/ 166522 h 3641849"/>
                <a:gd name="connsiteX21" fmla="*/ 603746 w 1457148"/>
                <a:gd name="connsiteY21" fmla="*/ 213065 h 3641849"/>
                <a:gd name="connsiteX22" fmla="*/ 617773 w 1457148"/>
                <a:gd name="connsiteY22" fmla="*/ 242621 h 3641849"/>
                <a:gd name="connsiteX23" fmla="*/ 673020 w 1457148"/>
                <a:gd name="connsiteY23" fmla="*/ 277708 h 3641849"/>
                <a:gd name="connsiteX24" fmla="*/ 761694 w 1457148"/>
                <a:gd name="connsiteY24" fmla="*/ 303563 h 3641849"/>
                <a:gd name="connsiteX25" fmla="*/ 833740 w 1457148"/>
                <a:gd name="connsiteY25" fmla="*/ 350106 h 3641849"/>
                <a:gd name="connsiteX26" fmla="*/ 883619 w 1457148"/>
                <a:gd name="connsiteY26" fmla="*/ 401820 h 3641849"/>
                <a:gd name="connsiteX27" fmla="*/ 908558 w 1457148"/>
                <a:gd name="connsiteY27" fmla="*/ 440606 h 3641849"/>
                <a:gd name="connsiteX28" fmla="*/ 941811 w 1457148"/>
                <a:gd name="connsiteY28" fmla="*/ 466462 h 3641849"/>
                <a:gd name="connsiteX29" fmla="*/ 925183 w 1457148"/>
                <a:gd name="connsiteY29" fmla="*/ 691417 h 3641849"/>
                <a:gd name="connsiteX30" fmla="*/ 797717 w 1457148"/>
                <a:gd name="connsiteY30" fmla="*/ 771575 h 3641849"/>
                <a:gd name="connsiteX31" fmla="*/ 684105 w 1457148"/>
                <a:gd name="connsiteY31" fmla="*/ 779331 h 3641849"/>
                <a:gd name="connsiteX32" fmla="*/ 545552 w 1457148"/>
                <a:gd name="connsiteY32" fmla="*/ 758645 h 3641849"/>
                <a:gd name="connsiteX33" fmla="*/ 454108 w 1457148"/>
                <a:gd name="connsiteY33" fmla="*/ 722445 h 3641849"/>
                <a:gd name="connsiteX34" fmla="*/ 434711 w 1457148"/>
                <a:gd name="connsiteY34" fmla="*/ 750888 h 3641849"/>
                <a:gd name="connsiteX35" fmla="*/ 465353 w 1457148"/>
                <a:gd name="connsiteY35" fmla="*/ 824301 h 3641849"/>
                <a:gd name="connsiteX36" fmla="*/ 470894 w 1457148"/>
                <a:gd name="connsiteY36" fmla="*/ 951000 h 3641849"/>
                <a:gd name="connsiteX37" fmla="*/ 443024 w 1457148"/>
                <a:gd name="connsiteY37" fmla="*/ 1012043 h 3641849"/>
                <a:gd name="connsiteX38" fmla="*/ 498443 w 1457148"/>
                <a:gd name="connsiteY38" fmla="*/ 1032728 h 3641849"/>
                <a:gd name="connsiteX39" fmla="*/ 515071 w 1457148"/>
                <a:gd name="connsiteY39" fmla="*/ 1048242 h 3641849"/>
                <a:gd name="connsiteX40" fmla="*/ 540011 w 1457148"/>
                <a:gd name="connsiteY40" fmla="*/ 1074099 h 3641849"/>
                <a:gd name="connsiteX41" fmla="*/ 537240 w 1457148"/>
                <a:gd name="connsiteY41" fmla="*/ 1076685 h 3641849"/>
                <a:gd name="connsiteX42" fmla="*/ 576033 w 1457148"/>
                <a:gd name="connsiteY42" fmla="*/ 1071514 h 3641849"/>
                <a:gd name="connsiteX43" fmla="*/ 584347 w 1457148"/>
                <a:gd name="connsiteY43" fmla="*/ 1035314 h 3641849"/>
                <a:gd name="connsiteX44" fmla="*/ 545552 w 1457148"/>
                <a:gd name="connsiteY44" fmla="*/ 957743 h 3641849"/>
                <a:gd name="connsiteX45" fmla="*/ 614828 w 1457148"/>
                <a:gd name="connsiteY45" fmla="*/ 911200 h 3641849"/>
                <a:gd name="connsiteX46" fmla="*/ 682600 w 1457148"/>
                <a:gd name="connsiteY46" fmla="*/ 918934 h 3641849"/>
                <a:gd name="connsiteX47" fmla="*/ 706433 w 1457148"/>
                <a:gd name="connsiteY47" fmla="*/ 951001 h 3641849"/>
                <a:gd name="connsiteX48" fmla="*/ 862162 w 1457148"/>
                <a:gd name="connsiteY48" fmla="*/ 1007364 h 3641849"/>
                <a:gd name="connsiteX49" fmla="*/ 847754 w 1457148"/>
                <a:gd name="connsiteY49" fmla="*/ 971687 h 3641849"/>
                <a:gd name="connsiteX50" fmla="*/ 814502 w 1457148"/>
                <a:gd name="connsiteY50" fmla="*/ 932901 h 3641849"/>
                <a:gd name="connsiteX51" fmla="*/ 803418 w 1457148"/>
                <a:gd name="connsiteY51" fmla="*/ 881187 h 3641849"/>
                <a:gd name="connsiteX52" fmla="*/ 842213 w 1457148"/>
                <a:gd name="connsiteY52" fmla="*/ 832060 h 3641849"/>
                <a:gd name="connsiteX53" fmla="*/ 869923 w 1457148"/>
                <a:gd name="connsiteY53" fmla="*/ 803617 h 3641849"/>
                <a:gd name="connsiteX54" fmla="*/ 894863 w 1457148"/>
                <a:gd name="connsiteY54" fmla="*/ 767417 h 3641849"/>
                <a:gd name="connsiteX55" fmla="*/ 975223 w 1457148"/>
                <a:gd name="connsiteY55" fmla="*/ 762245 h 3641849"/>
                <a:gd name="connsiteX56" fmla="*/ 980764 w 1457148"/>
                <a:gd name="connsiteY56" fmla="*/ 741560 h 3641849"/>
                <a:gd name="connsiteX57" fmla="*/ 1005704 w 1457148"/>
                <a:gd name="connsiteY57" fmla="*/ 705360 h 3641849"/>
                <a:gd name="connsiteX58" fmla="*/ 1039508 w 1457148"/>
                <a:gd name="connsiteY58" fmla="*/ 687772 h 3641849"/>
                <a:gd name="connsiteX59" fmla="*/ 1097148 w 1457148"/>
                <a:gd name="connsiteY59" fmla="*/ 700189 h 3641849"/>
                <a:gd name="connsiteX60" fmla="*/ 1135941 w 1457148"/>
                <a:gd name="connsiteY60" fmla="*/ 720875 h 3641849"/>
                <a:gd name="connsiteX61" fmla="*/ 1183049 w 1457148"/>
                <a:gd name="connsiteY61" fmla="*/ 728632 h 3641849"/>
                <a:gd name="connsiteX62" fmla="*/ 1183049 w 1457148"/>
                <a:gd name="connsiteY62" fmla="*/ 733803 h 3641849"/>
                <a:gd name="connsiteX63" fmla="*/ 1205218 w 1457148"/>
                <a:gd name="connsiteY63" fmla="*/ 674332 h 3641849"/>
                <a:gd name="connsiteX64" fmla="*/ 1215193 w 1457148"/>
                <a:gd name="connsiteY64" fmla="*/ 640714 h 3641849"/>
                <a:gd name="connsiteX65" fmla="*/ 1221844 w 1457148"/>
                <a:gd name="connsiteY65" fmla="*/ 622618 h 3641849"/>
                <a:gd name="connsiteX66" fmla="*/ 1224781 w 1457148"/>
                <a:gd name="connsiteY66" fmla="*/ 591288 h 3641849"/>
                <a:gd name="connsiteX67" fmla="*/ 1144255 w 1457148"/>
                <a:gd name="connsiteY67" fmla="*/ 545048 h 3641849"/>
                <a:gd name="connsiteX68" fmla="*/ 1130400 w 1457148"/>
                <a:gd name="connsiteY68" fmla="*/ 472648 h 3641849"/>
                <a:gd name="connsiteX69" fmla="*/ 1130400 w 1457148"/>
                <a:gd name="connsiteY69" fmla="*/ 454548 h 3641849"/>
                <a:gd name="connsiteX70" fmla="*/ 1141483 w 1457148"/>
                <a:gd name="connsiteY70" fmla="*/ 431276 h 3641849"/>
                <a:gd name="connsiteX71" fmla="*/ 1144255 w 1457148"/>
                <a:gd name="connsiteY71" fmla="*/ 415762 h 3641849"/>
                <a:gd name="connsiteX72" fmla="*/ 1144254 w 1457148"/>
                <a:gd name="connsiteY72" fmla="*/ 358878 h 3641849"/>
                <a:gd name="connsiteX73" fmla="*/ 1122086 w 1457148"/>
                <a:gd name="connsiteY73" fmla="*/ 335607 h 3641849"/>
                <a:gd name="connsiteX74" fmla="*/ 1094376 w 1457148"/>
                <a:gd name="connsiteY74" fmla="*/ 304578 h 3641849"/>
                <a:gd name="connsiteX75" fmla="*/ 1090208 w 1457148"/>
                <a:gd name="connsiteY75" fmla="*/ 280325 h 3641849"/>
                <a:gd name="connsiteX76" fmla="*/ 1141484 w 1457148"/>
                <a:gd name="connsiteY76" fmla="*/ 258034 h 3641849"/>
                <a:gd name="connsiteX77" fmla="*/ 1195064 w 1457148"/>
                <a:gd name="connsiteY77" fmla="*/ 267906 h 3641849"/>
                <a:gd name="connsiteX78" fmla="*/ 1273848 w 1457148"/>
                <a:gd name="connsiteY78" fmla="*/ 279816 h 3641849"/>
                <a:gd name="connsiteX79" fmla="*/ 1358171 w 1457148"/>
                <a:gd name="connsiteY79" fmla="*/ 349175 h 3641849"/>
                <a:gd name="connsiteX80" fmla="*/ 1420306 w 1457148"/>
                <a:gd name="connsiteY80" fmla="*/ 425271 h 3641849"/>
                <a:gd name="connsiteX81" fmla="*/ 1319335 w 1457148"/>
                <a:gd name="connsiteY81" fmla="*/ 454265 h 3641849"/>
                <a:gd name="connsiteX82" fmla="*/ 1303801 w 1457148"/>
                <a:gd name="connsiteY82" fmla="*/ 501372 h 3641849"/>
                <a:gd name="connsiteX83" fmla="*/ 1361471 w 1457148"/>
                <a:gd name="connsiteY83" fmla="*/ 585862 h 3641849"/>
                <a:gd name="connsiteX84" fmla="*/ 1397005 w 1457148"/>
                <a:gd name="connsiteY84" fmla="*/ 591964 h 3641849"/>
                <a:gd name="connsiteX85" fmla="*/ 1449625 w 1457148"/>
                <a:gd name="connsiteY85" fmla="*/ 598304 h 3641849"/>
                <a:gd name="connsiteX86" fmla="*/ 1444662 w 1457148"/>
                <a:gd name="connsiteY86" fmla="*/ 709079 h 3641849"/>
                <a:gd name="connsiteX87" fmla="*/ 1455731 w 1457148"/>
                <a:gd name="connsiteY87" fmla="*/ 1040047 h 3641849"/>
                <a:gd name="connsiteX88" fmla="*/ 1446863 w 1457148"/>
                <a:gd name="connsiteY88" fmla="*/ 1842646 h 3641849"/>
                <a:gd name="connsiteX89" fmla="*/ 1455730 w 1457148"/>
                <a:gd name="connsiteY89" fmla="*/ 2297728 h 3641849"/>
                <a:gd name="connsiteX90" fmla="*/ 1429282 w 1457148"/>
                <a:gd name="connsiteY90" fmla="*/ 3607693 h 3641849"/>
                <a:gd name="connsiteX91" fmla="*/ 1170855 w 1457148"/>
                <a:gd name="connsiteY91" fmla="*/ 3564098 h 3641849"/>
                <a:gd name="connsiteX92" fmla="*/ 1002377 w 1457148"/>
                <a:gd name="connsiteY92" fmla="*/ 3497903 h 3641849"/>
                <a:gd name="connsiteX93" fmla="*/ 825031 w 1457148"/>
                <a:gd name="connsiteY93" fmla="*/ 3406887 h 3641849"/>
                <a:gd name="connsiteX94" fmla="*/ 726733 w 1457148"/>
                <a:gd name="connsiteY94" fmla="*/ 3326370 h 3641849"/>
                <a:gd name="connsiteX95" fmla="*/ 1020995 w 1457148"/>
                <a:gd name="connsiteY95" fmla="*/ 3018734 h 3641849"/>
                <a:gd name="connsiteX96" fmla="*/ 737241 w 1457148"/>
                <a:gd name="connsiteY96" fmla="*/ 2480910 h 3641849"/>
                <a:gd name="connsiteX97" fmla="*/ 879591 w 1457148"/>
                <a:gd name="connsiteY97" fmla="*/ 2241825 h 3641849"/>
                <a:gd name="connsiteX98" fmla="*/ 692904 w 1457148"/>
                <a:gd name="connsiteY98" fmla="*/ 1703134 h 3641849"/>
                <a:gd name="connsiteX99" fmla="*/ 444620 w 1457148"/>
                <a:gd name="connsiteY99" fmla="*/ 1471456 h 3641849"/>
                <a:gd name="connsiteX100" fmla="*/ 435753 w 1457148"/>
                <a:gd name="connsiteY100" fmla="*/ 1355617 h 3641849"/>
                <a:gd name="connsiteX0" fmla="*/ 435753 w 1457148"/>
                <a:gd name="connsiteY0" fmla="*/ 1355617 h 3641849"/>
                <a:gd name="connsiteX1" fmla="*/ 24600 w 1457148"/>
                <a:gd name="connsiteY1" fmla="*/ 546620 h 3641849"/>
                <a:gd name="connsiteX2" fmla="*/ 88334 w 1457148"/>
                <a:gd name="connsiteY2" fmla="*/ 458707 h 3641849"/>
                <a:gd name="connsiteX3" fmla="*/ 85563 w 1457148"/>
                <a:gd name="connsiteY3" fmla="*/ 378550 h 3641849"/>
                <a:gd name="connsiteX4" fmla="*/ 10744 w 1457148"/>
                <a:gd name="connsiteY4" fmla="*/ 319079 h 3641849"/>
                <a:gd name="connsiteX5" fmla="*/ 2432 w 1457148"/>
                <a:gd name="connsiteY5" fmla="*/ 251851 h 3641849"/>
                <a:gd name="connsiteX6" fmla="*/ 57852 w 1457148"/>
                <a:gd name="connsiteY6" fmla="*/ 158764 h 3641849"/>
                <a:gd name="connsiteX7" fmla="*/ 77250 w 1457148"/>
                <a:gd name="connsiteY7" fmla="*/ 135494 h 3641849"/>
                <a:gd name="connsiteX8" fmla="*/ 91105 w 1457148"/>
                <a:gd name="connsiteY8" fmla="*/ 117394 h 3641849"/>
                <a:gd name="connsiteX9" fmla="*/ 99418 w 1457148"/>
                <a:gd name="connsiteY9" fmla="*/ 73438 h 3641849"/>
                <a:gd name="connsiteX10" fmla="*/ 124357 w 1457148"/>
                <a:gd name="connsiteY10" fmla="*/ 101880 h 3641849"/>
                <a:gd name="connsiteX11" fmla="*/ 154839 w 1457148"/>
                <a:gd name="connsiteY11" fmla="*/ 88952 h 3641849"/>
                <a:gd name="connsiteX12" fmla="*/ 157609 w 1457148"/>
                <a:gd name="connsiteY12" fmla="*/ 63095 h 3641849"/>
                <a:gd name="connsiteX13" fmla="*/ 165923 w 1457148"/>
                <a:gd name="connsiteY13" fmla="*/ 34652 h 3641849"/>
                <a:gd name="connsiteX14" fmla="*/ 168695 w 1457148"/>
                <a:gd name="connsiteY14" fmla="*/ 3624 h 3641849"/>
                <a:gd name="connsiteX15" fmla="*/ 304475 w 1457148"/>
                <a:gd name="connsiteY15" fmla="*/ 57924 h 3641849"/>
                <a:gd name="connsiteX16" fmla="*/ 334955 w 1457148"/>
                <a:gd name="connsiteY16" fmla="*/ 161352 h 3641849"/>
                <a:gd name="connsiteX17" fmla="*/ 348811 w 1457148"/>
                <a:gd name="connsiteY17" fmla="*/ 184622 h 3641849"/>
                <a:gd name="connsiteX18" fmla="*/ 359895 w 1457148"/>
                <a:gd name="connsiteY18" fmla="*/ 187208 h 3641849"/>
                <a:gd name="connsiteX19" fmla="*/ 473507 w 1457148"/>
                <a:gd name="connsiteY19" fmla="*/ 156181 h 3641849"/>
                <a:gd name="connsiteX20" fmla="*/ 540012 w 1457148"/>
                <a:gd name="connsiteY20" fmla="*/ 166522 h 3641849"/>
                <a:gd name="connsiteX21" fmla="*/ 603746 w 1457148"/>
                <a:gd name="connsiteY21" fmla="*/ 213065 h 3641849"/>
                <a:gd name="connsiteX22" fmla="*/ 617773 w 1457148"/>
                <a:gd name="connsiteY22" fmla="*/ 242621 h 3641849"/>
                <a:gd name="connsiteX23" fmla="*/ 673020 w 1457148"/>
                <a:gd name="connsiteY23" fmla="*/ 277708 h 3641849"/>
                <a:gd name="connsiteX24" fmla="*/ 761694 w 1457148"/>
                <a:gd name="connsiteY24" fmla="*/ 303563 h 3641849"/>
                <a:gd name="connsiteX25" fmla="*/ 833740 w 1457148"/>
                <a:gd name="connsiteY25" fmla="*/ 350106 h 3641849"/>
                <a:gd name="connsiteX26" fmla="*/ 883619 w 1457148"/>
                <a:gd name="connsiteY26" fmla="*/ 401820 h 3641849"/>
                <a:gd name="connsiteX27" fmla="*/ 908558 w 1457148"/>
                <a:gd name="connsiteY27" fmla="*/ 440606 h 3641849"/>
                <a:gd name="connsiteX28" fmla="*/ 941811 w 1457148"/>
                <a:gd name="connsiteY28" fmla="*/ 466462 h 3641849"/>
                <a:gd name="connsiteX29" fmla="*/ 925183 w 1457148"/>
                <a:gd name="connsiteY29" fmla="*/ 691417 h 3641849"/>
                <a:gd name="connsiteX30" fmla="*/ 797717 w 1457148"/>
                <a:gd name="connsiteY30" fmla="*/ 771575 h 3641849"/>
                <a:gd name="connsiteX31" fmla="*/ 684105 w 1457148"/>
                <a:gd name="connsiteY31" fmla="*/ 779331 h 3641849"/>
                <a:gd name="connsiteX32" fmla="*/ 545552 w 1457148"/>
                <a:gd name="connsiteY32" fmla="*/ 758645 h 3641849"/>
                <a:gd name="connsiteX33" fmla="*/ 454108 w 1457148"/>
                <a:gd name="connsiteY33" fmla="*/ 722445 h 3641849"/>
                <a:gd name="connsiteX34" fmla="*/ 434711 w 1457148"/>
                <a:gd name="connsiteY34" fmla="*/ 750888 h 3641849"/>
                <a:gd name="connsiteX35" fmla="*/ 465353 w 1457148"/>
                <a:gd name="connsiteY35" fmla="*/ 824301 h 3641849"/>
                <a:gd name="connsiteX36" fmla="*/ 470894 w 1457148"/>
                <a:gd name="connsiteY36" fmla="*/ 951000 h 3641849"/>
                <a:gd name="connsiteX37" fmla="*/ 443024 w 1457148"/>
                <a:gd name="connsiteY37" fmla="*/ 1012043 h 3641849"/>
                <a:gd name="connsiteX38" fmla="*/ 498443 w 1457148"/>
                <a:gd name="connsiteY38" fmla="*/ 1032728 h 3641849"/>
                <a:gd name="connsiteX39" fmla="*/ 515071 w 1457148"/>
                <a:gd name="connsiteY39" fmla="*/ 1048242 h 3641849"/>
                <a:gd name="connsiteX40" fmla="*/ 540011 w 1457148"/>
                <a:gd name="connsiteY40" fmla="*/ 1074099 h 3641849"/>
                <a:gd name="connsiteX41" fmla="*/ 537240 w 1457148"/>
                <a:gd name="connsiteY41" fmla="*/ 1076685 h 3641849"/>
                <a:gd name="connsiteX42" fmla="*/ 576033 w 1457148"/>
                <a:gd name="connsiteY42" fmla="*/ 1071514 h 3641849"/>
                <a:gd name="connsiteX43" fmla="*/ 584347 w 1457148"/>
                <a:gd name="connsiteY43" fmla="*/ 1035314 h 3641849"/>
                <a:gd name="connsiteX44" fmla="*/ 545552 w 1457148"/>
                <a:gd name="connsiteY44" fmla="*/ 957743 h 3641849"/>
                <a:gd name="connsiteX45" fmla="*/ 614828 w 1457148"/>
                <a:gd name="connsiteY45" fmla="*/ 911200 h 3641849"/>
                <a:gd name="connsiteX46" fmla="*/ 682600 w 1457148"/>
                <a:gd name="connsiteY46" fmla="*/ 918934 h 3641849"/>
                <a:gd name="connsiteX47" fmla="*/ 706433 w 1457148"/>
                <a:gd name="connsiteY47" fmla="*/ 951001 h 3641849"/>
                <a:gd name="connsiteX48" fmla="*/ 862162 w 1457148"/>
                <a:gd name="connsiteY48" fmla="*/ 1007364 h 3641849"/>
                <a:gd name="connsiteX49" fmla="*/ 847754 w 1457148"/>
                <a:gd name="connsiteY49" fmla="*/ 971687 h 3641849"/>
                <a:gd name="connsiteX50" fmla="*/ 814502 w 1457148"/>
                <a:gd name="connsiteY50" fmla="*/ 932901 h 3641849"/>
                <a:gd name="connsiteX51" fmla="*/ 803418 w 1457148"/>
                <a:gd name="connsiteY51" fmla="*/ 881187 h 3641849"/>
                <a:gd name="connsiteX52" fmla="*/ 842213 w 1457148"/>
                <a:gd name="connsiteY52" fmla="*/ 832060 h 3641849"/>
                <a:gd name="connsiteX53" fmla="*/ 869923 w 1457148"/>
                <a:gd name="connsiteY53" fmla="*/ 803617 h 3641849"/>
                <a:gd name="connsiteX54" fmla="*/ 894863 w 1457148"/>
                <a:gd name="connsiteY54" fmla="*/ 767417 h 3641849"/>
                <a:gd name="connsiteX55" fmla="*/ 975223 w 1457148"/>
                <a:gd name="connsiteY55" fmla="*/ 762245 h 3641849"/>
                <a:gd name="connsiteX56" fmla="*/ 980764 w 1457148"/>
                <a:gd name="connsiteY56" fmla="*/ 741560 h 3641849"/>
                <a:gd name="connsiteX57" fmla="*/ 1005704 w 1457148"/>
                <a:gd name="connsiteY57" fmla="*/ 705360 h 3641849"/>
                <a:gd name="connsiteX58" fmla="*/ 1039508 w 1457148"/>
                <a:gd name="connsiteY58" fmla="*/ 687772 h 3641849"/>
                <a:gd name="connsiteX59" fmla="*/ 1097148 w 1457148"/>
                <a:gd name="connsiteY59" fmla="*/ 700189 h 3641849"/>
                <a:gd name="connsiteX60" fmla="*/ 1135941 w 1457148"/>
                <a:gd name="connsiteY60" fmla="*/ 720875 h 3641849"/>
                <a:gd name="connsiteX61" fmla="*/ 1183049 w 1457148"/>
                <a:gd name="connsiteY61" fmla="*/ 728632 h 3641849"/>
                <a:gd name="connsiteX62" fmla="*/ 1183049 w 1457148"/>
                <a:gd name="connsiteY62" fmla="*/ 733803 h 3641849"/>
                <a:gd name="connsiteX63" fmla="*/ 1205218 w 1457148"/>
                <a:gd name="connsiteY63" fmla="*/ 674332 h 3641849"/>
                <a:gd name="connsiteX64" fmla="*/ 1215193 w 1457148"/>
                <a:gd name="connsiteY64" fmla="*/ 640714 h 3641849"/>
                <a:gd name="connsiteX65" fmla="*/ 1221844 w 1457148"/>
                <a:gd name="connsiteY65" fmla="*/ 622618 h 3641849"/>
                <a:gd name="connsiteX66" fmla="*/ 1224781 w 1457148"/>
                <a:gd name="connsiteY66" fmla="*/ 591288 h 3641849"/>
                <a:gd name="connsiteX67" fmla="*/ 1144255 w 1457148"/>
                <a:gd name="connsiteY67" fmla="*/ 545048 h 3641849"/>
                <a:gd name="connsiteX68" fmla="*/ 1130400 w 1457148"/>
                <a:gd name="connsiteY68" fmla="*/ 472648 h 3641849"/>
                <a:gd name="connsiteX69" fmla="*/ 1130400 w 1457148"/>
                <a:gd name="connsiteY69" fmla="*/ 454548 h 3641849"/>
                <a:gd name="connsiteX70" fmla="*/ 1141483 w 1457148"/>
                <a:gd name="connsiteY70" fmla="*/ 431276 h 3641849"/>
                <a:gd name="connsiteX71" fmla="*/ 1144255 w 1457148"/>
                <a:gd name="connsiteY71" fmla="*/ 415762 h 3641849"/>
                <a:gd name="connsiteX72" fmla="*/ 1144254 w 1457148"/>
                <a:gd name="connsiteY72" fmla="*/ 358878 h 3641849"/>
                <a:gd name="connsiteX73" fmla="*/ 1122086 w 1457148"/>
                <a:gd name="connsiteY73" fmla="*/ 335607 h 3641849"/>
                <a:gd name="connsiteX74" fmla="*/ 1094376 w 1457148"/>
                <a:gd name="connsiteY74" fmla="*/ 304578 h 3641849"/>
                <a:gd name="connsiteX75" fmla="*/ 1090208 w 1457148"/>
                <a:gd name="connsiteY75" fmla="*/ 280325 h 3641849"/>
                <a:gd name="connsiteX76" fmla="*/ 1141484 w 1457148"/>
                <a:gd name="connsiteY76" fmla="*/ 258034 h 3641849"/>
                <a:gd name="connsiteX77" fmla="*/ 1195064 w 1457148"/>
                <a:gd name="connsiteY77" fmla="*/ 267906 h 3641849"/>
                <a:gd name="connsiteX78" fmla="*/ 1273848 w 1457148"/>
                <a:gd name="connsiteY78" fmla="*/ 279816 h 3641849"/>
                <a:gd name="connsiteX79" fmla="*/ 1358171 w 1457148"/>
                <a:gd name="connsiteY79" fmla="*/ 349175 h 3641849"/>
                <a:gd name="connsiteX80" fmla="*/ 1420306 w 1457148"/>
                <a:gd name="connsiteY80" fmla="*/ 425271 h 3641849"/>
                <a:gd name="connsiteX81" fmla="*/ 1319335 w 1457148"/>
                <a:gd name="connsiteY81" fmla="*/ 454265 h 3641849"/>
                <a:gd name="connsiteX82" fmla="*/ 1303801 w 1457148"/>
                <a:gd name="connsiteY82" fmla="*/ 501372 h 3641849"/>
                <a:gd name="connsiteX83" fmla="*/ 1361471 w 1457148"/>
                <a:gd name="connsiteY83" fmla="*/ 585862 h 3641849"/>
                <a:gd name="connsiteX84" fmla="*/ 1397005 w 1457148"/>
                <a:gd name="connsiteY84" fmla="*/ 591964 h 3641849"/>
                <a:gd name="connsiteX85" fmla="*/ 1449625 w 1457148"/>
                <a:gd name="connsiteY85" fmla="*/ 598304 h 3641849"/>
                <a:gd name="connsiteX86" fmla="*/ 1444662 w 1457148"/>
                <a:gd name="connsiteY86" fmla="*/ 709079 h 3641849"/>
                <a:gd name="connsiteX87" fmla="*/ 1455731 w 1457148"/>
                <a:gd name="connsiteY87" fmla="*/ 1040047 h 3641849"/>
                <a:gd name="connsiteX88" fmla="*/ 1446863 w 1457148"/>
                <a:gd name="connsiteY88" fmla="*/ 1842646 h 3641849"/>
                <a:gd name="connsiteX89" fmla="*/ 1455730 w 1457148"/>
                <a:gd name="connsiteY89" fmla="*/ 2297728 h 3641849"/>
                <a:gd name="connsiteX90" fmla="*/ 1429282 w 1457148"/>
                <a:gd name="connsiteY90" fmla="*/ 3607693 h 3641849"/>
                <a:gd name="connsiteX91" fmla="*/ 1170855 w 1457148"/>
                <a:gd name="connsiteY91" fmla="*/ 3564098 h 3641849"/>
                <a:gd name="connsiteX92" fmla="*/ 1002377 w 1457148"/>
                <a:gd name="connsiteY92" fmla="*/ 3497903 h 3641849"/>
                <a:gd name="connsiteX93" fmla="*/ 825031 w 1457148"/>
                <a:gd name="connsiteY93" fmla="*/ 3406887 h 3641849"/>
                <a:gd name="connsiteX94" fmla="*/ 726733 w 1457148"/>
                <a:gd name="connsiteY94" fmla="*/ 3326370 h 3641849"/>
                <a:gd name="connsiteX95" fmla="*/ 1020995 w 1457148"/>
                <a:gd name="connsiteY95" fmla="*/ 3018734 h 3641849"/>
                <a:gd name="connsiteX96" fmla="*/ 737241 w 1457148"/>
                <a:gd name="connsiteY96" fmla="*/ 2480910 h 3641849"/>
                <a:gd name="connsiteX97" fmla="*/ 879591 w 1457148"/>
                <a:gd name="connsiteY97" fmla="*/ 2241825 h 3641849"/>
                <a:gd name="connsiteX98" fmla="*/ 692904 w 1457148"/>
                <a:gd name="connsiteY98" fmla="*/ 1703134 h 3641849"/>
                <a:gd name="connsiteX99" fmla="*/ 444620 w 1457148"/>
                <a:gd name="connsiteY99" fmla="*/ 1471456 h 3641849"/>
                <a:gd name="connsiteX100" fmla="*/ 435753 w 1457148"/>
                <a:gd name="connsiteY100" fmla="*/ 1355617 h 3641849"/>
                <a:gd name="connsiteX0" fmla="*/ 435753 w 1457148"/>
                <a:gd name="connsiteY0" fmla="*/ 1355617 h 3641849"/>
                <a:gd name="connsiteX1" fmla="*/ 24600 w 1457148"/>
                <a:gd name="connsiteY1" fmla="*/ 546620 h 3641849"/>
                <a:gd name="connsiteX2" fmla="*/ 80021 w 1457148"/>
                <a:gd name="connsiteY2" fmla="*/ 458707 h 3641849"/>
                <a:gd name="connsiteX3" fmla="*/ 85563 w 1457148"/>
                <a:gd name="connsiteY3" fmla="*/ 378550 h 3641849"/>
                <a:gd name="connsiteX4" fmla="*/ 10744 w 1457148"/>
                <a:gd name="connsiteY4" fmla="*/ 319079 h 3641849"/>
                <a:gd name="connsiteX5" fmla="*/ 2432 w 1457148"/>
                <a:gd name="connsiteY5" fmla="*/ 251851 h 3641849"/>
                <a:gd name="connsiteX6" fmla="*/ 57852 w 1457148"/>
                <a:gd name="connsiteY6" fmla="*/ 158764 h 3641849"/>
                <a:gd name="connsiteX7" fmla="*/ 77250 w 1457148"/>
                <a:gd name="connsiteY7" fmla="*/ 135494 h 3641849"/>
                <a:gd name="connsiteX8" fmla="*/ 91105 w 1457148"/>
                <a:gd name="connsiteY8" fmla="*/ 117394 h 3641849"/>
                <a:gd name="connsiteX9" fmla="*/ 99418 w 1457148"/>
                <a:gd name="connsiteY9" fmla="*/ 73438 h 3641849"/>
                <a:gd name="connsiteX10" fmla="*/ 124357 w 1457148"/>
                <a:gd name="connsiteY10" fmla="*/ 101880 h 3641849"/>
                <a:gd name="connsiteX11" fmla="*/ 154839 w 1457148"/>
                <a:gd name="connsiteY11" fmla="*/ 88952 h 3641849"/>
                <a:gd name="connsiteX12" fmla="*/ 157609 w 1457148"/>
                <a:gd name="connsiteY12" fmla="*/ 63095 h 3641849"/>
                <a:gd name="connsiteX13" fmla="*/ 165923 w 1457148"/>
                <a:gd name="connsiteY13" fmla="*/ 34652 h 3641849"/>
                <a:gd name="connsiteX14" fmla="*/ 168695 w 1457148"/>
                <a:gd name="connsiteY14" fmla="*/ 3624 h 3641849"/>
                <a:gd name="connsiteX15" fmla="*/ 304475 w 1457148"/>
                <a:gd name="connsiteY15" fmla="*/ 57924 h 3641849"/>
                <a:gd name="connsiteX16" fmla="*/ 334955 w 1457148"/>
                <a:gd name="connsiteY16" fmla="*/ 161352 h 3641849"/>
                <a:gd name="connsiteX17" fmla="*/ 348811 w 1457148"/>
                <a:gd name="connsiteY17" fmla="*/ 184622 h 3641849"/>
                <a:gd name="connsiteX18" fmla="*/ 359895 w 1457148"/>
                <a:gd name="connsiteY18" fmla="*/ 187208 h 3641849"/>
                <a:gd name="connsiteX19" fmla="*/ 473507 w 1457148"/>
                <a:gd name="connsiteY19" fmla="*/ 156181 h 3641849"/>
                <a:gd name="connsiteX20" fmla="*/ 540012 w 1457148"/>
                <a:gd name="connsiteY20" fmla="*/ 166522 h 3641849"/>
                <a:gd name="connsiteX21" fmla="*/ 603746 w 1457148"/>
                <a:gd name="connsiteY21" fmla="*/ 213065 h 3641849"/>
                <a:gd name="connsiteX22" fmla="*/ 617773 w 1457148"/>
                <a:gd name="connsiteY22" fmla="*/ 242621 h 3641849"/>
                <a:gd name="connsiteX23" fmla="*/ 673020 w 1457148"/>
                <a:gd name="connsiteY23" fmla="*/ 277708 h 3641849"/>
                <a:gd name="connsiteX24" fmla="*/ 761694 w 1457148"/>
                <a:gd name="connsiteY24" fmla="*/ 303563 h 3641849"/>
                <a:gd name="connsiteX25" fmla="*/ 833740 w 1457148"/>
                <a:gd name="connsiteY25" fmla="*/ 350106 h 3641849"/>
                <a:gd name="connsiteX26" fmla="*/ 883619 w 1457148"/>
                <a:gd name="connsiteY26" fmla="*/ 401820 h 3641849"/>
                <a:gd name="connsiteX27" fmla="*/ 908558 w 1457148"/>
                <a:gd name="connsiteY27" fmla="*/ 440606 h 3641849"/>
                <a:gd name="connsiteX28" fmla="*/ 941811 w 1457148"/>
                <a:gd name="connsiteY28" fmla="*/ 466462 h 3641849"/>
                <a:gd name="connsiteX29" fmla="*/ 925183 w 1457148"/>
                <a:gd name="connsiteY29" fmla="*/ 691417 h 3641849"/>
                <a:gd name="connsiteX30" fmla="*/ 797717 w 1457148"/>
                <a:gd name="connsiteY30" fmla="*/ 771575 h 3641849"/>
                <a:gd name="connsiteX31" fmla="*/ 684105 w 1457148"/>
                <a:gd name="connsiteY31" fmla="*/ 779331 h 3641849"/>
                <a:gd name="connsiteX32" fmla="*/ 545552 w 1457148"/>
                <a:gd name="connsiteY32" fmla="*/ 758645 h 3641849"/>
                <a:gd name="connsiteX33" fmla="*/ 454108 w 1457148"/>
                <a:gd name="connsiteY33" fmla="*/ 722445 h 3641849"/>
                <a:gd name="connsiteX34" fmla="*/ 434711 w 1457148"/>
                <a:gd name="connsiteY34" fmla="*/ 750888 h 3641849"/>
                <a:gd name="connsiteX35" fmla="*/ 465353 w 1457148"/>
                <a:gd name="connsiteY35" fmla="*/ 824301 h 3641849"/>
                <a:gd name="connsiteX36" fmla="*/ 470894 w 1457148"/>
                <a:gd name="connsiteY36" fmla="*/ 951000 h 3641849"/>
                <a:gd name="connsiteX37" fmla="*/ 443024 w 1457148"/>
                <a:gd name="connsiteY37" fmla="*/ 1012043 h 3641849"/>
                <a:gd name="connsiteX38" fmla="*/ 498443 w 1457148"/>
                <a:gd name="connsiteY38" fmla="*/ 1032728 h 3641849"/>
                <a:gd name="connsiteX39" fmla="*/ 515071 w 1457148"/>
                <a:gd name="connsiteY39" fmla="*/ 1048242 h 3641849"/>
                <a:gd name="connsiteX40" fmla="*/ 540011 w 1457148"/>
                <a:gd name="connsiteY40" fmla="*/ 1074099 h 3641849"/>
                <a:gd name="connsiteX41" fmla="*/ 537240 w 1457148"/>
                <a:gd name="connsiteY41" fmla="*/ 1076685 h 3641849"/>
                <a:gd name="connsiteX42" fmla="*/ 576033 w 1457148"/>
                <a:gd name="connsiteY42" fmla="*/ 1071514 h 3641849"/>
                <a:gd name="connsiteX43" fmla="*/ 584347 w 1457148"/>
                <a:gd name="connsiteY43" fmla="*/ 1035314 h 3641849"/>
                <a:gd name="connsiteX44" fmla="*/ 545552 w 1457148"/>
                <a:gd name="connsiteY44" fmla="*/ 957743 h 3641849"/>
                <a:gd name="connsiteX45" fmla="*/ 614828 w 1457148"/>
                <a:gd name="connsiteY45" fmla="*/ 911200 h 3641849"/>
                <a:gd name="connsiteX46" fmla="*/ 682600 w 1457148"/>
                <a:gd name="connsiteY46" fmla="*/ 918934 h 3641849"/>
                <a:gd name="connsiteX47" fmla="*/ 706433 w 1457148"/>
                <a:gd name="connsiteY47" fmla="*/ 951001 h 3641849"/>
                <a:gd name="connsiteX48" fmla="*/ 862162 w 1457148"/>
                <a:gd name="connsiteY48" fmla="*/ 1007364 h 3641849"/>
                <a:gd name="connsiteX49" fmla="*/ 847754 w 1457148"/>
                <a:gd name="connsiteY49" fmla="*/ 971687 h 3641849"/>
                <a:gd name="connsiteX50" fmla="*/ 814502 w 1457148"/>
                <a:gd name="connsiteY50" fmla="*/ 932901 h 3641849"/>
                <a:gd name="connsiteX51" fmla="*/ 803418 w 1457148"/>
                <a:gd name="connsiteY51" fmla="*/ 881187 h 3641849"/>
                <a:gd name="connsiteX52" fmla="*/ 842213 w 1457148"/>
                <a:gd name="connsiteY52" fmla="*/ 832060 h 3641849"/>
                <a:gd name="connsiteX53" fmla="*/ 869923 w 1457148"/>
                <a:gd name="connsiteY53" fmla="*/ 803617 h 3641849"/>
                <a:gd name="connsiteX54" fmla="*/ 894863 w 1457148"/>
                <a:gd name="connsiteY54" fmla="*/ 767417 h 3641849"/>
                <a:gd name="connsiteX55" fmla="*/ 975223 w 1457148"/>
                <a:gd name="connsiteY55" fmla="*/ 762245 h 3641849"/>
                <a:gd name="connsiteX56" fmla="*/ 980764 w 1457148"/>
                <a:gd name="connsiteY56" fmla="*/ 741560 h 3641849"/>
                <a:gd name="connsiteX57" fmla="*/ 1005704 w 1457148"/>
                <a:gd name="connsiteY57" fmla="*/ 705360 h 3641849"/>
                <a:gd name="connsiteX58" fmla="*/ 1039508 w 1457148"/>
                <a:gd name="connsiteY58" fmla="*/ 687772 h 3641849"/>
                <a:gd name="connsiteX59" fmla="*/ 1097148 w 1457148"/>
                <a:gd name="connsiteY59" fmla="*/ 700189 h 3641849"/>
                <a:gd name="connsiteX60" fmla="*/ 1135941 w 1457148"/>
                <a:gd name="connsiteY60" fmla="*/ 720875 h 3641849"/>
                <a:gd name="connsiteX61" fmla="*/ 1183049 w 1457148"/>
                <a:gd name="connsiteY61" fmla="*/ 728632 h 3641849"/>
                <a:gd name="connsiteX62" fmla="*/ 1183049 w 1457148"/>
                <a:gd name="connsiteY62" fmla="*/ 733803 h 3641849"/>
                <a:gd name="connsiteX63" fmla="*/ 1205218 w 1457148"/>
                <a:gd name="connsiteY63" fmla="*/ 674332 h 3641849"/>
                <a:gd name="connsiteX64" fmla="*/ 1215193 w 1457148"/>
                <a:gd name="connsiteY64" fmla="*/ 640714 h 3641849"/>
                <a:gd name="connsiteX65" fmla="*/ 1221844 w 1457148"/>
                <a:gd name="connsiteY65" fmla="*/ 622618 h 3641849"/>
                <a:gd name="connsiteX66" fmla="*/ 1224781 w 1457148"/>
                <a:gd name="connsiteY66" fmla="*/ 591288 h 3641849"/>
                <a:gd name="connsiteX67" fmla="*/ 1144255 w 1457148"/>
                <a:gd name="connsiteY67" fmla="*/ 545048 h 3641849"/>
                <a:gd name="connsiteX68" fmla="*/ 1130400 w 1457148"/>
                <a:gd name="connsiteY68" fmla="*/ 472648 h 3641849"/>
                <a:gd name="connsiteX69" fmla="*/ 1130400 w 1457148"/>
                <a:gd name="connsiteY69" fmla="*/ 454548 h 3641849"/>
                <a:gd name="connsiteX70" fmla="*/ 1141483 w 1457148"/>
                <a:gd name="connsiteY70" fmla="*/ 431276 h 3641849"/>
                <a:gd name="connsiteX71" fmla="*/ 1144255 w 1457148"/>
                <a:gd name="connsiteY71" fmla="*/ 415762 h 3641849"/>
                <a:gd name="connsiteX72" fmla="*/ 1144254 w 1457148"/>
                <a:gd name="connsiteY72" fmla="*/ 358878 h 3641849"/>
                <a:gd name="connsiteX73" fmla="*/ 1122086 w 1457148"/>
                <a:gd name="connsiteY73" fmla="*/ 335607 h 3641849"/>
                <a:gd name="connsiteX74" fmla="*/ 1094376 w 1457148"/>
                <a:gd name="connsiteY74" fmla="*/ 304578 h 3641849"/>
                <a:gd name="connsiteX75" fmla="*/ 1090208 w 1457148"/>
                <a:gd name="connsiteY75" fmla="*/ 280325 h 3641849"/>
                <a:gd name="connsiteX76" fmla="*/ 1141484 w 1457148"/>
                <a:gd name="connsiteY76" fmla="*/ 258034 h 3641849"/>
                <a:gd name="connsiteX77" fmla="*/ 1195064 w 1457148"/>
                <a:gd name="connsiteY77" fmla="*/ 267906 h 3641849"/>
                <a:gd name="connsiteX78" fmla="*/ 1273848 w 1457148"/>
                <a:gd name="connsiteY78" fmla="*/ 279816 h 3641849"/>
                <a:gd name="connsiteX79" fmla="*/ 1358171 w 1457148"/>
                <a:gd name="connsiteY79" fmla="*/ 349175 h 3641849"/>
                <a:gd name="connsiteX80" fmla="*/ 1420306 w 1457148"/>
                <a:gd name="connsiteY80" fmla="*/ 425271 h 3641849"/>
                <a:gd name="connsiteX81" fmla="*/ 1319335 w 1457148"/>
                <a:gd name="connsiteY81" fmla="*/ 454265 h 3641849"/>
                <a:gd name="connsiteX82" fmla="*/ 1303801 w 1457148"/>
                <a:gd name="connsiteY82" fmla="*/ 501372 h 3641849"/>
                <a:gd name="connsiteX83" fmla="*/ 1361471 w 1457148"/>
                <a:gd name="connsiteY83" fmla="*/ 585862 h 3641849"/>
                <a:gd name="connsiteX84" fmla="*/ 1397005 w 1457148"/>
                <a:gd name="connsiteY84" fmla="*/ 591964 h 3641849"/>
                <a:gd name="connsiteX85" fmla="*/ 1449625 w 1457148"/>
                <a:gd name="connsiteY85" fmla="*/ 598304 h 3641849"/>
                <a:gd name="connsiteX86" fmla="*/ 1444662 w 1457148"/>
                <a:gd name="connsiteY86" fmla="*/ 709079 h 3641849"/>
                <a:gd name="connsiteX87" fmla="*/ 1455731 w 1457148"/>
                <a:gd name="connsiteY87" fmla="*/ 1040047 h 3641849"/>
                <a:gd name="connsiteX88" fmla="*/ 1446863 w 1457148"/>
                <a:gd name="connsiteY88" fmla="*/ 1842646 h 3641849"/>
                <a:gd name="connsiteX89" fmla="*/ 1455730 w 1457148"/>
                <a:gd name="connsiteY89" fmla="*/ 2297728 h 3641849"/>
                <a:gd name="connsiteX90" fmla="*/ 1429282 w 1457148"/>
                <a:gd name="connsiteY90" fmla="*/ 3607693 h 3641849"/>
                <a:gd name="connsiteX91" fmla="*/ 1170855 w 1457148"/>
                <a:gd name="connsiteY91" fmla="*/ 3564098 h 3641849"/>
                <a:gd name="connsiteX92" fmla="*/ 1002377 w 1457148"/>
                <a:gd name="connsiteY92" fmla="*/ 3497903 h 3641849"/>
                <a:gd name="connsiteX93" fmla="*/ 825031 w 1457148"/>
                <a:gd name="connsiteY93" fmla="*/ 3406887 h 3641849"/>
                <a:gd name="connsiteX94" fmla="*/ 726733 w 1457148"/>
                <a:gd name="connsiteY94" fmla="*/ 3326370 h 3641849"/>
                <a:gd name="connsiteX95" fmla="*/ 1020995 w 1457148"/>
                <a:gd name="connsiteY95" fmla="*/ 3018734 h 3641849"/>
                <a:gd name="connsiteX96" fmla="*/ 737241 w 1457148"/>
                <a:gd name="connsiteY96" fmla="*/ 2480910 h 3641849"/>
                <a:gd name="connsiteX97" fmla="*/ 879591 w 1457148"/>
                <a:gd name="connsiteY97" fmla="*/ 2241825 h 3641849"/>
                <a:gd name="connsiteX98" fmla="*/ 692904 w 1457148"/>
                <a:gd name="connsiteY98" fmla="*/ 1703134 h 3641849"/>
                <a:gd name="connsiteX99" fmla="*/ 444620 w 1457148"/>
                <a:gd name="connsiteY99" fmla="*/ 1471456 h 3641849"/>
                <a:gd name="connsiteX100" fmla="*/ 435753 w 1457148"/>
                <a:gd name="connsiteY100" fmla="*/ 1355617 h 3641849"/>
                <a:gd name="connsiteX0" fmla="*/ 435753 w 1457148"/>
                <a:gd name="connsiteY0" fmla="*/ 1355617 h 3641849"/>
                <a:gd name="connsiteX1" fmla="*/ 21830 w 1457148"/>
                <a:gd name="connsiteY1" fmla="*/ 551792 h 3641849"/>
                <a:gd name="connsiteX2" fmla="*/ 80021 w 1457148"/>
                <a:gd name="connsiteY2" fmla="*/ 458707 h 3641849"/>
                <a:gd name="connsiteX3" fmla="*/ 85563 w 1457148"/>
                <a:gd name="connsiteY3" fmla="*/ 378550 h 3641849"/>
                <a:gd name="connsiteX4" fmla="*/ 10744 w 1457148"/>
                <a:gd name="connsiteY4" fmla="*/ 319079 h 3641849"/>
                <a:gd name="connsiteX5" fmla="*/ 2432 w 1457148"/>
                <a:gd name="connsiteY5" fmla="*/ 251851 h 3641849"/>
                <a:gd name="connsiteX6" fmla="*/ 57852 w 1457148"/>
                <a:gd name="connsiteY6" fmla="*/ 158764 h 3641849"/>
                <a:gd name="connsiteX7" fmla="*/ 77250 w 1457148"/>
                <a:gd name="connsiteY7" fmla="*/ 135494 h 3641849"/>
                <a:gd name="connsiteX8" fmla="*/ 91105 w 1457148"/>
                <a:gd name="connsiteY8" fmla="*/ 117394 h 3641849"/>
                <a:gd name="connsiteX9" fmla="*/ 99418 w 1457148"/>
                <a:gd name="connsiteY9" fmla="*/ 73438 h 3641849"/>
                <a:gd name="connsiteX10" fmla="*/ 124357 w 1457148"/>
                <a:gd name="connsiteY10" fmla="*/ 101880 h 3641849"/>
                <a:gd name="connsiteX11" fmla="*/ 154839 w 1457148"/>
                <a:gd name="connsiteY11" fmla="*/ 88952 h 3641849"/>
                <a:gd name="connsiteX12" fmla="*/ 157609 w 1457148"/>
                <a:gd name="connsiteY12" fmla="*/ 63095 h 3641849"/>
                <a:gd name="connsiteX13" fmla="*/ 165923 w 1457148"/>
                <a:gd name="connsiteY13" fmla="*/ 34652 h 3641849"/>
                <a:gd name="connsiteX14" fmla="*/ 168695 w 1457148"/>
                <a:gd name="connsiteY14" fmla="*/ 3624 h 3641849"/>
                <a:gd name="connsiteX15" fmla="*/ 304475 w 1457148"/>
                <a:gd name="connsiteY15" fmla="*/ 57924 h 3641849"/>
                <a:gd name="connsiteX16" fmla="*/ 334955 w 1457148"/>
                <a:gd name="connsiteY16" fmla="*/ 161352 h 3641849"/>
                <a:gd name="connsiteX17" fmla="*/ 348811 w 1457148"/>
                <a:gd name="connsiteY17" fmla="*/ 184622 h 3641849"/>
                <a:gd name="connsiteX18" fmla="*/ 359895 w 1457148"/>
                <a:gd name="connsiteY18" fmla="*/ 187208 h 3641849"/>
                <a:gd name="connsiteX19" fmla="*/ 473507 w 1457148"/>
                <a:gd name="connsiteY19" fmla="*/ 156181 h 3641849"/>
                <a:gd name="connsiteX20" fmla="*/ 540012 w 1457148"/>
                <a:gd name="connsiteY20" fmla="*/ 166522 h 3641849"/>
                <a:gd name="connsiteX21" fmla="*/ 603746 w 1457148"/>
                <a:gd name="connsiteY21" fmla="*/ 213065 h 3641849"/>
                <a:gd name="connsiteX22" fmla="*/ 617773 w 1457148"/>
                <a:gd name="connsiteY22" fmla="*/ 242621 h 3641849"/>
                <a:gd name="connsiteX23" fmla="*/ 673020 w 1457148"/>
                <a:gd name="connsiteY23" fmla="*/ 277708 h 3641849"/>
                <a:gd name="connsiteX24" fmla="*/ 761694 w 1457148"/>
                <a:gd name="connsiteY24" fmla="*/ 303563 h 3641849"/>
                <a:gd name="connsiteX25" fmla="*/ 833740 w 1457148"/>
                <a:gd name="connsiteY25" fmla="*/ 350106 h 3641849"/>
                <a:gd name="connsiteX26" fmla="*/ 883619 w 1457148"/>
                <a:gd name="connsiteY26" fmla="*/ 401820 h 3641849"/>
                <a:gd name="connsiteX27" fmla="*/ 908558 w 1457148"/>
                <a:gd name="connsiteY27" fmla="*/ 440606 h 3641849"/>
                <a:gd name="connsiteX28" fmla="*/ 941811 w 1457148"/>
                <a:gd name="connsiteY28" fmla="*/ 466462 h 3641849"/>
                <a:gd name="connsiteX29" fmla="*/ 925183 w 1457148"/>
                <a:gd name="connsiteY29" fmla="*/ 691417 h 3641849"/>
                <a:gd name="connsiteX30" fmla="*/ 797717 w 1457148"/>
                <a:gd name="connsiteY30" fmla="*/ 771575 h 3641849"/>
                <a:gd name="connsiteX31" fmla="*/ 684105 w 1457148"/>
                <a:gd name="connsiteY31" fmla="*/ 779331 h 3641849"/>
                <a:gd name="connsiteX32" fmla="*/ 545552 w 1457148"/>
                <a:gd name="connsiteY32" fmla="*/ 758645 h 3641849"/>
                <a:gd name="connsiteX33" fmla="*/ 454108 w 1457148"/>
                <a:gd name="connsiteY33" fmla="*/ 722445 h 3641849"/>
                <a:gd name="connsiteX34" fmla="*/ 434711 w 1457148"/>
                <a:gd name="connsiteY34" fmla="*/ 750888 h 3641849"/>
                <a:gd name="connsiteX35" fmla="*/ 465353 w 1457148"/>
                <a:gd name="connsiteY35" fmla="*/ 824301 h 3641849"/>
                <a:gd name="connsiteX36" fmla="*/ 470894 w 1457148"/>
                <a:gd name="connsiteY36" fmla="*/ 951000 h 3641849"/>
                <a:gd name="connsiteX37" fmla="*/ 443024 w 1457148"/>
                <a:gd name="connsiteY37" fmla="*/ 1012043 h 3641849"/>
                <a:gd name="connsiteX38" fmla="*/ 498443 w 1457148"/>
                <a:gd name="connsiteY38" fmla="*/ 1032728 h 3641849"/>
                <a:gd name="connsiteX39" fmla="*/ 515071 w 1457148"/>
                <a:gd name="connsiteY39" fmla="*/ 1048242 h 3641849"/>
                <a:gd name="connsiteX40" fmla="*/ 540011 w 1457148"/>
                <a:gd name="connsiteY40" fmla="*/ 1074099 h 3641849"/>
                <a:gd name="connsiteX41" fmla="*/ 537240 w 1457148"/>
                <a:gd name="connsiteY41" fmla="*/ 1076685 h 3641849"/>
                <a:gd name="connsiteX42" fmla="*/ 576033 w 1457148"/>
                <a:gd name="connsiteY42" fmla="*/ 1071514 h 3641849"/>
                <a:gd name="connsiteX43" fmla="*/ 584347 w 1457148"/>
                <a:gd name="connsiteY43" fmla="*/ 1035314 h 3641849"/>
                <a:gd name="connsiteX44" fmla="*/ 545552 w 1457148"/>
                <a:gd name="connsiteY44" fmla="*/ 957743 h 3641849"/>
                <a:gd name="connsiteX45" fmla="*/ 614828 w 1457148"/>
                <a:gd name="connsiteY45" fmla="*/ 911200 h 3641849"/>
                <a:gd name="connsiteX46" fmla="*/ 682600 w 1457148"/>
                <a:gd name="connsiteY46" fmla="*/ 918934 h 3641849"/>
                <a:gd name="connsiteX47" fmla="*/ 706433 w 1457148"/>
                <a:gd name="connsiteY47" fmla="*/ 951001 h 3641849"/>
                <a:gd name="connsiteX48" fmla="*/ 862162 w 1457148"/>
                <a:gd name="connsiteY48" fmla="*/ 1007364 h 3641849"/>
                <a:gd name="connsiteX49" fmla="*/ 847754 w 1457148"/>
                <a:gd name="connsiteY49" fmla="*/ 971687 h 3641849"/>
                <a:gd name="connsiteX50" fmla="*/ 814502 w 1457148"/>
                <a:gd name="connsiteY50" fmla="*/ 932901 h 3641849"/>
                <a:gd name="connsiteX51" fmla="*/ 803418 w 1457148"/>
                <a:gd name="connsiteY51" fmla="*/ 881187 h 3641849"/>
                <a:gd name="connsiteX52" fmla="*/ 842213 w 1457148"/>
                <a:gd name="connsiteY52" fmla="*/ 832060 h 3641849"/>
                <a:gd name="connsiteX53" fmla="*/ 869923 w 1457148"/>
                <a:gd name="connsiteY53" fmla="*/ 803617 h 3641849"/>
                <a:gd name="connsiteX54" fmla="*/ 894863 w 1457148"/>
                <a:gd name="connsiteY54" fmla="*/ 767417 h 3641849"/>
                <a:gd name="connsiteX55" fmla="*/ 975223 w 1457148"/>
                <a:gd name="connsiteY55" fmla="*/ 762245 h 3641849"/>
                <a:gd name="connsiteX56" fmla="*/ 980764 w 1457148"/>
                <a:gd name="connsiteY56" fmla="*/ 741560 h 3641849"/>
                <a:gd name="connsiteX57" fmla="*/ 1005704 w 1457148"/>
                <a:gd name="connsiteY57" fmla="*/ 705360 h 3641849"/>
                <a:gd name="connsiteX58" fmla="*/ 1039508 w 1457148"/>
                <a:gd name="connsiteY58" fmla="*/ 687772 h 3641849"/>
                <a:gd name="connsiteX59" fmla="*/ 1097148 w 1457148"/>
                <a:gd name="connsiteY59" fmla="*/ 700189 h 3641849"/>
                <a:gd name="connsiteX60" fmla="*/ 1135941 w 1457148"/>
                <a:gd name="connsiteY60" fmla="*/ 720875 h 3641849"/>
                <a:gd name="connsiteX61" fmla="*/ 1183049 w 1457148"/>
                <a:gd name="connsiteY61" fmla="*/ 728632 h 3641849"/>
                <a:gd name="connsiteX62" fmla="*/ 1183049 w 1457148"/>
                <a:gd name="connsiteY62" fmla="*/ 733803 h 3641849"/>
                <a:gd name="connsiteX63" fmla="*/ 1205218 w 1457148"/>
                <a:gd name="connsiteY63" fmla="*/ 674332 h 3641849"/>
                <a:gd name="connsiteX64" fmla="*/ 1215193 w 1457148"/>
                <a:gd name="connsiteY64" fmla="*/ 640714 h 3641849"/>
                <a:gd name="connsiteX65" fmla="*/ 1221844 w 1457148"/>
                <a:gd name="connsiteY65" fmla="*/ 622618 h 3641849"/>
                <a:gd name="connsiteX66" fmla="*/ 1224781 w 1457148"/>
                <a:gd name="connsiteY66" fmla="*/ 591288 h 3641849"/>
                <a:gd name="connsiteX67" fmla="*/ 1144255 w 1457148"/>
                <a:gd name="connsiteY67" fmla="*/ 545048 h 3641849"/>
                <a:gd name="connsiteX68" fmla="*/ 1130400 w 1457148"/>
                <a:gd name="connsiteY68" fmla="*/ 472648 h 3641849"/>
                <a:gd name="connsiteX69" fmla="*/ 1130400 w 1457148"/>
                <a:gd name="connsiteY69" fmla="*/ 454548 h 3641849"/>
                <a:gd name="connsiteX70" fmla="*/ 1141483 w 1457148"/>
                <a:gd name="connsiteY70" fmla="*/ 431276 h 3641849"/>
                <a:gd name="connsiteX71" fmla="*/ 1144255 w 1457148"/>
                <a:gd name="connsiteY71" fmla="*/ 415762 h 3641849"/>
                <a:gd name="connsiteX72" fmla="*/ 1144254 w 1457148"/>
                <a:gd name="connsiteY72" fmla="*/ 358878 h 3641849"/>
                <a:gd name="connsiteX73" fmla="*/ 1122086 w 1457148"/>
                <a:gd name="connsiteY73" fmla="*/ 335607 h 3641849"/>
                <a:gd name="connsiteX74" fmla="*/ 1094376 w 1457148"/>
                <a:gd name="connsiteY74" fmla="*/ 304578 h 3641849"/>
                <a:gd name="connsiteX75" fmla="*/ 1090208 w 1457148"/>
                <a:gd name="connsiteY75" fmla="*/ 280325 h 3641849"/>
                <a:gd name="connsiteX76" fmla="*/ 1141484 w 1457148"/>
                <a:gd name="connsiteY76" fmla="*/ 258034 h 3641849"/>
                <a:gd name="connsiteX77" fmla="*/ 1195064 w 1457148"/>
                <a:gd name="connsiteY77" fmla="*/ 267906 h 3641849"/>
                <a:gd name="connsiteX78" fmla="*/ 1273848 w 1457148"/>
                <a:gd name="connsiteY78" fmla="*/ 279816 h 3641849"/>
                <a:gd name="connsiteX79" fmla="*/ 1358171 w 1457148"/>
                <a:gd name="connsiteY79" fmla="*/ 349175 h 3641849"/>
                <a:gd name="connsiteX80" fmla="*/ 1420306 w 1457148"/>
                <a:gd name="connsiteY80" fmla="*/ 425271 h 3641849"/>
                <a:gd name="connsiteX81" fmla="*/ 1319335 w 1457148"/>
                <a:gd name="connsiteY81" fmla="*/ 454265 h 3641849"/>
                <a:gd name="connsiteX82" fmla="*/ 1303801 w 1457148"/>
                <a:gd name="connsiteY82" fmla="*/ 501372 h 3641849"/>
                <a:gd name="connsiteX83" fmla="*/ 1361471 w 1457148"/>
                <a:gd name="connsiteY83" fmla="*/ 585862 h 3641849"/>
                <a:gd name="connsiteX84" fmla="*/ 1397005 w 1457148"/>
                <a:gd name="connsiteY84" fmla="*/ 591964 h 3641849"/>
                <a:gd name="connsiteX85" fmla="*/ 1449625 w 1457148"/>
                <a:gd name="connsiteY85" fmla="*/ 598304 h 3641849"/>
                <a:gd name="connsiteX86" fmla="*/ 1444662 w 1457148"/>
                <a:gd name="connsiteY86" fmla="*/ 709079 h 3641849"/>
                <a:gd name="connsiteX87" fmla="*/ 1455731 w 1457148"/>
                <a:gd name="connsiteY87" fmla="*/ 1040047 h 3641849"/>
                <a:gd name="connsiteX88" fmla="*/ 1446863 w 1457148"/>
                <a:gd name="connsiteY88" fmla="*/ 1842646 h 3641849"/>
                <a:gd name="connsiteX89" fmla="*/ 1455730 w 1457148"/>
                <a:gd name="connsiteY89" fmla="*/ 2297728 h 3641849"/>
                <a:gd name="connsiteX90" fmla="*/ 1429282 w 1457148"/>
                <a:gd name="connsiteY90" fmla="*/ 3607693 h 3641849"/>
                <a:gd name="connsiteX91" fmla="*/ 1170855 w 1457148"/>
                <a:gd name="connsiteY91" fmla="*/ 3564098 h 3641849"/>
                <a:gd name="connsiteX92" fmla="*/ 1002377 w 1457148"/>
                <a:gd name="connsiteY92" fmla="*/ 3497903 h 3641849"/>
                <a:gd name="connsiteX93" fmla="*/ 825031 w 1457148"/>
                <a:gd name="connsiteY93" fmla="*/ 3406887 h 3641849"/>
                <a:gd name="connsiteX94" fmla="*/ 726733 w 1457148"/>
                <a:gd name="connsiteY94" fmla="*/ 3326370 h 3641849"/>
                <a:gd name="connsiteX95" fmla="*/ 1020995 w 1457148"/>
                <a:gd name="connsiteY95" fmla="*/ 3018734 h 3641849"/>
                <a:gd name="connsiteX96" fmla="*/ 737241 w 1457148"/>
                <a:gd name="connsiteY96" fmla="*/ 2480910 h 3641849"/>
                <a:gd name="connsiteX97" fmla="*/ 879591 w 1457148"/>
                <a:gd name="connsiteY97" fmla="*/ 2241825 h 3641849"/>
                <a:gd name="connsiteX98" fmla="*/ 692904 w 1457148"/>
                <a:gd name="connsiteY98" fmla="*/ 1703134 h 3641849"/>
                <a:gd name="connsiteX99" fmla="*/ 444620 w 1457148"/>
                <a:gd name="connsiteY99" fmla="*/ 1471456 h 3641849"/>
                <a:gd name="connsiteX100" fmla="*/ 435753 w 1457148"/>
                <a:gd name="connsiteY100" fmla="*/ 1355617 h 3641849"/>
                <a:gd name="connsiteX0" fmla="*/ 435753 w 1457148"/>
                <a:gd name="connsiteY0" fmla="*/ 1355617 h 3641849"/>
                <a:gd name="connsiteX1" fmla="*/ 204718 w 1457148"/>
                <a:gd name="connsiteY1" fmla="*/ 911202 h 3641849"/>
                <a:gd name="connsiteX2" fmla="*/ 21830 w 1457148"/>
                <a:gd name="connsiteY2" fmla="*/ 551792 h 3641849"/>
                <a:gd name="connsiteX3" fmla="*/ 80021 w 1457148"/>
                <a:gd name="connsiteY3" fmla="*/ 458707 h 3641849"/>
                <a:gd name="connsiteX4" fmla="*/ 85563 w 1457148"/>
                <a:gd name="connsiteY4" fmla="*/ 378550 h 3641849"/>
                <a:gd name="connsiteX5" fmla="*/ 10744 w 1457148"/>
                <a:gd name="connsiteY5" fmla="*/ 319079 h 3641849"/>
                <a:gd name="connsiteX6" fmla="*/ 2432 w 1457148"/>
                <a:gd name="connsiteY6" fmla="*/ 251851 h 3641849"/>
                <a:gd name="connsiteX7" fmla="*/ 57852 w 1457148"/>
                <a:gd name="connsiteY7" fmla="*/ 158764 h 3641849"/>
                <a:gd name="connsiteX8" fmla="*/ 77250 w 1457148"/>
                <a:gd name="connsiteY8" fmla="*/ 135494 h 3641849"/>
                <a:gd name="connsiteX9" fmla="*/ 91105 w 1457148"/>
                <a:gd name="connsiteY9" fmla="*/ 117394 h 3641849"/>
                <a:gd name="connsiteX10" fmla="*/ 99418 w 1457148"/>
                <a:gd name="connsiteY10" fmla="*/ 73438 h 3641849"/>
                <a:gd name="connsiteX11" fmla="*/ 124357 w 1457148"/>
                <a:gd name="connsiteY11" fmla="*/ 101880 h 3641849"/>
                <a:gd name="connsiteX12" fmla="*/ 154839 w 1457148"/>
                <a:gd name="connsiteY12" fmla="*/ 88952 h 3641849"/>
                <a:gd name="connsiteX13" fmla="*/ 157609 w 1457148"/>
                <a:gd name="connsiteY13" fmla="*/ 63095 h 3641849"/>
                <a:gd name="connsiteX14" fmla="*/ 165923 w 1457148"/>
                <a:gd name="connsiteY14" fmla="*/ 34652 h 3641849"/>
                <a:gd name="connsiteX15" fmla="*/ 168695 w 1457148"/>
                <a:gd name="connsiteY15" fmla="*/ 3624 h 3641849"/>
                <a:gd name="connsiteX16" fmla="*/ 304475 w 1457148"/>
                <a:gd name="connsiteY16" fmla="*/ 57924 h 3641849"/>
                <a:gd name="connsiteX17" fmla="*/ 334955 w 1457148"/>
                <a:gd name="connsiteY17" fmla="*/ 161352 h 3641849"/>
                <a:gd name="connsiteX18" fmla="*/ 348811 w 1457148"/>
                <a:gd name="connsiteY18" fmla="*/ 184622 h 3641849"/>
                <a:gd name="connsiteX19" fmla="*/ 359895 w 1457148"/>
                <a:gd name="connsiteY19" fmla="*/ 187208 h 3641849"/>
                <a:gd name="connsiteX20" fmla="*/ 473507 w 1457148"/>
                <a:gd name="connsiteY20" fmla="*/ 156181 h 3641849"/>
                <a:gd name="connsiteX21" fmla="*/ 540012 w 1457148"/>
                <a:gd name="connsiteY21" fmla="*/ 166522 h 3641849"/>
                <a:gd name="connsiteX22" fmla="*/ 603746 w 1457148"/>
                <a:gd name="connsiteY22" fmla="*/ 213065 h 3641849"/>
                <a:gd name="connsiteX23" fmla="*/ 617773 w 1457148"/>
                <a:gd name="connsiteY23" fmla="*/ 242621 h 3641849"/>
                <a:gd name="connsiteX24" fmla="*/ 673020 w 1457148"/>
                <a:gd name="connsiteY24" fmla="*/ 277708 h 3641849"/>
                <a:gd name="connsiteX25" fmla="*/ 761694 w 1457148"/>
                <a:gd name="connsiteY25" fmla="*/ 303563 h 3641849"/>
                <a:gd name="connsiteX26" fmla="*/ 833740 w 1457148"/>
                <a:gd name="connsiteY26" fmla="*/ 350106 h 3641849"/>
                <a:gd name="connsiteX27" fmla="*/ 883619 w 1457148"/>
                <a:gd name="connsiteY27" fmla="*/ 401820 h 3641849"/>
                <a:gd name="connsiteX28" fmla="*/ 908558 w 1457148"/>
                <a:gd name="connsiteY28" fmla="*/ 440606 h 3641849"/>
                <a:gd name="connsiteX29" fmla="*/ 941811 w 1457148"/>
                <a:gd name="connsiteY29" fmla="*/ 466462 h 3641849"/>
                <a:gd name="connsiteX30" fmla="*/ 925183 w 1457148"/>
                <a:gd name="connsiteY30" fmla="*/ 691417 h 3641849"/>
                <a:gd name="connsiteX31" fmla="*/ 797717 w 1457148"/>
                <a:gd name="connsiteY31" fmla="*/ 771575 h 3641849"/>
                <a:gd name="connsiteX32" fmla="*/ 684105 w 1457148"/>
                <a:gd name="connsiteY32" fmla="*/ 779331 h 3641849"/>
                <a:gd name="connsiteX33" fmla="*/ 545552 w 1457148"/>
                <a:gd name="connsiteY33" fmla="*/ 758645 h 3641849"/>
                <a:gd name="connsiteX34" fmla="*/ 454108 w 1457148"/>
                <a:gd name="connsiteY34" fmla="*/ 722445 h 3641849"/>
                <a:gd name="connsiteX35" fmla="*/ 434711 w 1457148"/>
                <a:gd name="connsiteY35" fmla="*/ 750888 h 3641849"/>
                <a:gd name="connsiteX36" fmla="*/ 465353 w 1457148"/>
                <a:gd name="connsiteY36" fmla="*/ 824301 h 3641849"/>
                <a:gd name="connsiteX37" fmla="*/ 470894 w 1457148"/>
                <a:gd name="connsiteY37" fmla="*/ 951000 h 3641849"/>
                <a:gd name="connsiteX38" fmla="*/ 443024 w 1457148"/>
                <a:gd name="connsiteY38" fmla="*/ 1012043 h 3641849"/>
                <a:gd name="connsiteX39" fmla="*/ 498443 w 1457148"/>
                <a:gd name="connsiteY39" fmla="*/ 1032728 h 3641849"/>
                <a:gd name="connsiteX40" fmla="*/ 515071 w 1457148"/>
                <a:gd name="connsiteY40" fmla="*/ 1048242 h 3641849"/>
                <a:gd name="connsiteX41" fmla="*/ 540011 w 1457148"/>
                <a:gd name="connsiteY41" fmla="*/ 1074099 h 3641849"/>
                <a:gd name="connsiteX42" fmla="*/ 537240 w 1457148"/>
                <a:gd name="connsiteY42" fmla="*/ 1076685 h 3641849"/>
                <a:gd name="connsiteX43" fmla="*/ 576033 w 1457148"/>
                <a:gd name="connsiteY43" fmla="*/ 1071514 h 3641849"/>
                <a:gd name="connsiteX44" fmla="*/ 584347 w 1457148"/>
                <a:gd name="connsiteY44" fmla="*/ 1035314 h 3641849"/>
                <a:gd name="connsiteX45" fmla="*/ 545552 w 1457148"/>
                <a:gd name="connsiteY45" fmla="*/ 957743 h 3641849"/>
                <a:gd name="connsiteX46" fmla="*/ 614828 w 1457148"/>
                <a:gd name="connsiteY46" fmla="*/ 911200 h 3641849"/>
                <a:gd name="connsiteX47" fmla="*/ 682600 w 1457148"/>
                <a:gd name="connsiteY47" fmla="*/ 918934 h 3641849"/>
                <a:gd name="connsiteX48" fmla="*/ 706433 w 1457148"/>
                <a:gd name="connsiteY48" fmla="*/ 951001 h 3641849"/>
                <a:gd name="connsiteX49" fmla="*/ 862162 w 1457148"/>
                <a:gd name="connsiteY49" fmla="*/ 1007364 h 3641849"/>
                <a:gd name="connsiteX50" fmla="*/ 847754 w 1457148"/>
                <a:gd name="connsiteY50" fmla="*/ 971687 h 3641849"/>
                <a:gd name="connsiteX51" fmla="*/ 814502 w 1457148"/>
                <a:gd name="connsiteY51" fmla="*/ 932901 h 3641849"/>
                <a:gd name="connsiteX52" fmla="*/ 803418 w 1457148"/>
                <a:gd name="connsiteY52" fmla="*/ 881187 h 3641849"/>
                <a:gd name="connsiteX53" fmla="*/ 842213 w 1457148"/>
                <a:gd name="connsiteY53" fmla="*/ 832060 h 3641849"/>
                <a:gd name="connsiteX54" fmla="*/ 869923 w 1457148"/>
                <a:gd name="connsiteY54" fmla="*/ 803617 h 3641849"/>
                <a:gd name="connsiteX55" fmla="*/ 894863 w 1457148"/>
                <a:gd name="connsiteY55" fmla="*/ 767417 h 3641849"/>
                <a:gd name="connsiteX56" fmla="*/ 975223 w 1457148"/>
                <a:gd name="connsiteY56" fmla="*/ 762245 h 3641849"/>
                <a:gd name="connsiteX57" fmla="*/ 980764 w 1457148"/>
                <a:gd name="connsiteY57" fmla="*/ 741560 h 3641849"/>
                <a:gd name="connsiteX58" fmla="*/ 1005704 w 1457148"/>
                <a:gd name="connsiteY58" fmla="*/ 705360 h 3641849"/>
                <a:gd name="connsiteX59" fmla="*/ 1039508 w 1457148"/>
                <a:gd name="connsiteY59" fmla="*/ 687772 h 3641849"/>
                <a:gd name="connsiteX60" fmla="*/ 1097148 w 1457148"/>
                <a:gd name="connsiteY60" fmla="*/ 700189 h 3641849"/>
                <a:gd name="connsiteX61" fmla="*/ 1135941 w 1457148"/>
                <a:gd name="connsiteY61" fmla="*/ 720875 h 3641849"/>
                <a:gd name="connsiteX62" fmla="*/ 1183049 w 1457148"/>
                <a:gd name="connsiteY62" fmla="*/ 728632 h 3641849"/>
                <a:gd name="connsiteX63" fmla="*/ 1183049 w 1457148"/>
                <a:gd name="connsiteY63" fmla="*/ 733803 h 3641849"/>
                <a:gd name="connsiteX64" fmla="*/ 1205218 w 1457148"/>
                <a:gd name="connsiteY64" fmla="*/ 674332 h 3641849"/>
                <a:gd name="connsiteX65" fmla="*/ 1215193 w 1457148"/>
                <a:gd name="connsiteY65" fmla="*/ 640714 h 3641849"/>
                <a:gd name="connsiteX66" fmla="*/ 1221844 w 1457148"/>
                <a:gd name="connsiteY66" fmla="*/ 622618 h 3641849"/>
                <a:gd name="connsiteX67" fmla="*/ 1224781 w 1457148"/>
                <a:gd name="connsiteY67" fmla="*/ 591288 h 3641849"/>
                <a:gd name="connsiteX68" fmla="*/ 1144255 w 1457148"/>
                <a:gd name="connsiteY68" fmla="*/ 545048 h 3641849"/>
                <a:gd name="connsiteX69" fmla="*/ 1130400 w 1457148"/>
                <a:gd name="connsiteY69" fmla="*/ 472648 h 3641849"/>
                <a:gd name="connsiteX70" fmla="*/ 1130400 w 1457148"/>
                <a:gd name="connsiteY70" fmla="*/ 454548 h 3641849"/>
                <a:gd name="connsiteX71" fmla="*/ 1141483 w 1457148"/>
                <a:gd name="connsiteY71" fmla="*/ 431276 h 3641849"/>
                <a:gd name="connsiteX72" fmla="*/ 1144255 w 1457148"/>
                <a:gd name="connsiteY72" fmla="*/ 415762 h 3641849"/>
                <a:gd name="connsiteX73" fmla="*/ 1144254 w 1457148"/>
                <a:gd name="connsiteY73" fmla="*/ 358878 h 3641849"/>
                <a:gd name="connsiteX74" fmla="*/ 1122086 w 1457148"/>
                <a:gd name="connsiteY74" fmla="*/ 335607 h 3641849"/>
                <a:gd name="connsiteX75" fmla="*/ 1094376 w 1457148"/>
                <a:gd name="connsiteY75" fmla="*/ 304578 h 3641849"/>
                <a:gd name="connsiteX76" fmla="*/ 1090208 w 1457148"/>
                <a:gd name="connsiteY76" fmla="*/ 280325 h 3641849"/>
                <a:gd name="connsiteX77" fmla="*/ 1141484 w 1457148"/>
                <a:gd name="connsiteY77" fmla="*/ 258034 h 3641849"/>
                <a:gd name="connsiteX78" fmla="*/ 1195064 w 1457148"/>
                <a:gd name="connsiteY78" fmla="*/ 267906 h 3641849"/>
                <a:gd name="connsiteX79" fmla="*/ 1273848 w 1457148"/>
                <a:gd name="connsiteY79" fmla="*/ 279816 h 3641849"/>
                <a:gd name="connsiteX80" fmla="*/ 1358171 w 1457148"/>
                <a:gd name="connsiteY80" fmla="*/ 349175 h 3641849"/>
                <a:gd name="connsiteX81" fmla="*/ 1420306 w 1457148"/>
                <a:gd name="connsiteY81" fmla="*/ 425271 h 3641849"/>
                <a:gd name="connsiteX82" fmla="*/ 1319335 w 1457148"/>
                <a:gd name="connsiteY82" fmla="*/ 454265 h 3641849"/>
                <a:gd name="connsiteX83" fmla="*/ 1303801 w 1457148"/>
                <a:gd name="connsiteY83" fmla="*/ 501372 h 3641849"/>
                <a:gd name="connsiteX84" fmla="*/ 1361471 w 1457148"/>
                <a:gd name="connsiteY84" fmla="*/ 585862 h 3641849"/>
                <a:gd name="connsiteX85" fmla="*/ 1397005 w 1457148"/>
                <a:gd name="connsiteY85" fmla="*/ 591964 h 3641849"/>
                <a:gd name="connsiteX86" fmla="*/ 1449625 w 1457148"/>
                <a:gd name="connsiteY86" fmla="*/ 598304 h 3641849"/>
                <a:gd name="connsiteX87" fmla="*/ 1444662 w 1457148"/>
                <a:gd name="connsiteY87" fmla="*/ 709079 h 3641849"/>
                <a:gd name="connsiteX88" fmla="*/ 1455731 w 1457148"/>
                <a:gd name="connsiteY88" fmla="*/ 1040047 h 3641849"/>
                <a:gd name="connsiteX89" fmla="*/ 1446863 w 1457148"/>
                <a:gd name="connsiteY89" fmla="*/ 1842646 h 3641849"/>
                <a:gd name="connsiteX90" fmla="*/ 1455730 w 1457148"/>
                <a:gd name="connsiteY90" fmla="*/ 2297728 h 3641849"/>
                <a:gd name="connsiteX91" fmla="*/ 1429282 w 1457148"/>
                <a:gd name="connsiteY91" fmla="*/ 3607693 h 3641849"/>
                <a:gd name="connsiteX92" fmla="*/ 1170855 w 1457148"/>
                <a:gd name="connsiteY92" fmla="*/ 3564098 h 3641849"/>
                <a:gd name="connsiteX93" fmla="*/ 1002377 w 1457148"/>
                <a:gd name="connsiteY93" fmla="*/ 3497903 h 3641849"/>
                <a:gd name="connsiteX94" fmla="*/ 825031 w 1457148"/>
                <a:gd name="connsiteY94" fmla="*/ 3406887 h 3641849"/>
                <a:gd name="connsiteX95" fmla="*/ 726733 w 1457148"/>
                <a:gd name="connsiteY95" fmla="*/ 3326370 h 3641849"/>
                <a:gd name="connsiteX96" fmla="*/ 1020995 w 1457148"/>
                <a:gd name="connsiteY96" fmla="*/ 3018734 h 3641849"/>
                <a:gd name="connsiteX97" fmla="*/ 737241 w 1457148"/>
                <a:gd name="connsiteY97" fmla="*/ 2480910 h 3641849"/>
                <a:gd name="connsiteX98" fmla="*/ 879591 w 1457148"/>
                <a:gd name="connsiteY98" fmla="*/ 2241825 h 3641849"/>
                <a:gd name="connsiteX99" fmla="*/ 692904 w 1457148"/>
                <a:gd name="connsiteY99" fmla="*/ 1703134 h 3641849"/>
                <a:gd name="connsiteX100" fmla="*/ 444620 w 1457148"/>
                <a:gd name="connsiteY100" fmla="*/ 1471456 h 3641849"/>
                <a:gd name="connsiteX101" fmla="*/ 435753 w 1457148"/>
                <a:gd name="connsiteY101" fmla="*/ 1355617 h 3641849"/>
                <a:gd name="connsiteX0" fmla="*/ 435753 w 1457148"/>
                <a:gd name="connsiteY0" fmla="*/ 1355617 h 3641849"/>
                <a:gd name="connsiteX1" fmla="*/ 127129 w 1457148"/>
                <a:gd name="connsiteY1" fmla="*/ 763818 h 3641849"/>
                <a:gd name="connsiteX2" fmla="*/ 21830 w 1457148"/>
                <a:gd name="connsiteY2" fmla="*/ 551792 h 3641849"/>
                <a:gd name="connsiteX3" fmla="*/ 80021 w 1457148"/>
                <a:gd name="connsiteY3" fmla="*/ 458707 h 3641849"/>
                <a:gd name="connsiteX4" fmla="*/ 85563 w 1457148"/>
                <a:gd name="connsiteY4" fmla="*/ 378550 h 3641849"/>
                <a:gd name="connsiteX5" fmla="*/ 10744 w 1457148"/>
                <a:gd name="connsiteY5" fmla="*/ 319079 h 3641849"/>
                <a:gd name="connsiteX6" fmla="*/ 2432 w 1457148"/>
                <a:gd name="connsiteY6" fmla="*/ 251851 h 3641849"/>
                <a:gd name="connsiteX7" fmla="*/ 57852 w 1457148"/>
                <a:gd name="connsiteY7" fmla="*/ 158764 h 3641849"/>
                <a:gd name="connsiteX8" fmla="*/ 77250 w 1457148"/>
                <a:gd name="connsiteY8" fmla="*/ 135494 h 3641849"/>
                <a:gd name="connsiteX9" fmla="*/ 91105 w 1457148"/>
                <a:gd name="connsiteY9" fmla="*/ 117394 h 3641849"/>
                <a:gd name="connsiteX10" fmla="*/ 99418 w 1457148"/>
                <a:gd name="connsiteY10" fmla="*/ 73438 h 3641849"/>
                <a:gd name="connsiteX11" fmla="*/ 124357 w 1457148"/>
                <a:gd name="connsiteY11" fmla="*/ 101880 h 3641849"/>
                <a:gd name="connsiteX12" fmla="*/ 154839 w 1457148"/>
                <a:gd name="connsiteY12" fmla="*/ 88952 h 3641849"/>
                <a:gd name="connsiteX13" fmla="*/ 157609 w 1457148"/>
                <a:gd name="connsiteY13" fmla="*/ 63095 h 3641849"/>
                <a:gd name="connsiteX14" fmla="*/ 165923 w 1457148"/>
                <a:gd name="connsiteY14" fmla="*/ 34652 h 3641849"/>
                <a:gd name="connsiteX15" fmla="*/ 168695 w 1457148"/>
                <a:gd name="connsiteY15" fmla="*/ 3624 h 3641849"/>
                <a:gd name="connsiteX16" fmla="*/ 304475 w 1457148"/>
                <a:gd name="connsiteY16" fmla="*/ 57924 h 3641849"/>
                <a:gd name="connsiteX17" fmla="*/ 334955 w 1457148"/>
                <a:gd name="connsiteY17" fmla="*/ 161352 h 3641849"/>
                <a:gd name="connsiteX18" fmla="*/ 348811 w 1457148"/>
                <a:gd name="connsiteY18" fmla="*/ 184622 h 3641849"/>
                <a:gd name="connsiteX19" fmla="*/ 359895 w 1457148"/>
                <a:gd name="connsiteY19" fmla="*/ 187208 h 3641849"/>
                <a:gd name="connsiteX20" fmla="*/ 473507 w 1457148"/>
                <a:gd name="connsiteY20" fmla="*/ 156181 h 3641849"/>
                <a:gd name="connsiteX21" fmla="*/ 540012 w 1457148"/>
                <a:gd name="connsiteY21" fmla="*/ 166522 h 3641849"/>
                <a:gd name="connsiteX22" fmla="*/ 603746 w 1457148"/>
                <a:gd name="connsiteY22" fmla="*/ 213065 h 3641849"/>
                <a:gd name="connsiteX23" fmla="*/ 617773 w 1457148"/>
                <a:gd name="connsiteY23" fmla="*/ 242621 h 3641849"/>
                <a:gd name="connsiteX24" fmla="*/ 673020 w 1457148"/>
                <a:gd name="connsiteY24" fmla="*/ 277708 h 3641849"/>
                <a:gd name="connsiteX25" fmla="*/ 761694 w 1457148"/>
                <a:gd name="connsiteY25" fmla="*/ 303563 h 3641849"/>
                <a:gd name="connsiteX26" fmla="*/ 833740 w 1457148"/>
                <a:gd name="connsiteY26" fmla="*/ 350106 h 3641849"/>
                <a:gd name="connsiteX27" fmla="*/ 883619 w 1457148"/>
                <a:gd name="connsiteY27" fmla="*/ 401820 h 3641849"/>
                <a:gd name="connsiteX28" fmla="*/ 908558 w 1457148"/>
                <a:gd name="connsiteY28" fmla="*/ 440606 h 3641849"/>
                <a:gd name="connsiteX29" fmla="*/ 941811 w 1457148"/>
                <a:gd name="connsiteY29" fmla="*/ 466462 h 3641849"/>
                <a:gd name="connsiteX30" fmla="*/ 925183 w 1457148"/>
                <a:gd name="connsiteY30" fmla="*/ 691417 h 3641849"/>
                <a:gd name="connsiteX31" fmla="*/ 797717 w 1457148"/>
                <a:gd name="connsiteY31" fmla="*/ 771575 h 3641849"/>
                <a:gd name="connsiteX32" fmla="*/ 684105 w 1457148"/>
                <a:gd name="connsiteY32" fmla="*/ 779331 h 3641849"/>
                <a:gd name="connsiteX33" fmla="*/ 545552 w 1457148"/>
                <a:gd name="connsiteY33" fmla="*/ 758645 h 3641849"/>
                <a:gd name="connsiteX34" fmla="*/ 454108 w 1457148"/>
                <a:gd name="connsiteY34" fmla="*/ 722445 h 3641849"/>
                <a:gd name="connsiteX35" fmla="*/ 434711 w 1457148"/>
                <a:gd name="connsiteY35" fmla="*/ 750888 h 3641849"/>
                <a:gd name="connsiteX36" fmla="*/ 465353 w 1457148"/>
                <a:gd name="connsiteY36" fmla="*/ 824301 h 3641849"/>
                <a:gd name="connsiteX37" fmla="*/ 470894 w 1457148"/>
                <a:gd name="connsiteY37" fmla="*/ 951000 h 3641849"/>
                <a:gd name="connsiteX38" fmla="*/ 443024 w 1457148"/>
                <a:gd name="connsiteY38" fmla="*/ 1012043 h 3641849"/>
                <a:gd name="connsiteX39" fmla="*/ 498443 w 1457148"/>
                <a:gd name="connsiteY39" fmla="*/ 1032728 h 3641849"/>
                <a:gd name="connsiteX40" fmla="*/ 515071 w 1457148"/>
                <a:gd name="connsiteY40" fmla="*/ 1048242 h 3641849"/>
                <a:gd name="connsiteX41" fmla="*/ 540011 w 1457148"/>
                <a:gd name="connsiteY41" fmla="*/ 1074099 h 3641849"/>
                <a:gd name="connsiteX42" fmla="*/ 537240 w 1457148"/>
                <a:gd name="connsiteY42" fmla="*/ 1076685 h 3641849"/>
                <a:gd name="connsiteX43" fmla="*/ 576033 w 1457148"/>
                <a:gd name="connsiteY43" fmla="*/ 1071514 h 3641849"/>
                <a:gd name="connsiteX44" fmla="*/ 584347 w 1457148"/>
                <a:gd name="connsiteY44" fmla="*/ 1035314 h 3641849"/>
                <a:gd name="connsiteX45" fmla="*/ 545552 w 1457148"/>
                <a:gd name="connsiteY45" fmla="*/ 957743 h 3641849"/>
                <a:gd name="connsiteX46" fmla="*/ 614828 w 1457148"/>
                <a:gd name="connsiteY46" fmla="*/ 911200 h 3641849"/>
                <a:gd name="connsiteX47" fmla="*/ 682600 w 1457148"/>
                <a:gd name="connsiteY47" fmla="*/ 918934 h 3641849"/>
                <a:gd name="connsiteX48" fmla="*/ 706433 w 1457148"/>
                <a:gd name="connsiteY48" fmla="*/ 951001 h 3641849"/>
                <a:gd name="connsiteX49" fmla="*/ 862162 w 1457148"/>
                <a:gd name="connsiteY49" fmla="*/ 1007364 h 3641849"/>
                <a:gd name="connsiteX50" fmla="*/ 847754 w 1457148"/>
                <a:gd name="connsiteY50" fmla="*/ 971687 h 3641849"/>
                <a:gd name="connsiteX51" fmla="*/ 814502 w 1457148"/>
                <a:gd name="connsiteY51" fmla="*/ 932901 h 3641849"/>
                <a:gd name="connsiteX52" fmla="*/ 803418 w 1457148"/>
                <a:gd name="connsiteY52" fmla="*/ 881187 h 3641849"/>
                <a:gd name="connsiteX53" fmla="*/ 842213 w 1457148"/>
                <a:gd name="connsiteY53" fmla="*/ 832060 h 3641849"/>
                <a:gd name="connsiteX54" fmla="*/ 869923 w 1457148"/>
                <a:gd name="connsiteY54" fmla="*/ 803617 h 3641849"/>
                <a:gd name="connsiteX55" fmla="*/ 894863 w 1457148"/>
                <a:gd name="connsiteY55" fmla="*/ 767417 h 3641849"/>
                <a:gd name="connsiteX56" fmla="*/ 975223 w 1457148"/>
                <a:gd name="connsiteY56" fmla="*/ 762245 h 3641849"/>
                <a:gd name="connsiteX57" fmla="*/ 980764 w 1457148"/>
                <a:gd name="connsiteY57" fmla="*/ 741560 h 3641849"/>
                <a:gd name="connsiteX58" fmla="*/ 1005704 w 1457148"/>
                <a:gd name="connsiteY58" fmla="*/ 705360 h 3641849"/>
                <a:gd name="connsiteX59" fmla="*/ 1039508 w 1457148"/>
                <a:gd name="connsiteY59" fmla="*/ 687772 h 3641849"/>
                <a:gd name="connsiteX60" fmla="*/ 1097148 w 1457148"/>
                <a:gd name="connsiteY60" fmla="*/ 700189 h 3641849"/>
                <a:gd name="connsiteX61" fmla="*/ 1135941 w 1457148"/>
                <a:gd name="connsiteY61" fmla="*/ 720875 h 3641849"/>
                <a:gd name="connsiteX62" fmla="*/ 1183049 w 1457148"/>
                <a:gd name="connsiteY62" fmla="*/ 728632 h 3641849"/>
                <a:gd name="connsiteX63" fmla="*/ 1183049 w 1457148"/>
                <a:gd name="connsiteY63" fmla="*/ 733803 h 3641849"/>
                <a:gd name="connsiteX64" fmla="*/ 1205218 w 1457148"/>
                <a:gd name="connsiteY64" fmla="*/ 674332 h 3641849"/>
                <a:gd name="connsiteX65" fmla="*/ 1215193 w 1457148"/>
                <a:gd name="connsiteY65" fmla="*/ 640714 h 3641849"/>
                <a:gd name="connsiteX66" fmla="*/ 1221844 w 1457148"/>
                <a:gd name="connsiteY66" fmla="*/ 622618 h 3641849"/>
                <a:gd name="connsiteX67" fmla="*/ 1224781 w 1457148"/>
                <a:gd name="connsiteY67" fmla="*/ 591288 h 3641849"/>
                <a:gd name="connsiteX68" fmla="*/ 1144255 w 1457148"/>
                <a:gd name="connsiteY68" fmla="*/ 545048 h 3641849"/>
                <a:gd name="connsiteX69" fmla="*/ 1130400 w 1457148"/>
                <a:gd name="connsiteY69" fmla="*/ 472648 h 3641849"/>
                <a:gd name="connsiteX70" fmla="*/ 1130400 w 1457148"/>
                <a:gd name="connsiteY70" fmla="*/ 454548 h 3641849"/>
                <a:gd name="connsiteX71" fmla="*/ 1141483 w 1457148"/>
                <a:gd name="connsiteY71" fmla="*/ 431276 h 3641849"/>
                <a:gd name="connsiteX72" fmla="*/ 1144255 w 1457148"/>
                <a:gd name="connsiteY72" fmla="*/ 415762 h 3641849"/>
                <a:gd name="connsiteX73" fmla="*/ 1144254 w 1457148"/>
                <a:gd name="connsiteY73" fmla="*/ 358878 h 3641849"/>
                <a:gd name="connsiteX74" fmla="*/ 1122086 w 1457148"/>
                <a:gd name="connsiteY74" fmla="*/ 335607 h 3641849"/>
                <a:gd name="connsiteX75" fmla="*/ 1094376 w 1457148"/>
                <a:gd name="connsiteY75" fmla="*/ 304578 h 3641849"/>
                <a:gd name="connsiteX76" fmla="*/ 1090208 w 1457148"/>
                <a:gd name="connsiteY76" fmla="*/ 280325 h 3641849"/>
                <a:gd name="connsiteX77" fmla="*/ 1141484 w 1457148"/>
                <a:gd name="connsiteY77" fmla="*/ 258034 h 3641849"/>
                <a:gd name="connsiteX78" fmla="*/ 1195064 w 1457148"/>
                <a:gd name="connsiteY78" fmla="*/ 267906 h 3641849"/>
                <a:gd name="connsiteX79" fmla="*/ 1273848 w 1457148"/>
                <a:gd name="connsiteY79" fmla="*/ 279816 h 3641849"/>
                <a:gd name="connsiteX80" fmla="*/ 1358171 w 1457148"/>
                <a:gd name="connsiteY80" fmla="*/ 349175 h 3641849"/>
                <a:gd name="connsiteX81" fmla="*/ 1420306 w 1457148"/>
                <a:gd name="connsiteY81" fmla="*/ 425271 h 3641849"/>
                <a:gd name="connsiteX82" fmla="*/ 1319335 w 1457148"/>
                <a:gd name="connsiteY82" fmla="*/ 454265 h 3641849"/>
                <a:gd name="connsiteX83" fmla="*/ 1303801 w 1457148"/>
                <a:gd name="connsiteY83" fmla="*/ 501372 h 3641849"/>
                <a:gd name="connsiteX84" fmla="*/ 1361471 w 1457148"/>
                <a:gd name="connsiteY84" fmla="*/ 585862 h 3641849"/>
                <a:gd name="connsiteX85" fmla="*/ 1397005 w 1457148"/>
                <a:gd name="connsiteY85" fmla="*/ 591964 h 3641849"/>
                <a:gd name="connsiteX86" fmla="*/ 1449625 w 1457148"/>
                <a:gd name="connsiteY86" fmla="*/ 598304 h 3641849"/>
                <a:gd name="connsiteX87" fmla="*/ 1444662 w 1457148"/>
                <a:gd name="connsiteY87" fmla="*/ 709079 h 3641849"/>
                <a:gd name="connsiteX88" fmla="*/ 1455731 w 1457148"/>
                <a:gd name="connsiteY88" fmla="*/ 1040047 h 3641849"/>
                <a:gd name="connsiteX89" fmla="*/ 1446863 w 1457148"/>
                <a:gd name="connsiteY89" fmla="*/ 1842646 h 3641849"/>
                <a:gd name="connsiteX90" fmla="*/ 1455730 w 1457148"/>
                <a:gd name="connsiteY90" fmla="*/ 2297728 h 3641849"/>
                <a:gd name="connsiteX91" fmla="*/ 1429282 w 1457148"/>
                <a:gd name="connsiteY91" fmla="*/ 3607693 h 3641849"/>
                <a:gd name="connsiteX92" fmla="*/ 1170855 w 1457148"/>
                <a:gd name="connsiteY92" fmla="*/ 3564098 h 3641849"/>
                <a:gd name="connsiteX93" fmla="*/ 1002377 w 1457148"/>
                <a:gd name="connsiteY93" fmla="*/ 3497903 h 3641849"/>
                <a:gd name="connsiteX94" fmla="*/ 825031 w 1457148"/>
                <a:gd name="connsiteY94" fmla="*/ 3406887 h 3641849"/>
                <a:gd name="connsiteX95" fmla="*/ 726733 w 1457148"/>
                <a:gd name="connsiteY95" fmla="*/ 3326370 h 3641849"/>
                <a:gd name="connsiteX96" fmla="*/ 1020995 w 1457148"/>
                <a:gd name="connsiteY96" fmla="*/ 3018734 h 3641849"/>
                <a:gd name="connsiteX97" fmla="*/ 737241 w 1457148"/>
                <a:gd name="connsiteY97" fmla="*/ 2480910 h 3641849"/>
                <a:gd name="connsiteX98" fmla="*/ 879591 w 1457148"/>
                <a:gd name="connsiteY98" fmla="*/ 2241825 h 3641849"/>
                <a:gd name="connsiteX99" fmla="*/ 692904 w 1457148"/>
                <a:gd name="connsiteY99" fmla="*/ 1703134 h 3641849"/>
                <a:gd name="connsiteX100" fmla="*/ 444620 w 1457148"/>
                <a:gd name="connsiteY100" fmla="*/ 1471456 h 3641849"/>
                <a:gd name="connsiteX101" fmla="*/ 435753 w 1457148"/>
                <a:gd name="connsiteY101" fmla="*/ 1355617 h 3641849"/>
                <a:gd name="connsiteX0" fmla="*/ 435753 w 1457148"/>
                <a:gd name="connsiteY0" fmla="*/ 1355617 h 3641849"/>
                <a:gd name="connsiteX1" fmla="*/ 135443 w 1457148"/>
                <a:gd name="connsiteY1" fmla="*/ 779332 h 3641849"/>
                <a:gd name="connsiteX2" fmla="*/ 21830 w 1457148"/>
                <a:gd name="connsiteY2" fmla="*/ 551792 h 3641849"/>
                <a:gd name="connsiteX3" fmla="*/ 80021 w 1457148"/>
                <a:gd name="connsiteY3" fmla="*/ 458707 h 3641849"/>
                <a:gd name="connsiteX4" fmla="*/ 85563 w 1457148"/>
                <a:gd name="connsiteY4" fmla="*/ 378550 h 3641849"/>
                <a:gd name="connsiteX5" fmla="*/ 10744 w 1457148"/>
                <a:gd name="connsiteY5" fmla="*/ 319079 h 3641849"/>
                <a:gd name="connsiteX6" fmla="*/ 2432 w 1457148"/>
                <a:gd name="connsiteY6" fmla="*/ 251851 h 3641849"/>
                <a:gd name="connsiteX7" fmla="*/ 57852 w 1457148"/>
                <a:gd name="connsiteY7" fmla="*/ 158764 h 3641849"/>
                <a:gd name="connsiteX8" fmla="*/ 77250 w 1457148"/>
                <a:gd name="connsiteY8" fmla="*/ 135494 h 3641849"/>
                <a:gd name="connsiteX9" fmla="*/ 91105 w 1457148"/>
                <a:gd name="connsiteY9" fmla="*/ 117394 h 3641849"/>
                <a:gd name="connsiteX10" fmla="*/ 99418 w 1457148"/>
                <a:gd name="connsiteY10" fmla="*/ 73438 h 3641849"/>
                <a:gd name="connsiteX11" fmla="*/ 124357 w 1457148"/>
                <a:gd name="connsiteY11" fmla="*/ 101880 h 3641849"/>
                <a:gd name="connsiteX12" fmla="*/ 154839 w 1457148"/>
                <a:gd name="connsiteY12" fmla="*/ 88952 h 3641849"/>
                <a:gd name="connsiteX13" fmla="*/ 157609 w 1457148"/>
                <a:gd name="connsiteY13" fmla="*/ 63095 h 3641849"/>
                <a:gd name="connsiteX14" fmla="*/ 165923 w 1457148"/>
                <a:gd name="connsiteY14" fmla="*/ 34652 h 3641849"/>
                <a:gd name="connsiteX15" fmla="*/ 168695 w 1457148"/>
                <a:gd name="connsiteY15" fmla="*/ 3624 h 3641849"/>
                <a:gd name="connsiteX16" fmla="*/ 304475 w 1457148"/>
                <a:gd name="connsiteY16" fmla="*/ 57924 h 3641849"/>
                <a:gd name="connsiteX17" fmla="*/ 334955 w 1457148"/>
                <a:gd name="connsiteY17" fmla="*/ 161352 h 3641849"/>
                <a:gd name="connsiteX18" fmla="*/ 348811 w 1457148"/>
                <a:gd name="connsiteY18" fmla="*/ 184622 h 3641849"/>
                <a:gd name="connsiteX19" fmla="*/ 359895 w 1457148"/>
                <a:gd name="connsiteY19" fmla="*/ 187208 h 3641849"/>
                <a:gd name="connsiteX20" fmla="*/ 473507 w 1457148"/>
                <a:gd name="connsiteY20" fmla="*/ 156181 h 3641849"/>
                <a:gd name="connsiteX21" fmla="*/ 540012 w 1457148"/>
                <a:gd name="connsiteY21" fmla="*/ 166522 h 3641849"/>
                <a:gd name="connsiteX22" fmla="*/ 603746 w 1457148"/>
                <a:gd name="connsiteY22" fmla="*/ 213065 h 3641849"/>
                <a:gd name="connsiteX23" fmla="*/ 617773 w 1457148"/>
                <a:gd name="connsiteY23" fmla="*/ 242621 h 3641849"/>
                <a:gd name="connsiteX24" fmla="*/ 673020 w 1457148"/>
                <a:gd name="connsiteY24" fmla="*/ 277708 h 3641849"/>
                <a:gd name="connsiteX25" fmla="*/ 761694 w 1457148"/>
                <a:gd name="connsiteY25" fmla="*/ 303563 h 3641849"/>
                <a:gd name="connsiteX26" fmla="*/ 833740 w 1457148"/>
                <a:gd name="connsiteY26" fmla="*/ 350106 h 3641849"/>
                <a:gd name="connsiteX27" fmla="*/ 883619 w 1457148"/>
                <a:gd name="connsiteY27" fmla="*/ 401820 h 3641849"/>
                <a:gd name="connsiteX28" fmla="*/ 908558 w 1457148"/>
                <a:gd name="connsiteY28" fmla="*/ 440606 h 3641849"/>
                <a:gd name="connsiteX29" fmla="*/ 941811 w 1457148"/>
                <a:gd name="connsiteY29" fmla="*/ 466462 h 3641849"/>
                <a:gd name="connsiteX30" fmla="*/ 925183 w 1457148"/>
                <a:gd name="connsiteY30" fmla="*/ 691417 h 3641849"/>
                <a:gd name="connsiteX31" fmla="*/ 797717 w 1457148"/>
                <a:gd name="connsiteY31" fmla="*/ 771575 h 3641849"/>
                <a:gd name="connsiteX32" fmla="*/ 684105 w 1457148"/>
                <a:gd name="connsiteY32" fmla="*/ 779331 h 3641849"/>
                <a:gd name="connsiteX33" fmla="*/ 545552 w 1457148"/>
                <a:gd name="connsiteY33" fmla="*/ 758645 h 3641849"/>
                <a:gd name="connsiteX34" fmla="*/ 454108 w 1457148"/>
                <a:gd name="connsiteY34" fmla="*/ 722445 h 3641849"/>
                <a:gd name="connsiteX35" fmla="*/ 434711 w 1457148"/>
                <a:gd name="connsiteY35" fmla="*/ 750888 h 3641849"/>
                <a:gd name="connsiteX36" fmla="*/ 465353 w 1457148"/>
                <a:gd name="connsiteY36" fmla="*/ 824301 h 3641849"/>
                <a:gd name="connsiteX37" fmla="*/ 470894 w 1457148"/>
                <a:gd name="connsiteY37" fmla="*/ 951000 h 3641849"/>
                <a:gd name="connsiteX38" fmla="*/ 443024 w 1457148"/>
                <a:gd name="connsiteY38" fmla="*/ 1012043 h 3641849"/>
                <a:gd name="connsiteX39" fmla="*/ 498443 w 1457148"/>
                <a:gd name="connsiteY39" fmla="*/ 1032728 h 3641849"/>
                <a:gd name="connsiteX40" fmla="*/ 515071 w 1457148"/>
                <a:gd name="connsiteY40" fmla="*/ 1048242 h 3641849"/>
                <a:gd name="connsiteX41" fmla="*/ 540011 w 1457148"/>
                <a:gd name="connsiteY41" fmla="*/ 1074099 h 3641849"/>
                <a:gd name="connsiteX42" fmla="*/ 537240 w 1457148"/>
                <a:gd name="connsiteY42" fmla="*/ 1076685 h 3641849"/>
                <a:gd name="connsiteX43" fmla="*/ 576033 w 1457148"/>
                <a:gd name="connsiteY43" fmla="*/ 1071514 h 3641849"/>
                <a:gd name="connsiteX44" fmla="*/ 584347 w 1457148"/>
                <a:gd name="connsiteY44" fmla="*/ 1035314 h 3641849"/>
                <a:gd name="connsiteX45" fmla="*/ 545552 w 1457148"/>
                <a:gd name="connsiteY45" fmla="*/ 957743 h 3641849"/>
                <a:gd name="connsiteX46" fmla="*/ 614828 w 1457148"/>
                <a:gd name="connsiteY46" fmla="*/ 911200 h 3641849"/>
                <a:gd name="connsiteX47" fmla="*/ 682600 w 1457148"/>
                <a:gd name="connsiteY47" fmla="*/ 918934 h 3641849"/>
                <a:gd name="connsiteX48" fmla="*/ 706433 w 1457148"/>
                <a:gd name="connsiteY48" fmla="*/ 951001 h 3641849"/>
                <a:gd name="connsiteX49" fmla="*/ 862162 w 1457148"/>
                <a:gd name="connsiteY49" fmla="*/ 1007364 h 3641849"/>
                <a:gd name="connsiteX50" fmla="*/ 847754 w 1457148"/>
                <a:gd name="connsiteY50" fmla="*/ 971687 h 3641849"/>
                <a:gd name="connsiteX51" fmla="*/ 814502 w 1457148"/>
                <a:gd name="connsiteY51" fmla="*/ 932901 h 3641849"/>
                <a:gd name="connsiteX52" fmla="*/ 803418 w 1457148"/>
                <a:gd name="connsiteY52" fmla="*/ 881187 h 3641849"/>
                <a:gd name="connsiteX53" fmla="*/ 842213 w 1457148"/>
                <a:gd name="connsiteY53" fmla="*/ 832060 h 3641849"/>
                <a:gd name="connsiteX54" fmla="*/ 869923 w 1457148"/>
                <a:gd name="connsiteY54" fmla="*/ 803617 h 3641849"/>
                <a:gd name="connsiteX55" fmla="*/ 894863 w 1457148"/>
                <a:gd name="connsiteY55" fmla="*/ 767417 h 3641849"/>
                <a:gd name="connsiteX56" fmla="*/ 975223 w 1457148"/>
                <a:gd name="connsiteY56" fmla="*/ 762245 h 3641849"/>
                <a:gd name="connsiteX57" fmla="*/ 980764 w 1457148"/>
                <a:gd name="connsiteY57" fmla="*/ 741560 h 3641849"/>
                <a:gd name="connsiteX58" fmla="*/ 1005704 w 1457148"/>
                <a:gd name="connsiteY58" fmla="*/ 705360 h 3641849"/>
                <a:gd name="connsiteX59" fmla="*/ 1039508 w 1457148"/>
                <a:gd name="connsiteY59" fmla="*/ 687772 h 3641849"/>
                <a:gd name="connsiteX60" fmla="*/ 1097148 w 1457148"/>
                <a:gd name="connsiteY60" fmla="*/ 700189 h 3641849"/>
                <a:gd name="connsiteX61" fmla="*/ 1135941 w 1457148"/>
                <a:gd name="connsiteY61" fmla="*/ 720875 h 3641849"/>
                <a:gd name="connsiteX62" fmla="*/ 1183049 w 1457148"/>
                <a:gd name="connsiteY62" fmla="*/ 728632 h 3641849"/>
                <a:gd name="connsiteX63" fmla="*/ 1183049 w 1457148"/>
                <a:gd name="connsiteY63" fmla="*/ 733803 h 3641849"/>
                <a:gd name="connsiteX64" fmla="*/ 1205218 w 1457148"/>
                <a:gd name="connsiteY64" fmla="*/ 674332 h 3641849"/>
                <a:gd name="connsiteX65" fmla="*/ 1215193 w 1457148"/>
                <a:gd name="connsiteY65" fmla="*/ 640714 h 3641849"/>
                <a:gd name="connsiteX66" fmla="*/ 1221844 w 1457148"/>
                <a:gd name="connsiteY66" fmla="*/ 622618 h 3641849"/>
                <a:gd name="connsiteX67" fmla="*/ 1224781 w 1457148"/>
                <a:gd name="connsiteY67" fmla="*/ 591288 h 3641849"/>
                <a:gd name="connsiteX68" fmla="*/ 1144255 w 1457148"/>
                <a:gd name="connsiteY68" fmla="*/ 545048 h 3641849"/>
                <a:gd name="connsiteX69" fmla="*/ 1130400 w 1457148"/>
                <a:gd name="connsiteY69" fmla="*/ 472648 h 3641849"/>
                <a:gd name="connsiteX70" fmla="*/ 1130400 w 1457148"/>
                <a:gd name="connsiteY70" fmla="*/ 454548 h 3641849"/>
                <a:gd name="connsiteX71" fmla="*/ 1141483 w 1457148"/>
                <a:gd name="connsiteY71" fmla="*/ 431276 h 3641849"/>
                <a:gd name="connsiteX72" fmla="*/ 1144255 w 1457148"/>
                <a:gd name="connsiteY72" fmla="*/ 415762 h 3641849"/>
                <a:gd name="connsiteX73" fmla="*/ 1144254 w 1457148"/>
                <a:gd name="connsiteY73" fmla="*/ 358878 h 3641849"/>
                <a:gd name="connsiteX74" fmla="*/ 1122086 w 1457148"/>
                <a:gd name="connsiteY74" fmla="*/ 335607 h 3641849"/>
                <a:gd name="connsiteX75" fmla="*/ 1094376 w 1457148"/>
                <a:gd name="connsiteY75" fmla="*/ 304578 h 3641849"/>
                <a:gd name="connsiteX76" fmla="*/ 1090208 w 1457148"/>
                <a:gd name="connsiteY76" fmla="*/ 280325 h 3641849"/>
                <a:gd name="connsiteX77" fmla="*/ 1141484 w 1457148"/>
                <a:gd name="connsiteY77" fmla="*/ 258034 h 3641849"/>
                <a:gd name="connsiteX78" fmla="*/ 1195064 w 1457148"/>
                <a:gd name="connsiteY78" fmla="*/ 267906 h 3641849"/>
                <a:gd name="connsiteX79" fmla="*/ 1273848 w 1457148"/>
                <a:gd name="connsiteY79" fmla="*/ 279816 h 3641849"/>
                <a:gd name="connsiteX80" fmla="*/ 1358171 w 1457148"/>
                <a:gd name="connsiteY80" fmla="*/ 349175 h 3641849"/>
                <a:gd name="connsiteX81" fmla="*/ 1420306 w 1457148"/>
                <a:gd name="connsiteY81" fmla="*/ 425271 h 3641849"/>
                <a:gd name="connsiteX82" fmla="*/ 1319335 w 1457148"/>
                <a:gd name="connsiteY82" fmla="*/ 454265 h 3641849"/>
                <a:gd name="connsiteX83" fmla="*/ 1303801 w 1457148"/>
                <a:gd name="connsiteY83" fmla="*/ 501372 h 3641849"/>
                <a:gd name="connsiteX84" fmla="*/ 1361471 w 1457148"/>
                <a:gd name="connsiteY84" fmla="*/ 585862 h 3641849"/>
                <a:gd name="connsiteX85" fmla="*/ 1397005 w 1457148"/>
                <a:gd name="connsiteY85" fmla="*/ 591964 h 3641849"/>
                <a:gd name="connsiteX86" fmla="*/ 1449625 w 1457148"/>
                <a:gd name="connsiteY86" fmla="*/ 598304 h 3641849"/>
                <a:gd name="connsiteX87" fmla="*/ 1444662 w 1457148"/>
                <a:gd name="connsiteY87" fmla="*/ 709079 h 3641849"/>
                <a:gd name="connsiteX88" fmla="*/ 1455731 w 1457148"/>
                <a:gd name="connsiteY88" fmla="*/ 1040047 h 3641849"/>
                <a:gd name="connsiteX89" fmla="*/ 1446863 w 1457148"/>
                <a:gd name="connsiteY89" fmla="*/ 1842646 h 3641849"/>
                <a:gd name="connsiteX90" fmla="*/ 1455730 w 1457148"/>
                <a:gd name="connsiteY90" fmla="*/ 2297728 h 3641849"/>
                <a:gd name="connsiteX91" fmla="*/ 1429282 w 1457148"/>
                <a:gd name="connsiteY91" fmla="*/ 3607693 h 3641849"/>
                <a:gd name="connsiteX92" fmla="*/ 1170855 w 1457148"/>
                <a:gd name="connsiteY92" fmla="*/ 3564098 h 3641849"/>
                <a:gd name="connsiteX93" fmla="*/ 1002377 w 1457148"/>
                <a:gd name="connsiteY93" fmla="*/ 3497903 h 3641849"/>
                <a:gd name="connsiteX94" fmla="*/ 825031 w 1457148"/>
                <a:gd name="connsiteY94" fmla="*/ 3406887 h 3641849"/>
                <a:gd name="connsiteX95" fmla="*/ 726733 w 1457148"/>
                <a:gd name="connsiteY95" fmla="*/ 3326370 h 3641849"/>
                <a:gd name="connsiteX96" fmla="*/ 1020995 w 1457148"/>
                <a:gd name="connsiteY96" fmla="*/ 3018734 h 3641849"/>
                <a:gd name="connsiteX97" fmla="*/ 737241 w 1457148"/>
                <a:gd name="connsiteY97" fmla="*/ 2480910 h 3641849"/>
                <a:gd name="connsiteX98" fmla="*/ 879591 w 1457148"/>
                <a:gd name="connsiteY98" fmla="*/ 2241825 h 3641849"/>
                <a:gd name="connsiteX99" fmla="*/ 692904 w 1457148"/>
                <a:gd name="connsiteY99" fmla="*/ 1703134 h 3641849"/>
                <a:gd name="connsiteX100" fmla="*/ 444620 w 1457148"/>
                <a:gd name="connsiteY100" fmla="*/ 1471456 h 3641849"/>
                <a:gd name="connsiteX101" fmla="*/ 435753 w 1457148"/>
                <a:gd name="connsiteY101" fmla="*/ 1355617 h 3641849"/>
                <a:gd name="connsiteX0" fmla="*/ 435753 w 1457148"/>
                <a:gd name="connsiteY0" fmla="*/ 1355617 h 3641849"/>
                <a:gd name="connsiteX1" fmla="*/ 171466 w 1457148"/>
                <a:gd name="connsiteY1" fmla="*/ 841388 h 3641849"/>
                <a:gd name="connsiteX2" fmla="*/ 135443 w 1457148"/>
                <a:gd name="connsiteY2" fmla="*/ 779332 h 3641849"/>
                <a:gd name="connsiteX3" fmla="*/ 21830 w 1457148"/>
                <a:gd name="connsiteY3" fmla="*/ 551792 h 3641849"/>
                <a:gd name="connsiteX4" fmla="*/ 80021 w 1457148"/>
                <a:gd name="connsiteY4" fmla="*/ 458707 h 3641849"/>
                <a:gd name="connsiteX5" fmla="*/ 85563 w 1457148"/>
                <a:gd name="connsiteY5" fmla="*/ 378550 h 3641849"/>
                <a:gd name="connsiteX6" fmla="*/ 10744 w 1457148"/>
                <a:gd name="connsiteY6" fmla="*/ 319079 h 3641849"/>
                <a:gd name="connsiteX7" fmla="*/ 2432 w 1457148"/>
                <a:gd name="connsiteY7" fmla="*/ 251851 h 3641849"/>
                <a:gd name="connsiteX8" fmla="*/ 57852 w 1457148"/>
                <a:gd name="connsiteY8" fmla="*/ 158764 h 3641849"/>
                <a:gd name="connsiteX9" fmla="*/ 77250 w 1457148"/>
                <a:gd name="connsiteY9" fmla="*/ 135494 h 3641849"/>
                <a:gd name="connsiteX10" fmla="*/ 91105 w 1457148"/>
                <a:gd name="connsiteY10" fmla="*/ 117394 h 3641849"/>
                <a:gd name="connsiteX11" fmla="*/ 99418 w 1457148"/>
                <a:gd name="connsiteY11" fmla="*/ 73438 h 3641849"/>
                <a:gd name="connsiteX12" fmla="*/ 124357 w 1457148"/>
                <a:gd name="connsiteY12" fmla="*/ 101880 h 3641849"/>
                <a:gd name="connsiteX13" fmla="*/ 154839 w 1457148"/>
                <a:gd name="connsiteY13" fmla="*/ 88952 h 3641849"/>
                <a:gd name="connsiteX14" fmla="*/ 157609 w 1457148"/>
                <a:gd name="connsiteY14" fmla="*/ 63095 h 3641849"/>
                <a:gd name="connsiteX15" fmla="*/ 165923 w 1457148"/>
                <a:gd name="connsiteY15" fmla="*/ 34652 h 3641849"/>
                <a:gd name="connsiteX16" fmla="*/ 168695 w 1457148"/>
                <a:gd name="connsiteY16" fmla="*/ 3624 h 3641849"/>
                <a:gd name="connsiteX17" fmla="*/ 304475 w 1457148"/>
                <a:gd name="connsiteY17" fmla="*/ 57924 h 3641849"/>
                <a:gd name="connsiteX18" fmla="*/ 334955 w 1457148"/>
                <a:gd name="connsiteY18" fmla="*/ 161352 h 3641849"/>
                <a:gd name="connsiteX19" fmla="*/ 348811 w 1457148"/>
                <a:gd name="connsiteY19" fmla="*/ 184622 h 3641849"/>
                <a:gd name="connsiteX20" fmla="*/ 359895 w 1457148"/>
                <a:gd name="connsiteY20" fmla="*/ 187208 h 3641849"/>
                <a:gd name="connsiteX21" fmla="*/ 473507 w 1457148"/>
                <a:gd name="connsiteY21" fmla="*/ 156181 h 3641849"/>
                <a:gd name="connsiteX22" fmla="*/ 540012 w 1457148"/>
                <a:gd name="connsiteY22" fmla="*/ 166522 h 3641849"/>
                <a:gd name="connsiteX23" fmla="*/ 603746 w 1457148"/>
                <a:gd name="connsiteY23" fmla="*/ 213065 h 3641849"/>
                <a:gd name="connsiteX24" fmla="*/ 617773 w 1457148"/>
                <a:gd name="connsiteY24" fmla="*/ 242621 h 3641849"/>
                <a:gd name="connsiteX25" fmla="*/ 673020 w 1457148"/>
                <a:gd name="connsiteY25" fmla="*/ 277708 h 3641849"/>
                <a:gd name="connsiteX26" fmla="*/ 761694 w 1457148"/>
                <a:gd name="connsiteY26" fmla="*/ 303563 h 3641849"/>
                <a:gd name="connsiteX27" fmla="*/ 833740 w 1457148"/>
                <a:gd name="connsiteY27" fmla="*/ 350106 h 3641849"/>
                <a:gd name="connsiteX28" fmla="*/ 883619 w 1457148"/>
                <a:gd name="connsiteY28" fmla="*/ 401820 h 3641849"/>
                <a:gd name="connsiteX29" fmla="*/ 908558 w 1457148"/>
                <a:gd name="connsiteY29" fmla="*/ 440606 h 3641849"/>
                <a:gd name="connsiteX30" fmla="*/ 941811 w 1457148"/>
                <a:gd name="connsiteY30" fmla="*/ 466462 h 3641849"/>
                <a:gd name="connsiteX31" fmla="*/ 925183 w 1457148"/>
                <a:gd name="connsiteY31" fmla="*/ 691417 h 3641849"/>
                <a:gd name="connsiteX32" fmla="*/ 797717 w 1457148"/>
                <a:gd name="connsiteY32" fmla="*/ 771575 h 3641849"/>
                <a:gd name="connsiteX33" fmla="*/ 684105 w 1457148"/>
                <a:gd name="connsiteY33" fmla="*/ 779331 h 3641849"/>
                <a:gd name="connsiteX34" fmla="*/ 545552 w 1457148"/>
                <a:gd name="connsiteY34" fmla="*/ 758645 h 3641849"/>
                <a:gd name="connsiteX35" fmla="*/ 454108 w 1457148"/>
                <a:gd name="connsiteY35" fmla="*/ 722445 h 3641849"/>
                <a:gd name="connsiteX36" fmla="*/ 434711 w 1457148"/>
                <a:gd name="connsiteY36" fmla="*/ 750888 h 3641849"/>
                <a:gd name="connsiteX37" fmla="*/ 465353 w 1457148"/>
                <a:gd name="connsiteY37" fmla="*/ 824301 h 3641849"/>
                <a:gd name="connsiteX38" fmla="*/ 470894 w 1457148"/>
                <a:gd name="connsiteY38" fmla="*/ 951000 h 3641849"/>
                <a:gd name="connsiteX39" fmla="*/ 443024 w 1457148"/>
                <a:gd name="connsiteY39" fmla="*/ 1012043 h 3641849"/>
                <a:gd name="connsiteX40" fmla="*/ 498443 w 1457148"/>
                <a:gd name="connsiteY40" fmla="*/ 1032728 h 3641849"/>
                <a:gd name="connsiteX41" fmla="*/ 515071 w 1457148"/>
                <a:gd name="connsiteY41" fmla="*/ 1048242 h 3641849"/>
                <a:gd name="connsiteX42" fmla="*/ 540011 w 1457148"/>
                <a:gd name="connsiteY42" fmla="*/ 1074099 h 3641849"/>
                <a:gd name="connsiteX43" fmla="*/ 537240 w 1457148"/>
                <a:gd name="connsiteY43" fmla="*/ 1076685 h 3641849"/>
                <a:gd name="connsiteX44" fmla="*/ 576033 w 1457148"/>
                <a:gd name="connsiteY44" fmla="*/ 1071514 h 3641849"/>
                <a:gd name="connsiteX45" fmla="*/ 584347 w 1457148"/>
                <a:gd name="connsiteY45" fmla="*/ 1035314 h 3641849"/>
                <a:gd name="connsiteX46" fmla="*/ 545552 w 1457148"/>
                <a:gd name="connsiteY46" fmla="*/ 957743 h 3641849"/>
                <a:gd name="connsiteX47" fmla="*/ 614828 w 1457148"/>
                <a:gd name="connsiteY47" fmla="*/ 911200 h 3641849"/>
                <a:gd name="connsiteX48" fmla="*/ 682600 w 1457148"/>
                <a:gd name="connsiteY48" fmla="*/ 918934 h 3641849"/>
                <a:gd name="connsiteX49" fmla="*/ 706433 w 1457148"/>
                <a:gd name="connsiteY49" fmla="*/ 951001 h 3641849"/>
                <a:gd name="connsiteX50" fmla="*/ 862162 w 1457148"/>
                <a:gd name="connsiteY50" fmla="*/ 1007364 h 3641849"/>
                <a:gd name="connsiteX51" fmla="*/ 847754 w 1457148"/>
                <a:gd name="connsiteY51" fmla="*/ 971687 h 3641849"/>
                <a:gd name="connsiteX52" fmla="*/ 814502 w 1457148"/>
                <a:gd name="connsiteY52" fmla="*/ 932901 h 3641849"/>
                <a:gd name="connsiteX53" fmla="*/ 803418 w 1457148"/>
                <a:gd name="connsiteY53" fmla="*/ 881187 h 3641849"/>
                <a:gd name="connsiteX54" fmla="*/ 842213 w 1457148"/>
                <a:gd name="connsiteY54" fmla="*/ 832060 h 3641849"/>
                <a:gd name="connsiteX55" fmla="*/ 869923 w 1457148"/>
                <a:gd name="connsiteY55" fmla="*/ 803617 h 3641849"/>
                <a:gd name="connsiteX56" fmla="*/ 894863 w 1457148"/>
                <a:gd name="connsiteY56" fmla="*/ 767417 h 3641849"/>
                <a:gd name="connsiteX57" fmla="*/ 975223 w 1457148"/>
                <a:gd name="connsiteY57" fmla="*/ 762245 h 3641849"/>
                <a:gd name="connsiteX58" fmla="*/ 980764 w 1457148"/>
                <a:gd name="connsiteY58" fmla="*/ 741560 h 3641849"/>
                <a:gd name="connsiteX59" fmla="*/ 1005704 w 1457148"/>
                <a:gd name="connsiteY59" fmla="*/ 705360 h 3641849"/>
                <a:gd name="connsiteX60" fmla="*/ 1039508 w 1457148"/>
                <a:gd name="connsiteY60" fmla="*/ 687772 h 3641849"/>
                <a:gd name="connsiteX61" fmla="*/ 1097148 w 1457148"/>
                <a:gd name="connsiteY61" fmla="*/ 700189 h 3641849"/>
                <a:gd name="connsiteX62" fmla="*/ 1135941 w 1457148"/>
                <a:gd name="connsiteY62" fmla="*/ 720875 h 3641849"/>
                <a:gd name="connsiteX63" fmla="*/ 1183049 w 1457148"/>
                <a:gd name="connsiteY63" fmla="*/ 728632 h 3641849"/>
                <a:gd name="connsiteX64" fmla="*/ 1183049 w 1457148"/>
                <a:gd name="connsiteY64" fmla="*/ 733803 h 3641849"/>
                <a:gd name="connsiteX65" fmla="*/ 1205218 w 1457148"/>
                <a:gd name="connsiteY65" fmla="*/ 674332 h 3641849"/>
                <a:gd name="connsiteX66" fmla="*/ 1215193 w 1457148"/>
                <a:gd name="connsiteY66" fmla="*/ 640714 h 3641849"/>
                <a:gd name="connsiteX67" fmla="*/ 1221844 w 1457148"/>
                <a:gd name="connsiteY67" fmla="*/ 622618 h 3641849"/>
                <a:gd name="connsiteX68" fmla="*/ 1224781 w 1457148"/>
                <a:gd name="connsiteY68" fmla="*/ 591288 h 3641849"/>
                <a:gd name="connsiteX69" fmla="*/ 1144255 w 1457148"/>
                <a:gd name="connsiteY69" fmla="*/ 545048 h 3641849"/>
                <a:gd name="connsiteX70" fmla="*/ 1130400 w 1457148"/>
                <a:gd name="connsiteY70" fmla="*/ 472648 h 3641849"/>
                <a:gd name="connsiteX71" fmla="*/ 1130400 w 1457148"/>
                <a:gd name="connsiteY71" fmla="*/ 454548 h 3641849"/>
                <a:gd name="connsiteX72" fmla="*/ 1141483 w 1457148"/>
                <a:gd name="connsiteY72" fmla="*/ 431276 h 3641849"/>
                <a:gd name="connsiteX73" fmla="*/ 1144255 w 1457148"/>
                <a:gd name="connsiteY73" fmla="*/ 415762 h 3641849"/>
                <a:gd name="connsiteX74" fmla="*/ 1144254 w 1457148"/>
                <a:gd name="connsiteY74" fmla="*/ 358878 h 3641849"/>
                <a:gd name="connsiteX75" fmla="*/ 1122086 w 1457148"/>
                <a:gd name="connsiteY75" fmla="*/ 335607 h 3641849"/>
                <a:gd name="connsiteX76" fmla="*/ 1094376 w 1457148"/>
                <a:gd name="connsiteY76" fmla="*/ 304578 h 3641849"/>
                <a:gd name="connsiteX77" fmla="*/ 1090208 w 1457148"/>
                <a:gd name="connsiteY77" fmla="*/ 280325 h 3641849"/>
                <a:gd name="connsiteX78" fmla="*/ 1141484 w 1457148"/>
                <a:gd name="connsiteY78" fmla="*/ 258034 h 3641849"/>
                <a:gd name="connsiteX79" fmla="*/ 1195064 w 1457148"/>
                <a:gd name="connsiteY79" fmla="*/ 267906 h 3641849"/>
                <a:gd name="connsiteX80" fmla="*/ 1273848 w 1457148"/>
                <a:gd name="connsiteY80" fmla="*/ 279816 h 3641849"/>
                <a:gd name="connsiteX81" fmla="*/ 1358171 w 1457148"/>
                <a:gd name="connsiteY81" fmla="*/ 349175 h 3641849"/>
                <a:gd name="connsiteX82" fmla="*/ 1420306 w 1457148"/>
                <a:gd name="connsiteY82" fmla="*/ 425271 h 3641849"/>
                <a:gd name="connsiteX83" fmla="*/ 1319335 w 1457148"/>
                <a:gd name="connsiteY83" fmla="*/ 454265 h 3641849"/>
                <a:gd name="connsiteX84" fmla="*/ 1303801 w 1457148"/>
                <a:gd name="connsiteY84" fmla="*/ 501372 h 3641849"/>
                <a:gd name="connsiteX85" fmla="*/ 1361471 w 1457148"/>
                <a:gd name="connsiteY85" fmla="*/ 585862 h 3641849"/>
                <a:gd name="connsiteX86" fmla="*/ 1397005 w 1457148"/>
                <a:gd name="connsiteY86" fmla="*/ 591964 h 3641849"/>
                <a:gd name="connsiteX87" fmla="*/ 1449625 w 1457148"/>
                <a:gd name="connsiteY87" fmla="*/ 598304 h 3641849"/>
                <a:gd name="connsiteX88" fmla="*/ 1444662 w 1457148"/>
                <a:gd name="connsiteY88" fmla="*/ 709079 h 3641849"/>
                <a:gd name="connsiteX89" fmla="*/ 1455731 w 1457148"/>
                <a:gd name="connsiteY89" fmla="*/ 1040047 h 3641849"/>
                <a:gd name="connsiteX90" fmla="*/ 1446863 w 1457148"/>
                <a:gd name="connsiteY90" fmla="*/ 1842646 h 3641849"/>
                <a:gd name="connsiteX91" fmla="*/ 1455730 w 1457148"/>
                <a:gd name="connsiteY91" fmla="*/ 2297728 h 3641849"/>
                <a:gd name="connsiteX92" fmla="*/ 1429282 w 1457148"/>
                <a:gd name="connsiteY92" fmla="*/ 3607693 h 3641849"/>
                <a:gd name="connsiteX93" fmla="*/ 1170855 w 1457148"/>
                <a:gd name="connsiteY93" fmla="*/ 3564098 h 3641849"/>
                <a:gd name="connsiteX94" fmla="*/ 1002377 w 1457148"/>
                <a:gd name="connsiteY94" fmla="*/ 3497903 h 3641849"/>
                <a:gd name="connsiteX95" fmla="*/ 825031 w 1457148"/>
                <a:gd name="connsiteY95" fmla="*/ 3406887 h 3641849"/>
                <a:gd name="connsiteX96" fmla="*/ 726733 w 1457148"/>
                <a:gd name="connsiteY96" fmla="*/ 3326370 h 3641849"/>
                <a:gd name="connsiteX97" fmla="*/ 1020995 w 1457148"/>
                <a:gd name="connsiteY97" fmla="*/ 3018734 h 3641849"/>
                <a:gd name="connsiteX98" fmla="*/ 737241 w 1457148"/>
                <a:gd name="connsiteY98" fmla="*/ 2480910 h 3641849"/>
                <a:gd name="connsiteX99" fmla="*/ 879591 w 1457148"/>
                <a:gd name="connsiteY99" fmla="*/ 2241825 h 3641849"/>
                <a:gd name="connsiteX100" fmla="*/ 692904 w 1457148"/>
                <a:gd name="connsiteY100" fmla="*/ 1703134 h 3641849"/>
                <a:gd name="connsiteX101" fmla="*/ 444620 w 1457148"/>
                <a:gd name="connsiteY101" fmla="*/ 1471456 h 3641849"/>
                <a:gd name="connsiteX102" fmla="*/ 435753 w 1457148"/>
                <a:gd name="connsiteY102" fmla="*/ 1355617 h 3641849"/>
                <a:gd name="connsiteX0" fmla="*/ 435753 w 1457148"/>
                <a:gd name="connsiteY0" fmla="*/ 1355617 h 3641849"/>
                <a:gd name="connsiteX1" fmla="*/ 96648 w 1457148"/>
                <a:gd name="connsiteY1" fmla="*/ 794845 h 3641849"/>
                <a:gd name="connsiteX2" fmla="*/ 135443 w 1457148"/>
                <a:gd name="connsiteY2" fmla="*/ 779332 h 3641849"/>
                <a:gd name="connsiteX3" fmla="*/ 21830 w 1457148"/>
                <a:gd name="connsiteY3" fmla="*/ 551792 h 3641849"/>
                <a:gd name="connsiteX4" fmla="*/ 80021 w 1457148"/>
                <a:gd name="connsiteY4" fmla="*/ 458707 h 3641849"/>
                <a:gd name="connsiteX5" fmla="*/ 85563 w 1457148"/>
                <a:gd name="connsiteY5" fmla="*/ 378550 h 3641849"/>
                <a:gd name="connsiteX6" fmla="*/ 10744 w 1457148"/>
                <a:gd name="connsiteY6" fmla="*/ 319079 h 3641849"/>
                <a:gd name="connsiteX7" fmla="*/ 2432 w 1457148"/>
                <a:gd name="connsiteY7" fmla="*/ 251851 h 3641849"/>
                <a:gd name="connsiteX8" fmla="*/ 57852 w 1457148"/>
                <a:gd name="connsiteY8" fmla="*/ 158764 h 3641849"/>
                <a:gd name="connsiteX9" fmla="*/ 77250 w 1457148"/>
                <a:gd name="connsiteY9" fmla="*/ 135494 h 3641849"/>
                <a:gd name="connsiteX10" fmla="*/ 91105 w 1457148"/>
                <a:gd name="connsiteY10" fmla="*/ 117394 h 3641849"/>
                <a:gd name="connsiteX11" fmla="*/ 99418 w 1457148"/>
                <a:gd name="connsiteY11" fmla="*/ 73438 h 3641849"/>
                <a:gd name="connsiteX12" fmla="*/ 124357 w 1457148"/>
                <a:gd name="connsiteY12" fmla="*/ 101880 h 3641849"/>
                <a:gd name="connsiteX13" fmla="*/ 154839 w 1457148"/>
                <a:gd name="connsiteY13" fmla="*/ 88952 h 3641849"/>
                <a:gd name="connsiteX14" fmla="*/ 157609 w 1457148"/>
                <a:gd name="connsiteY14" fmla="*/ 63095 h 3641849"/>
                <a:gd name="connsiteX15" fmla="*/ 165923 w 1457148"/>
                <a:gd name="connsiteY15" fmla="*/ 34652 h 3641849"/>
                <a:gd name="connsiteX16" fmla="*/ 168695 w 1457148"/>
                <a:gd name="connsiteY16" fmla="*/ 3624 h 3641849"/>
                <a:gd name="connsiteX17" fmla="*/ 304475 w 1457148"/>
                <a:gd name="connsiteY17" fmla="*/ 57924 h 3641849"/>
                <a:gd name="connsiteX18" fmla="*/ 334955 w 1457148"/>
                <a:gd name="connsiteY18" fmla="*/ 161352 h 3641849"/>
                <a:gd name="connsiteX19" fmla="*/ 348811 w 1457148"/>
                <a:gd name="connsiteY19" fmla="*/ 184622 h 3641849"/>
                <a:gd name="connsiteX20" fmla="*/ 359895 w 1457148"/>
                <a:gd name="connsiteY20" fmla="*/ 187208 h 3641849"/>
                <a:gd name="connsiteX21" fmla="*/ 473507 w 1457148"/>
                <a:gd name="connsiteY21" fmla="*/ 156181 h 3641849"/>
                <a:gd name="connsiteX22" fmla="*/ 540012 w 1457148"/>
                <a:gd name="connsiteY22" fmla="*/ 166522 h 3641849"/>
                <a:gd name="connsiteX23" fmla="*/ 603746 w 1457148"/>
                <a:gd name="connsiteY23" fmla="*/ 213065 h 3641849"/>
                <a:gd name="connsiteX24" fmla="*/ 617773 w 1457148"/>
                <a:gd name="connsiteY24" fmla="*/ 242621 h 3641849"/>
                <a:gd name="connsiteX25" fmla="*/ 673020 w 1457148"/>
                <a:gd name="connsiteY25" fmla="*/ 277708 h 3641849"/>
                <a:gd name="connsiteX26" fmla="*/ 761694 w 1457148"/>
                <a:gd name="connsiteY26" fmla="*/ 303563 h 3641849"/>
                <a:gd name="connsiteX27" fmla="*/ 833740 w 1457148"/>
                <a:gd name="connsiteY27" fmla="*/ 350106 h 3641849"/>
                <a:gd name="connsiteX28" fmla="*/ 883619 w 1457148"/>
                <a:gd name="connsiteY28" fmla="*/ 401820 h 3641849"/>
                <a:gd name="connsiteX29" fmla="*/ 908558 w 1457148"/>
                <a:gd name="connsiteY29" fmla="*/ 440606 h 3641849"/>
                <a:gd name="connsiteX30" fmla="*/ 941811 w 1457148"/>
                <a:gd name="connsiteY30" fmla="*/ 466462 h 3641849"/>
                <a:gd name="connsiteX31" fmla="*/ 925183 w 1457148"/>
                <a:gd name="connsiteY31" fmla="*/ 691417 h 3641849"/>
                <a:gd name="connsiteX32" fmla="*/ 797717 w 1457148"/>
                <a:gd name="connsiteY32" fmla="*/ 771575 h 3641849"/>
                <a:gd name="connsiteX33" fmla="*/ 684105 w 1457148"/>
                <a:gd name="connsiteY33" fmla="*/ 779331 h 3641849"/>
                <a:gd name="connsiteX34" fmla="*/ 545552 w 1457148"/>
                <a:gd name="connsiteY34" fmla="*/ 758645 h 3641849"/>
                <a:gd name="connsiteX35" fmla="*/ 454108 w 1457148"/>
                <a:gd name="connsiteY35" fmla="*/ 722445 h 3641849"/>
                <a:gd name="connsiteX36" fmla="*/ 434711 w 1457148"/>
                <a:gd name="connsiteY36" fmla="*/ 750888 h 3641849"/>
                <a:gd name="connsiteX37" fmla="*/ 465353 w 1457148"/>
                <a:gd name="connsiteY37" fmla="*/ 824301 h 3641849"/>
                <a:gd name="connsiteX38" fmla="*/ 470894 w 1457148"/>
                <a:gd name="connsiteY38" fmla="*/ 951000 h 3641849"/>
                <a:gd name="connsiteX39" fmla="*/ 443024 w 1457148"/>
                <a:gd name="connsiteY39" fmla="*/ 1012043 h 3641849"/>
                <a:gd name="connsiteX40" fmla="*/ 498443 w 1457148"/>
                <a:gd name="connsiteY40" fmla="*/ 1032728 h 3641849"/>
                <a:gd name="connsiteX41" fmla="*/ 515071 w 1457148"/>
                <a:gd name="connsiteY41" fmla="*/ 1048242 h 3641849"/>
                <a:gd name="connsiteX42" fmla="*/ 540011 w 1457148"/>
                <a:gd name="connsiteY42" fmla="*/ 1074099 h 3641849"/>
                <a:gd name="connsiteX43" fmla="*/ 537240 w 1457148"/>
                <a:gd name="connsiteY43" fmla="*/ 1076685 h 3641849"/>
                <a:gd name="connsiteX44" fmla="*/ 576033 w 1457148"/>
                <a:gd name="connsiteY44" fmla="*/ 1071514 h 3641849"/>
                <a:gd name="connsiteX45" fmla="*/ 584347 w 1457148"/>
                <a:gd name="connsiteY45" fmla="*/ 1035314 h 3641849"/>
                <a:gd name="connsiteX46" fmla="*/ 545552 w 1457148"/>
                <a:gd name="connsiteY46" fmla="*/ 957743 h 3641849"/>
                <a:gd name="connsiteX47" fmla="*/ 614828 w 1457148"/>
                <a:gd name="connsiteY47" fmla="*/ 911200 h 3641849"/>
                <a:gd name="connsiteX48" fmla="*/ 682600 w 1457148"/>
                <a:gd name="connsiteY48" fmla="*/ 918934 h 3641849"/>
                <a:gd name="connsiteX49" fmla="*/ 706433 w 1457148"/>
                <a:gd name="connsiteY49" fmla="*/ 951001 h 3641849"/>
                <a:gd name="connsiteX50" fmla="*/ 862162 w 1457148"/>
                <a:gd name="connsiteY50" fmla="*/ 1007364 h 3641849"/>
                <a:gd name="connsiteX51" fmla="*/ 847754 w 1457148"/>
                <a:gd name="connsiteY51" fmla="*/ 971687 h 3641849"/>
                <a:gd name="connsiteX52" fmla="*/ 814502 w 1457148"/>
                <a:gd name="connsiteY52" fmla="*/ 932901 h 3641849"/>
                <a:gd name="connsiteX53" fmla="*/ 803418 w 1457148"/>
                <a:gd name="connsiteY53" fmla="*/ 881187 h 3641849"/>
                <a:gd name="connsiteX54" fmla="*/ 842213 w 1457148"/>
                <a:gd name="connsiteY54" fmla="*/ 832060 h 3641849"/>
                <a:gd name="connsiteX55" fmla="*/ 869923 w 1457148"/>
                <a:gd name="connsiteY55" fmla="*/ 803617 h 3641849"/>
                <a:gd name="connsiteX56" fmla="*/ 894863 w 1457148"/>
                <a:gd name="connsiteY56" fmla="*/ 767417 h 3641849"/>
                <a:gd name="connsiteX57" fmla="*/ 975223 w 1457148"/>
                <a:gd name="connsiteY57" fmla="*/ 762245 h 3641849"/>
                <a:gd name="connsiteX58" fmla="*/ 980764 w 1457148"/>
                <a:gd name="connsiteY58" fmla="*/ 741560 h 3641849"/>
                <a:gd name="connsiteX59" fmla="*/ 1005704 w 1457148"/>
                <a:gd name="connsiteY59" fmla="*/ 705360 h 3641849"/>
                <a:gd name="connsiteX60" fmla="*/ 1039508 w 1457148"/>
                <a:gd name="connsiteY60" fmla="*/ 687772 h 3641849"/>
                <a:gd name="connsiteX61" fmla="*/ 1097148 w 1457148"/>
                <a:gd name="connsiteY61" fmla="*/ 700189 h 3641849"/>
                <a:gd name="connsiteX62" fmla="*/ 1135941 w 1457148"/>
                <a:gd name="connsiteY62" fmla="*/ 720875 h 3641849"/>
                <a:gd name="connsiteX63" fmla="*/ 1183049 w 1457148"/>
                <a:gd name="connsiteY63" fmla="*/ 728632 h 3641849"/>
                <a:gd name="connsiteX64" fmla="*/ 1183049 w 1457148"/>
                <a:gd name="connsiteY64" fmla="*/ 733803 h 3641849"/>
                <a:gd name="connsiteX65" fmla="*/ 1205218 w 1457148"/>
                <a:gd name="connsiteY65" fmla="*/ 674332 h 3641849"/>
                <a:gd name="connsiteX66" fmla="*/ 1215193 w 1457148"/>
                <a:gd name="connsiteY66" fmla="*/ 640714 h 3641849"/>
                <a:gd name="connsiteX67" fmla="*/ 1221844 w 1457148"/>
                <a:gd name="connsiteY67" fmla="*/ 622618 h 3641849"/>
                <a:gd name="connsiteX68" fmla="*/ 1224781 w 1457148"/>
                <a:gd name="connsiteY68" fmla="*/ 591288 h 3641849"/>
                <a:gd name="connsiteX69" fmla="*/ 1144255 w 1457148"/>
                <a:gd name="connsiteY69" fmla="*/ 545048 h 3641849"/>
                <a:gd name="connsiteX70" fmla="*/ 1130400 w 1457148"/>
                <a:gd name="connsiteY70" fmla="*/ 472648 h 3641849"/>
                <a:gd name="connsiteX71" fmla="*/ 1130400 w 1457148"/>
                <a:gd name="connsiteY71" fmla="*/ 454548 h 3641849"/>
                <a:gd name="connsiteX72" fmla="*/ 1141483 w 1457148"/>
                <a:gd name="connsiteY72" fmla="*/ 431276 h 3641849"/>
                <a:gd name="connsiteX73" fmla="*/ 1144255 w 1457148"/>
                <a:gd name="connsiteY73" fmla="*/ 415762 h 3641849"/>
                <a:gd name="connsiteX74" fmla="*/ 1144254 w 1457148"/>
                <a:gd name="connsiteY74" fmla="*/ 358878 h 3641849"/>
                <a:gd name="connsiteX75" fmla="*/ 1122086 w 1457148"/>
                <a:gd name="connsiteY75" fmla="*/ 335607 h 3641849"/>
                <a:gd name="connsiteX76" fmla="*/ 1094376 w 1457148"/>
                <a:gd name="connsiteY76" fmla="*/ 304578 h 3641849"/>
                <a:gd name="connsiteX77" fmla="*/ 1090208 w 1457148"/>
                <a:gd name="connsiteY77" fmla="*/ 280325 h 3641849"/>
                <a:gd name="connsiteX78" fmla="*/ 1141484 w 1457148"/>
                <a:gd name="connsiteY78" fmla="*/ 258034 h 3641849"/>
                <a:gd name="connsiteX79" fmla="*/ 1195064 w 1457148"/>
                <a:gd name="connsiteY79" fmla="*/ 267906 h 3641849"/>
                <a:gd name="connsiteX80" fmla="*/ 1273848 w 1457148"/>
                <a:gd name="connsiteY80" fmla="*/ 279816 h 3641849"/>
                <a:gd name="connsiteX81" fmla="*/ 1358171 w 1457148"/>
                <a:gd name="connsiteY81" fmla="*/ 349175 h 3641849"/>
                <a:gd name="connsiteX82" fmla="*/ 1420306 w 1457148"/>
                <a:gd name="connsiteY82" fmla="*/ 425271 h 3641849"/>
                <a:gd name="connsiteX83" fmla="*/ 1319335 w 1457148"/>
                <a:gd name="connsiteY83" fmla="*/ 454265 h 3641849"/>
                <a:gd name="connsiteX84" fmla="*/ 1303801 w 1457148"/>
                <a:gd name="connsiteY84" fmla="*/ 501372 h 3641849"/>
                <a:gd name="connsiteX85" fmla="*/ 1361471 w 1457148"/>
                <a:gd name="connsiteY85" fmla="*/ 585862 h 3641849"/>
                <a:gd name="connsiteX86" fmla="*/ 1397005 w 1457148"/>
                <a:gd name="connsiteY86" fmla="*/ 591964 h 3641849"/>
                <a:gd name="connsiteX87" fmla="*/ 1449625 w 1457148"/>
                <a:gd name="connsiteY87" fmla="*/ 598304 h 3641849"/>
                <a:gd name="connsiteX88" fmla="*/ 1444662 w 1457148"/>
                <a:gd name="connsiteY88" fmla="*/ 709079 h 3641849"/>
                <a:gd name="connsiteX89" fmla="*/ 1455731 w 1457148"/>
                <a:gd name="connsiteY89" fmla="*/ 1040047 h 3641849"/>
                <a:gd name="connsiteX90" fmla="*/ 1446863 w 1457148"/>
                <a:gd name="connsiteY90" fmla="*/ 1842646 h 3641849"/>
                <a:gd name="connsiteX91" fmla="*/ 1455730 w 1457148"/>
                <a:gd name="connsiteY91" fmla="*/ 2297728 h 3641849"/>
                <a:gd name="connsiteX92" fmla="*/ 1429282 w 1457148"/>
                <a:gd name="connsiteY92" fmla="*/ 3607693 h 3641849"/>
                <a:gd name="connsiteX93" fmla="*/ 1170855 w 1457148"/>
                <a:gd name="connsiteY93" fmla="*/ 3564098 h 3641849"/>
                <a:gd name="connsiteX94" fmla="*/ 1002377 w 1457148"/>
                <a:gd name="connsiteY94" fmla="*/ 3497903 h 3641849"/>
                <a:gd name="connsiteX95" fmla="*/ 825031 w 1457148"/>
                <a:gd name="connsiteY95" fmla="*/ 3406887 h 3641849"/>
                <a:gd name="connsiteX96" fmla="*/ 726733 w 1457148"/>
                <a:gd name="connsiteY96" fmla="*/ 3326370 h 3641849"/>
                <a:gd name="connsiteX97" fmla="*/ 1020995 w 1457148"/>
                <a:gd name="connsiteY97" fmla="*/ 3018734 h 3641849"/>
                <a:gd name="connsiteX98" fmla="*/ 737241 w 1457148"/>
                <a:gd name="connsiteY98" fmla="*/ 2480910 h 3641849"/>
                <a:gd name="connsiteX99" fmla="*/ 879591 w 1457148"/>
                <a:gd name="connsiteY99" fmla="*/ 2241825 h 3641849"/>
                <a:gd name="connsiteX100" fmla="*/ 692904 w 1457148"/>
                <a:gd name="connsiteY100" fmla="*/ 1703134 h 3641849"/>
                <a:gd name="connsiteX101" fmla="*/ 444620 w 1457148"/>
                <a:gd name="connsiteY101" fmla="*/ 1471456 h 3641849"/>
                <a:gd name="connsiteX102" fmla="*/ 435753 w 1457148"/>
                <a:gd name="connsiteY102" fmla="*/ 1355617 h 3641849"/>
                <a:gd name="connsiteX0" fmla="*/ 435753 w 1457148"/>
                <a:gd name="connsiteY0" fmla="*/ 1355617 h 3641849"/>
                <a:gd name="connsiteX1" fmla="*/ 96648 w 1457148"/>
                <a:gd name="connsiteY1" fmla="*/ 794845 h 3641849"/>
                <a:gd name="connsiteX2" fmla="*/ 135443 w 1457148"/>
                <a:gd name="connsiteY2" fmla="*/ 779332 h 3641849"/>
                <a:gd name="connsiteX3" fmla="*/ 21830 w 1457148"/>
                <a:gd name="connsiteY3" fmla="*/ 551792 h 3641849"/>
                <a:gd name="connsiteX4" fmla="*/ 80021 w 1457148"/>
                <a:gd name="connsiteY4" fmla="*/ 458707 h 3641849"/>
                <a:gd name="connsiteX5" fmla="*/ 85563 w 1457148"/>
                <a:gd name="connsiteY5" fmla="*/ 378550 h 3641849"/>
                <a:gd name="connsiteX6" fmla="*/ 10744 w 1457148"/>
                <a:gd name="connsiteY6" fmla="*/ 319079 h 3641849"/>
                <a:gd name="connsiteX7" fmla="*/ 2432 w 1457148"/>
                <a:gd name="connsiteY7" fmla="*/ 251851 h 3641849"/>
                <a:gd name="connsiteX8" fmla="*/ 57852 w 1457148"/>
                <a:gd name="connsiteY8" fmla="*/ 158764 h 3641849"/>
                <a:gd name="connsiteX9" fmla="*/ 77250 w 1457148"/>
                <a:gd name="connsiteY9" fmla="*/ 135494 h 3641849"/>
                <a:gd name="connsiteX10" fmla="*/ 91105 w 1457148"/>
                <a:gd name="connsiteY10" fmla="*/ 117394 h 3641849"/>
                <a:gd name="connsiteX11" fmla="*/ 99418 w 1457148"/>
                <a:gd name="connsiteY11" fmla="*/ 73438 h 3641849"/>
                <a:gd name="connsiteX12" fmla="*/ 124357 w 1457148"/>
                <a:gd name="connsiteY12" fmla="*/ 101880 h 3641849"/>
                <a:gd name="connsiteX13" fmla="*/ 154839 w 1457148"/>
                <a:gd name="connsiteY13" fmla="*/ 88952 h 3641849"/>
                <a:gd name="connsiteX14" fmla="*/ 157609 w 1457148"/>
                <a:gd name="connsiteY14" fmla="*/ 63095 h 3641849"/>
                <a:gd name="connsiteX15" fmla="*/ 165923 w 1457148"/>
                <a:gd name="connsiteY15" fmla="*/ 34652 h 3641849"/>
                <a:gd name="connsiteX16" fmla="*/ 168695 w 1457148"/>
                <a:gd name="connsiteY16" fmla="*/ 3624 h 3641849"/>
                <a:gd name="connsiteX17" fmla="*/ 304475 w 1457148"/>
                <a:gd name="connsiteY17" fmla="*/ 57924 h 3641849"/>
                <a:gd name="connsiteX18" fmla="*/ 334955 w 1457148"/>
                <a:gd name="connsiteY18" fmla="*/ 161352 h 3641849"/>
                <a:gd name="connsiteX19" fmla="*/ 348811 w 1457148"/>
                <a:gd name="connsiteY19" fmla="*/ 184622 h 3641849"/>
                <a:gd name="connsiteX20" fmla="*/ 359895 w 1457148"/>
                <a:gd name="connsiteY20" fmla="*/ 187208 h 3641849"/>
                <a:gd name="connsiteX21" fmla="*/ 473507 w 1457148"/>
                <a:gd name="connsiteY21" fmla="*/ 156181 h 3641849"/>
                <a:gd name="connsiteX22" fmla="*/ 540012 w 1457148"/>
                <a:gd name="connsiteY22" fmla="*/ 166522 h 3641849"/>
                <a:gd name="connsiteX23" fmla="*/ 603746 w 1457148"/>
                <a:gd name="connsiteY23" fmla="*/ 213065 h 3641849"/>
                <a:gd name="connsiteX24" fmla="*/ 617773 w 1457148"/>
                <a:gd name="connsiteY24" fmla="*/ 242621 h 3641849"/>
                <a:gd name="connsiteX25" fmla="*/ 673020 w 1457148"/>
                <a:gd name="connsiteY25" fmla="*/ 277708 h 3641849"/>
                <a:gd name="connsiteX26" fmla="*/ 761694 w 1457148"/>
                <a:gd name="connsiteY26" fmla="*/ 303563 h 3641849"/>
                <a:gd name="connsiteX27" fmla="*/ 833740 w 1457148"/>
                <a:gd name="connsiteY27" fmla="*/ 350106 h 3641849"/>
                <a:gd name="connsiteX28" fmla="*/ 883619 w 1457148"/>
                <a:gd name="connsiteY28" fmla="*/ 401820 h 3641849"/>
                <a:gd name="connsiteX29" fmla="*/ 908558 w 1457148"/>
                <a:gd name="connsiteY29" fmla="*/ 440606 h 3641849"/>
                <a:gd name="connsiteX30" fmla="*/ 941811 w 1457148"/>
                <a:gd name="connsiteY30" fmla="*/ 466462 h 3641849"/>
                <a:gd name="connsiteX31" fmla="*/ 925183 w 1457148"/>
                <a:gd name="connsiteY31" fmla="*/ 691417 h 3641849"/>
                <a:gd name="connsiteX32" fmla="*/ 797717 w 1457148"/>
                <a:gd name="connsiteY32" fmla="*/ 771575 h 3641849"/>
                <a:gd name="connsiteX33" fmla="*/ 684105 w 1457148"/>
                <a:gd name="connsiteY33" fmla="*/ 779331 h 3641849"/>
                <a:gd name="connsiteX34" fmla="*/ 545552 w 1457148"/>
                <a:gd name="connsiteY34" fmla="*/ 758645 h 3641849"/>
                <a:gd name="connsiteX35" fmla="*/ 454108 w 1457148"/>
                <a:gd name="connsiteY35" fmla="*/ 722445 h 3641849"/>
                <a:gd name="connsiteX36" fmla="*/ 434711 w 1457148"/>
                <a:gd name="connsiteY36" fmla="*/ 750888 h 3641849"/>
                <a:gd name="connsiteX37" fmla="*/ 465353 w 1457148"/>
                <a:gd name="connsiteY37" fmla="*/ 824301 h 3641849"/>
                <a:gd name="connsiteX38" fmla="*/ 470894 w 1457148"/>
                <a:gd name="connsiteY38" fmla="*/ 951000 h 3641849"/>
                <a:gd name="connsiteX39" fmla="*/ 443024 w 1457148"/>
                <a:gd name="connsiteY39" fmla="*/ 1012043 h 3641849"/>
                <a:gd name="connsiteX40" fmla="*/ 498443 w 1457148"/>
                <a:gd name="connsiteY40" fmla="*/ 1032728 h 3641849"/>
                <a:gd name="connsiteX41" fmla="*/ 515071 w 1457148"/>
                <a:gd name="connsiteY41" fmla="*/ 1048242 h 3641849"/>
                <a:gd name="connsiteX42" fmla="*/ 540011 w 1457148"/>
                <a:gd name="connsiteY42" fmla="*/ 1074099 h 3641849"/>
                <a:gd name="connsiteX43" fmla="*/ 537240 w 1457148"/>
                <a:gd name="connsiteY43" fmla="*/ 1076685 h 3641849"/>
                <a:gd name="connsiteX44" fmla="*/ 576033 w 1457148"/>
                <a:gd name="connsiteY44" fmla="*/ 1071514 h 3641849"/>
                <a:gd name="connsiteX45" fmla="*/ 584347 w 1457148"/>
                <a:gd name="connsiteY45" fmla="*/ 1035314 h 3641849"/>
                <a:gd name="connsiteX46" fmla="*/ 545552 w 1457148"/>
                <a:gd name="connsiteY46" fmla="*/ 957743 h 3641849"/>
                <a:gd name="connsiteX47" fmla="*/ 614828 w 1457148"/>
                <a:gd name="connsiteY47" fmla="*/ 911200 h 3641849"/>
                <a:gd name="connsiteX48" fmla="*/ 682600 w 1457148"/>
                <a:gd name="connsiteY48" fmla="*/ 918934 h 3641849"/>
                <a:gd name="connsiteX49" fmla="*/ 706433 w 1457148"/>
                <a:gd name="connsiteY49" fmla="*/ 951001 h 3641849"/>
                <a:gd name="connsiteX50" fmla="*/ 862162 w 1457148"/>
                <a:gd name="connsiteY50" fmla="*/ 1007364 h 3641849"/>
                <a:gd name="connsiteX51" fmla="*/ 847754 w 1457148"/>
                <a:gd name="connsiteY51" fmla="*/ 971687 h 3641849"/>
                <a:gd name="connsiteX52" fmla="*/ 814502 w 1457148"/>
                <a:gd name="connsiteY52" fmla="*/ 932901 h 3641849"/>
                <a:gd name="connsiteX53" fmla="*/ 803418 w 1457148"/>
                <a:gd name="connsiteY53" fmla="*/ 881187 h 3641849"/>
                <a:gd name="connsiteX54" fmla="*/ 842213 w 1457148"/>
                <a:gd name="connsiteY54" fmla="*/ 832060 h 3641849"/>
                <a:gd name="connsiteX55" fmla="*/ 869923 w 1457148"/>
                <a:gd name="connsiteY55" fmla="*/ 803617 h 3641849"/>
                <a:gd name="connsiteX56" fmla="*/ 894863 w 1457148"/>
                <a:gd name="connsiteY56" fmla="*/ 767417 h 3641849"/>
                <a:gd name="connsiteX57" fmla="*/ 975223 w 1457148"/>
                <a:gd name="connsiteY57" fmla="*/ 762245 h 3641849"/>
                <a:gd name="connsiteX58" fmla="*/ 980764 w 1457148"/>
                <a:gd name="connsiteY58" fmla="*/ 741560 h 3641849"/>
                <a:gd name="connsiteX59" fmla="*/ 1005704 w 1457148"/>
                <a:gd name="connsiteY59" fmla="*/ 705360 h 3641849"/>
                <a:gd name="connsiteX60" fmla="*/ 1039508 w 1457148"/>
                <a:gd name="connsiteY60" fmla="*/ 687772 h 3641849"/>
                <a:gd name="connsiteX61" fmla="*/ 1097148 w 1457148"/>
                <a:gd name="connsiteY61" fmla="*/ 700189 h 3641849"/>
                <a:gd name="connsiteX62" fmla="*/ 1135941 w 1457148"/>
                <a:gd name="connsiteY62" fmla="*/ 720875 h 3641849"/>
                <a:gd name="connsiteX63" fmla="*/ 1183049 w 1457148"/>
                <a:gd name="connsiteY63" fmla="*/ 728632 h 3641849"/>
                <a:gd name="connsiteX64" fmla="*/ 1183049 w 1457148"/>
                <a:gd name="connsiteY64" fmla="*/ 733803 h 3641849"/>
                <a:gd name="connsiteX65" fmla="*/ 1205218 w 1457148"/>
                <a:gd name="connsiteY65" fmla="*/ 674332 h 3641849"/>
                <a:gd name="connsiteX66" fmla="*/ 1215193 w 1457148"/>
                <a:gd name="connsiteY66" fmla="*/ 640714 h 3641849"/>
                <a:gd name="connsiteX67" fmla="*/ 1221844 w 1457148"/>
                <a:gd name="connsiteY67" fmla="*/ 622618 h 3641849"/>
                <a:gd name="connsiteX68" fmla="*/ 1224781 w 1457148"/>
                <a:gd name="connsiteY68" fmla="*/ 591288 h 3641849"/>
                <a:gd name="connsiteX69" fmla="*/ 1144255 w 1457148"/>
                <a:gd name="connsiteY69" fmla="*/ 545048 h 3641849"/>
                <a:gd name="connsiteX70" fmla="*/ 1130400 w 1457148"/>
                <a:gd name="connsiteY70" fmla="*/ 472648 h 3641849"/>
                <a:gd name="connsiteX71" fmla="*/ 1130400 w 1457148"/>
                <a:gd name="connsiteY71" fmla="*/ 454548 h 3641849"/>
                <a:gd name="connsiteX72" fmla="*/ 1141483 w 1457148"/>
                <a:gd name="connsiteY72" fmla="*/ 431276 h 3641849"/>
                <a:gd name="connsiteX73" fmla="*/ 1144255 w 1457148"/>
                <a:gd name="connsiteY73" fmla="*/ 415762 h 3641849"/>
                <a:gd name="connsiteX74" fmla="*/ 1144254 w 1457148"/>
                <a:gd name="connsiteY74" fmla="*/ 358878 h 3641849"/>
                <a:gd name="connsiteX75" fmla="*/ 1122086 w 1457148"/>
                <a:gd name="connsiteY75" fmla="*/ 335607 h 3641849"/>
                <a:gd name="connsiteX76" fmla="*/ 1094376 w 1457148"/>
                <a:gd name="connsiteY76" fmla="*/ 304578 h 3641849"/>
                <a:gd name="connsiteX77" fmla="*/ 1090208 w 1457148"/>
                <a:gd name="connsiteY77" fmla="*/ 280325 h 3641849"/>
                <a:gd name="connsiteX78" fmla="*/ 1141484 w 1457148"/>
                <a:gd name="connsiteY78" fmla="*/ 258034 h 3641849"/>
                <a:gd name="connsiteX79" fmla="*/ 1195064 w 1457148"/>
                <a:gd name="connsiteY79" fmla="*/ 267906 h 3641849"/>
                <a:gd name="connsiteX80" fmla="*/ 1273848 w 1457148"/>
                <a:gd name="connsiteY80" fmla="*/ 279816 h 3641849"/>
                <a:gd name="connsiteX81" fmla="*/ 1358171 w 1457148"/>
                <a:gd name="connsiteY81" fmla="*/ 349175 h 3641849"/>
                <a:gd name="connsiteX82" fmla="*/ 1420306 w 1457148"/>
                <a:gd name="connsiteY82" fmla="*/ 425271 h 3641849"/>
                <a:gd name="connsiteX83" fmla="*/ 1319335 w 1457148"/>
                <a:gd name="connsiteY83" fmla="*/ 454265 h 3641849"/>
                <a:gd name="connsiteX84" fmla="*/ 1303801 w 1457148"/>
                <a:gd name="connsiteY84" fmla="*/ 501372 h 3641849"/>
                <a:gd name="connsiteX85" fmla="*/ 1361471 w 1457148"/>
                <a:gd name="connsiteY85" fmla="*/ 585862 h 3641849"/>
                <a:gd name="connsiteX86" fmla="*/ 1397005 w 1457148"/>
                <a:gd name="connsiteY86" fmla="*/ 591964 h 3641849"/>
                <a:gd name="connsiteX87" fmla="*/ 1449625 w 1457148"/>
                <a:gd name="connsiteY87" fmla="*/ 598304 h 3641849"/>
                <a:gd name="connsiteX88" fmla="*/ 1444662 w 1457148"/>
                <a:gd name="connsiteY88" fmla="*/ 709079 h 3641849"/>
                <a:gd name="connsiteX89" fmla="*/ 1455731 w 1457148"/>
                <a:gd name="connsiteY89" fmla="*/ 1040047 h 3641849"/>
                <a:gd name="connsiteX90" fmla="*/ 1446863 w 1457148"/>
                <a:gd name="connsiteY90" fmla="*/ 1842646 h 3641849"/>
                <a:gd name="connsiteX91" fmla="*/ 1455730 w 1457148"/>
                <a:gd name="connsiteY91" fmla="*/ 2297728 h 3641849"/>
                <a:gd name="connsiteX92" fmla="*/ 1429282 w 1457148"/>
                <a:gd name="connsiteY92" fmla="*/ 3607693 h 3641849"/>
                <a:gd name="connsiteX93" fmla="*/ 1170855 w 1457148"/>
                <a:gd name="connsiteY93" fmla="*/ 3564098 h 3641849"/>
                <a:gd name="connsiteX94" fmla="*/ 1002377 w 1457148"/>
                <a:gd name="connsiteY94" fmla="*/ 3497903 h 3641849"/>
                <a:gd name="connsiteX95" fmla="*/ 825031 w 1457148"/>
                <a:gd name="connsiteY95" fmla="*/ 3406887 h 3641849"/>
                <a:gd name="connsiteX96" fmla="*/ 726733 w 1457148"/>
                <a:gd name="connsiteY96" fmla="*/ 3326370 h 3641849"/>
                <a:gd name="connsiteX97" fmla="*/ 1020995 w 1457148"/>
                <a:gd name="connsiteY97" fmla="*/ 3018734 h 3641849"/>
                <a:gd name="connsiteX98" fmla="*/ 737241 w 1457148"/>
                <a:gd name="connsiteY98" fmla="*/ 2480910 h 3641849"/>
                <a:gd name="connsiteX99" fmla="*/ 879591 w 1457148"/>
                <a:gd name="connsiteY99" fmla="*/ 2241825 h 3641849"/>
                <a:gd name="connsiteX100" fmla="*/ 692904 w 1457148"/>
                <a:gd name="connsiteY100" fmla="*/ 1703134 h 3641849"/>
                <a:gd name="connsiteX101" fmla="*/ 444620 w 1457148"/>
                <a:gd name="connsiteY101" fmla="*/ 1471456 h 3641849"/>
                <a:gd name="connsiteX102" fmla="*/ 435753 w 1457148"/>
                <a:gd name="connsiteY102" fmla="*/ 1355617 h 3641849"/>
                <a:gd name="connsiteX0" fmla="*/ 435753 w 1457148"/>
                <a:gd name="connsiteY0" fmla="*/ 1355617 h 3641849"/>
                <a:gd name="connsiteX1" fmla="*/ 157610 w 1457148"/>
                <a:gd name="connsiteY1" fmla="*/ 981016 h 3641849"/>
                <a:gd name="connsiteX2" fmla="*/ 96648 w 1457148"/>
                <a:gd name="connsiteY2" fmla="*/ 794845 h 3641849"/>
                <a:gd name="connsiteX3" fmla="*/ 135443 w 1457148"/>
                <a:gd name="connsiteY3" fmla="*/ 779332 h 3641849"/>
                <a:gd name="connsiteX4" fmla="*/ 21830 w 1457148"/>
                <a:gd name="connsiteY4" fmla="*/ 551792 h 3641849"/>
                <a:gd name="connsiteX5" fmla="*/ 80021 w 1457148"/>
                <a:gd name="connsiteY5" fmla="*/ 458707 h 3641849"/>
                <a:gd name="connsiteX6" fmla="*/ 85563 w 1457148"/>
                <a:gd name="connsiteY6" fmla="*/ 378550 h 3641849"/>
                <a:gd name="connsiteX7" fmla="*/ 10744 w 1457148"/>
                <a:gd name="connsiteY7" fmla="*/ 319079 h 3641849"/>
                <a:gd name="connsiteX8" fmla="*/ 2432 w 1457148"/>
                <a:gd name="connsiteY8" fmla="*/ 251851 h 3641849"/>
                <a:gd name="connsiteX9" fmla="*/ 57852 w 1457148"/>
                <a:gd name="connsiteY9" fmla="*/ 158764 h 3641849"/>
                <a:gd name="connsiteX10" fmla="*/ 77250 w 1457148"/>
                <a:gd name="connsiteY10" fmla="*/ 135494 h 3641849"/>
                <a:gd name="connsiteX11" fmla="*/ 91105 w 1457148"/>
                <a:gd name="connsiteY11" fmla="*/ 117394 h 3641849"/>
                <a:gd name="connsiteX12" fmla="*/ 99418 w 1457148"/>
                <a:gd name="connsiteY12" fmla="*/ 73438 h 3641849"/>
                <a:gd name="connsiteX13" fmla="*/ 124357 w 1457148"/>
                <a:gd name="connsiteY13" fmla="*/ 101880 h 3641849"/>
                <a:gd name="connsiteX14" fmla="*/ 154839 w 1457148"/>
                <a:gd name="connsiteY14" fmla="*/ 88952 h 3641849"/>
                <a:gd name="connsiteX15" fmla="*/ 157609 w 1457148"/>
                <a:gd name="connsiteY15" fmla="*/ 63095 h 3641849"/>
                <a:gd name="connsiteX16" fmla="*/ 165923 w 1457148"/>
                <a:gd name="connsiteY16" fmla="*/ 34652 h 3641849"/>
                <a:gd name="connsiteX17" fmla="*/ 168695 w 1457148"/>
                <a:gd name="connsiteY17" fmla="*/ 3624 h 3641849"/>
                <a:gd name="connsiteX18" fmla="*/ 304475 w 1457148"/>
                <a:gd name="connsiteY18" fmla="*/ 57924 h 3641849"/>
                <a:gd name="connsiteX19" fmla="*/ 334955 w 1457148"/>
                <a:gd name="connsiteY19" fmla="*/ 161352 h 3641849"/>
                <a:gd name="connsiteX20" fmla="*/ 348811 w 1457148"/>
                <a:gd name="connsiteY20" fmla="*/ 184622 h 3641849"/>
                <a:gd name="connsiteX21" fmla="*/ 359895 w 1457148"/>
                <a:gd name="connsiteY21" fmla="*/ 187208 h 3641849"/>
                <a:gd name="connsiteX22" fmla="*/ 473507 w 1457148"/>
                <a:gd name="connsiteY22" fmla="*/ 156181 h 3641849"/>
                <a:gd name="connsiteX23" fmla="*/ 540012 w 1457148"/>
                <a:gd name="connsiteY23" fmla="*/ 166522 h 3641849"/>
                <a:gd name="connsiteX24" fmla="*/ 603746 w 1457148"/>
                <a:gd name="connsiteY24" fmla="*/ 213065 h 3641849"/>
                <a:gd name="connsiteX25" fmla="*/ 617773 w 1457148"/>
                <a:gd name="connsiteY25" fmla="*/ 242621 h 3641849"/>
                <a:gd name="connsiteX26" fmla="*/ 673020 w 1457148"/>
                <a:gd name="connsiteY26" fmla="*/ 277708 h 3641849"/>
                <a:gd name="connsiteX27" fmla="*/ 761694 w 1457148"/>
                <a:gd name="connsiteY27" fmla="*/ 303563 h 3641849"/>
                <a:gd name="connsiteX28" fmla="*/ 833740 w 1457148"/>
                <a:gd name="connsiteY28" fmla="*/ 350106 h 3641849"/>
                <a:gd name="connsiteX29" fmla="*/ 883619 w 1457148"/>
                <a:gd name="connsiteY29" fmla="*/ 401820 h 3641849"/>
                <a:gd name="connsiteX30" fmla="*/ 908558 w 1457148"/>
                <a:gd name="connsiteY30" fmla="*/ 440606 h 3641849"/>
                <a:gd name="connsiteX31" fmla="*/ 941811 w 1457148"/>
                <a:gd name="connsiteY31" fmla="*/ 466462 h 3641849"/>
                <a:gd name="connsiteX32" fmla="*/ 925183 w 1457148"/>
                <a:gd name="connsiteY32" fmla="*/ 691417 h 3641849"/>
                <a:gd name="connsiteX33" fmla="*/ 797717 w 1457148"/>
                <a:gd name="connsiteY33" fmla="*/ 771575 h 3641849"/>
                <a:gd name="connsiteX34" fmla="*/ 684105 w 1457148"/>
                <a:gd name="connsiteY34" fmla="*/ 779331 h 3641849"/>
                <a:gd name="connsiteX35" fmla="*/ 545552 w 1457148"/>
                <a:gd name="connsiteY35" fmla="*/ 758645 h 3641849"/>
                <a:gd name="connsiteX36" fmla="*/ 454108 w 1457148"/>
                <a:gd name="connsiteY36" fmla="*/ 722445 h 3641849"/>
                <a:gd name="connsiteX37" fmla="*/ 434711 w 1457148"/>
                <a:gd name="connsiteY37" fmla="*/ 750888 h 3641849"/>
                <a:gd name="connsiteX38" fmla="*/ 465353 w 1457148"/>
                <a:gd name="connsiteY38" fmla="*/ 824301 h 3641849"/>
                <a:gd name="connsiteX39" fmla="*/ 470894 w 1457148"/>
                <a:gd name="connsiteY39" fmla="*/ 951000 h 3641849"/>
                <a:gd name="connsiteX40" fmla="*/ 443024 w 1457148"/>
                <a:gd name="connsiteY40" fmla="*/ 1012043 h 3641849"/>
                <a:gd name="connsiteX41" fmla="*/ 498443 w 1457148"/>
                <a:gd name="connsiteY41" fmla="*/ 1032728 h 3641849"/>
                <a:gd name="connsiteX42" fmla="*/ 515071 w 1457148"/>
                <a:gd name="connsiteY42" fmla="*/ 1048242 h 3641849"/>
                <a:gd name="connsiteX43" fmla="*/ 540011 w 1457148"/>
                <a:gd name="connsiteY43" fmla="*/ 1074099 h 3641849"/>
                <a:gd name="connsiteX44" fmla="*/ 537240 w 1457148"/>
                <a:gd name="connsiteY44" fmla="*/ 1076685 h 3641849"/>
                <a:gd name="connsiteX45" fmla="*/ 576033 w 1457148"/>
                <a:gd name="connsiteY45" fmla="*/ 1071514 h 3641849"/>
                <a:gd name="connsiteX46" fmla="*/ 584347 w 1457148"/>
                <a:gd name="connsiteY46" fmla="*/ 1035314 h 3641849"/>
                <a:gd name="connsiteX47" fmla="*/ 545552 w 1457148"/>
                <a:gd name="connsiteY47" fmla="*/ 957743 h 3641849"/>
                <a:gd name="connsiteX48" fmla="*/ 614828 w 1457148"/>
                <a:gd name="connsiteY48" fmla="*/ 911200 h 3641849"/>
                <a:gd name="connsiteX49" fmla="*/ 682600 w 1457148"/>
                <a:gd name="connsiteY49" fmla="*/ 918934 h 3641849"/>
                <a:gd name="connsiteX50" fmla="*/ 706433 w 1457148"/>
                <a:gd name="connsiteY50" fmla="*/ 951001 h 3641849"/>
                <a:gd name="connsiteX51" fmla="*/ 862162 w 1457148"/>
                <a:gd name="connsiteY51" fmla="*/ 1007364 h 3641849"/>
                <a:gd name="connsiteX52" fmla="*/ 847754 w 1457148"/>
                <a:gd name="connsiteY52" fmla="*/ 971687 h 3641849"/>
                <a:gd name="connsiteX53" fmla="*/ 814502 w 1457148"/>
                <a:gd name="connsiteY53" fmla="*/ 932901 h 3641849"/>
                <a:gd name="connsiteX54" fmla="*/ 803418 w 1457148"/>
                <a:gd name="connsiteY54" fmla="*/ 881187 h 3641849"/>
                <a:gd name="connsiteX55" fmla="*/ 842213 w 1457148"/>
                <a:gd name="connsiteY55" fmla="*/ 832060 h 3641849"/>
                <a:gd name="connsiteX56" fmla="*/ 869923 w 1457148"/>
                <a:gd name="connsiteY56" fmla="*/ 803617 h 3641849"/>
                <a:gd name="connsiteX57" fmla="*/ 894863 w 1457148"/>
                <a:gd name="connsiteY57" fmla="*/ 767417 h 3641849"/>
                <a:gd name="connsiteX58" fmla="*/ 975223 w 1457148"/>
                <a:gd name="connsiteY58" fmla="*/ 762245 h 3641849"/>
                <a:gd name="connsiteX59" fmla="*/ 980764 w 1457148"/>
                <a:gd name="connsiteY59" fmla="*/ 741560 h 3641849"/>
                <a:gd name="connsiteX60" fmla="*/ 1005704 w 1457148"/>
                <a:gd name="connsiteY60" fmla="*/ 705360 h 3641849"/>
                <a:gd name="connsiteX61" fmla="*/ 1039508 w 1457148"/>
                <a:gd name="connsiteY61" fmla="*/ 687772 h 3641849"/>
                <a:gd name="connsiteX62" fmla="*/ 1097148 w 1457148"/>
                <a:gd name="connsiteY62" fmla="*/ 700189 h 3641849"/>
                <a:gd name="connsiteX63" fmla="*/ 1135941 w 1457148"/>
                <a:gd name="connsiteY63" fmla="*/ 720875 h 3641849"/>
                <a:gd name="connsiteX64" fmla="*/ 1183049 w 1457148"/>
                <a:gd name="connsiteY64" fmla="*/ 728632 h 3641849"/>
                <a:gd name="connsiteX65" fmla="*/ 1183049 w 1457148"/>
                <a:gd name="connsiteY65" fmla="*/ 733803 h 3641849"/>
                <a:gd name="connsiteX66" fmla="*/ 1205218 w 1457148"/>
                <a:gd name="connsiteY66" fmla="*/ 674332 h 3641849"/>
                <a:gd name="connsiteX67" fmla="*/ 1215193 w 1457148"/>
                <a:gd name="connsiteY67" fmla="*/ 640714 h 3641849"/>
                <a:gd name="connsiteX68" fmla="*/ 1221844 w 1457148"/>
                <a:gd name="connsiteY68" fmla="*/ 622618 h 3641849"/>
                <a:gd name="connsiteX69" fmla="*/ 1224781 w 1457148"/>
                <a:gd name="connsiteY69" fmla="*/ 591288 h 3641849"/>
                <a:gd name="connsiteX70" fmla="*/ 1144255 w 1457148"/>
                <a:gd name="connsiteY70" fmla="*/ 545048 h 3641849"/>
                <a:gd name="connsiteX71" fmla="*/ 1130400 w 1457148"/>
                <a:gd name="connsiteY71" fmla="*/ 472648 h 3641849"/>
                <a:gd name="connsiteX72" fmla="*/ 1130400 w 1457148"/>
                <a:gd name="connsiteY72" fmla="*/ 454548 h 3641849"/>
                <a:gd name="connsiteX73" fmla="*/ 1141483 w 1457148"/>
                <a:gd name="connsiteY73" fmla="*/ 431276 h 3641849"/>
                <a:gd name="connsiteX74" fmla="*/ 1144255 w 1457148"/>
                <a:gd name="connsiteY74" fmla="*/ 415762 h 3641849"/>
                <a:gd name="connsiteX75" fmla="*/ 1144254 w 1457148"/>
                <a:gd name="connsiteY75" fmla="*/ 358878 h 3641849"/>
                <a:gd name="connsiteX76" fmla="*/ 1122086 w 1457148"/>
                <a:gd name="connsiteY76" fmla="*/ 335607 h 3641849"/>
                <a:gd name="connsiteX77" fmla="*/ 1094376 w 1457148"/>
                <a:gd name="connsiteY77" fmla="*/ 304578 h 3641849"/>
                <a:gd name="connsiteX78" fmla="*/ 1090208 w 1457148"/>
                <a:gd name="connsiteY78" fmla="*/ 280325 h 3641849"/>
                <a:gd name="connsiteX79" fmla="*/ 1141484 w 1457148"/>
                <a:gd name="connsiteY79" fmla="*/ 258034 h 3641849"/>
                <a:gd name="connsiteX80" fmla="*/ 1195064 w 1457148"/>
                <a:gd name="connsiteY80" fmla="*/ 267906 h 3641849"/>
                <a:gd name="connsiteX81" fmla="*/ 1273848 w 1457148"/>
                <a:gd name="connsiteY81" fmla="*/ 279816 h 3641849"/>
                <a:gd name="connsiteX82" fmla="*/ 1358171 w 1457148"/>
                <a:gd name="connsiteY82" fmla="*/ 349175 h 3641849"/>
                <a:gd name="connsiteX83" fmla="*/ 1420306 w 1457148"/>
                <a:gd name="connsiteY83" fmla="*/ 425271 h 3641849"/>
                <a:gd name="connsiteX84" fmla="*/ 1319335 w 1457148"/>
                <a:gd name="connsiteY84" fmla="*/ 454265 h 3641849"/>
                <a:gd name="connsiteX85" fmla="*/ 1303801 w 1457148"/>
                <a:gd name="connsiteY85" fmla="*/ 501372 h 3641849"/>
                <a:gd name="connsiteX86" fmla="*/ 1361471 w 1457148"/>
                <a:gd name="connsiteY86" fmla="*/ 585862 h 3641849"/>
                <a:gd name="connsiteX87" fmla="*/ 1397005 w 1457148"/>
                <a:gd name="connsiteY87" fmla="*/ 591964 h 3641849"/>
                <a:gd name="connsiteX88" fmla="*/ 1449625 w 1457148"/>
                <a:gd name="connsiteY88" fmla="*/ 598304 h 3641849"/>
                <a:gd name="connsiteX89" fmla="*/ 1444662 w 1457148"/>
                <a:gd name="connsiteY89" fmla="*/ 709079 h 3641849"/>
                <a:gd name="connsiteX90" fmla="*/ 1455731 w 1457148"/>
                <a:gd name="connsiteY90" fmla="*/ 1040047 h 3641849"/>
                <a:gd name="connsiteX91" fmla="*/ 1446863 w 1457148"/>
                <a:gd name="connsiteY91" fmla="*/ 1842646 h 3641849"/>
                <a:gd name="connsiteX92" fmla="*/ 1455730 w 1457148"/>
                <a:gd name="connsiteY92" fmla="*/ 2297728 h 3641849"/>
                <a:gd name="connsiteX93" fmla="*/ 1429282 w 1457148"/>
                <a:gd name="connsiteY93" fmla="*/ 3607693 h 3641849"/>
                <a:gd name="connsiteX94" fmla="*/ 1170855 w 1457148"/>
                <a:gd name="connsiteY94" fmla="*/ 3564098 h 3641849"/>
                <a:gd name="connsiteX95" fmla="*/ 1002377 w 1457148"/>
                <a:gd name="connsiteY95" fmla="*/ 3497903 h 3641849"/>
                <a:gd name="connsiteX96" fmla="*/ 825031 w 1457148"/>
                <a:gd name="connsiteY96" fmla="*/ 3406887 h 3641849"/>
                <a:gd name="connsiteX97" fmla="*/ 726733 w 1457148"/>
                <a:gd name="connsiteY97" fmla="*/ 3326370 h 3641849"/>
                <a:gd name="connsiteX98" fmla="*/ 1020995 w 1457148"/>
                <a:gd name="connsiteY98" fmla="*/ 3018734 h 3641849"/>
                <a:gd name="connsiteX99" fmla="*/ 737241 w 1457148"/>
                <a:gd name="connsiteY99" fmla="*/ 2480910 h 3641849"/>
                <a:gd name="connsiteX100" fmla="*/ 879591 w 1457148"/>
                <a:gd name="connsiteY100" fmla="*/ 2241825 h 3641849"/>
                <a:gd name="connsiteX101" fmla="*/ 692904 w 1457148"/>
                <a:gd name="connsiteY101" fmla="*/ 1703134 h 3641849"/>
                <a:gd name="connsiteX102" fmla="*/ 444620 w 1457148"/>
                <a:gd name="connsiteY102" fmla="*/ 1471456 h 3641849"/>
                <a:gd name="connsiteX103" fmla="*/ 435753 w 1457148"/>
                <a:gd name="connsiteY103" fmla="*/ 1355617 h 3641849"/>
                <a:gd name="connsiteX0" fmla="*/ 435753 w 1457148"/>
                <a:gd name="connsiteY0" fmla="*/ 1355617 h 3641849"/>
                <a:gd name="connsiteX1" fmla="*/ 132671 w 1457148"/>
                <a:gd name="connsiteY1" fmla="*/ 1141329 h 3641849"/>
                <a:gd name="connsiteX2" fmla="*/ 96648 w 1457148"/>
                <a:gd name="connsiteY2" fmla="*/ 794845 h 3641849"/>
                <a:gd name="connsiteX3" fmla="*/ 135443 w 1457148"/>
                <a:gd name="connsiteY3" fmla="*/ 779332 h 3641849"/>
                <a:gd name="connsiteX4" fmla="*/ 21830 w 1457148"/>
                <a:gd name="connsiteY4" fmla="*/ 551792 h 3641849"/>
                <a:gd name="connsiteX5" fmla="*/ 80021 w 1457148"/>
                <a:gd name="connsiteY5" fmla="*/ 458707 h 3641849"/>
                <a:gd name="connsiteX6" fmla="*/ 85563 w 1457148"/>
                <a:gd name="connsiteY6" fmla="*/ 378550 h 3641849"/>
                <a:gd name="connsiteX7" fmla="*/ 10744 w 1457148"/>
                <a:gd name="connsiteY7" fmla="*/ 319079 h 3641849"/>
                <a:gd name="connsiteX8" fmla="*/ 2432 w 1457148"/>
                <a:gd name="connsiteY8" fmla="*/ 251851 h 3641849"/>
                <a:gd name="connsiteX9" fmla="*/ 57852 w 1457148"/>
                <a:gd name="connsiteY9" fmla="*/ 158764 h 3641849"/>
                <a:gd name="connsiteX10" fmla="*/ 77250 w 1457148"/>
                <a:gd name="connsiteY10" fmla="*/ 135494 h 3641849"/>
                <a:gd name="connsiteX11" fmla="*/ 91105 w 1457148"/>
                <a:gd name="connsiteY11" fmla="*/ 117394 h 3641849"/>
                <a:gd name="connsiteX12" fmla="*/ 99418 w 1457148"/>
                <a:gd name="connsiteY12" fmla="*/ 73438 h 3641849"/>
                <a:gd name="connsiteX13" fmla="*/ 124357 w 1457148"/>
                <a:gd name="connsiteY13" fmla="*/ 101880 h 3641849"/>
                <a:gd name="connsiteX14" fmla="*/ 154839 w 1457148"/>
                <a:gd name="connsiteY14" fmla="*/ 88952 h 3641849"/>
                <a:gd name="connsiteX15" fmla="*/ 157609 w 1457148"/>
                <a:gd name="connsiteY15" fmla="*/ 63095 h 3641849"/>
                <a:gd name="connsiteX16" fmla="*/ 165923 w 1457148"/>
                <a:gd name="connsiteY16" fmla="*/ 34652 h 3641849"/>
                <a:gd name="connsiteX17" fmla="*/ 168695 w 1457148"/>
                <a:gd name="connsiteY17" fmla="*/ 3624 h 3641849"/>
                <a:gd name="connsiteX18" fmla="*/ 304475 w 1457148"/>
                <a:gd name="connsiteY18" fmla="*/ 57924 h 3641849"/>
                <a:gd name="connsiteX19" fmla="*/ 334955 w 1457148"/>
                <a:gd name="connsiteY19" fmla="*/ 161352 h 3641849"/>
                <a:gd name="connsiteX20" fmla="*/ 348811 w 1457148"/>
                <a:gd name="connsiteY20" fmla="*/ 184622 h 3641849"/>
                <a:gd name="connsiteX21" fmla="*/ 359895 w 1457148"/>
                <a:gd name="connsiteY21" fmla="*/ 187208 h 3641849"/>
                <a:gd name="connsiteX22" fmla="*/ 473507 w 1457148"/>
                <a:gd name="connsiteY22" fmla="*/ 156181 h 3641849"/>
                <a:gd name="connsiteX23" fmla="*/ 540012 w 1457148"/>
                <a:gd name="connsiteY23" fmla="*/ 166522 h 3641849"/>
                <a:gd name="connsiteX24" fmla="*/ 603746 w 1457148"/>
                <a:gd name="connsiteY24" fmla="*/ 213065 h 3641849"/>
                <a:gd name="connsiteX25" fmla="*/ 617773 w 1457148"/>
                <a:gd name="connsiteY25" fmla="*/ 242621 h 3641849"/>
                <a:gd name="connsiteX26" fmla="*/ 673020 w 1457148"/>
                <a:gd name="connsiteY26" fmla="*/ 277708 h 3641849"/>
                <a:gd name="connsiteX27" fmla="*/ 761694 w 1457148"/>
                <a:gd name="connsiteY27" fmla="*/ 303563 h 3641849"/>
                <a:gd name="connsiteX28" fmla="*/ 833740 w 1457148"/>
                <a:gd name="connsiteY28" fmla="*/ 350106 h 3641849"/>
                <a:gd name="connsiteX29" fmla="*/ 883619 w 1457148"/>
                <a:gd name="connsiteY29" fmla="*/ 401820 h 3641849"/>
                <a:gd name="connsiteX30" fmla="*/ 908558 w 1457148"/>
                <a:gd name="connsiteY30" fmla="*/ 440606 h 3641849"/>
                <a:gd name="connsiteX31" fmla="*/ 941811 w 1457148"/>
                <a:gd name="connsiteY31" fmla="*/ 466462 h 3641849"/>
                <a:gd name="connsiteX32" fmla="*/ 925183 w 1457148"/>
                <a:gd name="connsiteY32" fmla="*/ 691417 h 3641849"/>
                <a:gd name="connsiteX33" fmla="*/ 797717 w 1457148"/>
                <a:gd name="connsiteY33" fmla="*/ 771575 h 3641849"/>
                <a:gd name="connsiteX34" fmla="*/ 684105 w 1457148"/>
                <a:gd name="connsiteY34" fmla="*/ 779331 h 3641849"/>
                <a:gd name="connsiteX35" fmla="*/ 545552 w 1457148"/>
                <a:gd name="connsiteY35" fmla="*/ 758645 h 3641849"/>
                <a:gd name="connsiteX36" fmla="*/ 454108 w 1457148"/>
                <a:gd name="connsiteY36" fmla="*/ 722445 h 3641849"/>
                <a:gd name="connsiteX37" fmla="*/ 434711 w 1457148"/>
                <a:gd name="connsiteY37" fmla="*/ 750888 h 3641849"/>
                <a:gd name="connsiteX38" fmla="*/ 465353 w 1457148"/>
                <a:gd name="connsiteY38" fmla="*/ 824301 h 3641849"/>
                <a:gd name="connsiteX39" fmla="*/ 470894 w 1457148"/>
                <a:gd name="connsiteY39" fmla="*/ 951000 h 3641849"/>
                <a:gd name="connsiteX40" fmla="*/ 443024 w 1457148"/>
                <a:gd name="connsiteY40" fmla="*/ 1012043 h 3641849"/>
                <a:gd name="connsiteX41" fmla="*/ 498443 w 1457148"/>
                <a:gd name="connsiteY41" fmla="*/ 1032728 h 3641849"/>
                <a:gd name="connsiteX42" fmla="*/ 515071 w 1457148"/>
                <a:gd name="connsiteY42" fmla="*/ 1048242 h 3641849"/>
                <a:gd name="connsiteX43" fmla="*/ 540011 w 1457148"/>
                <a:gd name="connsiteY43" fmla="*/ 1074099 h 3641849"/>
                <a:gd name="connsiteX44" fmla="*/ 537240 w 1457148"/>
                <a:gd name="connsiteY44" fmla="*/ 1076685 h 3641849"/>
                <a:gd name="connsiteX45" fmla="*/ 576033 w 1457148"/>
                <a:gd name="connsiteY45" fmla="*/ 1071514 h 3641849"/>
                <a:gd name="connsiteX46" fmla="*/ 584347 w 1457148"/>
                <a:gd name="connsiteY46" fmla="*/ 1035314 h 3641849"/>
                <a:gd name="connsiteX47" fmla="*/ 545552 w 1457148"/>
                <a:gd name="connsiteY47" fmla="*/ 957743 h 3641849"/>
                <a:gd name="connsiteX48" fmla="*/ 614828 w 1457148"/>
                <a:gd name="connsiteY48" fmla="*/ 911200 h 3641849"/>
                <a:gd name="connsiteX49" fmla="*/ 682600 w 1457148"/>
                <a:gd name="connsiteY49" fmla="*/ 918934 h 3641849"/>
                <a:gd name="connsiteX50" fmla="*/ 706433 w 1457148"/>
                <a:gd name="connsiteY50" fmla="*/ 951001 h 3641849"/>
                <a:gd name="connsiteX51" fmla="*/ 862162 w 1457148"/>
                <a:gd name="connsiteY51" fmla="*/ 1007364 h 3641849"/>
                <a:gd name="connsiteX52" fmla="*/ 847754 w 1457148"/>
                <a:gd name="connsiteY52" fmla="*/ 971687 h 3641849"/>
                <a:gd name="connsiteX53" fmla="*/ 814502 w 1457148"/>
                <a:gd name="connsiteY53" fmla="*/ 932901 h 3641849"/>
                <a:gd name="connsiteX54" fmla="*/ 803418 w 1457148"/>
                <a:gd name="connsiteY54" fmla="*/ 881187 h 3641849"/>
                <a:gd name="connsiteX55" fmla="*/ 842213 w 1457148"/>
                <a:gd name="connsiteY55" fmla="*/ 832060 h 3641849"/>
                <a:gd name="connsiteX56" fmla="*/ 869923 w 1457148"/>
                <a:gd name="connsiteY56" fmla="*/ 803617 h 3641849"/>
                <a:gd name="connsiteX57" fmla="*/ 894863 w 1457148"/>
                <a:gd name="connsiteY57" fmla="*/ 767417 h 3641849"/>
                <a:gd name="connsiteX58" fmla="*/ 975223 w 1457148"/>
                <a:gd name="connsiteY58" fmla="*/ 762245 h 3641849"/>
                <a:gd name="connsiteX59" fmla="*/ 980764 w 1457148"/>
                <a:gd name="connsiteY59" fmla="*/ 741560 h 3641849"/>
                <a:gd name="connsiteX60" fmla="*/ 1005704 w 1457148"/>
                <a:gd name="connsiteY60" fmla="*/ 705360 h 3641849"/>
                <a:gd name="connsiteX61" fmla="*/ 1039508 w 1457148"/>
                <a:gd name="connsiteY61" fmla="*/ 687772 h 3641849"/>
                <a:gd name="connsiteX62" fmla="*/ 1097148 w 1457148"/>
                <a:gd name="connsiteY62" fmla="*/ 700189 h 3641849"/>
                <a:gd name="connsiteX63" fmla="*/ 1135941 w 1457148"/>
                <a:gd name="connsiteY63" fmla="*/ 720875 h 3641849"/>
                <a:gd name="connsiteX64" fmla="*/ 1183049 w 1457148"/>
                <a:gd name="connsiteY64" fmla="*/ 728632 h 3641849"/>
                <a:gd name="connsiteX65" fmla="*/ 1183049 w 1457148"/>
                <a:gd name="connsiteY65" fmla="*/ 733803 h 3641849"/>
                <a:gd name="connsiteX66" fmla="*/ 1205218 w 1457148"/>
                <a:gd name="connsiteY66" fmla="*/ 674332 h 3641849"/>
                <a:gd name="connsiteX67" fmla="*/ 1215193 w 1457148"/>
                <a:gd name="connsiteY67" fmla="*/ 640714 h 3641849"/>
                <a:gd name="connsiteX68" fmla="*/ 1221844 w 1457148"/>
                <a:gd name="connsiteY68" fmla="*/ 622618 h 3641849"/>
                <a:gd name="connsiteX69" fmla="*/ 1224781 w 1457148"/>
                <a:gd name="connsiteY69" fmla="*/ 591288 h 3641849"/>
                <a:gd name="connsiteX70" fmla="*/ 1144255 w 1457148"/>
                <a:gd name="connsiteY70" fmla="*/ 545048 h 3641849"/>
                <a:gd name="connsiteX71" fmla="*/ 1130400 w 1457148"/>
                <a:gd name="connsiteY71" fmla="*/ 472648 h 3641849"/>
                <a:gd name="connsiteX72" fmla="*/ 1130400 w 1457148"/>
                <a:gd name="connsiteY72" fmla="*/ 454548 h 3641849"/>
                <a:gd name="connsiteX73" fmla="*/ 1141483 w 1457148"/>
                <a:gd name="connsiteY73" fmla="*/ 431276 h 3641849"/>
                <a:gd name="connsiteX74" fmla="*/ 1144255 w 1457148"/>
                <a:gd name="connsiteY74" fmla="*/ 415762 h 3641849"/>
                <a:gd name="connsiteX75" fmla="*/ 1144254 w 1457148"/>
                <a:gd name="connsiteY75" fmla="*/ 358878 h 3641849"/>
                <a:gd name="connsiteX76" fmla="*/ 1122086 w 1457148"/>
                <a:gd name="connsiteY76" fmla="*/ 335607 h 3641849"/>
                <a:gd name="connsiteX77" fmla="*/ 1094376 w 1457148"/>
                <a:gd name="connsiteY77" fmla="*/ 304578 h 3641849"/>
                <a:gd name="connsiteX78" fmla="*/ 1090208 w 1457148"/>
                <a:gd name="connsiteY78" fmla="*/ 280325 h 3641849"/>
                <a:gd name="connsiteX79" fmla="*/ 1141484 w 1457148"/>
                <a:gd name="connsiteY79" fmla="*/ 258034 h 3641849"/>
                <a:gd name="connsiteX80" fmla="*/ 1195064 w 1457148"/>
                <a:gd name="connsiteY80" fmla="*/ 267906 h 3641849"/>
                <a:gd name="connsiteX81" fmla="*/ 1273848 w 1457148"/>
                <a:gd name="connsiteY81" fmla="*/ 279816 h 3641849"/>
                <a:gd name="connsiteX82" fmla="*/ 1358171 w 1457148"/>
                <a:gd name="connsiteY82" fmla="*/ 349175 h 3641849"/>
                <a:gd name="connsiteX83" fmla="*/ 1420306 w 1457148"/>
                <a:gd name="connsiteY83" fmla="*/ 425271 h 3641849"/>
                <a:gd name="connsiteX84" fmla="*/ 1319335 w 1457148"/>
                <a:gd name="connsiteY84" fmla="*/ 454265 h 3641849"/>
                <a:gd name="connsiteX85" fmla="*/ 1303801 w 1457148"/>
                <a:gd name="connsiteY85" fmla="*/ 501372 h 3641849"/>
                <a:gd name="connsiteX86" fmla="*/ 1361471 w 1457148"/>
                <a:gd name="connsiteY86" fmla="*/ 585862 h 3641849"/>
                <a:gd name="connsiteX87" fmla="*/ 1397005 w 1457148"/>
                <a:gd name="connsiteY87" fmla="*/ 591964 h 3641849"/>
                <a:gd name="connsiteX88" fmla="*/ 1449625 w 1457148"/>
                <a:gd name="connsiteY88" fmla="*/ 598304 h 3641849"/>
                <a:gd name="connsiteX89" fmla="*/ 1444662 w 1457148"/>
                <a:gd name="connsiteY89" fmla="*/ 709079 h 3641849"/>
                <a:gd name="connsiteX90" fmla="*/ 1455731 w 1457148"/>
                <a:gd name="connsiteY90" fmla="*/ 1040047 h 3641849"/>
                <a:gd name="connsiteX91" fmla="*/ 1446863 w 1457148"/>
                <a:gd name="connsiteY91" fmla="*/ 1842646 h 3641849"/>
                <a:gd name="connsiteX92" fmla="*/ 1455730 w 1457148"/>
                <a:gd name="connsiteY92" fmla="*/ 2297728 h 3641849"/>
                <a:gd name="connsiteX93" fmla="*/ 1429282 w 1457148"/>
                <a:gd name="connsiteY93" fmla="*/ 3607693 h 3641849"/>
                <a:gd name="connsiteX94" fmla="*/ 1170855 w 1457148"/>
                <a:gd name="connsiteY94" fmla="*/ 3564098 h 3641849"/>
                <a:gd name="connsiteX95" fmla="*/ 1002377 w 1457148"/>
                <a:gd name="connsiteY95" fmla="*/ 3497903 h 3641849"/>
                <a:gd name="connsiteX96" fmla="*/ 825031 w 1457148"/>
                <a:gd name="connsiteY96" fmla="*/ 3406887 h 3641849"/>
                <a:gd name="connsiteX97" fmla="*/ 726733 w 1457148"/>
                <a:gd name="connsiteY97" fmla="*/ 3326370 h 3641849"/>
                <a:gd name="connsiteX98" fmla="*/ 1020995 w 1457148"/>
                <a:gd name="connsiteY98" fmla="*/ 3018734 h 3641849"/>
                <a:gd name="connsiteX99" fmla="*/ 737241 w 1457148"/>
                <a:gd name="connsiteY99" fmla="*/ 2480910 h 3641849"/>
                <a:gd name="connsiteX100" fmla="*/ 879591 w 1457148"/>
                <a:gd name="connsiteY100" fmla="*/ 2241825 h 3641849"/>
                <a:gd name="connsiteX101" fmla="*/ 692904 w 1457148"/>
                <a:gd name="connsiteY101" fmla="*/ 1703134 h 3641849"/>
                <a:gd name="connsiteX102" fmla="*/ 444620 w 1457148"/>
                <a:gd name="connsiteY102" fmla="*/ 1471456 h 3641849"/>
                <a:gd name="connsiteX103" fmla="*/ 435753 w 1457148"/>
                <a:gd name="connsiteY103" fmla="*/ 1355617 h 3641849"/>
                <a:gd name="connsiteX0" fmla="*/ 435753 w 1457148"/>
                <a:gd name="connsiteY0" fmla="*/ 1355617 h 3641849"/>
                <a:gd name="connsiteX1" fmla="*/ 96648 w 1457148"/>
                <a:gd name="connsiteY1" fmla="*/ 794845 h 3641849"/>
                <a:gd name="connsiteX2" fmla="*/ 135443 w 1457148"/>
                <a:gd name="connsiteY2" fmla="*/ 779332 h 3641849"/>
                <a:gd name="connsiteX3" fmla="*/ 21830 w 1457148"/>
                <a:gd name="connsiteY3" fmla="*/ 551792 h 3641849"/>
                <a:gd name="connsiteX4" fmla="*/ 80021 w 1457148"/>
                <a:gd name="connsiteY4" fmla="*/ 458707 h 3641849"/>
                <a:gd name="connsiteX5" fmla="*/ 85563 w 1457148"/>
                <a:gd name="connsiteY5" fmla="*/ 378550 h 3641849"/>
                <a:gd name="connsiteX6" fmla="*/ 10744 w 1457148"/>
                <a:gd name="connsiteY6" fmla="*/ 319079 h 3641849"/>
                <a:gd name="connsiteX7" fmla="*/ 2432 w 1457148"/>
                <a:gd name="connsiteY7" fmla="*/ 251851 h 3641849"/>
                <a:gd name="connsiteX8" fmla="*/ 57852 w 1457148"/>
                <a:gd name="connsiteY8" fmla="*/ 158764 h 3641849"/>
                <a:gd name="connsiteX9" fmla="*/ 77250 w 1457148"/>
                <a:gd name="connsiteY9" fmla="*/ 135494 h 3641849"/>
                <a:gd name="connsiteX10" fmla="*/ 91105 w 1457148"/>
                <a:gd name="connsiteY10" fmla="*/ 117394 h 3641849"/>
                <a:gd name="connsiteX11" fmla="*/ 99418 w 1457148"/>
                <a:gd name="connsiteY11" fmla="*/ 73438 h 3641849"/>
                <a:gd name="connsiteX12" fmla="*/ 124357 w 1457148"/>
                <a:gd name="connsiteY12" fmla="*/ 101880 h 3641849"/>
                <a:gd name="connsiteX13" fmla="*/ 154839 w 1457148"/>
                <a:gd name="connsiteY13" fmla="*/ 88952 h 3641849"/>
                <a:gd name="connsiteX14" fmla="*/ 157609 w 1457148"/>
                <a:gd name="connsiteY14" fmla="*/ 63095 h 3641849"/>
                <a:gd name="connsiteX15" fmla="*/ 165923 w 1457148"/>
                <a:gd name="connsiteY15" fmla="*/ 34652 h 3641849"/>
                <a:gd name="connsiteX16" fmla="*/ 168695 w 1457148"/>
                <a:gd name="connsiteY16" fmla="*/ 3624 h 3641849"/>
                <a:gd name="connsiteX17" fmla="*/ 304475 w 1457148"/>
                <a:gd name="connsiteY17" fmla="*/ 57924 h 3641849"/>
                <a:gd name="connsiteX18" fmla="*/ 334955 w 1457148"/>
                <a:gd name="connsiteY18" fmla="*/ 161352 h 3641849"/>
                <a:gd name="connsiteX19" fmla="*/ 348811 w 1457148"/>
                <a:gd name="connsiteY19" fmla="*/ 184622 h 3641849"/>
                <a:gd name="connsiteX20" fmla="*/ 359895 w 1457148"/>
                <a:gd name="connsiteY20" fmla="*/ 187208 h 3641849"/>
                <a:gd name="connsiteX21" fmla="*/ 473507 w 1457148"/>
                <a:gd name="connsiteY21" fmla="*/ 156181 h 3641849"/>
                <a:gd name="connsiteX22" fmla="*/ 540012 w 1457148"/>
                <a:gd name="connsiteY22" fmla="*/ 166522 h 3641849"/>
                <a:gd name="connsiteX23" fmla="*/ 603746 w 1457148"/>
                <a:gd name="connsiteY23" fmla="*/ 213065 h 3641849"/>
                <a:gd name="connsiteX24" fmla="*/ 617773 w 1457148"/>
                <a:gd name="connsiteY24" fmla="*/ 242621 h 3641849"/>
                <a:gd name="connsiteX25" fmla="*/ 673020 w 1457148"/>
                <a:gd name="connsiteY25" fmla="*/ 277708 h 3641849"/>
                <a:gd name="connsiteX26" fmla="*/ 761694 w 1457148"/>
                <a:gd name="connsiteY26" fmla="*/ 303563 h 3641849"/>
                <a:gd name="connsiteX27" fmla="*/ 833740 w 1457148"/>
                <a:gd name="connsiteY27" fmla="*/ 350106 h 3641849"/>
                <a:gd name="connsiteX28" fmla="*/ 883619 w 1457148"/>
                <a:gd name="connsiteY28" fmla="*/ 401820 h 3641849"/>
                <a:gd name="connsiteX29" fmla="*/ 908558 w 1457148"/>
                <a:gd name="connsiteY29" fmla="*/ 440606 h 3641849"/>
                <a:gd name="connsiteX30" fmla="*/ 941811 w 1457148"/>
                <a:gd name="connsiteY30" fmla="*/ 466462 h 3641849"/>
                <a:gd name="connsiteX31" fmla="*/ 925183 w 1457148"/>
                <a:gd name="connsiteY31" fmla="*/ 691417 h 3641849"/>
                <a:gd name="connsiteX32" fmla="*/ 797717 w 1457148"/>
                <a:gd name="connsiteY32" fmla="*/ 771575 h 3641849"/>
                <a:gd name="connsiteX33" fmla="*/ 684105 w 1457148"/>
                <a:gd name="connsiteY33" fmla="*/ 779331 h 3641849"/>
                <a:gd name="connsiteX34" fmla="*/ 545552 w 1457148"/>
                <a:gd name="connsiteY34" fmla="*/ 758645 h 3641849"/>
                <a:gd name="connsiteX35" fmla="*/ 454108 w 1457148"/>
                <a:gd name="connsiteY35" fmla="*/ 722445 h 3641849"/>
                <a:gd name="connsiteX36" fmla="*/ 434711 w 1457148"/>
                <a:gd name="connsiteY36" fmla="*/ 750888 h 3641849"/>
                <a:gd name="connsiteX37" fmla="*/ 465353 w 1457148"/>
                <a:gd name="connsiteY37" fmla="*/ 824301 h 3641849"/>
                <a:gd name="connsiteX38" fmla="*/ 470894 w 1457148"/>
                <a:gd name="connsiteY38" fmla="*/ 951000 h 3641849"/>
                <a:gd name="connsiteX39" fmla="*/ 443024 w 1457148"/>
                <a:gd name="connsiteY39" fmla="*/ 1012043 h 3641849"/>
                <a:gd name="connsiteX40" fmla="*/ 498443 w 1457148"/>
                <a:gd name="connsiteY40" fmla="*/ 1032728 h 3641849"/>
                <a:gd name="connsiteX41" fmla="*/ 515071 w 1457148"/>
                <a:gd name="connsiteY41" fmla="*/ 1048242 h 3641849"/>
                <a:gd name="connsiteX42" fmla="*/ 540011 w 1457148"/>
                <a:gd name="connsiteY42" fmla="*/ 1074099 h 3641849"/>
                <a:gd name="connsiteX43" fmla="*/ 537240 w 1457148"/>
                <a:gd name="connsiteY43" fmla="*/ 1076685 h 3641849"/>
                <a:gd name="connsiteX44" fmla="*/ 576033 w 1457148"/>
                <a:gd name="connsiteY44" fmla="*/ 1071514 h 3641849"/>
                <a:gd name="connsiteX45" fmla="*/ 584347 w 1457148"/>
                <a:gd name="connsiteY45" fmla="*/ 1035314 h 3641849"/>
                <a:gd name="connsiteX46" fmla="*/ 545552 w 1457148"/>
                <a:gd name="connsiteY46" fmla="*/ 957743 h 3641849"/>
                <a:gd name="connsiteX47" fmla="*/ 614828 w 1457148"/>
                <a:gd name="connsiteY47" fmla="*/ 911200 h 3641849"/>
                <a:gd name="connsiteX48" fmla="*/ 682600 w 1457148"/>
                <a:gd name="connsiteY48" fmla="*/ 918934 h 3641849"/>
                <a:gd name="connsiteX49" fmla="*/ 706433 w 1457148"/>
                <a:gd name="connsiteY49" fmla="*/ 951001 h 3641849"/>
                <a:gd name="connsiteX50" fmla="*/ 862162 w 1457148"/>
                <a:gd name="connsiteY50" fmla="*/ 1007364 h 3641849"/>
                <a:gd name="connsiteX51" fmla="*/ 847754 w 1457148"/>
                <a:gd name="connsiteY51" fmla="*/ 971687 h 3641849"/>
                <a:gd name="connsiteX52" fmla="*/ 814502 w 1457148"/>
                <a:gd name="connsiteY52" fmla="*/ 932901 h 3641849"/>
                <a:gd name="connsiteX53" fmla="*/ 803418 w 1457148"/>
                <a:gd name="connsiteY53" fmla="*/ 881187 h 3641849"/>
                <a:gd name="connsiteX54" fmla="*/ 842213 w 1457148"/>
                <a:gd name="connsiteY54" fmla="*/ 832060 h 3641849"/>
                <a:gd name="connsiteX55" fmla="*/ 869923 w 1457148"/>
                <a:gd name="connsiteY55" fmla="*/ 803617 h 3641849"/>
                <a:gd name="connsiteX56" fmla="*/ 894863 w 1457148"/>
                <a:gd name="connsiteY56" fmla="*/ 767417 h 3641849"/>
                <a:gd name="connsiteX57" fmla="*/ 975223 w 1457148"/>
                <a:gd name="connsiteY57" fmla="*/ 762245 h 3641849"/>
                <a:gd name="connsiteX58" fmla="*/ 980764 w 1457148"/>
                <a:gd name="connsiteY58" fmla="*/ 741560 h 3641849"/>
                <a:gd name="connsiteX59" fmla="*/ 1005704 w 1457148"/>
                <a:gd name="connsiteY59" fmla="*/ 705360 h 3641849"/>
                <a:gd name="connsiteX60" fmla="*/ 1039508 w 1457148"/>
                <a:gd name="connsiteY60" fmla="*/ 687772 h 3641849"/>
                <a:gd name="connsiteX61" fmla="*/ 1097148 w 1457148"/>
                <a:gd name="connsiteY61" fmla="*/ 700189 h 3641849"/>
                <a:gd name="connsiteX62" fmla="*/ 1135941 w 1457148"/>
                <a:gd name="connsiteY62" fmla="*/ 720875 h 3641849"/>
                <a:gd name="connsiteX63" fmla="*/ 1183049 w 1457148"/>
                <a:gd name="connsiteY63" fmla="*/ 728632 h 3641849"/>
                <a:gd name="connsiteX64" fmla="*/ 1183049 w 1457148"/>
                <a:gd name="connsiteY64" fmla="*/ 733803 h 3641849"/>
                <a:gd name="connsiteX65" fmla="*/ 1205218 w 1457148"/>
                <a:gd name="connsiteY65" fmla="*/ 674332 h 3641849"/>
                <a:gd name="connsiteX66" fmla="*/ 1215193 w 1457148"/>
                <a:gd name="connsiteY66" fmla="*/ 640714 h 3641849"/>
                <a:gd name="connsiteX67" fmla="*/ 1221844 w 1457148"/>
                <a:gd name="connsiteY67" fmla="*/ 622618 h 3641849"/>
                <a:gd name="connsiteX68" fmla="*/ 1224781 w 1457148"/>
                <a:gd name="connsiteY68" fmla="*/ 591288 h 3641849"/>
                <a:gd name="connsiteX69" fmla="*/ 1144255 w 1457148"/>
                <a:gd name="connsiteY69" fmla="*/ 545048 h 3641849"/>
                <a:gd name="connsiteX70" fmla="*/ 1130400 w 1457148"/>
                <a:gd name="connsiteY70" fmla="*/ 472648 h 3641849"/>
                <a:gd name="connsiteX71" fmla="*/ 1130400 w 1457148"/>
                <a:gd name="connsiteY71" fmla="*/ 454548 h 3641849"/>
                <a:gd name="connsiteX72" fmla="*/ 1141483 w 1457148"/>
                <a:gd name="connsiteY72" fmla="*/ 431276 h 3641849"/>
                <a:gd name="connsiteX73" fmla="*/ 1144255 w 1457148"/>
                <a:gd name="connsiteY73" fmla="*/ 415762 h 3641849"/>
                <a:gd name="connsiteX74" fmla="*/ 1144254 w 1457148"/>
                <a:gd name="connsiteY74" fmla="*/ 358878 h 3641849"/>
                <a:gd name="connsiteX75" fmla="*/ 1122086 w 1457148"/>
                <a:gd name="connsiteY75" fmla="*/ 335607 h 3641849"/>
                <a:gd name="connsiteX76" fmla="*/ 1094376 w 1457148"/>
                <a:gd name="connsiteY76" fmla="*/ 304578 h 3641849"/>
                <a:gd name="connsiteX77" fmla="*/ 1090208 w 1457148"/>
                <a:gd name="connsiteY77" fmla="*/ 280325 h 3641849"/>
                <a:gd name="connsiteX78" fmla="*/ 1141484 w 1457148"/>
                <a:gd name="connsiteY78" fmla="*/ 258034 h 3641849"/>
                <a:gd name="connsiteX79" fmla="*/ 1195064 w 1457148"/>
                <a:gd name="connsiteY79" fmla="*/ 267906 h 3641849"/>
                <a:gd name="connsiteX80" fmla="*/ 1273848 w 1457148"/>
                <a:gd name="connsiteY80" fmla="*/ 279816 h 3641849"/>
                <a:gd name="connsiteX81" fmla="*/ 1358171 w 1457148"/>
                <a:gd name="connsiteY81" fmla="*/ 349175 h 3641849"/>
                <a:gd name="connsiteX82" fmla="*/ 1420306 w 1457148"/>
                <a:gd name="connsiteY82" fmla="*/ 425271 h 3641849"/>
                <a:gd name="connsiteX83" fmla="*/ 1319335 w 1457148"/>
                <a:gd name="connsiteY83" fmla="*/ 454265 h 3641849"/>
                <a:gd name="connsiteX84" fmla="*/ 1303801 w 1457148"/>
                <a:gd name="connsiteY84" fmla="*/ 501372 h 3641849"/>
                <a:gd name="connsiteX85" fmla="*/ 1361471 w 1457148"/>
                <a:gd name="connsiteY85" fmla="*/ 585862 h 3641849"/>
                <a:gd name="connsiteX86" fmla="*/ 1397005 w 1457148"/>
                <a:gd name="connsiteY86" fmla="*/ 591964 h 3641849"/>
                <a:gd name="connsiteX87" fmla="*/ 1449625 w 1457148"/>
                <a:gd name="connsiteY87" fmla="*/ 598304 h 3641849"/>
                <a:gd name="connsiteX88" fmla="*/ 1444662 w 1457148"/>
                <a:gd name="connsiteY88" fmla="*/ 709079 h 3641849"/>
                <a:gd name="connsiteX89" fmla="*/ 1455731 w 1457148"/>
                <a:gd name="connsiteY89" fmla="*/ 1040047 h 3641849"/>
                <a:gd name="connsiteX90" fmla="*/ 1446863 w 1457148"/>
                <a:gd name="connsiteY90" fmla="*/ 1842646 h 3641849"/>
                <a:gd name="connsiteX91" fmla="*/ 1455730 w 1457148"/>
                <a:gd name="connsiteY91" fmla="*/ 2297728 h 3641849"/>
                <a:gd name="connsiteX92" fmla="*/ 1429282 w 1457148"/>
                <a:gd name="connsiteY92" fmla="*/ 3607693 h 3641849"/>
                <a:gd name="connsiteX93" fmla="*/ 1170855 w 1457148"/>
                <a:gd name="connsiteY93" fmla="*/ 3564098 h 3641849"/>
                <a:gd name="connsiteX94" fmla="*/ 1002377 w 1457148"/>
                <a:gd name="connsiteY94" fmla="*/ 3497903 h 3641849"/>
                <a:gd name="connsiteX95" fmla="*/ 825031 w 1457148"/>
                <a:gd name="connsiteY95" fmla="*/ 3406887 h 3641849"/>
                <a:gd name="connsiteX96" fmla="*/ 726733 w 1457148"/>
                <a:gd name="connsiteY96" fmla="*/ 3326370 h 3641849"/>
                <a:gd name="connsiteX97" fmla="*/ 1020995 w 1457148"/>
                <a:gd name="connsiteY97" fmla="*/ 3018734 h 3641849"/>
                <a:gd name="connsiteX98" fmla="*/ 737241 w 1457148"/>
                <a:gd name="connsiteY98" fmla="*/ 2480910 h 3641849"/>
                <a:gd name="connsiteX99" fmla="*/ 879591 w 1457148"/>
                <a:gd name="connsiteY99" fmla="*/ 2241825 h 3641849"/>
                <a:gd name="connsiteX100" fmla="*/ 692904 w 1457148"/>
                <a:gd name="connsiteY100" fmla="*/ 1703134 h 3641849"/>
                <a:gd name="connsiteX101" fmla="*/ 444620 w 1457148"/>
                <a:gd name="connsiteY101" fmla="*/ 1471456 h 3641849"/>
                <a:gd name="connsiteX102" fmla="*/ 435753 w 1457148"/>
                <a:gd name="connsiteY102" fmla="*/ 1355617 h 3641849"/>
                <a:gd name="connsiteX0" fmla="*/ 435753 w 1457148"/>
                <a:gd name="connsiteY0" fmla="*/ 1355617 h 3641849"/>
                <a:gd name="connsiteX1" fmla="*/ 185321 w 1457148"/>
                <a:gd name="connsiteY1" fmla="*/ 952573 h 3641849"/>
                <a:gd name="connsiteX2" fmla="*/ 96648 w 1457148"/>
                <a:gd name="connsiteY2" fmla="*/ 794845 h 3641849"/>
                <a:gd name="connsiteX3" fmla="*/ 135443 w 1457148"/>
                <a:gd name="connsiteY3" fmla="*/ 779332 h 3641849"/>
                <a:gd name="connsiteX4" fmla="*/ 21830 w 1457148"/>
                <a:gd name="connsiteY4" fmla="*/ 551792 h 3641849"/>
                <a:gd name="connsiteX5" fmla="*/ 80021 w 1457148"/>
                <a:gd name="connsiteY5" fmla="*/ 458707 h 3641849"/>
                <a:gd name="connsiteX6" fmla="*/ 85563 w 1457148"/>
                <a:gd name="connsiteY6" fmla="*/ 378550 h 3641849"/>
                <a:gd name="connsiteX7" fmla="*/ 10744 w 1457148"/>
                <a:gd name="connsiteY7" fmla="*/ 319079 h 3641849"/>
                <a:gd name="connsiteX8" fmla="*/ 2432 w 1457148"/>
                <a:gd name="connsiteY8" fmla="*/ 251851 h 3641849"/>
                <a:gd name="connsiteX9" fmla="*/ 57852 w 1457148"/>
                <a:gd name="connsiteY9" fmla="*/ 158764 h 3641849"/>
                <a:gd name="connsiteX10" fmla="*/ 77250 w 1457148"/>
                <a:gd name="connsiteY10" fmla="*/ 135494 h 3641849"/>
                <a:gd name="connsiteX11" fmla="*/ 91105 w 1457148"/>
                <a:gd name="connsiteY11" fmla="*/ 117394 h 3641849"/>
                <a:gd name="connsiteX12" fmla="*/ 99418 w 1457148"/>
                <a:gd name="connsiteY12" fmla="*/ 73438 h 3641849"/>
                <a:gd name="connsiteX13" fmla="*/ 124357 w 1457148"/>
                <a:gd name="connsiteY13" fmla="*/ 101880 h 3641849"/>
                <a:gd name="connsiteX14" fmla="*/ 154839 w 1457148"/>
                <a:gd name="connsiteY14" fmla="*/ 88952 h 3641849"/>
                <a:gd name="connsiteX15" fmla="*/ 157609 w 1457148"/>
                <a:gd name="connsiteY15" fmla="*/ 63095 h 3641849"/>
                <a:gd name="connsiteX16" fmla="*/ 165923 w 1457148"/>
                <a:gd name="connsiteY16" fmla="*/ 34652 h 3641849"/>
                <a:gd name="connsiteX17" fmla="*/ 168695 w 1457148"/>
                <a:gd name="connsiteY17" fmla="*/ 3624 h 3641849"/>
                <a:gd name="connsiteX18" fmla="*/ 304475 w 1457148"/>
                <a:gd name="connsiteY18" fmla="*/ 57924 h 3641849"/>
                <a:gd name="connsiteX19" fmla="*/ 334955 w 1457148"/>
                <a:gd name="connsiteY19" fmla="*/ 161352 h 3641849"/>
                <a:gd name="connsiteX20" fmla="*/ 348811 w 1457148"/>
                <a:gd name="connsiteY20" fmla="*/ 184622 h 3641849"/>
                <a:gd name="connsiteX21" fmla="*/ 359895 w 1457148"/>
                <a:gd name="connsiteY21" fmla="*/ 187208 h 3641849"/>
                <a:gd name="connsiteX22" fmla="*/ 473507 w 1457148"/>
                <a:gd name="connsiteY22" fmla="*/ 156181 h 3641849"/>
                <a:gd name="connsiteX23" fmla="*/ 540012 w 1457148"/>
                <a:gd name="connsiteY23" fmla="*/ 166522 h 3641849"/>
                <a:gd name="connsiteX24" fmla="*/ 603746 w 1457148"/>
                <a:gd name="connsiteY24" fmla="*/ 213065 h 3641849"/>
                <a:gd name="connsiteX25" fmla="*/ 617773 w 1457148"/>
                <a:gd name="connsiteY25" fmla="*/ 242621 h 3641849"/>
                <a:gd name="connsiteX26" fmla="*/ 673020 w 1457148"/>
                <a:gd name="connsiteY26" fmla="*/ 277708 h 3641849"/>
                <a:gd name="connsiteX27" fmla="*/ 761694 w 1457148"/>
                <a:gd name="connsiteY27" fmla="*/ 303563 h 3641849"/>
                <a:gd name="connsiteX28" fmla="*/ 833740 w 1457148"/>
                <a:gd name="connsiteY28" fmla="*/ 350106 h 3641849"/>
                <a:gd name="connsiteX29" fmla="*/ 883619 w 1457148"/>
                <a:gd name="connsiteY29" fmla="*/ 401820 h 3641849"/>
                <a:gd name="connsiteX30" fmla="*/ 908558 w 1457148"/>
                <a:gd name="connsiteY30" fmla="*/ 440606 h 3641849"/>
                <a:gd name="connsiteX31" fmla="*/ 941811 w 1457148"/>
                <a:gd name="connsiteY31" fmla="*/ 466462 h 3641849"/>
                <a:gd name="connsiteX32" fmla="*/ 925183 w 1457148"/>
                <a:gd name="connsiteY32" fmla="*/ 691417 h 3641849"/>
                <a:gd name="connsiteX33" fmla="*/ 797717 w 1457148"/>
                <a:gd name="connsiteY33" fmla="*/ 771575 h 3641849"/>
                <a:gd name="connsiteX34" fmla="*/ 684105 w 1457148"/>
                <a:gd name="connsiteY34" fmla="*/ 779331 h 3641849"/>
                <a:gd name="connsiteX35" fmla="*/ 545552 w 1457148"/>
                <a:gd name="connsiteY35" fmla="*/ 758645 h 3641849"/>
                <a:gd name="connsiteX36" fmla="*/ 454108 w 1457148"/>
                <a:gd name="connsiteY36" fmla="*/ 722445 h 3641849"/>
                <a:gd name="connsiteX37" fmla="*/ 434711 w 1457148"/>
                <a:gd name="connsiteY37" fmla="*/ 750888 h 3641849"/>
                <a:gd name="connsiteX38" fmla="*/ 465353 w 1457148"/>
                <a:gd name="connsiteY38" fmla="*/ 824301 h 3641849"/>
                <a:gd name="connsiteX39" fmla="*/ 470894 w 1457148"/>
                <a:gd name="connsiteY39" fmla="*/ 951000 h 3641849"/>
                <a:gd name="connsiteX40" fmla="*/ 443024 w 1457148"/>
                <a:gd name="connsiteY40" fmla="*/ 1012043 h 3641849"/>
                <a:gd name="connsiteX41" fmla="*/ 498443 w 1457148"/>
                <a:gd name="connsiteY41" fmla="*/ 1032728 h 3641849"/>
                <a:gd name="connsiteX42" fmla="*/ 515071 w 1457148"/>
                <a:gd name="connsiteY42" fmla="*/ 1048242 h 3641849"/>
                <a:gd name="connsiteX43" fmla="*/ 540011 w 1457148"/>
                <a:gd name="connsiteY43" fmla="*/ 1074099 h 3641849"/>
                <a:gd name="connsiteX44" fmla="*/ 537240 w 1457148"/>
                <a:gd name="connsiteY44" fmla="*/ 1076685 h 3641849"/>
                <a:gd name="connsiteX45" fmla="*/ 576033 w 1457148"/>
                <a:gd name="connsiteY45" fmla="*/ 1071514 h 3641849"/>
                <a:gd name="connsiteX46" fmla="*/ 584347 w 1457148"/>
                <a:gd name="connsiteY46" fmla="*/ 1035314 h 3641849"/>
                <a:gd name="connsiteX47" fmla="*/ 545552 w 1457148"/>
                <a:gd name="connsiteY47" fmla="*/ 957743 h 3641849"/>
                <a:gd name="connsiteX48" fmla="*/ 614828 w 1457148"/>
                <a:gd name="connsiteY48" fmla="*/ 911200 h 3641849"/>
                <a:gd name="connsiteX49" fmla="*/ 682600 w 1457148"/>
                <a:gd name="connsiteY49" fmla="*/ 918934 h 3641849"/>
                <a:gd name="connsiteX50" fmla="*/ 706433 w 1457148"/>
                <a:gd name="connsiteY50" fmla="*/ 951001 h 3641849"/>
                <a:gd name="connsiteX51" fmla="*/ 862162 w 1457148"/>
                <a:gd name="connsiteY51" fmla="*/ 1007364 h 3641849"/>
                <a:gd name="connsiteX52" fmla="*/ 847754 w 1457148"/>
                <a:gd name="connsiteY52" fmla="*/ 971687 h 3641849"/>
                <a:gd name="connsiteX53" fmla="*/ 814502 w 1457148"/>
                <a:gd name="connsiteY53" fmla="*/ 932901 h 3641849"/>
                <a:gd name="connsiteX54" fmla="*/ 803418 w 1457148"/>
                <a:gd name="connsiteY54" fmla="*/ 881187 h 3641849"/>
                <a:gd name="connsiteX55" fmla="*/ 842213 w 1457148"/>
                <a:gd name="connsiteY55" fmla="*/ 832060 h 3641849"/>
                <a:gd name="connsiteX56" fmla="*/ 869923 w 1457148"/>
                <a:gd name="connsiteY56" fmla="*/ 803617 h 3641849"/>
                <a:gd name="connsiteX57" fmla="*/ 894863 w 1457148"/>
                <a:gd name="connsiteY57" fmla="*/ 767417 h 3641849"/>
                <a:gd name="connsiteX58" fmla="*/ 975223 w 1457148"/>
                <a:gd name="connsiteY58" fmla="*/ 762245 h 3641849"/>
                <a:gd name="connsiteX59" fmla="*/ 980764 w 1457148"/>
                <a:gd name="connsiteY59" fmla="*/ 741560 h 3641849"/>
                <a:gd name="connsiteX60" fmla="*/ 1005704 w 1457148"/>
                <a:gd name="connsiteY60" fmla="*/ 705360 h 3641849"/>
                <a:gd name="connsiteX61" fmla="*/ 1039508 w 1457148"/>
                <a:gd name="connsiteY61" fmla="*/ 687772 h 3641849"/>
                <a:gd name="connsiteX62" fmla="*/ 1097148 w 1457148"/>
                <a:gd name="connsiteY62" fmla="*/ 700189 h 3641849"/>
                <a:gd name="connsiteX63" fmla="*/ 1135941 w 1457148"/>
                <a:gd name="connsiteY63" fmla="*/ 720875 h 3641849"/>
                <a:gd name="connsiteX64" fmla="*/ 1183049 w 1457148"/>
                <a:gd name="connsiteY64" fmla="*/ 728632 h 3641849"/>
                <a:gd name="connsiteX65" fmla="*/ 1183049 w 1457148"/>
                <a:gd name="connsiteY65" fmla="*/ 733803 h 3641849"/>
                <a:gd name="connsiteX66" fmla="*/ 1205218 w 1457148"/>
                <a:gd name="connsiteY66" fmla="*/ 674332 h 3641849"/>
                <a:gd name="connsiteX67" fmla="*/ 1215193 w 1457148"/>
                <a:gd name="connsiteY67" fmla="*/ 640714 h 3641849"/>
                <a:gd name="connsiteX68" fmla="*/ 1221844 w 1457148"/>
                <a:gd name="connsiteY68" fmla="*/ 622618 h 3641849"/>
                <a:gd name="connsiteX69" fmla="*/ 1224781 w 1457148"/>
                <a:gd name="connsiteY69" fmla="*/ 591288 h 3641849"/>
                <a:gd name="connsiteX70" fmla="*/ 1144255 w 1457148"/>
                <a:gd name="connsiteY70" fmla="*/ 545048 h 3641849"/>
                <a:gd name="connsiteX71" fmla="*/ 1130400 w 1457148"/>
                <a:gd name="connsiteY71" fmla="*/ 472648 h 3641849"/>
                <a:gd name="connsiteX72" fmla="*/ 1130400 w 1457148"/>
                <a:gd name="connsiteY72" fmla="*/ 454548 h 3641849"/>
                <a:gd name="connsiteX73" fmla="*/ 1141483 w 1457148"/>
                <a:gd name="connsiteY73" fmla="*/ 431276 h 3641849"/>
                <a:gd name="connsiteX74" fmla="*/ 1144255 w 1457148"/>
                <a:gd name="connsiteY74" fmla="*/ 415762 h 3641849"/>
                <a:gd name="connsiteX75" fmla="*/ 1144254 w 1457148"/>
                <a:gd name="connsiteY75" fmla="*/ 358878 h 3641849"/>
                <a:gd name="connsiteX76" fmla="*/ 1122086 w 1457148"/>
                <a:gd name="connsiteY76" fmla="*/ 335607 h 3641849"/>
                <a:gd name="connsiteX77" fmla="*/ 1094376 w 1457148"/>
                <a:gd name="connsiteY77" fmla="*/ 304578 h 3641849"/>
                <a:gd name="connsiteX78" fmla="*/ 1090208 w 1457148"/>
                <a:gd name="connsiteY78" fmla="*/ 280325 h 3641849"/>
                <a:gd name="connsiteX79" fmla="*/ 1141484 w 1457148"/>
                <a:gd name="connsiteY79" fmla="*/ 258034 h 3641849"/>
                <a:gd name="connsiteX80" fmla="*/ 1195064 w 1457148"/>
                <a:gd name="connsiteY80" fmla="*/ 267906 h 3641849"/>
                <a:gd name="connsiteX81" fmla="*/ 1273848 w 1457148"/>
                <a:gd name="connsiteY81" fmla="*/ 279816 h 3641849"/>
                <a:gd name="connsiteX82" fmla="*/ 1358171 w 1457148"/>
                <a:gd name="connsiteY82" fmla="*/ 349175 h 3641849"/>
                <a:gd name="connsiteX83" fmla="*/ 1420306 w 1457148"/>
                <a:gd name="connsiteY83" fmla="*/ 425271 h 3641849"/>
                <a:gd name="connsiteX84" fmla="*/ 1319335 w 1457148"/>
                <a:gd name="connsiteY84" fmla="*/ 454265 h 3641849"/>
                <a:gd name="connsiteX85" fmla="*/ 1303801 w 1457148"/>
                <a:gd name="connsiteY85" fmla="*/ 501372 h 3641849"/>
                <a:gd name="connsiteX86" fmla="*/ 1361471 w 1457148"/>
                <a:gd name="connsiteY86" fmla="*/ 585862 h 3641849"/>
                <a:gd name="connsiteX87" fmla="*/ 1397005 w 1457148"/>
                <a:gd name="connsiteY87" fmla="*/ 591964 h 3641849"/>
                <a:gd name="connsiteX88" fmla="*/ 1449625 w 1457148"/>
                <a:gd name="connsiteY88" fmla="*/ 598304 h 3641849"/>
                <a:gd name="connsiteX89" fmla="*/ 1444662 w 1457148"/>
                <a:gd name="connsiteY89" fmla="*/ 709079 h 3641849"/>
                <a:gd name="connsiteX90" fmla="*/ 1455731 w 1457148"/>
                <a:gd name="connsiteY90" fmla="*/ 1040047 h 3641849"/>
                <a:gd name="connsiteX91" fmla="*/ 1446863 w 1457148"/>
                <a:gd name="connsiteY91" fmla="*/ 1842646 h 3641849"/>
                <a:gd name="connsiteX92" fmla="*/ 1455730 w 1457148"/>
                <a:gd name="connsiteY92" fmla="*/ 2297728 h 3641849"/>
                <a:gd name="connsiteX93" fmla="*/ 1429282 w 1457148"/>
                <a:gd name="connsiteY93" fmla="*/ 3607693 h 3641849"/>
                <a:gd name="connsiteX94" fmla="*/ 1170855 w 1457148"/>
                <a:gd name="connsiteY94" fmla="*/ 3564098 h 3641849"/>
                <a:gd name="connsiteX95" fmla="*/ 1002377 w 1457148"/>
                <a:gd name="connsiteY95" fmla="*/ 3497903 h 3641849"/>
                <a:gd name="connsiteX96" fmla="*/ 825031 w 1457148"/>
                <a:gd name="connsiteY96" fmla="*/ 3406887 h 3641849"/>
                <a:gd name="connsiteX97" fmla="*/ 726733 w 1457148"/>
                <a:gd name="connsiteY97" fmla="*/ 3326370 h 3641849"/>
                <a:gd name="connsiteX98" fmla="*/ 1020995 w 1457148"/>
                <a:gd name="connsiteY98" fmla="*/ 3018734 h 3641849"/>
                <a:gd name="connsiteX99" fmla="*/ 737241 w 1457148"/>
                <a:gd name="connsiteY99" fmla="*/ 2480910 h 3641849"/>
                <a:gd name="connsiteX100" fmla="*/ 879591 w 1457148"/>
                <a:gd name="connsiteY100" fmla="*/ 2241825 h 3641849"/>
                <a:gd name="connsiteX101" fmla="*/ 692904 w 1457148"/>
                <a:gd name="connsiteY101" fmla="*/ 1703134 h 3641849"/>
                <a:gd name="connsiteX102" fmla="*/ 444620 w 1457148"/>
                <a:gd name="connsiteY102" fmla="*/ 1471456 h 3641849"/>
                <a:gd name="connsiteX103" fmla="*/ 435753 w 1457148"/>
                <a:gd name="connsiteY103" fmla="*/ 1355617 h 3641849"/>
                <a:gd name="connsiteX0" fmla="*/ 435753 w 1457148"/>
                <a:gd name="connsiteY0" fmla="*/ 1355617 h 3641849"/>
                <a:gd name="connsiteX1" fmla="*/ 185321 w 1457148"/>
                <a:gd name="connsiteY1" fmla="*/ 952573 h 3641849"/>
                <a:gd name="connsiteX2" fmla="*/ 96648 w 1457148"/>
                <a:gd name="connsiteY2" fmla="*/ 794845 h 3641849"/>
                <a:gd name="connsiteX3" fmla="*/ 135443 w 1457148"/>
                <a:gd name="connsiteY3" fmla="*/ 779332 h 3641849"/>
                <a:gd name="connsiteX4" fmla="*/ 21830 w 1457148"/>
                <a:gd name="connsiteY4" fmla="*/ 551792 h 3641849"/>
                <a:gd name="connsiteX5" fmla="*/ 80021 w 1457148"/>
                <a:gd name="connsiteY5" fmla="*/ 458707 h 3641849"/>
                <a:gd name="connsiteX6" fmla="*/ 85563 w 1457148"/>
                <a:gd name="connsiteY6" fmla="*/ 378550 h 3641849"/>
                <a:gd name="connsiteX7" fmla="*/ 10744 w 1457148"/>
                <a:gd name="connsiteY7" fmla="*/ 319079 h 3641849"/>
                <a:gd name="connsiteX8" fmla="*/ 2432 w 1457148"/>
                <a:gd name="connsiteY8" fmla="*/ 251851 h 3641849"/>
                <a:gd name="connsiteX9" fmla="*/ 57852 w 1457148"/>
                <a:gd name="connsiteY9" fmla="*/ 158764 h 3641849"/>
                <a:gd name="connsiteX10" fmla="*/ 77250 w 1457148"/>
                <a:gd name="connsiteY10" fmla="*/ 135494 h 3641849"/>
                <a:gd name="connsiteX11" fmla="*/ 91105 w 1457148"/>
                <a:gd name="connsiteY11" fmla="*/ 117394 h 3641849"/>
                <a:gd name="connsiteX12" fmla="*/ 99418 w 1457148"/>
                <a:gd name="connsiteY12" fmla="*/ 73438 h 3641849"/>
                <a:gd name="connsiteX13" fmla="*/ 124357 w 1457148"/>
                <a:gd name="connsiteY13" fmla="*/ 101880 h 3641849"/>
                <a:gd name="connsiteX14" fmla="*/ 154839 w 1457148"/>
                <a:gd name="connsiteY14" fmla="*/ 88952 h 3641849"/>
                <a:gd name="connsiteX15" fmla="*/ 157609 w 1457148"/>
                <a:gd name="connsiteY15" fmla="*/ 63095 h 3641849"/>
                <a:gd name="connsiteX16" fmla="*/ 165923 w 1457148"/>
                <a:gd name="connsiteY16" fmla="*/ 34652 h 3641849"/>
                <a:gd name="connsiteX17" fmla="*/ 168695 w 1457148"/>
                <a:gd name="connsiteY17" fmla="*/ 3624 h 3641849"/>
                <a:gd name="connsiteX18" fmla="*/ 304475 w 1457148"/>
                <a:gd name="connsiteY18" fmla="*/ 57924 h 3641849"/>
                <a:gd name="connsiteX19" fmla="*/ 334955 w 1457148"/>
                <a:gd name="connsiteY19" fmla="*/ 161352 h 3641849"/>
                <a:gd name="connsiteX20" fmla="*/ 348811 w 1457148"/>
                <a:gd name="connsiteY20" fmla="*/ 184622 h 3641849"/>
                <a:gd name="connsiteX21" fmla="*/ 359895 w 1457148"/>
                <a:gd name="connsiteY21" fmla="*/ 187208 h 3641849"/>
                <a:gd name="connsiteX22" fmla="*/ 473507 w 1457148"/>
                <a:gd name="connsiteY22" fmla="*/ 156181 h 3641849"/>
                <a:gd name="connsiteX23" fmla="*/ 540012 w 1457148"/>
                <a:gd name="connsiteY23" fmla="*/ 166522 h 3641849"/>
                <a:gd name="connsiteX24" fmla="*/ 603746 w 1457148"/>
                <a:gd name="connsiteY24" fmla="*/ 213065 h 3641849"/>
                <a:gd name="connsiteX25" fmla="*/ 617773 w 1457148"/>
                <a:gd name="connsiteY25" fmla="*/ 242621 h 3641849"/>
                <a:gd name="connsiteX26" fmla="*/ 673020 w 1457148"/>
                <a:gd name="connsiteY26" fmla="*/ 277708 h 3641849"/>
                <a:gd name="connsiteX27" fmla="*/ 761694 w 1457148"/>
                <a:gd name="connsiteY27" fmla="*/ 303563 h 3641849"/>
                <a:gd name="connsiteX28" fmla="*/ 833740 w 1457148"/>
                <a:gd name="connsiteY28" fmla="*/ 350106 h 3641849"/>
                <a:gd name="connsiteX29" fmla="*/ 883619 w 1457148"/>
                <a:gd name="connsiteY29" fmla="*/ 401820 h 3641849"/>
                <a:gd name="connsiteX30" fmla="*/ 908558 w 1457148"/>
                <a:gd name="connsiteY30" fmla="*/ 440606 h 3641849"/>
                <a:gd name="connsiteX31" fmla="*/ 941811 w 1457148"/>
                <a:gd name="connsiteY31" fmla="*/ 466462 h 3641849"/>
                <a:gd name="connsiteX32" fmla="*/ 925183 w 1457148"/>
                <a:gd name="connsiteY32" fmla="*/ 691417 h 3641849"/>
                <a:gd name="connsiteX33" fmla="*/ 797717 w 1457148"/>
                <a:gd name="connsiteY33" fmla="*/ 771575 h 3641849"/>
                <a:gd name="connsiteX34" fmla="*/ 684105 w 1457148"/>
                <a:gd name="connsiteY34" fmla="*/ 779331 h 3641849"/>
                <a:gd name="connsiteX35" fmla="*/ 545552 w 1457148"/>
                <a:gd name="connsiteY35" fmla="*/ 758645 h 3641849"/>
                <a:gd name="connsiteX36" fmla="*/ 454108 w 1457148"/>
                <a:gd name="connsiteY36" fmla="*/ 722445 h 3641849"/>
                <a:gd name="connsiteX37" fmla="*/ 434711 w 1457148"/>
                <a:gd name="connsiteY37" fmla="*/ 750888 h 3641849"/>
                <a:gd name="connsiteX38" fmla="*/ 465353 w 1457148"/>
                <a:gd name="connsiteY38" fmla="*/ 824301 h 3641849"/>
                <a:gd name="connsiteX39" fmla="*/ 470894 w 1457148"/>
                <a:gd name="connsiteY39" fmla="*/ 951000 h 3641849"/>
                <a:gd name="connsiteX40" fmla="*/ 443024 w 1457148"/>
                <a:gd name="connsiteY40" fmla="*/ 1012043 h 3641849"/>
                <a:gd name="connsiteX41" fmla="*/ 498443 w 1457148"/>
                <a:gd name="connsiteY41" fmla="*/ 1032728 h 3641849"/>
                <a:gd name="connsiteX42" fmla="*/ 515071 w 1457148"/>
                <a:gd name="connsiteY42" fmla="*/ 1048242 h 3641849"/>
                <a:gd name="connsiteX43" fmla="*/ 540011 w 1457148"/>
                <a:gd name="connsiteY43" fmla="*/ 1074099 h 3641849"/>
                <a:gd name="connsiteX44" fmla="*/ 537240 w 1457148"/>
                <a:gd name="connsiteY44" fmla="*/ 1076685 h 3641849"/>
                <a:gd name="connsiteX45" fmla="*/ 576033 w 1457148"/>
                <a:gd name="connsiteY45" fmla="*/ 1071514 h 3641849"/>
                <a:gd name="connsiteX46" fmla="*/ 584347 w 1457148"/>
                <a:gd name="connsiteY46" fmla="*/ 1035314 h 3641849"/>
                <a:gd name="connsiteX47" fmla="*/ 545552 w 1457148"/>
                <a:gd name="connsiteY47" fmla="*/ 957743 h 3641849"/>
                <a:gd name="connsiteX48" fmla="*/ 614828 w 1457148"/>
                <a:gd name="connsiteY48" fmla="*/ 911200 h 3641849"/>
                <a:gd name="connsiteX49" fmla="*/ 682600 w 1457148"/>
                <a:gd name="connsiteY49" fmla="*/ 918934 h 3641849"/>
                <a:gd name="connsiteX50" fmla="*/ 706433 w 1457148"/>
                <a:gd name="connsiteY50" fmla="*/ 951001 h 3641849"/>
                <a:gd name="connsiteX51" fmla="*/ 862162 w 1457148"/>
                <a:gd name="connsiteY51" fmla="*/ 1007364 h 3641849"/>
                <a:gd name="connsiteX52" fmla="*/ 847754 w 1457148"/>
                <a:gd name="connsiteY52" fmla="*/ 971687 h 3641849"/>
                <a:gd name="connsiteX53" fmla="*/ 814502 w 1457148"/>
                <a:gd name="connsiteY53" fmla="*/ 932901 h 3641849"/>
                <a:gd name="connsiteX54" fmla="*/ 803418 w 1457148"/>
                <a:gd name="connsiteY54" fmla="*/ 881187 h 3641849"/>
                <a:gd name="connsiteX55" fmla="*/ 842213 w 1457148"/>
                <a:gd name="connsiteY55" fmla="*/ 832060 h 3641849"/>
                <a:gd name="connsiteX56" fmla="*/ 869923 w 1457148"/>
                <a:gd name="connsiteY56" fmla="*/ 803617 h 3641849"/>
                <a:gd name="connsiteX57" fmla="*/ 894863 w 1457148"/>
                <a:gd name="connsiteY57" fmla="*/ 767417 h 3641849"/>
                <a:gd name="connsiteX58" fmla="*/ 975223 w 1457148"/>
                <a:gd name="connsiteY58" fmla="*/ 762245 h 3641849"/>
                <a:gd name="connsiteX59" fmla="*/ 980764 w 1457148"/>
                <a:gd name="connsiteY59" fmla="*/ 741560 h 3641849"/>
                <a:gd name="connsiteX60" fmla="*/ 1005704 w 1457148"/>
                <a:gd name="connsiteY60" fmla="*/ 705360 h 3641849"/>
                <a:gd name="connsiteX61" fmla="*/ 1039508 w 1457148"/>
                <a:gd name="connsiteY61" fmla="*/ 687772 h 3641849"/>
                <a:gd name="connsiteX62" fmla="*/ 1097148 w 1457148"/>
                <a:gd name="connsiteY62" fmla="*/ 700189 h 3641849"/>
                <a:gd name="connsiteX63" fmla="*/ 1135941 w 1457148"/>
                <a:gd name="connsiteY63" fmla="*/ 720875 h 3641849"/>
                <a:gd name="connsiteX64" fmla="*/ 1183049 w 1457148"/>
                <a:gd name="connsiteY64" fmla="*/ 728632 h 3641849"/>
                <a:gd name="connsiteX65" fmla="*/ 1183049 w 1457148"/>
                <a:gd name="connsiteY65" fmla="*/ 733803 h 3641849"/>
                <a:gd name="connsiteX66" fmla="*/ 1205218 w 1457148"/>
                <a:gd name="connsiteY66" fmla="*/ 674332 h 3641849"/>
                <a:gd name="connsiteX67" fmla="*/ 1215193 w 1457148"/>
                <a:gd name="connsiteY67" fmla="*/ 640714 h 3641849"/>
                <a:gd name="connsiteX68" fmla="*/ 1221844 w 1457148"/>
                <a:gd name="connsiteY68" fmla="*/ 622618 h 3641849"/>
                <a:gd name="connsiteX69" fmla="*/ 1224781 w 1457148"/>
                <a:gd name="connsiteY69" fmla="*/ 591288 h 3641849"/>
                <a:gd name="connsiteX70" fmla="*/ 1144255 w 1457148"/>
                <a:gd name="connsiteY70" fmla="*/ 545048 h 3641849"/>
                <a:gd name="connsiteX71" fmla="*/ 1130400 w 1457148"/>
                <a:gd name="connsiteY71" fmla="*/ 472648 h 3641849"/>
                <a:gd name="connsiteX72" fmla="*/ 1130400 w 1457148"/>
                <a:gd name="connsiteY72" fmla="*/ 454548 h 3641849"/>
                <a:gd name="connsiteX73" fmla="*/ 1141483 w 1457148"/>
                <a:gd name="connsiteY73" fmla="*/ 431276 h 3641849"/>
                <a:gd name="connsiteX74" fmla="*/ 1144255 w 1457148"/>
                <a:gd name="connsiteY74" fmla="*/ 415762 h 3641849"/>
                <a:gd name="connsiteX75" fmla="*/ 1144254 w 1457148"/>
                <a:gd name="connsiteY75" fmla="*/ 358878 h 3641849"/>
                <a:gd name="connsiteX76" fmla="*/ 1122086 w 1457148"/>
                <a:gd name="connsiteY76" fmla="*/ 335607 h 3641849"/>
                <a:gd name="connsiteX77" fmla="*/ 1094376 w 1457148"/>
                <a:gd name="connsiteY77" fmla="*/ 304578 h 3641849"/>
                <a:gd name="connsiteX78" fmla="*/ 1090208 w 1457148"/>
                <a:gd name="connsiteY78" fmla="*/ 280325 h 3641849"/>
                <a:gd name="connsiteX79" fmla="*/ 1141484 w 1457148"/>
                <a:gd name="connsiteY79" fmla="*/ 258034 h 3641849"/>
                <a:gd name="connsiteX80" fmla="*/ 1195064 w 1457148"/>
                <a:gd name="connsiteY80" fmla="*/ 267906 h 3641849"/>
                <a:gd name="connsiteX81" fmla="*/ 1273848 w 1457148"/>
                <a:gd name="connsiteY81" fmla="*/ 279816 h 3641849"/>
                <a:gd name="connsiteX82" fmla="*/ 1358171 w 1457148"/>
                <a:gd name="connsiteY82" fmla="*/ 349175 h 3641849"/>
                <a:gd name="connsiteX83" fmla="*/ 1420306 w 1457148"/>
                <a:gd name="connsiteY83" fmla="*/ 425271 h 3641849"/>
                <a:gd name="connsiteX84" fmla="*/ 1319335 w 1457148"/>
                <a:gd name="connsiteY84" fmla="*/ 454265 h 3641849"/>
                <a:gd name="connsiteX85" fmla="*/ 1303801 w 1457148"/>
                <a:gd name="connsiteY85" fmla="*/ 501372 h 3641849"/>
                <a:gd name="connsiteX86" fmla="*/ 1361471 w 1457148"/>
                <a:gd name="connsiteY86" fmla="*/ 585862 h 3641849"/>
                <a:gd name="connsiteX87" fmla="*/ 1397005 w 1457148"/>
                <a:gd name="connsiteY87" fmla="*/ 591964 h 3641849"/>
                <a:gd name="connsiteX88" fmla="*/ 1449625 w 1457148"/>
                <a:gd name="connsiteY88" fmla="*/ 598304 h 3641849"/>
                <a:gd name="connsiteX89" fmla="*/ 1444662 w 1457148"/>
                <a:gd name="connsiteY89" fmla="*/ 709079 h 3641849"/>
                <a:gd name="connsiteX90" fmla="*/ 1455731 w 1457148"/>
                <a:gd name="connsiteY90" fmla="*/ 1040047 h 3641849"/>
                <a:gd name="connsiteX91" fmla="*/ 1446863 w 1457148"/>
                <a:gd name="connsiteY91" fmla="*/ 1842646 h 3641849"/>
                <a:gd name="connsiteX92" fmla="*/ 1455730 w 1457148"/>
                <a:gd name="connsiteY92" fmla="*/ 2297728 h 3641849"/>
                <a:gd name="connsiteX93" fmla="*/ 1429282 w 1457148"/>
                <a:gd name="connsiteY93" fmla="*/ 3607693 h 3641849"/>
                <a:gd name="connsiteX94" fmla="*/ 1170855 w 1457148"/>
                <a:gd name="connsiteY94" fmla="*/ 3564098 h 3641849"/>
                <a:gd name="connsiteX95" fmla="*/ 1002377 w 1457148"/>
                <a:gd name="connsiteY95" fmla="*/ 3497903 h 3641849"/>
                <a:gd name="connsiteX96" fmla="*/ 825031 w 1457148"/>
                <a:gd name="connsiteY96" fmla="*/ 3406887 h 3641849"/>
                <a:gd name="connsiteX97" fmla="*/ 726733 w 1457148"/>
                <a:gd name="connsiteY97" fmla="*/ 3326370 h 3641849"/>
                <a:gd name="connsiteX98" fmla="*/ 1020995 w 1457148"/>
                <a:gd name="connsiteY98" fmla="*/ 3018734 h 3641849"/>
                <a:gd name="connsiteX99" fmla="*/ 737241 w 1457148"/>
                <a:gd name="connsiteY99" fmla="*/ 2480910 h 3641849"/>
                <a:gd name="connsiteX100" fmla="*/ 879591 w 1457148"/>
                <a:gd name="connsiteY100" fmla="*/ 2241825 h 3641849"/>
                <a:gd name="connsiteX101" fmla="*/ 692904 w 1457148"/>
                <a:gd name="connsiteY101" fmla="*/ 1703134 h 3641849"/>
                <a:gd name="connsiteX102" fmla="*/ 444620 w 1457148"/>
                <a:gd name="connsiteY102" fmla="*/ 1471456 h 3641849"/>
                <a:gd name="connsiteX103" fmla="*/ 435753 w 1457148"/>
                <a:gd name="connsiteY103" fmla="*/ 1355617 h 3641849"/>
                <a:gd name="connsiteX0" fmla="*/ 435753 w 1457148"/>
                <a:gd name="connsiteY0" fmla="*/ 1355617 h 3641849"/>
                <a:gd name="connsiteX1" fmla="*/ 188091 w 1457148"/>
                <a:gd name="connsiteY1" fmla="*/ 949988 h 3641849"/>
                <a:gd name="connsiteX2" fmla="*/ 96648 w 1457148"/>
                <a:gd name="connsiteY2" fmla="*/ 794845 h 3641849"/>
                <a:gd name="connsiteX3" fmla="*/ 135443 w 1457148"/>
                <a:gd name="connsiteY3" fmla="*/ 779332 h 3641849"/>
                <a:gd name="connsiteX4" fmla="*/ 21830 w 1457148"/>
                <a:gd name="connsiteY4" fmla="*/ 551792 h 3641849"/>
                <a:gd name="connsiteX5" fmla="*/ 80021 w 1457148"/>
                <a:gd name="connsiteY5" fmla="*/ 458707 h 3641849"/>
                <a:gd name="connsiteX6" fmla="*/ 85563 w 1457148"/>
                <a:gd name="connsiteY6" fmla="*/ 378550 h 3641849"/>
                <a:gd name="connsiteX7" fmla="*/ 10744 w 1457148"/>
                <a:gd name="connsiteY7" fmla="*/ 319079 h 3641849"/>
                <a:gd name="connsiteX8" fmla="*/ 2432 w 1457148"/>
                <a:gd name="connsiteY8" fmla="*/ 251851 h 3641849"/>
                <a:gd name="connsiteX9" fmla="*/ 57852 w 1457148"/>
                <a:gd name="connsiteY9" fmla="*/ 158764 h 3641849"/>
                <a:gd name="connsiteX10" fmla="*/ 77250 w 1457148"/>
                <a:gd name="connsiteY10" fmla="*/ 135494 h 3641849"/>
                <a:gd name="connsiteX11" fmla="*/ 91105 w 1457148"/>
                <a:gd name="connsiteY11" fmla="*/ 117394 h 3641849"/>
                <a:gd name="connsiteX12" fmla="*/ 99418 w 1457148"/>
                <a:gd name="connsiteY12" fmla="*/ 73438 h 3641849"/>
                <a:gd name="connsiteX13" fmla="*/ 124357 w 1457148"/>
                <a:gd name="connsiteY13" fmla="*/ 101880 h 3641849"/>
                <a:gd name="connsiteX14" fmla="*/ 154839 w 1457148"/>
                <a:gd name="connsiteY14" fmla="*/ 88952 h 3641849"/>
                <a:gd name="connsiteX15" fmla="*/ 157609 w 1457148"/>
                <a:gd name="connsiteY15" fmla="*/ 63095 h 3641849"/>
                <a:gd name="connsiteX16" fmla="*/ 165923 w 1457148"/>
                <a:gd name="connsiteY16" fmla="*/ 34652 h 3641849"/>
                <a:gd name="connsiteX17" fmla="*/ 168695 w 1457148"/>
                <a:gd name="connsiteY17" fmla="*/ 3624 h 3641849"/>
                <a:gd name="connsiteX18" fmla="*/ 304475 w 1457148"/>
                <a:gd name="connsiteY18" fmla="*/ 57924 h 3641849"/>
                <a:gd name="connsiteX19" fmla="*/ 334955 w 1457148"/>
                <a:gd name="connsiteY19" fmla="*/ 161352 h 3641849"/>
                <a:gd name="connsiteX20" fmla="*/ 348811 w 1457148"/>
                <a:gd name="connsiteY20" fmla="*/ 184622 h 3641849"/>
                <a:gd name="connsiteX21" fmla="*/ 359895 w 1457148"/>
                <a:gd name="connsiteY21" fmla="*/ 187208 h 3641849"/>
                <a:gd name="connsiteX22" fmla="*/ 473507 w 1457148"/>
                <a:gd name="connsiteY22" fmla="*/ 156181 h 3641849"/>
                <a:gd name="connsiteX23" fmla="*/ 540012 w 1457148"/>
                <a:gd name="connsiteY23" fmla="*/ 166522 h 3641849"/>
                <a:gd name="connsiteX24" fmla="*/ 603746 w 1457148"/>
                <a:gd name="connsiteY24" fmla="*/ 213065 h 3641849"/>
                <a:gd name="connsiteX25" fmla="*/ 617773 w 1457148"/>
                <a:gd name="connsiteY25" fmla="*/ 242621 h 3641849"/>
                <a:gd name="connsiteX26" fmla="*/ 673020 w 1457148"/>
                <a:gd name="connsiteY26" fmla="*/ 277708 h 3641849"/>
                <a:gd name="connsiteX27" fmla="*/ 761694 w 1457148"/>
                <a:gd name="connsiteY27" fmla="*/ 303563 h 3641849"/>
                <a:gd name="connsiteX28" fmla="*/ 833740 w 1457148"/>
                <a:gd name="connsiteY28" fmla="*/ 350106 h 3641849"/>
                <a:gd name="connsiteX29" fmla="*/ 883619 w 1457148"/>
                <a:gd name="connsiteY29" fmla="*/ 401820 h 3641849"/>
                <a:gd name="connsiteX30" fmla="*/ 908558 w 1457148"/>
                <a:gd name="connsiteY30" fmla="*/ 440606 h 3641849"/>
                <a:gd name="connsiteX31" fmla="*/ 941811 w 1457148"/>
                <a:gd name="connsiteY31" fmla="*/ 466462 h 3641849"/>
                <a:gd name="connsiteX32" fmla="*/ 925183 w 1457148"/>
                <a:gd name="connsiteY32" fmla="*/ 691417 h 3641849"/>
                <a:gd name="connsiteX33" fmla="*/ 797717 w 1457148"/>
                <a:gd name="connsiteY33" fmla="*/ 771575 h 3641849"/>
                <a:gd name="connsiteX34" fmla="*/ 684105 w 1457148"/>
                <a:gd name="connsiteY34" fmla="*/ 779331 h 3641849"/>
                <a:gd name="connsiteX35" fmla="*/ 545552 w 1457148"/>
                <a:gd name="connsiteY35" fmla="*/ 758645 h 3641849"/>
                <a:gd name="connsiteX36" fmla="*/ 454108 w 1457148"/>
                <a:gd name="connsiteY36" fmla="*/ 722445 h 3641849"/>
                <a:gd name="connsiteX37" fmla="*/ 434711 w 1457148"/>
                <a:gd name="connsiteY37" fmla="*/ 750888 h 3641849"/>
                <a:gd name="connsiteX38" fmla="*/ 465353 w 1457148"/>
                <a:gd name="connsiteY38" fmla="*/ 824301 h 3641849"/>
                <a:gd name="connsiteX39" fmla="*/ 470894 w 1457148"/>
                <a:gd name="connsiteY39" fmla="*/ 951000 h 3641849"/>
                <a:gd name="connsiteX40" fmla="*/ 443024 w 1457148"/>
                <a:gd name="connsiteY40" fmla="*/ 1012043 h 3641849"/>
                <a:gd name="connsiteX41" fmla="*/ 498443 w 1457148"/>
                <a:gd name="connsiteY41" fmla="*/ 1032728 h 3641849"/>
                <a:gd name="connsiteX42" fmla="*/ 515071 w 1457148"/>
                <a:gd name="connsiteY42" fmla="*/ 1048242 h 3641849"/>
                <a:gd name="connsiteX43" fmla="*/ 540011 w 1457148"/>
                <a:gd name="connsiteY43" fmla="*/ 1074099 h 3641849"/>
                <a:gd name="connsiteX44" fmla="*/ 537240 w 1457148"/>
                <a:gd name="connsiteY44" fmla="*/ 1076685 h 3641849"/>
                <a:gd name="connsiteX45" fmla="*/ 576033 w 1457148"/>
                <a:gd name="connsiteY45" fmla="*/ 1071514 h 3641849"/>
                <a:gd name="connsiteX46" fmla="*/ 584347 w 1457148"/>
                <a:gd name="connsiteY46" fmla="*/ 1035314 h 3641849"/>
                <a:gd name="connsiteX47" fmla="*/ 545552 w 1457148"/>
                <a:gd name="connsiteY47" fmla="*/ 957743 h 3641849"/>
                <a:gd name="connsiteX48" fmla="*/ 614828 w 1457148"/>
                <a:gd name="connsiteY48" fmla="*/ 911200 h 3641849"/>
                <a:gd name="connsiteX49" fmla="*/ 682600 w 1457148"/>
                <a:gd name="connsiteY49" fmla="*/ 918934 h 3641849"/>
                <a:gd name="connsiteX50" fmla="*/ 706433 w 1457148"/>
                <a:gd name="connsiteY50" fmla="*/ 951001 h 3641849"/>
                <a:gd name="connsiteX51" fmla="*/ 862162 w 1457148"/>
                <a:gd name="connsiteY51" fmla="*/ 1007364 h 3641849"/>
                <a:gd name="connsiteX52" fmla="*/ 847754 w 1457148"/>
                <a:gd name="connsiteY52" fmla="*/ 971687 h 3641849"/>
                <a:gd name="connsiteX53" fmla="*/ 814502 w 1457148"/>
                <a:gd name="connsiteY53" fmla="*/ 932901 h 3641849"/>
                <a:gd name="connsiteX54" fmla="*/ 803418 w 1457148"/>
                <a:gd name="connsiteY54" fmla="*/ 881187 h 3641849"/>
                <a:gd name="connsiteX55" fmla="*/ 842213 w 1457148"/>
                <a:gd name="connsiteY55" fmla="*/ 832060 h 3641849"/>
                <a:gd name="connsiteX56" fmla="*/ 869923 w 1457148"/>
                <a:gd name="connsiteY56" fmla="*/ 803617 h 3641849"/>
                <a:gd name="connsiteX57" fmla="*/ 894863 w 1457148"/>
                <a:gd name="connsiteY57" fmla="*/ 767417 h 3641849"/>
                <a:gd name="connsiteX58" fmla="*/ 975223 w 1457148"/>
                <a:gd name="connsiteY58" fmla="*/ 762245 h 3641849"/>
                <a:gd name="connsiteX59" fmla="*/ 980764 w 1457148"/>
                <a:gd name="connsiteY59" fmla="*/ 741560 h 3641849"/>
                <a:gd name="connsiteX60" fmla="*/ 1005704 w 1457148"/>
                <a:gd name="connsiteY60" fmla="*/ 705360 h 3641849"/>
                <a:gd name="connsiteX61" fmla="*/ 1039508 w 1457148"/>
                <a:gd name="connsiteY61" fmla="*/ 687772 h 3641849"/>
                <a:gd name="connsiteX62" fmla="*/ 1097148 w 1457148"/>
                <a:gd name="connsiteY62" fmla="*/ 700189 h 3641849"/>
                <a:gd name="connsiteX63" fmla="*/ 1135941 w 1457148"/>
                <a:gd name="connsiteY63" fmla="*/ 720875 h 3641849"/>
                <a:gd name="connsiteX64" fmla="*/ 1183049 w 1457148"/>
                <a:gd name="connsiteY64" fmla="*/ 728632 h 3641849"/>
                <a:gd name="connsiteX65" fmla="*/ 1183049 w 1457148"/>
                <a:gd name="connsiteY65" fmla="*/ 733803 h 3641849"/>
                <a:gd name="connsiteX66" fmla="*/ 1205218 w 1457148"/>
                <a:gd name="connsiteY66" fmla="*/ 674332 h 3641849"/>
                <a:gd name="connsiteX67" fmla="*/ 1215193 w 1457148"/>
                <a:gd name="connsiteY67" fmla="*/ 640714 h 3641849"/>
                <a:gd name="connsiteX68" fmla="*/ 1221844 w 1457148"/>
                <a:gd name="connsiteY68" fmla="*/ 622618 h 3641849"/>
                <a:gd name="connsiteX69" fmla="*/ 1224781 w 1457148"/>
                <a:gd name="connsiteY69" fmla="*/ 591288 h 3641849"/>
                <a:gd name="connsiteX70" fmla="*/ 1144255 w 1457148"/>
                <a:gd name="connsiteY70" fmla="*/ 545048 h 3641849"/>
                <a:gd name="connsiteX71" fmla="*/ 1130400 w 1457148"/>
                <a:gd name="connsiteY71" fmla="*/ 472648 h 3641849"/>
                <a:gd name="connsiteX72" fmla="*/ 1130400 w 1457148"/>
                <a:gd name="connsiteY72" fmla="*/ 454548 h 3641849"/>
                <a:gd name="connsiteX73" fmla="*/ 1141483 w 1457148"/>
                <a:gd name="connsiteY73" fmla="*/ 431276 h 3641849"/>
                <a:gd name="connsiteX74" fmla="*/ 1144255 w 1457148"/>
                <a:gd name="connsiteY74" fmla="*/ 415762 h 3641849"/>
                <a:gd name="connsiteX75" fmla="*/ 1144254 w 1457148"/>
                <a:gd name="connsiteY75" fmla="*/ 358878 h 3641849"/>
                <a:gd name="connsiteX76" fmla="*/ 1122086 w 1457148"/>
                <a:gd name="connsiteY76" fmla="*/ 335607 h 3641849"/>
                <a:gd name="connsiteX77" fmla="*/ 1094376 w 1457148"/>
                <a:gd name="connsiteY77" fmla="*/ 304578 h 3641849"/>
                <a:gd name="connsiteX78" fmla="*/ 1090208 w 1457148"/>
                <a:gd name="connsiteY78" fmla="*/ 280325 h 3641849"/>
                <a:gd name="connsiteX79" fmla="*/ 1141484 w 1457148"/>
                <a:gd name="connsiteY79" fmla="*/ 258034 h 3641849"/>
                <a:gd name="connsiteX80" fmla="*/ 1195064 w 1457148"/>
                <a:gd name="connsiteY80" fmla="*/ 267906 h 3641849"/>
                <a:gd name="connsiteX81" fmla="*/ 1273848 w 1457148"/>
                <a:gd name="connsiteY81" fmla="*/ 279816 h 3641849"/>
                <a:gd name="connsiteX82" fmla="*/ 1358171 w 1457148"/>
                <a:gd name="connsiteY82" fmla="*/ 349175 h 3641849"/>
                <a:gd name="connsiteX83" fmla="*/ 1420306 w 1457148"/>
                <a:gd name="connsiteY83" fmla="*/ 425271 h 3641849"/>
                <a:gd name="connsiteX84" fmla="*/ 1319335 w 1457148"/>
                <a:gd name="connsiteY84" fmla="*/ 454265 h 3641849"/>
                <a:gd name="connsiteX85" fmla="*/ 1303801 w 1457148"/>
                <a:gd name="connsiteY85" fmla="*/ 501372 h 3641849"/>
                <a:gd name="connsiteX86" fmla="*/ 1361471 w 1457148"/>
                <a:gd name="connsiteY86" fmla="*/ 585862 h 3641849"/>
                <a:gd name="connsiteX87" fmla="*/ 1397005 w 1457148"/>
                <a:gd name="connsiteY87" fmla="*/ 591964 h 3641849"/>
                <a:gd name="connsiteX88" fmla="*/ 1449625 w 1457148"/>
                <a:gd name="connsiteY88" fmla="*/ 598304 h 3641849"/>
                <a:gd name="connsiteX89" fmla="*/ 1444662 w 1457148"/>
                <a:gd name="connsiteY89" fmla="*/ 709079 h 3641849"/>
                <a:gd name="connsiteX90" fmla="*/ 1455731 w 1457148"/>
                <a:gd name="connsiteY90" fmla="*/ 1040047 h 3641849"/>
                <a:gd name="connsiteX91" fmla="*/ 1446863 w 1457148"/>
                <a:gd name="connsiteY91" fmla="*/ 1842646 h 3641849"/>
                <a:gd name="connsiteX92" fmla="*/ 1455730 w 1457148"/>
                <a:gd name="connsiteY92" fmla="*/ 2297728 h 3641849"/>
                <a:gd name="connsiteX93" fmla="*/ 1429282 w 1457148"/>
                <a:gd name="connsiteY93" fmla="*/ 3607693 h 3641849"/>
                <a:gd name="connsiteX94" fmla="*/ 1170855 w 1457148"/>
                <a:gd name="connsiteY94" fmla="*/ 3564098 h 3641849"/>
                <a:gd name="connsiteX95" fmla="*/ 1002377 w 1457148"/>
                <a:gd name="connsiteY95" fmla="*/ 3497903 h 3641849"/>
                <a:gd name="connsiteX96" fmla="*/ 825031 w 1457148"/>
                <a:gd name="connsiteY96" fmla="*/ 3406887 h 3641849"/>
                <a:gd name="connsiteX97" fmla="*/ 726733 w 1457148"/>
                <a:gd name="connsiteY97" fmla="*/ 3326370 h 3641849"/>
                <a:gd name="connsiteX98" fmla="*/ 1020995 w 1457148"/>
                <a:gd name="connsiteY98" fmla="*/ 3018734 h 3641849"/>
                <a:gd name="connsiteX99" fmla="*/ 737241 w 1457148"/>
                <a:gd name="connsiteY99" fmla="*/ 2480910 h 3641849"/>
                <a:gd name="connsiteX100" fmla="*/ 879591 w 1457148"/>
                <a:gd name="connsiteY100" fmla="*/ 2241825 h 3641849"/>
                <a:gd name="connsiteX101" fmla="*/ 692904 w 1457148"/>
                <a:gd name="connsiteY101" fmla="*/ 1703134 h 3641849"/>
                <a:gd name="connsiteX102" fmla="*/ 444620 w 1457148"/>
                <a:gd name="connsiteY102" fmla="*/ 1471456 h 3641849"/>
                <a:gd name="connsiteX103" fmla="*/ 435753 w 1457148"/>
                <a:gd name="connsiteY103" fmla="*/ 1355617 h 3641849"/>
                <a:gd name="connsiteX0" fmla="*/ 435753 w 1457148"/>
                <a:gd name="connsiteY0" fmla="*/ 1355617 h 3641849"/>
                <a:gd name="connsiteX1" fmla="*/ 188091 w 1457148"/>
                <a:gd name="connsiteY1" fmla="*/ 949988 h 3641849"/>
                <a:gd name="connsiteX2" fmla="*/ 113273 w 1457148"/>
                <a:gd name="connsiteY2" fmla="*/ 1017215 h 3641849"/>
                <a:gd name="connsiteX3" fmla="*/ 96648 w 1457148"/>
                <a:gd name="connsiteY3" fmla="*/ 794845 h 3641849"/>
                <a:gd name="connsiteX4" fmla="*/ 135443 w 1457148"/>
                <a:gd name="connsiteY4" fmla="*/ 779332 h 3641849"/>
                <a:gd name="connsiteX5" fmla="*/ 21830 w 1457148"/>
                <a:gd name="connsiteY5" fmla="*/ 551792 h 3641849"/>
                <a:gd name="connsiteX6" fmla="*/ 80021 w 1457148"/>
                <a:gd name="connsiteY6" fmla="*/ 458707 h 3641849"/>
                <a:gd name="connsiteX7" fmla="*/ 85563 w 1457148"/>
                <a:gd name="connsiteY7" fmla="*/ 378550 h 3641849"/>
                <a:gd name="connsiteX8" fmla="*/ 10744 w 1457148"/>
                <a:gd name="connsiteY8" fmla="*/ 319079 h 3641849"/>
                <a:gd name="connsiteX9" fmla="*/ 2432 w 1457148"/>
                <a:gd name="connsiteY9" fmla="*/ 251851 h 3641849"/>
                <a:gd name="connsiteX10" fmla="*/ 57852 w 1457148"/>
                <a:gd name="connsiteY10" fmla="*/ 158764 h 3641849"/>
                <a:gd name="connsiteX11" fmla="*/ 77250 w 1457148"/>
                <a:gd name="connsiteY11" fmla="*/ 135494 h 3641849"/>
                <a:gd name="connsiteX12" fmla="*/ 91105 w 1457148"/>
                <a:gd name="connsiteY12" fmla="*/ 117394 h 3641849"/>
                <a:gd name="connsiteX13" fmla="*/ 99418 w 1457148"/>
                <a:gd name="connsiteY13" fmla="*/ 73438 h 3641849"/>
                <a:gd name="connsiteX14" fmla="*/ 124357 w 1457148"/>
                <a:gd name="connsiteY14" fmla="*/ 101880 h 3641849"/>
                <a:gd name="connsiteX15" fmla="*/ 154839 w 1457148"/>
                <a:gd name="connsiteY15" fmla="*/ 88952 h 3641849"/>
                <a:gd name="connsiteX16" fmla="*/ 157609 w 1457148"/>
                <a:gd name="connsiteY16" fmla="*/ 63095 h 3641849"/>
                <a:gd name="connsiteX17" fmla="*/ 165923 w 1457148"/>
                <a:gd name="connsiteY17" fmla="*/ 34652 h 3641849"/>
                <a:gd name="connsiteX18" fmla="*/ 168695 w 1457148"/>
                <a:gd name="connsiteY18" fmla="*/ 3624 h 3641849"/>
                <a:gd name="connsiteX19" fmla="*/ 304475 w 1457148"/>
                <a:gd name="connsiteY19" fmla="*/ 57924 h 3641849"/>
                <a:gd name="connsiteX20" fmla="*/ 334955 w 1457148"/>
                <a:gd name="connsiteY20" fmla="*/ 161352 h 3641849"/>
                <a:gd name="connsiteX21" fmla="*/ 348811 w 1457148"/>
                <a:gd name="connsiteY21" fmla="*/ 184622 h 3641849"/>
                <a:gd name="connsiteX22" fmla="*/ 359895 w 1457148"/>
                <a:gd name="connsiteY22" fmla="*/ 187208 h 3641849"/>
                <a:gd name="connsiteX23" fmla="*/ 473507 w 1457148"/>
                <a:gd name="connsiteY23" fmla="*/ 156181 h 3641849"/>
                <a:gd name="connsiteX24" fmla="*/ 540012 w 1457148"/>
                <a:gd name="connsiteY24" fmla="*/ 166522 h 3641849"/>
                <a:gd name="connsiteX25" fmla="*/ 603746 w 1457148"/>
                <a:gd name="connsiteY25" fmla="*/ 213065 h 3641849"/>
                <a:gd name="connsiteX26" fmla="*/ 617773 w 1457148"/>
                <a:gd name="connsiteY26" fmla="*/ 242621 h 3641849"/>
                <a:gd name="connsiteX27" fmla="*/ 673020 w 1457148"/>
                <a:gd name="connsiteY27" fmla="*/ 277708 h 3641849"/>
                <a:gd name="connsiteX28" fmla="*/ 761694 w 1457148"/>
                <a:gd name="connsiteY28" fmla="*/ 303563 h 3641849"/>
                <a:gd name="connsiteX29" fmla="*/ 833740 w 1457148"/>
                <a:gd name="connsiteY29" fmla="*/ 350106 h 3641849"/>
                <a:gd name="connsiteX30" fmla="*/ 883619 w 1457148"/>
                <a:gd name="connsiteY30" fmla="*/ 401820 h 3641849"/>
                <a:gd name="connsiteX31" fmla="*/ 908558 w 1457148"/>
                <a:gd name="connsiteY31" fmla="*/ 440606 h 3641849"/>
                <a:gd name="connsiteX32" fmla="*/ 941811 w 1457148"/>
                <a:gd name="connsiteY32" fmla="*/ 466462 h 3641849"/>
                <a:gd name="connsiteX33" fmla="*/ 925183 w 1457148"/>
                <a:gd name="connsiteY33" fmla="*/ 691417 h 3641849"/>
                <a:gd name="connsiteX34" fmla="*/ 797717 w 1457148"/>
                <a:gd name="connsiteY34" fmla="*/ 771575 h 3641849"/>
                <a:gd name="connsiteX35" fmla="*/ 684105 w 1457148"/>
                <a:gd name="connsiteY35" fmla="*/ 779331 h 3641849"/>
                <a:gd name="connsiteX36" fmla="*/ 545552 w 1457148"/>
                <a:gd name="connsiteY36" fmla="*/ 758645 h 3641849"/>
                <a:gd name="connsiteX37" fmla="*/ 454108 w 1457148"/>
                <a:gd name="connsiteY37" fmla="*/ 722445 h 3641849"/>
                <a:gd name="connsiteX38" fmla="*/ 434711 w 1457148"/>
                <a:gd name="connsiteY38" fmla="*/ 750888 h 3641849"/>
                <a:gd name="connsiteX39" fmla="*/ 465353 w 1457148"/>
                <a:gd name="connsiteY39" fmla="*/ 824301 h 3641849"/>
                <a:gd name="connsiteX40" fmla="*/ 470894 w 1457148"/>
                <a:gd name="connsiteY40" fmla="*/ 951000 h 3641849"/>
                <a:gd name="connsiteX41" fmla="*/ 443024 w 1457148"/>
                <a:gd name="connsiteY41" fmla="*/ 1012043 h 3641849"/>
                <a:gd name="connsiteX42" fmla="*/ 498443 w 1457148"/>
                <a:gd name="connsiteY42" fmla="*/ 1032728 h 3641849"/>
                <a:gd name="connsiteX43" fmla="*/ 515071 w 1457148"/>
                <a:gd name="connsiteY43" fmla="*/ 1048242 h 3641849"/>
                <a:gd name="connsiteX44" fmla="*/ 540011 w 1457148"/>
                <a:gd name="connsiteY44" fmla="*/ 1074099 h 3641849"/>
                <a:gd name="connsiteX45" fmla="*/ 537240 w 1457148"/>
                <a:gd name="connsiteY45" fmla="*/ 1076685 h 3641849"/>
                <a:gd name="connsiteX46" fmla="*/ 576033 w 1457148"/>
                <a:gd name="connsiteY46" fmla="*/ 1071514 h 3641849"/>
                <a:gd name="connsiteX47" fmla="*/ 584347 w 1457148"/>
                <a:gd name="connsiteY47" fmla="*/ 1035314 h 3641849"/>
                <a:gd name="connsiteX48" fmla="*/ 545552 w 1457148"/>
                <a:gd name="connsiteY48" fmla="*/ 957743 h 3641849"/>
                <a:gd name="connsiteX49" fmla="*/ 614828 w 1457148"/>
                <a:gd name="connsiteY49" fmla="*/ 911200 h 3641849"/>
                <a:gd name="connsiteX50" fmla="*/ 682600 w 1457148"/>
                <a:gd name="connsiteY50" fmla="*/ 918934 h 3641849"/>
                <a:gd name="connsiteX51" fmla="*/ 706433 w 1457148"/>
                <a:gd name="connsiteY51" fmla="*/ 951001 h 3641849"/>
                <a:gd name="connsiteX52" fmla="*/ 862162 w 1457148"/>
                <a:gd name="connsiteY52" fmla="*/ 1007364 h 3641849"/>
                <a:gd name="connsiteX53" fmla="*/ 847754 w 1457148"/>
                <a:gd name="connsiteY53" fmla="*/ 971687 h 3641849"/>
                <a:gd name="connsiteX54" fmla="*/ 814502 w 1457148"/>
                <a:gd name="connsiteY54" fmla="*/ 932901 h 3641849"/>
                <a:gd name="connsiteX55" fmla="*/ 803418 w 1457148"/>
                <a:gd name="connsiteY55" fmla="*/ 881187 h 3641849"/>
                <a:gd name="connsiteX56" fmla="*/ 842213 w 1457148"/>
                <a:gd name="connsiteY56" fmla="*/ 832060 h 3641849"/>
                <a:gd name="connsiteX57" fmla="*/ 869923 w 1457148"/>
                <a:gd name="connsiteY57" fmla="*/ 803617 h 3641849"/>
                <a:gd name="connsiteX58" fmla="*/ 894863 w 1457148"/>
                <a:gd name="connsiteY58" fmla="*/ 767417 h 3641849"/>
                <a:gd name="connsiteX59" fmla="*/ 975223 w 1457148"/>
                <a:gd name="connsiteY59" fmla="*/ 762245 h 3641849"/>
                <a:gd name="connsiteX60" fmla="*/ 980764 w 1457148"/>
                <a:gd name="connsiteY60" fmla="*/ 741560 h 3641849"/>
                <a:gd name="connsiteX61" fmla="*/ 1005704 w 1457148"/>
                <a:gd name="connsiteY61" fmla="*/ 705360 h 3641849"/>
                <a:gd name="connsiteX62" fmla="*/ 1039508 w 1457148"/>
                <a:gd name="connsiteY62" fmla="*/ 687772 h 3641849"/>
                <a:gd name="connsiteX63" fmla="*/ 1097148 w 1457148"/>
                <a:gd name="connsiteY63" fmla="*/ 700189 h 3641849"/>
                <a:gd name="connsiteX64" fmla="*/ 1135941 w 1457148"/>
                <a:gd name="connsiteY64" fmla="*/ 720875 h 3641849"/>
                <a:gd name="connsiteX65" fmla="*/ 1183049 w 1457148"/>
                <a:gd name="connsiteY65" fmla="*/ 728632 h 3641849"/>
                <a:gd name="connsiteX66" fmla="*/ 1183049 w 1457148"/>
                <a:gd name="connsiteY66" fmla="*/ 733803 h 3641849"/>
                <a:gd name="connsiteX67" fmla="*/ 1205218 w 1457148"/>
                <a:gd name="connsiteY67" fmla="*/ 674332 h 3641849"/>
                <a:gd name="connsiteX68" fmla="*/ 1215193 w 1457148"/>
                <a:gd name="connsiteY68" fmla="*/ 640714 h 3641849"/>
                <a:gd name="connsiteX69" fmla="*/ 1221844 w 1457148"/>
                <a:gd name="connsiteY69" fmla="*/ 622618 h 3641849"/>
                <a:gd name="connsiteX70" fmla="*/ 1224781 w 1457148"/>
                <a:gd name="connsiteY70" fmla="*/ 591288 h 3641849"/>
                <a:gd name="connsiteX71" fmla="*/ 1144255 w 1457148"/>
                <a:gd name="connsiteY71" fmla="*/ 545048 h 3641849"/>
                <a:gd name="connsiteX72" fmla="*/ 1130400 w 1457148"/>
                <a:gd name="connsiteY72" fmla="*/ 472648 h 3641849"/>
                <a:gd name="connsiteX73" fmla="*/ 1130400 w 1457148"/>
                <a:gd name="connsiteY73" fmla="*/ 454548 h 3641849"/>
                <a:gd name="connsiteX74" fmla="*/ 1141483 w 1457148"/>
                <a:gd name="connsiteY74" fmla="*/ 431276 h 3641849"/>
                <a:gd name="connsiteX75" fmla="*/ 1144255 w 1457148"/>
                <a:gd name="connsiteY75" fmla="*/ 415762 h 3641849"/>
                <a:gd name="connsiteX76" fmla="*/ 1144254 w 1457148"/>
                <a:gd name="connsiteY76" fmla="*/ 358878 h 3641849"/>
                <a:gd name="connsiteX77" fmla="*/ 1122086 w 1457148"/>
                <a:gd name="connsiteY77" fmla="*/ 335607 h 3641849"/>
                <a:gd name="connsiteX78" fmla="*/ 1094376 w 1457148"/>
                <a:gd name="connsiteY78" fmla="*/ 304578 h 3641849"/>
                <a:gd name="connsiteX79" fmla="*/ 1090208 w 1457148"/>
                <a:gd name="connsiteY79" fmla="*/ 280325 h 3641849"/>
                <a:gd name="connsiteX80" fmla="*/ 1141484 w 1457148"/>
                <a:gd name="connsiteY80" fmla="*/ 258034 h 3641849"/>
                <a:gd name="connsiteX81" fmla="*/ 1195064 w 1457148"/>
                <a:gd name="connsiteY81" fmla="*/ 267906 h 3641849"/>
                <a:gd name="connsiteX82" fmla="*/ 1273848 w 1457148"/>
                <a:gd name="connsiteY82" fmla="*/ 279816 h 3641849"/>
                <a:gd name="connsiteX83" fmla="*/ 1358171 w 1457148"/>
                <a:gd name="connsiteY83" fmla="*/ 349175 h 3641849"/>
                <a:gd name="connsiteX84" fmla="*/ 1420306 w 1457148"/>
                <a:gd name="connsiteY84" fmla="*/ 425271 h 3641849"/>
                <a:gd name="connsiteX85" fmla="*/ 1319335 w 1457148"/>
                <a:gd name="connsiteY85" fmla="*/ 454265 h 3641849"/>
                <a:gd name="connsiteX86" fmla="*/ 1303801 w 1457148"/>
                <a:gd name="connsiteY86" fmla="*/ 501372 h 3641849"/>
                <a:gd name="connsiteX87" fmla="*/ 1361471 w 1457148"/>
                <a:gd name="connsiteY87" fmla="*/ 585862 h 3641849"/>
                <a:gd name="connsiteX88" fmla="*/ 1397005 w 1457148"/>
                <a:gd name="connsiteY88" fmla="*/ 591964 h 3641849"/>
                <a:gd name="connsiteX89" fmla="*/ 1449625 w 1457148"/>
                <a:gd name="connsiteY89" fmla="*/ 598304 h 3641849"/>
                <a:gd name="connsiteX90" fmla="*/ 1444662 w 1457148"/>
                <a:gd name="connsiteY90" fmla="*/ 709079 h 3641849"/>
                <a:gd name="connsiteX91" fmla="*/ 1455731 w 1457148"/>
                <a:gd name="connsiteY91" fmla="*/ 1040047 h 3641849"/>
                <a:gd name="connsiteX92" fmla="*/ 1446863 w 1457148"/>
                <a:gd name="connsiteY92" fmla="*/ 1842646 h 3641849"/>
                <a:gd name="connsiteX93" fmla="*/ 1455730 w 1457148"/>
                <a:gd name="connsiteY93" fmla="*/ 2297728 h 3641849"/>
                <a:gd name="connsiteX94" fmla="*/ 1429282 w 1457148"/>
                <a:gd name="connsiteY94" fmla="*/ 3607693 h 3641849"/>
                <a:gd name="connsiteX95" fmla="*/ 1170855 w 1457148"/>
                <a:gd name="connsiteY95" fmla="*/ 3564098 h 3641849"/>
                <a:gd name="connsiteX96" fmla="*/ 1002377 w 1457148"/>
                <a:gd name="connsiteY96" fmla="*/ 3497903 h 3641849"/>
                <a:gd name="connsiteX97" fmla="*/ 825031 w 1457148"/>
                <a:gd name="connsiteY97" fmla="*/ 3406887 h 3641849"/>
                <a:gd name="connsiteX98" fmla="*/ 726733 w 1457148"/>
                <a:gd name="connsiteY98" fmla="*/ 3326370 h 3641849"/>
                <a:gd name="connsiteX99" fmla="*/ 1020995 w 1457148"/>
                <a:gd name="connsiteY99" fmla="*/ 3018734 h 3641849"/>
                <a:gd name="connsiteX100" fmla="*/ 737241 w 1457148"/>
                <a:gd name="connsiteY100" fmla="*/ 2480910 h 3641849"/>
                <a:gd name="connsiteX101" fmla="*/ 879591 w 1457148"/>
                <a:gd name="connsiteY101" fmla="*/ 2241825 h 3641849"/>
                <a:gd name="connsiteX102" fmla="*/ 692904 w 1457148"/>
                <a:gd name="connsiteY102" fmla="*/ 1703134 h 3641849"/>
                <a:gd name="connsiteX103" fmla="*/ 444620 w 1457148"/>
                <a:gd name="connsiteY103" fmla="*/ 1471456 h 3641849"/>
                <a:gd name="connsiteX104" fmla="*/ 435753 w 1457148"/>
                <a:gd name="connsiteY104" fmla="*/ 1355617 h 3641849"/>
                <a:gd name="connsiteX0" fmla="*/ 435753 w 1457148"/>
                <a:gd name="connsiteY0" fmla="*/ 1355617 h 3641849"/>
                <a:gd name="connsiteX1" fmla="*/ 188091 w 1457148"/>
                <a:gd name="connsiteY1" fmla="*/ 949988 h 3641849"/>
                <a:gd name="connsiteX2" fmla="*/ 113273 w 1457148"/>
                <a:gd name="connsiteY2" fmla="*/ 1017215 h 3641849"/>
                <a:gd name="connsiteX3" fmla="*/ 96648 w 1457148"/>
                <a:gd name="connsiteY3" fmla="*/ 794845 h 3641849"/>
                <a:gd name="connsiteX4" fmla="*/ 135443 w 1457148"/>
                <a:gd name="connsiteY4" fmla="*/ 779332 h 3641849"/>
                <a:gd name="connsiteX5" fmla="*/ 21830 w 1457148"/>
                <a:gd name="connsiteY5" fmla="*/ 551792 h 3641849"/>
                <a:gd name="connsiteX6" fmla="*/ 80021 w 1457148"/>
                <a:gd name="connsiteY6" fmla="*/ 458707 h 3641849"/>
                <a:gd name="connsiteX7" fmla="*/ 85563 w 1457148"/>
                <a:gd name="connsiteY7" fmla="*/ 378550 h 3641849"/>
                <a:gd name="connsiteX8" fmla="*/ 10744 w 1457148"/>
                <a:gd name="connsiteY8" fmla="*/ 319079 h 3641849"/>
                <a:gd name="connsiteX9" fmla="*/ 2432 w 1457148"/>
                <a:gd name="connsiteY9" fmla="*/ 251851 h 3641849"/>
                <a:gd name="connsiteX10" fmla="*/ 57852 w 1457148"/>
                <a:gd name="connsiteY10" fmla="*/ 158764 h 3641849"/>
                <a:gd name="connsiteX11" fmla="*/ 77250 w 1457148"/>
                <a:gd name="connsiteY11" fmla="*/ 135494 h 3641849"/>
                <a:gd name="connsiteX12" fmla="*/ 91105 w 1457148"/>
                <a:gd name="connsiteY12" fmla="*/ 117394 h 3641849"/>
                <a:gd name="connsiteX13" fmla="*/ 99418 w 1457148"/>
                <a:gd name="connsiteY13" fmla="*/ 73438 h 3641849"/>
                <a:gd name="connsiteX14" fmla="*/ 124357 w 1457148"/>
                <a:gd name="connsiteY14" fmla="*/ 101880 h 3641849"/>
                <a:gd name="connsiteX15" fmla="*/ 154839 w 1457148"/>
                <a:gd name="connsiteY15" fmla="*/ 88952 h 3641849"/>
                <a:gd name="connsiteX16" fmla="*/ 157609 w 1457148"/>
                <a:gd name="connsiteY16" fmla="*/ 63095 h 3641849"/>
                <a:gd name="connsiteX17" fmla="*/ 165923 w 1457148"/>
                <a:gd name="connsiteY17" fmla="*/ 34652 h 3641849"/>
                <a:gd name="connsiteX18" fmla="*/ 168695 w 1457148"/>
                <a:gd name="connsiteY18" fmla="*/ 3624 h 3641849"/>
                <a:gd name="connsiteX19" fmla="*/ 304475 w 1457148"/>
                <a:gd name="connsiteY19" fmla="*/ 57924 h 3641849"/>
                <a:gd name="connsiteX20" fmla="*/ 334955 w 1457148"/>
                <a:gd name="connsiteY20" fmla="*/ 161352 h 3641849"/>
                <a:gd name="connsiteX21" fmla="*/ 348811 w 1457148"/>
                <a:gd name="connsiteY21" fmla="*/ 184622 h 3641849"/>
                <a:gd name="connsiteX22" fmla="*/ 359895 w 1457148"/>
                <a:gd name="connsiteY22" fmla="*/ 187208 h 3641849"/>
                <a:gd name="connsiteX23" fmla="*/ 473507 w 1457148"/>
                <a:gd name="connsiteY23" fmla="*/ 156181 h 3641849"/>
                <a:gd name="connsiteX24" fmla="*/ 540012 w 1457148"/>
                <a:gd name="connsiteY24" fmla="*/ 166522 h 3641849"/>
                <a:gd name="connsiteX25" fmla="*/ 603746 w 1457148"/>
                <a:gd name="connsiteY25" fmla="*/ 213065 h 3641849"/>
                <a:gd name="connsiteX26" fmla="*/ 617773 w 1457148"/>
                <a:gd name="connsiteY26" fmla="*/ 242621 h 3641849"/>
                <a:gd name="connsiteX27" fmla="*/ 673020 w 1457148"/>
                <a:gd name="connsiteY27" fmla="*/ 277708 h 3641849"/>
                <a:gd name="connsiteX28" fmla="*/ 761694 w 1457148"/>
                <a:gd name="connsiteY28" fmla="*/ 303563 h 3641849"/>
                <a:gd name="connsiteX29" fmla="*/ 833740 w 1457148"/>
                <a:gd name="connsiteY29" fmla="*/ 350106 h 3641849"/>
                <a:gd name="connsiteX30" fmla="*/ 883619 w 1457148"/>
                <a:gd name="connsiteY30" fmla="*/ 401820 h 3641849"/>
                <a:gd name="connsiteX31" fmla="*/ 908558 w 1457148"/>
                <a:gd name="connsiteY31" fmla="*/ 440606 h 3641849"/>
                <a:gd name="connsiteX32" fmla="*/ 941811 w 1457148"/>
                <a:gd name="connsiteY32" fmla="*/ 466462 h 3641849"/>
                <a:gd name="connsiteX33" fmla="*/ 925183 w 1457148"/>
                <a:gd name="connsiteY33" fmla="*/ 691417 h 3641849"/>
                <a:gd name="connsiteX34" fmla="*/ 797717 w 1457148"/>
                <a:gd name="connsiteY34" fmla="*/ 771575 h 3641849"/>
                <a:gd name="connsiteX35" fmla="*/ 684105 w 1457148"/>
                <a:gd name="connsiteY35" fmla="*/ 779331 h 3641849"/>
                <a:gd name="connsiteX36" fmla="*/ 545552 w 1457148"/>
                <a:gd name="connsiteY36" fmla="*/ 758645 h 3641849"/>
                <a:gd name="connsiteX37" fmla="*/ 454108 w 1457148"/>
                <a:gd name="connsiteY37" fmla="*/ 722445 h 3641849"/>
                <a:gd name="connsiteX38" fmla="*/ 434711 w 1457148"/>
                <a:gd name="connsiteY38" fmla="*/ 750888 h 3641849"/>
                <a:gd name="connsiteX39" fmla="*/ 465353 w 1457148"/>
                <a:gd name="connsiteY39" fmla="*/ 824301 h 3641849"/>
                <a:gd name="connsiteX40" fmla="*/ 470894 w 1457148"/>
                <a:gd name="connsiteY40" fmla="*/ 951000 h 3641849"/>
                <a:gd name="connsiteX41" fmla="*/ 443024 w 1457148"/>
                <a:gd name="connsiteY41" fmla="*/ 1012043 h 3641849"/>
                <a:gd name="connsiteX42" fmla="*/ 498443 w 1457148"/>
                <a:gd name="connsiteY42" fmla="*/ 1032728 h 3641849"/>
                <a:gd name="connsiteX43" fmla="*/ 515071 w 1457148"/>
                <a:gd name="connsiteY43" fmla="*/ 1048242 h 3641849"/>
                <a:gd name="connsiteX44" fmla="*/ 540011 w 1457148"/>
                <a:gd name="connsiteY44" fmla="*/ 1074099 h 3641849"/>
                <a:gd name="connsiteX45" fmla="*/ 537240 w 1457148"/>
                <a:gd name="connsiteY45" fmla="*/ 1076685 h 3641849"/>
                <a:gd name="connsiteX46" fmla="*/ 576033 w 1457148"/>
                <a:gd name="connsiteY46" fmla="*/ 1071514 h 3641849"/>
                <a:gd name="connsiteX47" fmla="*/ 584347 w 1457148"/>
                <a:gd name="connsiteY47" fmla="*/ 1035314 h 3641849"/>
                <a:gd name="connsiteX48" fmla="*/ 545552 w 1457148"/>
                <a:gd name="connsiteY48" fmla="*/ 957743 h 3641849"/>
                <a:gd name="connsiteX49" fmla="*/ 614828 w 1457148"/>
                <a:gd name="connsiteY49" fmla="*/ 911200 h 3641849"/>
                <a:gd name="connsiteX50" fmla="*/ 682600 w 1457148"/>
                <a:gd name="connsiteY50" fmla="*/ 918934 h 3641849"/>
                <a:gd name="connsiteX51" fmla="*/ 706433 w 1457148"/>
                <a:gd name="connsiteY51" fmla="*/ 951001 h 3641849"/>
                <a:gd name="connsiteX52" fmla="*/ 862162 w 1457148"/>
                <a:gd name="connsiteY52" fmla="*/ 1007364 h 3641849"/>
                <a:gd name="connsiteX53" fmla="*/ 847754 w 1457148"/>
                <a:gd name="connsiteY53" fmla="*/ 971687 h 3641849"/>
                <a:gd name="connsiteX54" fmla="*/ 814502 w 1457148"/>
                <a:gd name="connsiteY54" fmla="*/ 932901 h 3641849"/>
                <a:gd name="connsiteX55" fmla="*/ 803418 w 1457148"/>
                <a:gd name="connsiteY55" fmla="*/ 881187 h 3641849"/>
                <a:gd name="connsiteX56" fmla="*/ 842213 w 1457148"/>
                <a:gd name="connsiteY56" fmla="*/ 832060 h 3641849"/>
                <a:gd name="connsiteX57" fmla="*/ 869923 w 1457148"/>
                <a:gd name="connsiteY57" fmla="*/ 803617 h 3641849"/>
                <a:gd name="connsiteX58" fmla="*/ 894863 w 1457148"/>
                <a:gd name="connsiteY58" fmla="*/ 767417 h 3641849"/>
                <a:gd name="connsiteX59" fmla="*/ 975223 w 1457148"/>
                <a:gd name="connsiteY59" fmla="*/ 762245 h 3641849"/>
                <a:gd name="connsiteX60" fmla="*/ 980764 w 1457148"/>
                <a:gd name="connsiteY60" fmla="*/ 741560 h 3641849"/>
                <a:gd name="connsiteX61" fmla="*/ 1005704 w 1457148"/>
                <a:gd name="connsiteY61" fmla="*/ 705360 h 3641849"/>
                <a:gd name="connsiteX62" fmla="*/ 1039508 w 1457148"/>
                <a:gd name="connsiteY62" fmla="*/ 687772 h 3641849"/>
                <a:gd name="connsiteX63" fmla="*/ 1097148 w 1457148"/>
                <a:gd name="connsiteY63" fmla="*/ 700189 h 3641849"/>
                <a:gd name="connsiteX64" fmla="*/ 1135941 w 1457148"/>
                <a:gd name="connsiteY64" fmla="*/ 720875 h 3641849"/>
                <a:gd name="connsiteX65" fmla="*/ 1183049 w 1457148"/>
                <a:gd name="connsiteY65" fmla="*/ 728632 h 3641849"/>
                <a:gd name="connsiteX66" fmla="*/ 1183049 w 1457148"/>
                <a:gd name="connsiteY66" fmla="*/ 733803 h 3641849"/>
                <a:gd name="connsiteX67" fmla="*/ 1205218 w 1457148"/>
                <a:gd name="connsiteY67" fmla="*/ 674332 h 3641849"/>
                <a:gd name="connsiteX68" fmla="*/ 1215193 w 1457148"/>
                <a:gd name="connsiteY68" fmla="*/ 640714 h 3641849"/>
                <a:gd name="connsiteX69" fmla="*/ 1221844 w 1457148"/>
                <a:gd name="connsiteY69" fmla="*/ 622618 h 3641849"/>
                <a:gd name="connsiteX70" fmla="*/ 1224781 w 1457148"/>
                <a:gd name="connsiteY70" fmla="*/ 591288 h 3641849"/>
                <a:gd name="connsiteX71" fmla="*/ 1144255 w 1457148"/>
                <a:gd name="connsiteY71" fmla="*/ 545048 h 3641849"/>
                <a:gd name="connsiteX72" fmla="*/ 1130400 w 1457148"/>
                <a:gd name="connsiteY72" fmla="*/ 472648 h 3641849"/>
                <a:gd name="connsiteX73" fmla="*/ 1130400 w 1457148"/>
                <a:gd name="connsiteY73" fmla="*/ 454548 h 3641849"/>
                <a:gd name="connsiteX74" fmla="*/ 1141483 w 1457148"/>
                <a:gd name="connsiteY74" fmla="*/ 431276 h 3641849"/>
                <a:gd name="connsiteX75" fmla="*/ 1144255 w 1457148"/>
                <a:gd name="connsiteY75" fmla="*/ 415762 h 3641849"/>
                <a:gd name="connsiteX76" fmla="*/ 1144254 w 1457148"/>
                <a:gd name="connsiteY76" fmla="*/ 358878 h 3641849"/>
                <a:gd name="connsiteX77" fmla="*/ 1122086 w 1457148"/>
                <a:gd name="connsiteY77" fmla="*/ 335607 h 3641849"/>
                <a:gd name="connsiteX78" fmla="*/ 1094376 w 1457148"/>
                <a:gd name="connsiteY78" fmla="*/ 304578 h 3641849"/>
                <a:gd name="connsiteX79" fmla="*/ 1090208 w 1457148"/>
                <a:gd name="connsiteY79" fmla="*/ 280325 h 3641849"/>
                <a:gd name="connsiteX80" fmla="*/ 1141484 w 1457148"/>
                <a:gd name="connsiteY80" fmla="*/ 258034 h 3641849"/>
                <a:gd name="connsiteX81" fmla="*/ 1195064 w 1457148"/>
                <a:gd name="connsiteY81" fmla="*/ 267906 h 3641849"/>
                <a:gd name="connsiteX82" fmla="*/ 1273848 w 1457148"/>
                <a:gd name="connsiteY82" fmla="*/ 279816 h 3641849"/>
                <a:gd name="connsiteX83" fmla="*/ 1358171 w 1457148"/>
                <a:gd name="connsiteY83" fmla="*/ 349175 h 3641849"/>
                <a:gd name="connsiteX84" fmla="*/ 1420306 w 1457148"/>
                <a:gd name="connsiteY84" fmla="*/ 425271 h 3641849"/>
                <a:gd name="connsiteX85" fmla="*/ 1319335 w 1457148"/>
                <a:gd name="connsiteY85" fmla="*/ 454265 h 3641849"/>
                <a:gd name="connsiteX86" fmla="*/ 1303801 w 1457148"/>
                <a:gd name="connsiteY86" fmla="*/ 501372 h 3641849"/>
                <a:gd name="connsiteX87" fmla="*/ 1361471 w 1457148"/>
                <a:gd name="connsiteY87" fmla="*/ 585862 h 3641849"/>
                <a:gd name="connsiteX88" fmla="*/ 1397005 w 1457148"/>
                <a:gd name="connsiteY88" fmla="*/ 591964 h 3641849"/>
                <a:gd name="connsiteX89" fmla="*/ 1449625 w 1457148"/>
                <a:gd name="connsiteY89" fmla="*/ 598304 h 3641849"/>
                <a:gd name="connsiteX90" fmla="*/ 1444662 w 1457148"/>
                <a:gd name="connsiteY90" fmla="*/ 709079 h 3641849"/>
                <a:gd name="connsiteX91" fmla="*/ 1455731 w 1457148"/>
                <a:gd name="connsiteY91" fmla="*/ 1040047 h 3641849"/>
                <a:gd name="connsiteX92" fmla="*/ 1446863 w 1457148"/>
                <a:gd name="connsiteY92" fmla="*/ 1842646 h 3641849"/>
                <a:gd name="connsiteX93" fmla="*/ 1455730 w 1457148"/>
                <a:gd name="connsiteY93" fmla="*/ 2297728 h 3641849"/>
                <a:gd name="connsiteX94" fmla="*/ 1429282 w 1457148"/>
                <a:gd name="connsiteY94" fmla="*/ 3607693 h 3641849"/>
                <a:gd name="connsiteX95" fmla="*/ 1170855 w 1457148"/>
                <a:gd name="connsiteY95" fmla="*/ 3564098 h 3641849"/>
                <a:gd name="connsiteX96" fmla="*/ 1002377 w 1457148"/>
                <a:gd name="connsiteY96" fmla="*/ 3497903 h 3641849"/>
                <a:gd name="connsiteX97" fmla="*/ 825031 w 1457148"/>
                <a:gd name="connsiteY97" fmla="*/ 3406887 h 3641849"/>
                <a:gd name="connsiteX98" fmla="*/ 726733 w 1457148"/>
                <a:gd name="connsiteY98" fmla="*/ 3326370 h 3641849"/>
                <a:gd name="connsiteX99" fmla="*/ 1020995 w 1457148"/>
                <a:gd name="connsiteY99" fmla="*/ 3018734 h 3641849"/>
                <a:gd name="connsiteX100" fmla="*/ 737241 w 1457148"/>
                <a:gd name="connsiteY100" fmla="*/ 2480910 h 3641849"/>
                <a:gd name="connsiteX101" fmla="*/ 879591 w 1457148"/>
                <a:gd name="connsiteY101" fmla="*/ 2241825 h 3641849"/>
                <a:gd name="connsiteX102" fmla="*/ 692904 w 1457148"/>
                <a:gd name="connsiteY102" fmla="*/ 1703134 h 3641849"/>
                <a:gd name="connsiteX103" fmla="*/ 444620 w 1457148"/>
                <a:gd name="connsiteY103" fmla="*/ 1471456 h 3641849"/>
                <a:gd name="connsiteX104" fmla="*/ 435753 w 1457148"/>
                <a:gd name="connsiteY104" fmla="*/ 1355617 h 3641849"/>
                <a:gd name="connsiteX0" fmla="*/ 435753 w 1457148"/>
                <a:gd name="connsiteY0" fmla="*/ 1355617 h 3641849"/>
                <a:gd name="connsiteX1" fmla="*/ 188091 w 1457148"/>
                <a:gd name="connsiteY1" fmla="*/ 949988 h 3641849"/>
                <a:gd name="connsiteX2" fmla="*/ 113273 w 1457148"/>
                <a:gd name="connsiteY2" fmla="*/ 1017215 h 3641849"/>
                <a:gd name="connsiteX3" fmla="*/ 96648 w 1457148"/>
                <a:gd name="connsiteY3" fmla="*/ 794845 h 3641849"/>
                <a:gd name="connsiteX4" fmla="*/ 135443 w 1457148"/>
                <a:gd name="connsiteY4" fmla="*/ 779332 h 3641849"/>
                <a:gd name="connsiteX5" fmla="*/ 21830 w 1457148"/>
                <a:gd name="connsiteY5" fmla="*/ 551792 h 3641849"/>
                <a:gd name="connsiteX6" fmla="*/ 80021 w 1457148"/>
                <a:gd name="connsiteY6" fmla="*/ 458707 h 3641849"/>
                <a:gd name="connsiteX7" fmla="*/ 85563 w 1457148"/>
                <a:gd name="connsiteY7" fmla="*/ 378550 h 3641849"/>
                <a:gd name="connsiteX8" fmla="*/ 10744 w 1457148"/>
                <a:gd name="connsiteY8" fmla="*/ 319079 h 3641849"/>
                <a:gd name="connsiteX9" fmla="*/ 2432 w 1457148"/>
                <a:gd name="connsiteY9" fmla="*/ 251851 h 3641849"/>
                <a:gd name="connsiteX10" fmla="*/ 57852 w 1457148"/>
                <a:gd name="connsiteY10" fmla="*/ 158764 h 3641849"/>
                <a:gd name="connsiteX11" fmla="*/ 77250 w 1457148"/>
                <a:gd name="connsiteY11" fmla="*/ 135494 h 3641849"/>
                <a:gd name="connsiteX12" fmla="*/ 91105 w 1457148"/>
                <a:gd name="connsiteY12" fmla="*/ 117394 h 3641849"/>
                <a:gd name="connsiteX13" fmla="*/ 99418 w 1457148"/>
                <a:gd name="connsiteY13" fmla="*/ 73438 h 3641849"/>
                <a:gd name="connsiteX14" fmla="*/ 124357 w 1457148"/>
                <a:gd name="connsiteY14" fmla="*/ 101880 h 3641849"/>
                <a:gd name="connsiteX15" fmla="*/ 154839 w 1457148"/>
                <a:gd name="connsiteY15" fmla="*/ 88952 h 3641849"/>
                <a:gd name="connsiteX16" fmla="*/ 157609 w 1457148"/>
                <a:gd name="connsiteY16" fmla="*/ 63095 h 3641849"/>
                <a:gd name="connsiteX17" fmla="*/ 165923 w 1457148"/>
                <a:gd name="connsiteY17" fmla="*/ 34652 h 3641849"/>
                <a:gd name="connsiteX18" fmla="*/ 168695 w 1457148"/>
                <a:gd name="connsiteY18" fmla="*/ 3624 h 3641849"/>
                <a:gd name="connsiteX19" fmla="*/ 304475 w 1457148"/>
                <a:gd name="connsiteY19" fmla="*/ 57924 h 3641849"/>
                <a:gd name="connsiteX20" fmla="*/ 334955 w 1457148"/>
                <a:gd name="connsiteY20" fmla="*/ 161352 h 3641849"/>
                <a:gd name="connsiteX21" fmla="*/ 348811 w 1457148"/>
                <a:gd name="connsiteY21" fmla="*/ 184622 h 3641849"/>
                <a:gd name="connsiteX22" fmla="*/ 359895 w 1457148"/>
                <a:gd name="connsiteY22" fmla="*/ 187208 h 3641849"/>
                <a:gd name="connsiteX23" fmla="*/ 473507 w 1457148"/>
                <a:gd name="connsiteY23" fmla="*/ 156181 h 3641849"/>
                <a:gd name="connsiteX24" fmla="*/ 540012 w 1457148"/>
                <a:gd name="connsiteY24" fmla="*/ 166522 h 3641849"/>
                <a:gd name="connsiteX25" fmla="*/ 603746 w 1457148"/>
                <a:gd name="connsiteY25" fmla="*/ 213065 h 3641849"/>
                <a:gd name="connsiteX26" fmla="*/ 617773 w 1457148"/>
                <a:gd name="connsiteY26" fmla="*/ 242621 h 3641849"/>
                <a:gd name="connsiteX27" fmla="*/ 673020 w 1457148"/>
                <a:gd name="connsiteY27" fmla="*/ 277708 h 3641849"/>
                <a:gd name="connsiteX28" fmla="*/ 761694 w 1457148"/>
                <a:gd name="connsiteY28" fmla="*/ 303563 h 3641849"/>
                <a:gd name="connsiteX29" fmla="*/ 833740 w 1457148"/>
                <a:gd name="connsiteY29" fmla="*/ 350106 h 3641849"/>
                <a:gd name="connsiteX30" fmla="*/ 883619 w 1457148"/>
                <a:gd name="connsiteY30" fmla="*/ 401820 h 3641849"/>
                <a:gd name="connsiteX31" fmla="*/ 908558 w 1457148"/>
                <a:gd name="connsiteY31" fmla="*/ 440606 h 3641849"/>
                <a:gd name="connsiteX32" fmla="*/ 941811 w 1457148"/>
                <a:gd name="connsiteY32" fmla="*/ 466462 h 3641849"/>
                <a:gd name="connsiteX33" fmla="*/ 925183 w 1457148"/>
                <a:gd name="connsiteY33" fmla="*/ 691417 h 3641849"/>
                <a:gd name="connsiteX34" fmla="*/ 797717 w 1457148"/>
                <a:gd name="connsiteY34" fmla="*/ 771575 h 3641849"/>
                <a:gd name="connsiteX35" fmla="*/ 684105 w 1457148"/>
                <a:gd name="connsiteY35" fmla="*/ 779331 h 3641849"/>
                <a:gd name="connsiteX36" fmla="*/ 545552 w 1457148"/>
                <a:gd name="connsiteY36" fmla="*/ 758645 h 3641849"/>
                <a:gd name="connsiteX37" fmla="*/ 454108 w 1457148"/>
                <a:gd name="connsiteY37" fmla="*/ 722445 h 3641849"/>
                <a:gd name="connsiteX38" fmla="*/ 434711 w 1457148"/>
                <a:gd name="connsiteY38" fmla="*/ 750888 h 3641849"/>
                <a:gd name="connsiteX39" fmla="*/ 465353 w 1457148"/>
                <a:gd name="connsiteY39" fmla="*/ 824301 h 3641849"/>
                <a:gd name="connsiteX40" fmla="*/ 470894 w 1457148"/>
                <a:gd name="connsiteY40" fmla="*/ 951000 h 3641849"/>
                <a:gd name="connsiteX41" fmla="*/ 443024 w 1457148"/>
                <a:gd name="connsiteY41" fmla="*/ 1012043 h 3641849"/>
                <a:gd name="connsiteX42" fmla="*/ 498443 w 1457148"/>
                <a:gd name="connsiteY42" fmla="*/ 1032728 h 3641849"/>
                <a:gd name="connsiteX43" fmla="*/ 515071 w 1457148"/>
                <a:gd name="connsiteY43" fmla="*/ 1048242 h 3641849"/>
                <a:gd name="connsiteX44" fmla="*/ 540011 w 1457148"/>
                <a:gd name="connsiteY44" fmla="*/ 1074099 h 3641849"/>
                <a:gd name="connsiteX45" fmla="*/ 537240 w 1457148"/>
                <a:gd name="connsiteY45" fmla="*/ 1076685 h 3641849"/>
                <a:gd name="connsiteX46" fmla="*/ 576033 w 1457148"/>
                <a:gd name="connsiteY46" fmla="*/ 1071514 h 3641849"/>
                <a:gd name="connsiteX47" fmla="*/ 584347 w 1457148"/>
                <a:gd name="connsiteY47" fmla="*/ 1035314 h 3641849"/>
                <a:gd name="connsiteX48" fmla="*/ 545552 w 1457148"/>
                <a:gd name="connsiteY48" fmla="*/ 957743 h 3641849"/>
                <a:gd name="connsiteX49" fmla="*/ 614828 w 1457148"/>
                <a:gd name="connsiteY49" fmla="*/ 911200 h 3641849"/>
                <a:gd name="connsiteX50" fmla="*/ 682600 w 1457148"/>
                <a:gd name="connsiteY50" fmla="*/ 918934 h 3641849"/>
                <a:gd name="connsiteX51" fmla="*/ 706433 w 1457148"/>
                <a:gd name="connsiteY51" fmla="*/ 951001 h 3641849"/>
                <a:gd name="connsiteX52" fmla="*/ 862162 w 1457148"/>
                <a:gd name="connsiteY52" fmla="*/ 1007364 h 3641849"/>
                <a:gd name="connsiteX53" fmla="*/ 847754 w 1457148"/>
                <a:gd name="connsiteY53" fmla="*/ 971687 h 3641849"/>
                <a:gd name="connsiteX54" fmla="*/ 814502 w 1457148"/>
                <a:gd name="connsiteY54" fmla="*/ 932901 h 3641849"/>
                <a:gd name="connsiteX55" fmla="*/ 803418 w 1457148"/>
                <a:gd name="connsiteY55" fmla="*/ 881187 h 3641849"/>
                <a:gd name="connsiteX56" fmla="*/ 842213 w 1457148"/>
                <a:gd name="connsiteY56" fmla="*/ 832060 h 3641849"/>
                <a:gd name="connsiteX57" fmla="*/ 869923 w 1457148"/>
                <a:gd name="connsiteY57" fmla="*/ 803617 h 3641849"/>
                <a:gd name="connsiteX58" fmla="*/ 894863 w 1457148"/>
                <a:gd name="connsiteY58" fmla="*/ 767417 h 3641849"/>
                <a:gd name="connsiteX59" fmla="*/ 975223 w 1457148"/>
                <a:gd name="connsiteY59" fmla="*/ 762245 h 3641849"/>
                <a:gd name="connsiteX60" fmla="*/ 980764 w 1457148"/>
                <a:gd name="connsiteY60" fmla="*/ 741560 h 3641849"/>
                <a:gd name="connsiteX61" fmla="*/ 1005704 w 1457148"/>
                <a:gd name="connsiteY61" fmla="*/ 705360 h 3641849"/>
                <a:gd name="connsiteX62" fmla="*/ 1039508 w 1457148"/>
                <a:gd name="connsiteY62" fmla="*/ 687772 h 3641849"/>
                <a:gd name="connsiteX63" fmla="*/ 1097148 w 1457148"/>
                <a:gd name="connsiteY63" fmla="*/ 700189 h 3641849"/>
                <a:gd name="connsiteX64" fmla="*/ 1135941 w 1457148"/>
                <a:gd name="connsiteY64" fmla="*/ 720875 h 3641849"/>
                <a:gd name="connsiteX65" fmla="*/ 1183049 w 1457148"/>
                <a:gd name="connsiteY65" fmla="*/ 728632 h 3641849"/>
                <a:gd name="connsiteX66" fmla="*/ 1183049 w 1457148"/>
                <a:gd name="connsiteY66" fmla="*/ 733803 h 3641849"/>
                <a:gd name="connsiteX67" fmla="*/ 1205218 w 1457148"/>
                <a:gd name="connsiteY67" fmla="*/ 674332 h 3641849"/>
                <a:gd name="connsiteX68" fmla="*/ 1215193 w 1457148"/>
                <a:gd name="connsiteY68" fmla="*/ 640714 h 3641849"/>
                <a:gd name="connsiteX69" fmla="*/ 1221844 w 1457148"/>
                <a:gd name="connsiteY69" fmla="*/ 622618 h 3641849"/>
                <a:gd name="connsiteX70" fmla="*/ 1224781 w 1457148"/>
                <a:gd name="connsiteY70" fmla="*/ 591288 h 3641849"/>
                <a:gd name="connsiteX71" fmla="*/ 1144255 w 1457148"/>
                <a:gd name="connsiteY71" fmla="*/ 545048 h 3641849"/>
                <a:gd name="connsiteX72" fmla="*/ 1130400 w 1457148"/>
                <a:gd name="connsiteY72" fmla="*/ 472648 h 3641849"/>
                <a:gd name="connsiteX73" fmla="*/ 1130400 w 1457148"/>
                <a:gd name="connsiteY73" fmla="*/ 454548 h 3641849"/>
                <a:gd name="connsiteX74" fmla="*/ 1141483 w 1457148"/>
                <a:gd name="connsiteY74" fmla="*/ 431276 h 3641849"/>
                <a:gd name="connsiteX75" fmla="*/ 1144255 w 1457148"/>
                <a:gd name="connsiteY75" fmla="*/ 415762 h 3641849"/>
                <a:gd name="connsiteX76" fmla="*/ 1144254 w 1457148"/>
                <a:gd name="connsiteY76" fmla="*/ 358878 h 3641849"/>
                <a:gd name="connsiteX77" fmla="*/ 1122086 w 1457148"/>
                <a:gd name="connsiteY77" fmla="*/ 335607 h 3641849"/>
                <a:gd name="connsiteX78" fmla="*/ 1094376 w 1457148"/>
                <a:gd name="connsiteY78" fmla="*/ 304578 h 3641849"/>
                <a:gd name="connsiteX79" fmla="*/ 1090208 w 1457148"/>
                <a:gd name="connsiteY79" fmla="*/ 280325 h 3641849"/>
                <a:gd name="connsiteX80" fmla="*/ 1141484 w 1457148"/>
                <a:gd name="connsiteY80" fmla="*/ 258034 h 3641849"/>
                <a:gd name="connsiteX81" fmla="*/ 1195064 w 1457148"/>
                <a:gd name="connsiteY81" fmla="*/ 267906 h 3641849"/>
                <a:gd name="connsiteX82" fmla="*/ 1273848 w 1457148"/>
                <a:gd name="connsiteY82" fmla="*/ 279816 h 3641849"/>
                <a:gd name="connsiteX83" fmla="*/ 1358171 w 1457148"/>
                <a:gd name="connsiteY83" fmla="*/ 349175 h 3641849"/>
                <a:gd name="connsiteX84" fmla="*/ 1420306 w 1457148"/>
                <a:gd name="connsiteY84" fmla="*/ 425271 h 3641849"/>
                <a:gd name="connsiteX85" fmla="*/ 1319335 w 1457148"/>
                <a:gd name="connsiteY85" fmla="*/ 454265 h 3641849"/>
                <a:gd name="connsiteX86" fmla="*/ 1303801 w 1457148"/>
                <a:gd name="connsiteY86" fmla="*/ 501372 h 3641849"/>
                <a:gd name="connsiteX87" fmla="*/ 1361471 w 1457148"/>
                <a:gd name="connsiteY87" fmla="*/ 585862 h 3641849"/>
                <a:gd name="connsiteX88" fmla="*/ 1397005 w 1457148"/>
                <a:gd name="connsiteY88" fmla="*/ 591964 h 3641849"/>
                <a:gd name="connsiteX89" fmla="*/ 1449625 w 1457148"/>
                <a:gd name="connsiteY89" fmla="*/ 598304 h 3641849"/>
                <a:gd name="connsiteX90" fmla="*/ 1444662 w 1457148"/>
                <a:gd name="connsiteY90" fmla="*/ 709079 h 3641849"/>
                <a:gd name="connsiteX91" fmla="*/ 1455731 w 1457148"/>
                <a:gd name="connsiteY91" fmla="*/ 1040047 h 3641849"/>
                <a:gd name="connsiteX92" fmla="*/ 1446863 w 1457148"/>
                <a:gd name="connsiteY92" fmla="*/ 1842646 h 3641849"/>
                <a:gd name="connsiteX93" fmla="*/ 1455730 w 1457148"/>
                <a:gd name="connsiteY93" fmla="*/ 2297728 h 3641849"/>
                <a:gd name="connsiteX94" fmla="*/ 1429282 w 1457148"/>
                <a:gd name="connsiteY94" fmla="*/ 3607693 h 3641849"/>
                <a:gd name="connsiteX95" fmla="*/ 1170855 w 1457148"/>
                <a:gd name="connsiteY95" fmla="*/ 3564098 h 3641849"/>
                <a:gd name="connsiteX96" fmla="*/ 1002377 w 1457148"/>
                <a:gd name="connsiteY96" fmla="*/ 3497903 h 3641849"/>
                <a:gd name="connsiteX97" fmla="*/ 825031 w 1457148"/>
                <a:gd name="connsiteY97" fmla="*/ 3406887 h 3641849"/>
                <a:gd name="connsiteX98" fmla="*/ 726733 w 1457148"/>
                <a:gd name="connsiteY98" fmla="*/ 3326370 h 3641849"/>
                <a:gd name="connsiteX99" fmla="*/ 1020995 w 1457148"/>
                <a:gd name="connsiteY99" fmla="*/ 3018734 h 3641849"/>
                <a:gd name="connsiteX100" fmla="*/ 737241 w 1457148"/>
                <a:gd name="connsiteY100" fmla="*/ 2480910 h 3641849"/>
                <a:gd name="connsiteX101" fmla="*/ 879591 w 1457148"/>
                <a:gd name="connsiteY101" fmla="*/ 2241825 h 3641849"/>
                <a:gd name="connsiteX102" fmla="*/ 692904 w 1457148"/>
                <a:gd name="connsiteY102" fmla="*/ 1703134 h 3641849"/>
                <a:gd name="connsiteX103" fmla="*/ 444620 w 1457148"/>
                <a:gd name="connsiteY103" fmla="*/ 1471456 h 3641849"/>
                <a:gd name="connsiteX104" fmla="*/ 435753 w 1457148"/>
                <a:gd name="connsiteY104" fmla="*/ 1355617 h 3641849"/>
                <a:gd name="connsiteX0" fmla="*/ 435753 w 1457148"/>
                <a:gd name="connsiteY0" fmla="*/ 1355617 h 3641849"/>
                <a:gd name="connsiteX1" fmla="*/ 226885 w 1457148"/>
                <a:gd name="connsiteY1" fmla="*/ 1154258 h 3641849"/>
                <a:gd name="connsiteX2" fmla="*/ 113273 w 1457148"/>
                <a:gd name="connsiteY2" fmla="*/ 1017215 h 3641849"/>
                <a:gd name="connsiteX3" fmla="*/ 96648 w 1457148"/>
                <a:gd name="connsiteY3" fmla="*/ 794845 h 3641849"/>
                <a:gd name="connsiteX4" fmla="*/ 135443 w 1457148"/>
                <a:gd name="connsiteY4" fmla="*/ 779332 h 3641849"/>
                <a:gd name="connsiteX5" fmla="*/ 21830 w 1457148"/>
                <a:gd name="connsiteY5" fmla="*/ 551792 h 3641849"/>
                <a:gd name="connsiteX6" fmla="*/ 80021 w 1457148"/>
                <a:gd name="connsiteY6" fmla="*/ 458707 h 3641849"/>
                <a:gd name="connsiteX7" fmla="*/ 85563 w 1457148"/>
                <a:gd name="connsiteY7" fmla="*/ 378550 h 3641849"/>
                <a:gd name="connsiteX8" fmla="*/ 10744 w 1457148"/>
                <a:gd name="connsiteY8" fmla="*/ 319079 h 3641849"/>
                <a:gd name="connsiteX9" fmla="*/ 2432 w 1457148"/>
                <a:gd name="connsiteY9" fmla="*/ 251851 h 3641849"/>
                <a:gd name="connsiteX10" fmla="*/ 57852 w 1457148"/>
                <a:gd name="connsiteY10" fmla="*/ 158764 h 3641849"/>
                <a:gd name="connsiteX11" fmla="*/ 77250 w 1457148"/>
                <a:gd name="connsiteY11" fmla="*/ 135494 h 3641849"/>
                <a:gd name="connsiteX12" fmla="*/ 91105 w 1457148"/>
                <a:gd name="connsiteY12" fmla="*/ 117394 h 3641849"/>
                <a:gd name="connsiteX13" fmla="*/ 99418 w 1457148"/>
                <a:gd name="connsiteY13" fmla="*/ 73438 h 3641849"/>
                <a:gd name="connsiteX14" fmla="*/ 124357 w 1457148"/>
                <a:gd name="connsiteY14" fmla="*/ 101880 h 3641849"/>
                <a:gd name="connsiteX15" fmla="*/ 154839 w 1457148"/>
                <a:gd name="connsiteY15" fmla="*/ 88952 h 3641849"/>
                <a:gd name="connsiteX16" fmla="*/ 157609 w 1457148"/>
                <a:gd name="connsiteY16" fmla="*/ 63095 h 3641849"/>
                <a:gd name="connsiteX17" fmla="*/ 165923 w 1457148"/>
                <a:gd name="connsiteY17" fmla="*/ 34652 h 3641849"/>
                <a:gd name="connsiteX18" fmla="*/ 168695 w 1457148"/>
                <a:gd name="connsiteY18" fmla="*/ 3624 h 3641849"/>
                <a:gd name="connsiteX19" fmla="*/ 304475 w 1457148"/>
                <a:gd name="connsiteY19" fmla="*/ 57924 h 3641849"/>
                <a:gd name="connsiteX20" fmla="*/ 334955 w 1457148"/>
                <a:gd name="connsiteY20" fmla="*/ 161352 h 3641849"/>
                <a:gd name="connsiteX21" fmla="*/ 348811 w 1457148"/>
                <a:gd name="connsiteY21" fmla="*/ 184622 h 3641849"/>
                <a:gd name="connsiteX22" fmla="*/ 359895 w 1457148"/>
                <a:gd name="connsiteY22" fmla="*/ 187208 h 3641849"/>
                <a:gd name="connsiteX23" fmla="*/ 473507 w 1457148"/>
                <a:gd name="connsiteY23" fmla="*/ 156181 h 3641849"/>
                <a:gd name="connsiteX24" fmla="*/ 540012 w 1457148"/>
                <a:gd name="connsiteY24" fmla="*/ 166522 h 3641849"/>
                <a:gd name="connsiteX25" fmla="*/ 603746 w 1457148"/>
                <a:gd name="connsiteY25" fmla="*/ 213065 h 3641849"/>
                <a:gd name="connsiteX26" fmla="*/ 617773 w 1457148"/>
                <a:gd name="connsiteY26" fmla="*/ 242621 h 3641849"/>
                <a:gd name="connsiteX27" fmla="*/ 673020 w 1457148"/>
                <a:gd name="connsiteY27" fmla="*/ 277708 h 3641849"/>
                <a:gd name="connsiteX28" fmla="*/ 761694 w 1457148"/>
                <a:gd name="connsiteY28" fmla="*/ 303563 h 3641849"/>
                <a:gd name="connsiteX29" fmla="*/ 833740 w 1457148"/>
                <a:gd name="connsiteY29" fmla="*/ 350106 h 3641849"/>
                <a:gd name="connsiteX30" fmla="*/ 883619 w 1457148"/>
                <a:gd name="connsiteY30" fmla="*/ 401820 h 3641849"/>
                <a:gd name="connsiteX31" fmla="*/ 908558 w 1457148"/>
                <a:gd name="connsiteY31" fmla="*/ 440606 h 3641849"/>
                <a:gd name="connsiteX32" fmla="*/ 941811 w 1457148"/>
                <a:gd name="connsiteY32" fmla="*/ 466462 h 3641849"/>
                <a:gd name="connsiteX33" fmla="*/ 925183 w 1457148"/>
                <a:gd name="connsiteY33" fmla="*/ 691417 h 3641849"/>
                <a:gd name="connsiteX34" fmla="*/ 797717 w 1457148"/>
                <a:gd name="connsiteY34" fmla="*/ 771575 h 3641849"/>
                <a:gd name="connsiteX35" fmla="*/ 684105 w 1457148"/>
                <a:gd name="connsiteY35" fmla="*/ 779331 h 3641849"/>
                <a:gd name="connsiteX36" fmla="*/ 545552 w 1457148"/>
                <a:gd name="connsiteY36" fmla="*/ 758645 h 3641849"/>
                <a:gd name="connsiteX37" fmla="*/ 454108 w 1457148"/>
                <a:gd name="connsiteY37" fmla="*/ 722445 h 3641849"/>
                <a:gd name="connsiteX38" fmla="*/ 434711 w 1457148"/>
                <a:gd name="connsiteY38" fmla="*/ 750888 h 3641849"/>
                <a:gd name="connsiteX39" fmla="*/ 465353 w 1457148"/>
                <a:gd name="connsiteY39" fmla="*/ 824301 h 3641849"/>
                <a:gd name="connsiteX40" fmla="*/ 470894 w 1457148"/>
                <a:gd name="connsiteY40" fmla="*/ 951000 h 3641849"/>
                <a:gd name="connsiteX41" fmla="*/ 443024 w 1457148"/>
                <a:gd name="connsiteY41" fmla="*/ 1012043 h 3641849"/>
                <a:gd name="connsiteX42" fmla="*/ 498443 w 1457148"/>
                <a:gd name="connsiteY42" fmla="*/ 1032728 h 3641849"/>
                <a:gd name="connsiteX43" fmla="*/ 515071 w 1457148"/>
                <a:gd name="connsiteY43" fmla="*/ 1048242 h 3641849"/>
                <a:gd name="connsiteX44" fmla="*/ 540011 w 1457148"/>
                <a:gd name="connsiteY44" fmla="*/ 1074099 h 3641849"/>
                <a:gd name="connsiteX45" fmla="*/ 537240 w 1457148"/>
                <a:gd name="connsiteY45" fmla="*/ 1076685 h 3641849"/>
                <a:gd name="connsiteX46" fmla="*/ 576033 w 1457148"/>
                <a:gd name="connsiteY46" fmla="*/ 1071514 h 3641849"/>
                <a:gd name="connsiteX47" fmla="*/ 584347 w 1457148"/>
                <a:gd name="connsiteY47" fmla="*/ 1035314 h 3641849"/>
                <a:gd name="connsiteX48" fmla="*/ 545552 w 1457148"/>
                <a:gd name="connsiteY48" fmla="*/ 957743 h 3641849"/>
                <a:gd name="connsiteX49" fmla="*/ 614828 w 1457148"/>
                <a:gd name="connsiteY49" fmla="*/ 911200 h 3641849"/>
                <a:gd name="connsiteX50" fmla="*/ 682600 w 1457148"/>
                <a:gd name="connsiteY50" fmla="*/ 918934 h 3641849"/>
                <a:gd name="connsiteX51" fmla="*/ 706433 w 1457148"/>
                <a:gd name="connsiteY51" fmla="*/ 951001 h 3641849"/>
                <a:gd name="connsiteX52" fmla="*/ 862162 w 1457148"/>
                <a:gd name="connsiteY52" fmla="*/ 1007364 h 3641849"/>
                <a:gd name="connsiteX53" fmla="*/ 847754 w 1457148"/>
                <a:gd name="connsiteY53" fmla="*/ 971687 h 3641849"/>
                <a:gd name="connsiteX54" fmla="*/ 814502 w 1457148"/>
                <a:gd name="connsiteY54" fmla="*/ 932901 h 3641849"/>
                <a:gd name="connsiteX55" fmla="*/ 803418 w 1457148"/>
                <a:gd name="connsiteY55" fmla="*/ 881187 h 3641849"/>
                <a:gd name="connsiteX56" fmla="*/ 842213 w 1457148"/>
                <a:gd name="connsiteY56" fmla="*/ 832060 h 3641849"/>
                <a:gd name="connsiteX57" fmla="*/ 869923 w 1457148"/>
                <a:gd name="connsiteY57" fmla="*/ 803617 h 3641849"/>
                <a:gd name="connsiteX58" fmla="*/ 894863 w 1457148"/>
                <a:gd name="connsiteY58" fmla="*/ 767417 h 3641849"/>
                <a:gd name="connsiteX59" fmla="*/ 975223 w 1457148"/>
                <a:gd name="connsiteY59" fmla="*/ 762245 h 3641849"/>
                <a:gd name="connsiteX60" fmla="*/ 980764 w 1457148"/>
                <a:gd name="connsiteY60" fmla="*/ 741560 h 3641849"/>
                <a:gd name="connsiteX61" fmla="*/ 1005704 w 1457148"/>
                <a:gd name="connsiteY61" fmla="*/ 705360 h 3641849"/>
                <a:gd name="connsiteX62" fmla="*/ 1039508 w 1457148"/>
                <a:gd name="connsiteY62" fmla="*/ 687772 h 3641849"/>
                <a:gd name="connsiteX63" fmla="*/ 1097148 w 1457148"/>
                <a:gd name="connsiteY63" fmla="*/ 700189 h 3641849"/>
                <a:gd name="connsiteX64" fmla="*/ 1135941 w 1457148"/>
                <a:gd name="connsiteY64" fmla="*/ 720875 h 3641849"/>
                <a:gd name="connsiteX65" fmla="*/ 1183049 w 1457148"/>
                <a:gd name="connsiteY65" fmla="*/ 728632 h 3641849"/>
                <a:gd name="connsiteX66" fmla="*/ 1183049 w 1457148"/>
                <a:gd name="connsiteY66" fmla="*/ 733803 h 3641849"/>
                <a:gd name="connsiteX67" fmla="*/ 1205218 w 1457148"/>
                <a:gd name="connsiteY67" fmla="*/ 674332 h 3641849"/>
                <a:gd name="connsiteX68" fmla="*/ 1215193 w 1457148"/>
                <a:gd name="connsiteY68" fmla="*/ 640714 h 3641849"/>
                <a:gd name="connsiteX69" fmla="*/ 1221844 w 1457148"/>
                <a:gd name="connsiteY69" fmla="*/ 622618 h 3641849"/>
                <a:gd name="connsiteX70" fmla="*/ 1224781 w 1457148"/>
                <a:gd name="connsiteY70" fmla="*/ 591288 h 3641849"/>
                <a:gd name="connsiteX71" fmla="*/ 1144255 w 1457148"/>
                <a:gd name="connsiteY71" fmla="*/ 545048 h 3641849"/>
                <a:gd name="connsiteX72" fmla="*/ 1130400 w 1457148"/>
                <a:gd name="connsiteY72" fmla="*/ 472648 h 3641849"/>
                <a:gd name="connsiteX73" fmla="*/ 1130400 w 1457148"/>
                <a:gd name="connsiteY73" fmla="*/ 454548 h 3641849"/>
                <a:gd name="connsiteX74" fmla="*/ 1141483 w 1457148"/>
                <a:gd name="connsiteY74" fmla="*/ 431276 h 3641849"/>
                <a:gd name="connsiteX75" fmla="*/ 1144255 w 1457148"/>
                <a:gd name="connsiteY75" fmla="*/ 415762 h 3641849"/>
                <a:gd name="connsiteX76" fmla="*/ 1144254 w 1457148"/>
                <a:gd name="connsiteY76" fmla="*/ 358878 h 3641849"/>
                <a:gd name="connsiteX77" fmla="*/ 1122086 w 1457148"/>
                <a:gd name="connsiteY77" fmla="*/ 335607 h 3641849"/>
                <a:gd name="connsiteX78" fmla="*/ 1094376 w 1457148"/>
                <a:gd name="connsiteY78" fmla="*/ 304578 h 3641849"/>
                <a:gd name="connsiteX79" fmla="*/ 1090208 w 1457148"/>
                <a:gd name="connsiteY79" fmla="*/ 280325 h 3641849"/>
                <a:gd name="connsiteX80" fmla="*/ 1141484 w 1457148"/>
                <a:gd name="connsiteY80" fmla="*/ 258034 h 3641849"/>
                <a:gd name="connsiteX81" fmla="*/ 1195064 w 1457148"/>
                <a:gd name="connsiteY81" fmla="*/ 267906 h 3641849"/>
                <a:gd name="connsiteX82" fmla="*/ 1273848 w 1457148"/>
                <a:gd name="connsiteY82" fmla="*/ 279816 h 3641849"/>
                <a:gd name="connsiteX83" fmla="*/ 1358171 w 1457148"/>
                <a:gd name="connsiteY83" fmla="*/ 349175 h 3641849"/>
                <a:gd name="connsiteX84" fmla="*/ 1420306 w 1457148"/>
                <a:gd name="connsiteY84" fmla="*/ 425271 h 3641849"/>
                <a:gd name="connsiteX85" fmla="*/ 1319335 w 1457148"/>
                <a:gd name="connsiteY85" fmla="*/ 454265 h 3641849"/>
                <a:gd name="connsiteX86" fmla="*/ 1303801 w 1457148"/>
                <a:gd name="connsiteY86" fmla="*/ 501372 h 3641849"/>
                <a:gd name="connsiteX87" fmla="*/ 1361471 w 1457148"/>
                <a:gd name="connsiteY87" fmla="*/ 585862 h 3641849"/>
                <a:gd name="connsiteX88" fmla="*/ 1397005 w 1457148"/>
                <a:gd name="connsiteY88" fmla="*/ 591964 h 3641849"/>
                <a:gd name="connsiteX89" fmla="*/ 1449625 w 1457148"/>
                <a:gd name="connsiteY89" fmla="*/ 598304 h 3641849"/>
                <a:gd name="connsiteX90" fmla="*/ 1444662 w 1457148"/>
                <a:gd name="connsiteY90" fmla="*/ 709079 h 3641849"/>
                <a:gd name="connsiteX91" fmla="*/ 1455731 w 1457148"/>
                <a:gd name="connsiteY91" fmla="*/ 1040047 h 3641849"/>
                <a:gd name="connsiteX92" fmla="*/ 1446863 w 1457148"/>
                <a:gd name="connsiteY92" fmla="*/ 1842646 h 3641849"/>
                <a:gd name="connsiteX93" fmla="*/ 1455730 w 1457148"/>
                <a:gd name="connsiteY93" fmla="*/ 2297728 h 3641849"/>
                <a:gd name="connsiteX94" fmla="*/ 1429282 w 1457148"/>
                <a:gd name="connsiteY94" fmla="*/ 3607693 h 3641849"/>
                <a:gd name="connsiteX95" fmla="*/ 1170855 w 1457148"/>
                <a:gd name="connsiteY95" fmla="*/ 3564098 h 3641849"/>
                <a:gd name="connsiteX96" fmla="*/ 1002377 w 1457148"/>
                <a:gd name="connsiteY96" fmla="*/ 3497903 h 3641849"/>
                <a:gd name="connsiteX97" fmla="*/ 825031 w 1457148"/>
                <a:gd name="connsiteY97" fmla="*/ 3406887 h 3641849"/>
                <a:gd name="connsiteX98" fmla="*/ 726733 w 1457148"/>
                <a:gd name="connsiteY98" fmla="*/ 3326370 h 3641849"/>
                <a:gd name="connsiteX99" fmla="*/ 1020995 w 1457148"/>
                <a:gd name="connsiteY99" fmla="*/ 3018734 h 3641849"/>
                <a:gd name="connsiteX100" fmla="*/ 737241 w 1457148"/>
                <a:gd name="connsiteY100" fmla="*/ 2480910 h 3641849"/>
                <a:gd name="connsiteX101" fmla="*/ 879591 w 1457148"/>
                <a:gd name="connsiteY101" fmla="*/ 2241825 h 3641849"/>
                <a:gd name="connsiteX102" fmla="*/ 692904 w 1457148"/>
                <a:gd name="connsiteY102" fmla="*/ 1703134 h 3641849"/>
                <a:gd name="connsiteX103" fmla="*/ 444620 w 1457148"/>
                <a:gd name="connsiteY103" fmla="*/ 1471456 h 3641849"/>
                <a:gd name="connsiteX104" fmla="*/ 435753 w 1457148"/>
                <a:gd name="connsiteY104" fmla="*/ 1355617 h 3641849"/>
                <a:gd name="connsiteX0" fmla="*/ 435753 w 1457148"/>
                <a:gd name="connsiteY0" fmla="*/ 1355617 h 3641849"/>
                <a:gd name="connsiteX1" fmla="*/ 226885 w 1457148"/>
                <a:gd name="connsiteY1" fmla="*/ 1154258 h 3641849"/>
                <a:gd name="connsiteX2" fmla="*/ 104960 w 1457148"/>
                <a:gd name="connsiteY2" fmla="*/ 1012045 h 3641849"/>
                <a:gd name="connsiteX3" fmla="*/ 96648 w 1457148"/>
                <a:gd name="connsiteY3" fmla="*/ 794845 h 3641849"/>
                <a:gd name="connsiteX4" fmla="*/ 135443 w 1457148"/>
                <a:gd name="connsiteY4" fmla="*/ 779332 h 3641849"/>
                <a:gd name="connsiteX5" fmla="*/ 21830 w 1457148"/>
                <a:gd name="connsiteY5" fmla="*/ 551792 h 3641849"/>
                <a:gd name="connsiteX6" fmla="*/ 80021 w 1457148"/>
                <a:gd name="connsiteY6" fmla="*/ 458707 h 3641849"/>
                <a:gd name="connsiteX7" fmla="*/ 85563 w 1457148"/>
                <a:gd name="connsiteY7" fmla="*/ 378550 h 3641849"/>
                <a:gd name="connsiteX8" fmla="*/ 10744 w 1457148"/>
                <a:gd name="connsiteY8" fmla="*/ 319079 h 3641849"/>
                <a:gd name="connsiteX9" fmla="*/ 2432 w 1457148"/>
                <a:gd name="connsiteY9" fmla="*/ 251851 h 3641849"/>
                <a:gd name="connsiteX10" fmla="*/ 57852 w 1457148"/>
                <a:gd name="connsiteY10" fmla="*/ 158764 h 3641849"/>
                <a:gd name="connsiteX11" fmla="*/ 77250 w 1457148"/>
                <a:gd name="connsiteY11" fmla="*/ 135494 h 3641849"/>
                <a:gd name="connsiteX12" fmla="*/ 91105 w 1457148"/>
                <a:gd name="connsiteY12" fmla="*/ 117394 h 3641849"/>
                <a:gd name="connsiteX13" fmla="*/ 99418 w 1457148"/>
                <a:gd name="connsiteY13" fmla="*/ 73438 h 3641849"/>
                <a:gd name="connsiteX14" fmla="*/ 124357 w 1457148"/>
                <a:gd name="connsiteY14" fmla="*/ 101880 h 3641849"/>
                <a:gd name="connsiteX15" fmla="*/ 154839 w 1457148"/>
                <a:gd name="connsiteY15" fmla="*/ 88952 h 3641849"/>
                <a:gd name="connsiteX16" fmla="*/ 157609 w 1457148"/>
                <a:gd name="connsiteY16" fmla="*/ 63095 h 3641849"/>
                <a:gd name="connsiteX17" fmla="*/ 165923 w 1457148"/>
                <a:gd name="connsiteY17" fmla="*/ 34652 h 3641849"/>
                <a:gd name="connsiteX18" fmla="*/ 168695 w 1457148"/>
                <a:gd name="connsiteY18" fmla="*/ 3624 h 3641849"/>
                <a:gd name="connsiteX19" fmla="*/ 304475 w 1457148"/>
                <a:gd name="connsiteY19" fmla="*/ 57924 h 3641849"/>
                <a:gd name="connsiteX20" fmla="*/ 334955 w 1457148"/>
                <a:gd name="connsiteY20" fmla="*/ 161352 h 3641849"/>
                <a:gd name="connsiteX21" fmla="*/ 348811 w 1457148"/>
                <a:gd name="connsiteY21" fmla="*/ 184622 h 3641849"/>
                <a:gd name="connsiteX22" fmla="*/ 359895 w 1457148"/>
                <a:gd name="connsiteY22" fmla="*/ 187208 h 3641849"/>
                <a:gd name="connsiteX23" fmla="*/ 473507 w 1457148"/>
                <a:gd name="connsiteY23" fmla="*/ 156181 h 3641849"/>
                <a:gd name="connsiteX24" fmla="*/ 540012 w 1457148"/>
                <a:gd name="connsiteY24" fmla="*/ 166522 h 3641849"/>
                <a:gd name="connsiteX25" fmla="*/ 603746 w 1457148"/>
                <a:gd name="connsiteY25" fmla="*/ 213065 h 3641849"/>
                <a:gd name="connsiteX26" fmla="*/ 617773 w 1457148"/>
                <a:gd name="connsiteY26" fmla="*/ 242621 h 3641849"/>
                <a:gd name="connsiteX27" fmla="*/ 673020 w 1457148"/>
                <a:gd name="connsiteY27" fmla="*/ 277708 h 3641849"/>
                <a:gd name="connsiteX28" fmla="*/ 761694 w 1457148"/>
                <a:gd name="connsiteY28" fmla="*/ 303563 h 3641849"/>
                <a:gd name="connsiteX29" fmla="*/ 833740 w 1457148"/>
                <a:gd name="connsiteY29" fmla="*/ 350106 h 3641849"/>
                <a:gd name="connsiteX30" fmla="*/ 883619 w 1457148"/>
                <a:gd name="connsiteY30" fmla="*/ 401820 h 3641849"/>
                <a:gd name="connsiteX31" fmla="*/ 908558 w 1457148"/>
                <a:gd name="connsiteY31" fmla="*/ 440606 h 3641849"/>
                <a:gd name="connsiteX32" fmla="*/ 941811 w 1457148"/>
                <a:gd name="connsiteY32" fmla="*/ 466462 h 3641849"/>
                <a:gd name="connsiteX33" fmla="*/ 925183 w 1457148"/>
                <a:gd name="connsiteY33" fmla="*/ 691417 h 3641849"/>
                <a:gd name="connsiteX34" fmla="*/ 797717 w 1457148"/>
                <a:gd name="connsiteY34" fmla="*/ 771575 h 3641849"/>
                <a:gd name="connsiteX35" fmla="*/ 684105 w 1457148"/>
                <a:gd name="connsiteY35" fmla="*/ 779331 h 3641849"/>
                <a:gd name="connsiteX36" fmla="*/ 545552 w 1457148"/>
                <a:gd name="connsiteY36" fmla="*/ 758645 h 3641849"/>
                <a:gd name="connsiteX37" fmla="*/ 454108 w 1457148"/>
                <a:gd name="connsiteY37" fmla="*/ 722445 h 3641849"/>
                <a:gd name="connsiteX38" fmla="*/ 434711 w 1457148"/>
                <a:gd name="connsiteY38" fmla="*/ 750888 h 3641849"/>
                <a:gd name="connsiteX39" fmla="*/ 465353 w 1457148"/>
                <a:gd name="connsiteY39" fmla="*/ 824301 h 3641849"/>
                <a:gd name="connsiteX40" fmla="*/ 470894 w 1457148"/>
                <a:gd name="connsiteY40" fmla="*/ 951000 h 3641849"/>
                <a:gd name="connsiteX41" fmla="*/ 443024 w 1457148"/>
                <a:gd name="connsiteY41" fmla="*/ 1012043 h 3641849"/>
                <a:gd name="connsiteX42" fmla="*/ 498443 w 1457148"/>
                <a:gd name="connsiteY42" fmla="*/ 1032728 h 3641849"/>
                <a:gd name="connsiteX43" fmla="*/ 515071 w 1457148"/>
                <a:gd name="connsiteY43" fmla="*/ 1048242 h 3641849"/>
                <a:gd name="connsiteX44" fmla="*/ 540011 w 1457148"/>
                <a:gd name="connsiteY44" fmla="*/ 1074099 h 3641849"/>
                <a:gd name="connsiteX45" fmla="*/ 537240 w 1457148"/>
                <a:gd name="connsiteY45" fmla="*/ 1076685 h 3641849"/>
                <a:gd name="connsiteX46" fmla="*/ 576033 w 1457148"/>
                <a:gd name="connsiteY46" fmla="*/ 1071514 h 3641849"/>
                <a:gd name="connsiteX47" fmla="*/ 584347 w 1457148"/>
                <a:gd name="connsiteY47" fmla="*/ 1035314 h 3641849"/>
                <a:gd name="connsiteX48" fmla="*/ 545552 w 1457148"/>
                <a:gd name="connsiteY48" fmla="*/ 957743 h 3641849"/>
                <a:gd name="connsiteX49" fmla="*/ 614828 w 1457148"/>
                <a:gd name="connsiteY49" fmla="*/ 911200 h 3641849"/>
                <a:gd name="connsiteX50" fmla="*/ 682600 w 1457148"/>
                <a:gd name="connsiteY50" fmla="*/ 918934 h 3641849"/>
                <a:gd name="connsiteX51" fmla="*/ 706433 w 1457148"/>
                <a:gd name="connsiteY51" fmla="*/ 951001 h 3641849"/>
                <a:gd name="connsiteX52" fmla="*/ 862162 w 1457148"/>
                <a:gd name="connsiteY52" fmla="*/ 1007364 h 3641849"/>
                <a:gd name="connsiteX53" fmla="*/ 847754 w 1457148"/>
                <a:gd name="connsiteY53" fmla="*/ 971687 h 3641849"/>
                <a:gd name="connsiteX54" fmla="*/ 814502 w 1457148"/>
                <a:gd name="connsiteY54" fmla="*/ 932901 h 3641849"/>
                <a:gd name="connsiteX55" fmla="*/ 803418 w 1457148"/>
                <a:gd name="connsiteY55" fmla="*/ 881187 h 3641849"/>
                <a:gd name="connsiteX56" fmla="*/ 842213 w 1457148"/>
                <a:gd name="connsiteY56" fmla="*/ 832060 h 3641849"/>
                <a:gd name="connsiteX57" fmla="*/ 869923 w 1457148"/>
                <a:gd name="connsiteY57" fmla="*/ 803617 h 3641849"/>
                <a:gd name="connsiteX58" fmla="*/ 894863 w 1457148"/>
                <a:gd name="connsiteY58" fmla="*/ 767417 h 3641849"/>
                <a:gd name="connsiteX59" fmla="*/ 975223 w 1457148"/>
                <a:gd name="connsiteY59" fmla="*/ 762245 h 3641849"/>
                <a:gd name="connsiteX60" fmla="*/ 980764 w 1457148"/>
                <a:gd name="connsiteY60" fmla="*/ 741560 h 3641849"/>
                <a:gd name="connsiteX61" fmla="*/ 1005704 w 1457148"/>
                <a:gd name="connsiteY61" fmla="*/ 705360 h 3641849"/>
                <a:gd name="connsiteX62" fmla="*/ 1039508 w 1457148"/>
                <a:gd name="connsiteY62" fmla="*/ 687772 h 3641849"/>
                <a:gd name="connsiteX63" fmla="*/ 1097148 w 1457148"/>
                <a:gd name="connsiteY63" fmla="*/ 700189 h 3641849"/>
                <a:gd name="connsiteX64" fmla="*/ 1135941 w 1457148"/>
                <a:gd name="connsiteY64" fmla="*/ 720875 h 3641849"/>
                <a:gd name="connsiteX65" fmla="*/ 1183049 w 1457148"/>
                <a:gd name="connsiteY65" fmla="*/ 728632 h 3641849"/>
                <a:gd name="connsiteX66" fmla="*/ 1183049 w 1457148"/>
                <a:gd name="connsiteY66" fmla="*/ 733803 h 3641849"/>
                <a:gd name="connsiteX67" fmla="*/ 1205218 w 1457148"/>
                <a:gd name="connsiteY67" fmla="*/ 674332 h 3641849"/>
                <a:gd name="connsiteX68" fmla="*/ 1215193 w 1457148"/>
                <a:gd name="connsiteY68" fmla="*/ 640714 h 3641849"/>
                <a:gd name="connsiteX69" fmla="*/ 1221844 w 1457148"/>
                <a:gd name="connsiteY69" fmla="*/ 622618 h 3641849"/>
                <a:gd name="connsiteX70" fmla="*/ 1224781 w 1457148"/>
                <a:gd name="connsiteY70" fmla="*/ 591288 h 3641849"/>
                <a:gd name="connsiteX71" fmla="*/ 1144255 w 1457148"/>
                <a:gd name="connsiteY71" fmla="*/ 545048 h 3641849"/>
                <a:gd name="connsiteX72" fmla="*/ 1130400 w 1457148"/>
                <a:gd name="connsiteY72" fmla="*/ 472648 h 3641849"/>
                <a:gd name="connsiteX73" fmla="*/ 1130400 w 1457148"/>
                <a:gd name="connsiteY73" fmla="*/ 454548 h 3641849"/>
                <a:gd name="connsiteX74" fmla="*/ 1141483 w 1457148"/>
                <a:gd name="connsiteY74" fmla="*/ 431276 h 3641849"/>
                <a:gd name="connsiteX75" fmla="*/ 1144255 w 1457148"/>
                <a:gd name="connsiteY75" fmla="*/ 415762 h 3641849"/>
                <a:gd name="connsiteX76" fmla="*/ 1144254 w 1457148"/>
                <a:gd name="connsiteY76" fmla="*/ 358878 h 3641849"/>
                <a:gd name="connsiteX77" fmla="*/ 1122086 w 1457148"/>
                <a:gd name="connsiteY77" fmla="*/ 335607 h 3641849"/>
                <a:gd name="connsiteX78" fmla="*/ 1094376 w 1457148"/>
                <a:gd name="connsiteY78" fmla="*/ 304578 h 3641849"/>
                <a:gd name="connsiteX79" fmla="*/ 1090208 w 1457148"/>
                <a:gd name="connsiteY79" fmla="*/ 280325 h 3641849"/>
                <a:gd name="connsiteX80" fmla="*/ 1141484 w 1457148"/>
                <a:gd name="connsiteY80" fmla="*/ 258034 h 3641849"/>
                <a:gd name="connsiteX81" fmla="*/ 1195064 w 1457148"/>
                <a:gd name="connsiteY81" fmla="*/ 267906 h 3641849"/>
                <a:gd name="connsiteX82" fmla="*/ 1273848 w 1457148"/>
                <a:gd name="connsiteY82" fmla="*/ 279816 h 3641849"/>
                <a:gd name="connsiteX83" fmla="*/ 1358171 w 1457148"/>
                <a:gd name="connsiteY83" fmla="*/ 349175 h 3641849"/>
                <a:gd name="connsiteX84" fmla="*/ 1420306 w 1457148"/>
                <a:gd name="connsiteY84" fmla="*/ 425271 h 3641849"/>
                <a:gd name="connsiteX85" fmla="*/ 1319335 w 1457148"/>
                <a:gd name="connsiteY85" fmla="*/ 454265 h 3641849"/>
                <a:gd name="connsiteX86" fmla="*/ 1303801 w 1457148"/>
                <a:gd name="connsiteY86" fmla="*/ 501372 h 3641849"/>
                <a:gd name="connsiteX87" fmla="*/ 1361471 w 1457148"/>
                <a:gd name="connsiteY87" fmla="*/ 585862 h 3641849"/>
                <a:gd name="connsiteX88" fmla="*/ 1397005 w 1457148"/>
                <a:gd name="connsiteY88" fmla="*/ 591964 h 3641849"/>
                <a:gd name="connsiteX89" fmla="*/ 1449625 w 1457148"/>
                <a:gd name="connsiteY89" fmla="*/ 598304 h 3641849"/>
                <a:gd name="connsiteX90" fmla="*/ 1444662 w 1457148"/>
                <a:gd name="connsiteY90" fmla="*/ 709079 h 3641849"/>
                <a:gd name="connsiteX91" fmla="*/ 1455731 w 1457148"/>
                <a:gd name="connsiteY91" fmla="*/ 1040047 h 3641849"/>
                <a:gd name="connsiteX92" fmla="*/ 1446863 w 1457148"/>
                <a:gd name="connsiteY92" fmla="*/ 1842646 h 3641849"/>
                <a:gd name="connsiteX93" fmla="*/ 1455730 w 1457148"/>
                <a:gd name="connsiteY93" fmla="*/ 2297728 h 3641849"/>
                <a:gd name="connsiteX94" fmla="*/ 1429282 w 1457148"/>
                <a:gd name="connsiteY94" fmla="*/ 3607693 h 3641849"/>
                <a:gd name="connsiteX95" fmla="*/ 1170855 w 1457148"/>
                <a:gd name="connsiteY95" fmla="*/ 3564098 h 3641849"/>
                <a:gd name="connsiteX96" fmla="*/ 1002377 w 1457148"/>
                <a:gd name="connsiteY96" fmla="*/ 3497903 h 3641849"/>
                <a:gd name="connsiteX97" fmla="*/ 825031 w 1457148"/>
                <a:gd name="connsiteY97" fmla="*/ 3406887 h 3641849"/>
                <a:gd name="connsiteX98" fmla="*/ 726733 w 1457148"/>
                <a:gd name="connsiteY98" fmla="*/ 3326370 h 3641849"/>
                <a:gd name="connsiteX99" fmla="*/ 1020995 w 1457148"/>
                <a:gd name="connsiteY99" fmla="*/ 3018734 h 3641849"/>
                <a:gd name="connsiteX100" fmla="*/ 737241 w 1457148"/>
                <a:gd name="connsiteY100" fmla="*/ 2480910 h 3641849"/>
                <a:gd name="connsiteX101" fmla="*/ 879591 w 1457148"/>
                <a:gd name="connsiteY101" fmla="*/ 2241825 h 3641849"/>
                <a:gd name="connsiteX102" fmla="*/ 692904 w 1457148"/>
                <a:gd name="connsiteY102" fmla="*/ 1703134 h 3641849"/>
                <a:gd name="connsiteX103" fmla="*/ 444620 w 1457148"/>
                <a:gd name="connsiteY103" fmla="*/ 1471456 h 3641849"/>
                <a:gd name="connsiteX104" fmla="*/ 435753 w 1457148"/>
                <a:gd name="connsiteY104" fmla="*/ 1355617 h 3641849"/>
                <a:gd name="connsiteX0" fmla="*/ 435753 w 1457148"/>
                <a:gd name="connsiteY0" fmla="*/ 1355617 h 3641849"/>
                <a:gd name="connsiteX1" fmla="*/ 226885 w 1457148"/>
                <a:gd name="connsiteY1" fmla="*/ 1154258 h 3641849"/>
                <a:gd name="connsiteX2" fmla="*/ 218572 w 1457148"/>
                <a:gd name="connsiteY2" fmla="*/ 973260 h 3641849"/>
                <a:gd name="connsiteX3" fmla="*/ 96648 w 1457148"/>
                <a:gd name="connsiteY3" fmla="*/ 794845 h 3641849"/>
                <a:gd name="connsiteX4" fmla="*/ 135443 w 1457148"/>
                <a:gd name="connsiteY4" fmla="*/ 779332 h 3641849"/>
                <a:gd name="connsiteX5" fmla="*/ 21830 w 1457148"/>
                <a:gd name="connsiteY5" fmla="*/ 551792 h 3641849"/>
                <a:gd name="connsiteX6" fmla="*/ 80021 w 1457148"/>
                <a:gd name="connsiteY6" fmla="*/ 458707 h 3641849"/>
                <a:gd name="connsiteX7" fmla="*/ 85563 w 1457148"/>
                <a:gd name="connsiteY7" fmla="*/ 378550 h 3641849"/>
                <a:gd name="connsiteX8" fmla="*/ 10744 w 1457148"/>
                <a:gd name="connsiteY8" fmla="*/ 319079 h 3641849"/>
                <a:gd name="connsiteX9" fmla="*/ 2432 w 1457148"/>
                <a:gd name="connsiteY9" fmla="*/ 251851 h 3641849"/>
                <a:gd name="connsiteX10" fmla="*/ 57852 w 1457148"/>
                <a:gd name="connsiteY10" fmla="*/ 158764 h 3641849"/>
                <a:gd name="connsiteX11" fmla="*/ 77250 w 1457148"/>
                <a:gd name="connsiteY11" fmla="*/ 135494 h 3641849"/>
                <a:gd name="connsiteX12" fmla="*/ 91105 w 1457148"/>
                <a:gd name="connsiteY12" fmla="*/ 117394 h 3641849"/>
                <a:gd name="connsiteX13" fmla="*/ 99418 w 1457148"/>
                <a:gd name="connsiteY13" fmla="*/ 73438 h 3641849"/>
                <a:gd name="connsiteX14" fmla="*/ 124357 w 1457148"/>
                <a:gd name="connsiteY14" fmla="*/ 101880 h 3641849"/>
                <a:gd name="connsiteX15" fmla="*/ 154839 w 1457148"/>
                <a:gd name="connsiteY15" fmla="*/ 88952 h 3641849"/>
                <a:gd name="connsiteX16" fmla="*/ 157609 w 1457148"/>
                <a:gd name="connsiteY16" fmla="*/ 63095 h 3641849"/>
                <a:gd name="connsiteX17" fmla="*/ 165923 w 1457148"/>
                <a:gd name="connsiteY17" fmla="*/ 34652 h 3641849"/>
                <a:gd name="connsiteX18" fmla="*/ 168695 w 1457148"/>
                <a:gd name="connsiteY18" fmla="*/ 3624 h 3641849"/>
                <a:gd name="connsiteX19" fmla="*/ 304475 w 1457148"/>
                <a:gd name="connsiteY19" fmla="*/ 57924 h 3641849"/>
                <a:gd name="connsiteX20" fmla="*/ 334955 w 1457148"/>
                <a:gd name="connsiteY20" fmla="*/ 161352 h 3641849"/>
                <a:gd name="connsiteX21" fmla="*/ 348811 w 1457148"/>
                <a:gd name="connsiteY21" fmla="*/ 184622 h 3641849"/>
                <a:gd name="connsiteX22" fmla="*/ 359895 w 1457148"/>
                <a:gd name="connsiteY22" fmla="*/ 187208 h 3641849"/>
                <a:gd name="connsiteX23" fmla="*/ 473507 w 1457148"/>
                <a:gd name="connsiteY23" fmla="*/ 156181 h 3641849"/>
                <a:gd name="connsiteX24" fmla="*/ 540012 w 1457148"/>
                <a:gd name="connsiteY24" fmla="*/ 166522 h 3641849"/>
                <a:gd name="connsiteX25" fmla="*/ 603746 w 1457148"/>
                <a:gd name="connsiteY25" fmla="*/ 213065 h 3641849"/>
                <a:gd name="connsiteX26" fmla="*/ 617773 w 1457148"/>
                <a:gd name="connsiteY26" fmla="*/ 242621 h 3641849"/>
                <a:gd name="connsiteX27" fmla="*/ 673020 w 1457148"/>
                <a:gd name="connsiteY27" fmla="*/ 277708 h 3641849"/>
                <a:gd name="connsiteX28" fmla="*/ 761694 w 1457148"/>
                <a:gd name="connsiteY28" fmla="*/ 303563 h 3641849"/>
                <a:gd name="connsiteX29" fmla="*/ 833740 w 1457148"/>
                <a:gd name="connsiteY29" fmla="*/ 350106 h 3641849"/>
                <a:gd name="connsiteX30" fmla="*/ 883619 w 1457148"/>
                <a:gd name="connsiteY30" fmla="*/ 401820 h 3641849"/>
                <a:gd name="connsiteX31" fmla="*/ 908558 w 1457148"/>
                <a:gd name="connsiteY31" fmla="*/ 440606 h 3641849"/>
                <a:gd name="connsiteX32" fmla="*/ 941811 w 1457148"/>
                <a:gd name="connsiteY32" fmla="*/ 466462 h 3641849"/>
                <a:gd name="connsiteX33" fmla="*/ 925183 w 1457148"/>
                <a:gd name="connsiteY33" fmla="*/ 691417 h 3641849"/>
                <a:gd name="connsiteX34" fmla="*/ 797717 w 1457148"/>
                <a:gd name="connsiteY34" fmla="*/ 771575 h 3641849"/>
                <a:gd name="connsiteX35" fmla="*/ 684105 w 1457148"/>
                <a:gd name="connsiteY35" fmla="*/ 779331 h 3641849"/>
                <a:gd name="connsiteX36" fmla="*/ 545552 w 1457148"/>
                <a:gd name="connsiteY36" fmla="*/ 758645 h 3641849"/>
                <a:gd name="connsiteX37" fmla="*/ 454108 w 1457148"/>
                <a:gd name="connsiteY37" fmla="*/ 722445 h 3641849"/>
                <a:gd name="connsiteX38" fmla="*/ 434711 w 1457148"/>
                <a:gd name="connsiteY38" fmla="*/ 750888 h 3641849"/>
                <a:gd name="connsiteX39" fmla="*/ 465353 w 1457148"/>
                <a:gd name="connsiteY39" fmla="*/ 824301 h 3641849"/>
                <a:gd name="connsiteX40" fmla="*/ 470894 w 1457148"/>
                <a:gd name="connsiteY40" fmla="*/ 951000 h 3641849"/>
                <a:gd name="connsiteX41" fmla="*/ 443024 w 1457148"/>
                <a:gd name="connsiteY41" fmla="*/ 1012043 h 3641849"/>
                <a:gd name="connsiteX42" fmla="*/ 498443 w 1457148"/>
                <a:gd name="connsiteY42" fmla="*/ 1032728 h 3641849"/>
                <a:gd name="connsiteX43" fmla="*/ 515071 w 1457148"/>
                <a:gd name="connsiteY43" fmla="*/ 1048242 h 3641849"/>
                <a:gd name="connsiteX44" fmla="*/ 540011 w 1457148"/>
                <a:gd name="connsiteY44" fmla="*/ 1074099 h 3641849"/>
                <a:gd name="connsiteX45" fmla="*/ 537240 w 1457148"/>
                <a:gd name="connsiteY45" fmla="*/ 1076685 h 3641849"/>
                <a:gd name="connsiteX46" fmla="*/ 576033 w 1457148"/>
                <a:gd name="connsiteY46" fmla="*/ 1071514 h 3641849"/>
                <a:gd name="connsiteX47" fmla="*/ 584347 w 1457148"/>
                <a:gd name="connsiteY47" fmla="*/ 1035314 h 3641849"/>
                <a:gd name="connsiteX48" fmla="*/ 545552 w 1457148"/>
                <a:gd name="connsiteY48" fmla="*/ 957743 h 3641849"/>
                <a:gd name="connsiteX49" fmla="*/ 614828 w 1457148"/>
                <a:gd name="connsiteY49" fmla="*/ 911200 h 3641849"/>
                <a:gd name="connsiteX50" fmla="*/ 682600 w 1457148"/>
                <a:gd name="connsiteY50" fmla="*/ 918934 h 3641849"/>
                <a:gd name="connsiteX51" fmla="*/ 706433 w 1457148"/>
                <a:gd name="connsiteY51" fmla="*/ 951001 h 3641849"/>
                <a:gd name="connsiteX52" fmla="*/ 862162 w 1457148"/>
                <a:gd name="connsiteY52" fmla="*/ 1007364 h 3641849"/>
                <a:gd name="connsiteX53" fmla="*/ 847754 w 1457148"/>
                <a:gd name="connsiteY53" fmla="*/ 971687 h 3641849"/>
                <a:gd name="connsiteX54" fmla="*/ 814502 w 1457148"/>
                <a:gd name="connsiteY54" fmla="*/ 932901 h 3641849"/>
                <a:gd name="connsiteX55" fmla="*/ 803418 w 1457148"/>
                <a:gd name="connsiteY55" fmla="*/ 881187 h 3641849"/>
                <a:gd name="connsiteX56" fmla="*/ 842213 w 1457148"/>
                <a:gd name="connsiteY56" fmla="*/ 832060 h 3641849"/>
                <a:gd name="connsiteX57" fmla="*/ 869923 w 1457148"/>
                <a:gd name="connsiteY57" fmla="*/ 803617 h 3641849"/>
                <a:gd name="connsiteX58" fmla="*/ 894863 w 1457148"/>
                <a:gd name="connsiteY58" fmla="*/ 767417 h 3641849"/>
                <a:gd name="connsiteX59" fmla="*/ 975223 w 1457148"/>
                <a:gd name="connsiteY59" fmla="*/ 762245 h 3641849"/>
                <a:gd name="connsiteX60" fmla="*/ 980764 w 1457148"/>
                <a:gd name="connsiteY60" fmla="*/ 741560 h 3641849"/>
                <a:gd name="connsiteX61" fmla="*/ 1005704 w 1457148"/>
                <a:gd name="connsiteY61" fmla="*/ 705360 h 3641849"/>
                <a:gd name="connsiteX62" fmla="*/ 1039508 w 1457148"/>
                <a:gd name="connsiteY62" fmla="*/ 687772 h 3641849"/>
                <a:gd name="connsiteX63" fmla="*/ 1097148 w 1457148"/>
                <a:gd name="connsiteY63" fmla="*/ 700189 h 3641849"/>
                <a:gd name="connsiteX64" fmla="*/ 1135941 w 1457148"/>
                <a:gd name="connsiteY64" fmla="*/ 720875 h 3641849"/>
                <a:gd name="connsiteX65" fmla="*/ 1183049 w 1457148"/>
                <a:gd name="connsiteY65" fmla="*/ 728632 h 3641849"/>
                <a:gd name="connsiteX66" fmla="*/ 1183049 w 1457148"/>
                <a:gd name="connsiteY66" fmla="*/ 733803 h 3641849"/>
                <a:gd name="connsiteX67" fmla="*/ 1205218 w 1457148"/>
                <a:gd name="connsiteY67" fmla="*/ 674332 h 3641849"/>
                <a:gd name="connsiteX68" fmla="*/ 1215193 w 1457148"/>
                <a:gd name="connsiteY68" fmla="*/ 640714 h 3641849"/>
                <a:gd name="connsiteX69" fmla="*/ 1221844 w 1457148"/>
                <a:gd name="connsiteY69" fmla="*/ 622618 h 3641849"/>
                <a:gd name="connsiteX70" fmla="*/ 1224781 w 1457148"/>
                <a:gd name="connsiteY70" fmla="*/ 591288 h 3641849"/>
                <a:gd name="connsiteX71" fmla="*/ 1144255 w 1457148"/>
                <a:gd name="connsiteY71" fmla="*/ 545048 h 3641849"/>
                <a:gd name="connsiteX72" fmla="*/ 1130400 w 1457148"/>
                <a:gd name="connsiteY72" fmla="*/ 472648 h 3641849"/>
                <a:gd name="connsiteX73" fmla="*/ 1130400 w 1457148"/>
                <a:gd name="connsiteY73" fmla="*/ 454548 h 3641849"/>
                <a:gd name="connsiteX74" fmla="*/ 1141483 w 1457148"/>
                <a:gd name="connsiteY74" fmla="*/ 431276 h 3641849"/>
                <a:gd name="connsiteX75" fmla="*/ 1144255 w 1457148"/>
                <a:gd name="connsiteY75" fmla="*/ 415762 h 3641849"/>
                <a:gd name="connsiteX76" fmla="*/ 1144254 w 1457148"/>
                <a:gd name="connsiteY76" fmla="*/ 358878 h 3641849"/>
                <a:gd name="connsiteX77" fmla="*/ 1122086 w 1457148"/>
                <a:gd name="connsiteY77" fmla="*/ 335607 h 3641849"/>
                <a:gd name="connsiteX78" fmla="*/ 1094376 w 1457148"/>
                <a:gd name="connsiteY78" fmla="*/ 304578 h 3641849"/>
                <a:gd name="connsiteX79" fmla="*/ 1090208 w 1457148"/>
                <a:gd name="connsiteY79" fmla="*/ 280325 h 3641849"/>
                <a:gd name="connsiteX80" fmla="*/ 1141484 w 1457148"/>
                <a:gd name="connsiteY80" fmla="*/ 258034 h 3641849"/>
                <a:gd name="connsiteX81" fmla="*/ 1195064 w 1457148"/>
                <a:gd name="connsiteY81" fmla="*/ 267906 h 3641849"/>
                <a:gd name="connsiteX82" fmla="*/ 1273848 w 1457148"/>
                <a:gd name="connsiteY82" fmla="*/ 279816 h 3641849"/>
                <a:gd name="connsiteX83" fmla="*/ 1358171 w 1457148"/>
                <a:gd name="connsiteY83" fmla="*/ 349175 h 3641849"/>
                <a:gd name="connsiteX84" fmla="*/ 1420306 w 1457148"/>
                <a:gd name="connsiteY84" fmla="*/ 425271 h 3641849"/>
                <a:gd name="connsiteX85" fmla="*/ 1319335 w 1457148"/>
                <a:gd name="connsiteY85" fmla="*/ 454265 h 3641849"/>
                <a:gd name="connsiteX86" fmla="*/ 1303801 w 1457148"/>
                <a:gd name="connsiteY86" fmla="*/ 501372 h 3641849"/>
                <a:gd name="connsiteX87" fmla="*/ 1361471 w 1457148"/>
                <a:gd name="connsiteY87" fmla="*/ 585862 h 3641849"/>
                <a:gd name="connsiteX88" fmla="*/ 1397005 w 1457148"/>
                <a:gd name="connsiteY88" fmla="*/ 591964 h 3641849"/>
                <a:gd name="connsiteX89" fmla="*/ 1449625 w 1457148"/>
                <a:gd name="connsiteY89" fmla="*/ 598304 h 3641849"/>
                <a:gd name="connsiteX90" fmla="*/ 1444662 w 1457148"/>
                <a:gd name="connsiteY90" fmla="*/ 709079 h 3641849"/>
                <a:gd name="connsiteX91" fmla="*/ 1455731 w 1457148"/>
                <a:gd name="connsiteY91" fmla="*/ 1040047 h 3641849"/>
                <a:gd name="connsiteX92" fmla="*/ 1446863 w 1457148"/>
                <a:gd name="connsiteY92" fmla="*/ 1842646 h 3641849"/>
                <a:gd name="connsiteX93" fmla="*/ 1455730 w 1457148"/>
                <a:gd name="connsiteY93" fmla="*/ 2297728 h 3641849"/>
                <a:gd name="connsiteX94" fmla="*/ 1429282 w 1457148"/>
                <a:gd name="connsiteY94" fmla="*/ 3607693 h 3641849"/>
                <a:gd name="connsiteX95" fmla="*/ 1170855 w 1457148"/>
                <a:gd name="connsiteY95" fmla="*/ 3564098 h 3641849"/>
                <a:gd name="connsiteX96" fmla="*/ 1002377 w 1457148"/>
                <a:gd name="connsiteY96" fmla="*/ 3497903 h 3641849"/>
                <a:gd name="connsiteX97" fmla="*/ 825031 w 1457148"/>
                <a:gd name="connsiteY97" fmla="*/ 3406887 h 3641849"/>
                <a:gd name="connsiteX98" fmla="*/ 726733 w 1457148"/>
                <a:gd name="connsiteY98" fmla="*/ 3326370 h 3641849"/>
                <a:gd name="connsiteX99" fmla="*/ 1020995 w 1457148"/>
                <a:gd name="connsiteY99" fmla="*/ 3018734 h 3641849"/>
                <a:gd name="connsiteX100" fmla="*/ 737241 w 1457148"/>
                <a:gd name="connsiteY100" fmla="*/ 2480910 h 3641849"/>
                <a:gd name="connsiteX101" fmla="*/ 879591 w 1457148"/>
                <a:gd name="connsiteY101" fmla="*/ 2241825 h 3641849"/>
                <a:gd name="connsiteX102" fmla="*/ 692904 w 1457148"/>
                <a:gd name="connsiteY102" fmla="*/ 1703134 h 3641849"/>
                <a:gd name="connsiteX103" fmla="*/ 444620 w 1457148"/>
                <a:gd name="connsiteY103" fmla="*/ 1471456 h 3641849"/>
                <a:gd name="connsiteX104" fmla="*/ 435753 w 1457148"/>
                <a:gd name="connsiteY104" fmla="*/ 1355617 h 3641849"/>
                <a:gd name="connsiteX0" fmla="*/ 435753 w 1457148"/>
                <a:gd name="connsiteY0" fmla="*/ 1355617 h 3641849"/>
                <a:gd name="connsiteX1" fmla="*/ 237969 w 1457148"/>
                <a:gd name="connsiteY1" fmla="*/ 1257686 h 3641849"/>
                <a:gd name="connsiteX2" fmla="*/ 218572 w 1457148"/>
                <a:gd name="connsiteY2" fmla="*/ 973260 h 3641849"/>
                <a:gd name="connsiteX3" fmla="*/ 96648 w 1457148"/>
                <a:gd name="connsiteY3" fmla="*/ 794845 h 3641849"/>
                <a:gd name="connsiteX4" fmla="*/ 135443 w 1457148"/>
                <a:gd name="connsiteY4" fmla="*/ 779332 h 3641849"/>
                <a:gd name="connsiteX5" fmla="*/ 21830 w 1457148"/>
                <a:gd name="connsiteY5" fmla="*/ 551792 h 3641849"/>
                <a:gd name="connsiteX6" fmla="*/ 80021 w 1457148"/>
                <a:gd name="connsiteY6" fmla="*/ 458707 h 3641849"/>
                <a:gd name="connsiteX7" fmla="*/ 85563 w 1457148"/>
                <a:gd name="connsiteY7" fmla="*/ 378550 h 3641849"/>
                <a:gd name="connsiteX8" fmla="*/ 10744 w 1457148"/>
                <a:gd name="connsiteY8" fmla="*/ 319079 h 3641849"/>
                <a:gd name="connsiteX9" fmla="*/ 2432 w 1457148"/>
                <a:gd name="connsiteY9" fmla="*/ 251851 h 3641849"/>
                <a:gd name="connsiteX10" fmla="*/ 57852 w 1457148"/>
                <a:gd name="connsiteY10" fmla="*/ 158764 h 3641849"/>
                <a:gd name="connsiteX11" fmla="*/ 77250 w 1457148"/>
                <a:gd name="connsiteY11" fmla="*/ 135494 h 3641849"/>
                <a:gd name="connsiteX12" fmla="*/ 91105 w 1457148"/>
                <a:gd name="connsiteY12" fmla="*/ 117394 h 3641849"/>
                <a:gd name="connsiteX13" fmla="*/ 99418 w 1457148"/>
                <a:gd name="connsiteY13" fmla="*/ 73438 h 3641849"/>
                <a:gd name="connsiteX14" fmla="*/ 124357 w 1457148"/>
                <a:gd name="connsiteY14" fmla="*/ 101880 h 3641849"/>
                <a:gd name="connsiteX15" fmla="*/ 154839 w 1457148"/>
                <a:gd name="connsiteY15" fmla="*/ 88952 h 3641849"/>
                <a:gd name="connsiteX16" fmla="*/ 157609 w 1457148"/>
                <a:gd name="connsiteY16" fmla="*/ 63095 h 3641849"/>
                <a:gd name="connsiteX17" fmla="*/ 165923 w 1457148"/>
                <a:gd name="connsiteY17" fmla="*/ 34652 h 3641849"/>
                <a:gd name="connsiteX18" fmla="*/ 168695 w 1457148"/>
                <a:gd name="connsiteY18" fmla="*/ 3624 h 3641849"/>
                <a:gd name="connsiteX19" fmla="*/ 304475 w 1457148"/>
                <a:gd name="connsiteY19" fmla="*/ 57924 h 3641849"/>
                <a:gd name="connsiteX20" fmla="*/ 334955 w 1457148"/>
                <a:gd name="connsiteY20" fmla="*/ 161352 h 3641849"/>
                <a:gd name="connsiteX21" fmla="*/ 348811 w 1457148"/>
                <a:gd name="connsiteY21" fmla="*/ 184622 h 3641849"/>
                <a:gd name="connsiteX22" fmla="*/ 359895 w 1457148"/>
                <a:gd name="connsiteY22" fmla="*/ 187208 h 3641849"/>
                <a:gd name="connsiteX23" fmla="*/ 473507 w 1457148"/>
                <a:gd name="connsiteY23" fmla="*/ 156181 h 3641849"/>
                <a:gd name="connsiteX24" fmla="*/ 540012 w 1457148"/>
                <a:gd name="connsiteY24" fmla="*/ 166522 h 3641849"/>
                <a:gd name="connsiteX25" fmla="*/ 603746 w 1457148"/>
                <a:gd name="connsiteY25" fmla="*/ 213065 h 3641849"/>
                <a:gd name="connsiteX26" fmla="*/ 617773 w 1457148"/>
                <a:gd name="connsiteY26" fmla="*/ 242621 h 3641849"/>
                <a:gd name="connsiteX27" fmla="*/ 673020 w 1457148"/>
                <a:gd name="connsiteY27" fmla="*/ 277708 h 3641849"/>
                <a:gd name="connsiteX28" fmla="*/ 761694 w 1457148"/>
                <a:gd name="connsiteY28" fmla="*/ 303563 h 3641849"/>
                <a:gd name="connsiteX29" fmla="*/ 833740 w 1457148"/>
                <a:gd name="connsiteY29" fmla="*/ 350106 h 3641849"/>
                <a:gd name="connsiteX30" fmla="*/ 883619 w 1457148"/>
                <a:gd name="connsiteY30" fmla="*/ 401820 h 3641849"/>
                <a:gd name="connsiteX31" fmla="*/ 908558 w 1457148"/>
                <a:gd name="connsiteY31" fmla="*/ 440606 h 3641849"/>
                <a:gd name="connsiteX32" fmla="*/ 941811 w 1457148"/>
                <a:gd name="connsiteY32" fmla="*/ 466462 h 3641849"/>
                <a:gd name="connsiteX33" fmla="*/ 925183 w 1457148"/>
                <a:gd name="connsiteY33" fmla="*/ 691417 h 3641849"/>
                <a:gd name="connsiteX34" fmla="*/ 797717 w 1457148"/>
                <a:gd name="connsiteY34" fmla="*/ 771575 h 3641849"/>
                <a:gd name="connsiteX35" fmla="*/ 684105 w 1457148"/>
                <a:gd name="connsiteY35" fmla="*/ 779331 h 3641849"/>
                <a:gd name="connsiteX36" fmla="*/ 545552 w 1457148"/>
                <a:gd name="connsiteY36" fmla="*/ 758645 h 3641849"/>
                <a:gd name="connsiteX37" fmla="*/ 454108 w 1457148"/>
                <a:gd name="connsiteY37" fmla="*/ 722445 h 3641849"/>
                <a:gd name="connsiteX38" fmla="*/ 434711 w 1457148"/>
                <a:gd name="connsiteY38" fmla="*/ 750888 h 3641849"/>
                <a:gd name="connsiteX39" fmla="*/ 465353 w 1457148"/>
                <a:gd name="connsiteY39" fmla="*/ 824301 h 3641849"/>
                <a:gd name="connsiteX40" fmla="*/ 470894 w 1457148"/>
                <a:gd name="connsiteY40" fmla="*/ 951000 h 3641849"/>
                <a:gd name="connsiteX41" fmla="*/ 443024 w 1457148"/>
                <a:gd name="connsiteY41" fmla="*/ 1012043 h 3641849"/>
                <a:gd name="connsiteX42" fmla="*/ 498443 w 1457148"/>
                <a:gd name="connsiteY42" fmla="*/ 1032728 h 3641849"/>
                <a:gd name="connsiteX43" fmla="*/ 515071 w 1457148"/>
                <a:gd name="connsiteY43" fmla="*/ 1048242 h 3641849"/>
                <a:gd name="connsiteX44" fmla="*/ 540011 w 1457148"/>
                <a:gd name="connsiteY44" fmla="*/ 1074099 h 3641849"/>
                <a:gd name="connsiteX45" fmla="*/ 537240 w 1457148"/>
                <a:gd name="connsiteY45" fmla="*/ 1076685 h 3641849"/>
                <a:gd name="connsiteX46" fmla="*/ 576033 w 1457148"/>
                <a:gd name="connsiteY46" fmla="*/ 1071514 h 3641849"/>
                <a:gd name="connsiteX47" fmla="*/ 584347 w 1457148"/>
                <a:gd name="connsiteY47" fmla="*/ 1035314 h 3641849"/>
                <a:gd name="connsiteX48" fmla="*/ 545552 w 1457148"/>
                <a:gd name="connsiteY48" fmla="*/ 957743 h 3641849"/>
                <a:gd name="connsiteX49" fmla="*/ 614828 w 1457148"/>
                <a:gd name="connsiteY49" fmla="*/ 911200 h 3641849"/>
                <a:gd name="connsiteX50" fmla="*/ 682600 w 1457148"/>
                <a:gd name="connsiteY50" fmla="*/ 918934 h 3641849"/>
                <a:gd name="connsiteX51" fmla="*/ 706433 w 1457148"/>
                <a:gd name="connsiteY51" fmla="*/ 951001 h 3641849"/>
                <a:gd name="connsiteX52" fmla="*/ 862162 w 1457148"/>
                <a:gd name="connsiteY52" fmla="*/ 1007364 h 3641849"/>
                <a:gd name="connsiteX53" fmla="*/ 847754 w 1457148"/>
                <a:gd name="connsiteY53" fmla="*/ 971687 h 3641849"/>
                <a:gd name="connsiteX54" fmla="*/ 814502 w 1457148"/>
                <a:gd name="connsiteY54" fmla="*/ 932901 h 3641849"/>
                <a:gd name="connsiteX55" fmla="*/ 803418 w 1457148"/>
                <a:gd name="connsiteY55" fmla="*/ 881187 h 3641849"/>
                <a:gd name="connsiteX56" fmla="*/ 842213 w 1457148"/>
                <a:gd name="connsiteY56" fmla="*/ 832060 h 3641849"/>
                <a:gd name="connsiteX57" fmla="*/ 869923 w 1457148"/>
                <a:gd name="connsiteY57" fmla="*/ 803617 h 3641849"/>
                <a:gd name="connsiteX58" fmla="*/ 894863 w 1457148"/>
                <a:gd name="connsiteY58" fmla="*/ 767417 h 3641849"/>
                <a:gd name="connsiteX59" fmla="*/ 975223 w 1457148"/>
                <a:gd name="connsiteY59" fmla="*/ 762245 h 3641849"/>
                <a:gd name="connsiteX60" fmla="*/ 980764 w 1457148"/>
                <a:gd name="connsiteY60" fmla="*/ 741560 h 3641849"/>
                <a:gd name="connsiteX61" fmla="*/ 1005704 w 1457148"/>
                <a:gd name="connsiteY61" fmla="*/ 705360 h 3641849"/>
                <a:gd name="connsiteX62" fmla="*/ 1039508 w 1457148"/>
                <a:gd name="connsiteY62" fmla="*/ 687772 h 3641849"/>
                <a:gd name="connsiteX63" fmla="*/ 1097148 w 1457148"/>
                <a:gd name="connsiteY63" fmla="*/ 700189 h 3641849"/>
                <a:gd name="connsiteX64" fmla="*/ 1135941 w 1457148"/>
                <a:gd name="connsiteY64" fmla="*/ 720875 h 3641849"/>
                <a:gd name="connsiteX65" fmla="*/ 1183049 w 1457148"/>
                <a:gd name="connsiteY65" fmla="*/ 728632 h 3641849"/>
                <a:gd name="connsiteX66" fmla="*/ 1183049 w 1457148"/>
                <a:gd name="connsiteY66" fmla="*/ 733803 h 3641849"/>
                <a:gd name="connsiteX67" fmla="*/ 1205218 w 1457148"/>
                <a:gd name="connsiteY67" fmla="*/ 674332 h 3641849"/>
                <a:gd name="connsiteX68" fmla="*/ 1215193 w 1457148"/>
                <a:gd name="connsiteY68" fmla="*/ 640714 h 3641849"/>
                <a:gd name="connsiteX69" fmla="*/ 1221844 w 1457148"/>
                <a:gd name="connsiteY69" fmla="*/ 622618 h 3641849"/>
                <a:gd name="connsiteX70" fmla="*/ 1224781 w 1457148"/>
                <a:gd name="connsiteY70" fmla="*/ 591288 h 3641849"/>
                <a:gd name="connsiteX71" fmla="*/ 1144255 w 1457148"/>
                <a:gd name="connsiteY71" fmla="*/ 545048 h 3641849"/>
                <a:gd name="connsiteX72" fmla="*/ 1130400 w 1457148"/>
                <a:gd name="connsiteY72" fmla="*/ 472648 h 3641849"/>
                <a:gd name="connsiteX73" fmla="*/ 1130400 w 1457148"/>
                <a:gd name="connsiteY73" fmla="*/ 454548 h 3641849"/>
                <a:gd name="connsiteX74" fmla="*/ 1141483 w 1457148"/>
                <a:gd name="connsiteY74" fmla="*/ 431276 h 3641849"/>
                <a:gd name="connsiteX75" fmla="*/ 1144255 w 1457148"/>
                <a:gd name="connsiteY75" fmla="*/ 415762 h 3641849"/>
                <a:gd name="connsiteX76" fmla="*/ 1144254 w 1457148"/>
                <a:gd name="connsiteY76" fmla="*/ 358878 h 3641849"/>
                <a:gd name="connsiteX77" fmla="*/ 1122086 w 1457148"/>
                <a:gd name="connsiteY77" fmla="*/ 335607 h 3641849"/>
                <a:gd name="connsiteX78" fmla="*/ 1094376 w 1457148"/>
                <a:gd name="connsiteY78" fmla="*/ 304578 h 3641849"/>
                <a:gd name="connsiteX79" fmla="*/ 1090208 w 1457148"/>
                <a:gd name="connsiteY79" fmla="*/ 280325 h 3641849"/>
                <a:gd name="connsiteX80" fmla="*/ 1141484 w 1457148"/>
                <a:gd name="connsiteY80" fmla="*/ 258034 h 3641849"/>
                <a:gd name="connsiteX81" fmla="*/ 1195064 w 1457148"/>
                <a:gd name="connsiteY81" fmla="*/ 267906 h 3641849"/>
                <a:gd name="connsiteX82" fmla="*/ 1273848 w 1457148"/>
                <a:gd name="connsiteY82" fmla="*/ 279816 h 3641849"/>
                <a:gd name="connsiteX83" fmla="*/ 1358171 w 1457148"/>
                <a:gd name="connsiteY83" fmla="*/ 349175 h 3641849"/>
                <a:gd name="connsiteX84" fmla="*/ 1420306 w 1457148"/>
                <a:gd name="connsiteY84" fmla="*/ 425271 h 3641849"/>
                <a:gd name="connsiteX85" fmla="*/ 1319335 w 1457148"/>
                <a:gd name="connsiteY85" fmla="*/ 454265 h 3641849"/>
                <a:gd name="connsiteX86" fmla="*/ 1303801 w 1457148"/>
                <a:gd name="connsiteY86" fmla="*/ 501372 h 3641849"/>
                <a:gd name="connsiteX87" fmla="*/ 1361471 w 1457148"/>
                <a:gd name="connsiteY87" fmla="*/ 585862 h 3641849"/>
                <a:gd name="connsiteX88" fmla="*/ 1397005 w 1457148"/>
                <a:gd name="connsiteY88" fmla="*/ 591964 h 3641849"/>
                <a:gd name="connsiteX89" fmla="*/ 1449625 w 1457148"/>
                <a:gd name="connsiteY89" fmla="*/ 598304 h 3641849"/>
                <a:gd name="connsiteX90" fmla="*/ 1444662 w 1457148"/>
                <a:gd name="connsiteY90" fmla="*/ 709079 h 3641849"/>
                <a:gd name="connsiteX91" fmla="*/ 1455731 w 1457148"/>
                <a:gd name="connsiteY91" fmla="*/ 1040047 h 3641849"/>
                <a:gd name="connsiteX92" fmla="*/ 1446863 w 1457148"/>
                <a:gd name="connsiteY92" fmla="*/ 1842646 h 3641849"/>
                <a:gd name="connsiteX93" fmla="*/ 1455730 w 1457148"/>
                <a:gd name="connsiteY93" fmla="*/ 2297728 h 3641849"/>
                <a:gd name="connsiteX94" fmla="*/ 1429282 w 1457148"/>
                <a:gd name="connsiteY94" fmla="*/ 3607693 h 3641849"/>
                <a:gd name="connsiteX95" fmla="*/ 1170855 w 1457148"/>
                <a:gd name="connsiteY95" fmla="*/ 3564098 h 3641849"/>
                <a:gd name="connsiteX96" fmla="*/ 1002377 w 1457148"/>
                <a:gd name="connsiteY96" fmla="*/ 3497903 h 3641849"/>
                <a:gd name="connsiteX97" fmla="*/ 825031 w 1457148"/>
                <a:gd name="connsiteY97" fmla="*/ 3406887 h 3641849"/>
                <a:gd name="connsiteX98" fmla="*/ 726733 w 1457148"/>
                <a:gd name="connsiteY98" fmla="*/ 3326370 h 3641849"/>
                <a:gd name="connsiteX99" fmla="*/ 1020995 w 1457148"/>
                <a:gd name="connsiteY99" fmla="*/ 3018734 h 3641849"/>
                <a:gd name="connsiteX100" fmla="*/ 737241 w 1457148"/>
                <a:gd name="connsiteY100" fmla="*/ 2480910 h 3641849"/>
                <a:gd name="connsiteX101" fmla="*/ 879591 w 1457148"/>
                <a:gd name="connsiteY101" fmla="*/ 2241825 h 3641849"/>
                <a:gd name="connsiteX102" fmla="*/ 692904 w 1457148"/>
                <a:gd name="connsiteY102" fmla="*/ 1703134 h 3641849"/>
                <a:gd name="connsiteX103" fmla="*/ 444620 w 1457148"/>
                <a:gd name="connsiteY103" fmla="*/ 1471456 h 3641849"/>
                <a:gd name="connsiteX104" fmla="*/ 435753 w 1457148"/>
                <a:gd name="connsiteY104" fmla="*/ 1355617 h 3641849"/>
                <a:gd name="connsiteX0" fmla="*/ 435753 w 1457148"/>
                <a:gd name="connsiteY0" fmla="*/ 1355617 h 3641849"/>
                <a:gd name="connsiteX1" fmla="*/ 237969 w 1457148"/>
                <a:gd name="connsiteY1" fmla="*/ 1257686 h 3641849"/>
                <a:gd name="connsiteX2" fmla="*/ 218572 w 1457148"/>
                <a:gd name="connsiteY2" fmla="*/ 973260 h 3641849"/>
                <a:gd name="connsiteX3" fmla="*/ 96648 w 1457148"/>
                <a:gd name="connsiteY3" fmla="*/ 794845 h 3641849"/>
                <a:gd name="connsiteX4" fmla="*/ 135443 w 1457148"/>
                <a:gd name="connsiteY4" fmla="*/ 779332 h 3641849"/>
                <a:gd name="connsiteX5" fmla="*/ 21830 w 1457148"/>
                <a:gd name="connsiteY5" fmla="*/ 551792 h 3641849"/>
                <a:gd name="connsiteX6" fmla="*/ 80021 w 1457148"/>
                <a:gd name="connsiteY6" fmla="*/ 458707 h 3641849"/>
                <a:gd name="connsiteX7" fmla="*/ 85563 w 1457148"/>
                <a:gd name="connsiteY7" fmla="*/ 378550 h 3641849"/>
                <a:gd name="connsiteX8" fmla="*/ 10744 w 1457148"/>
                <a:gd name="connsiteY8" fmla="*/ 319079 h 3641849"/>
                <a:gd name="connsiteX9" fmla="*/ 2432 w 1457148"/>
                <a:gd name="connsiteY9" fmla="*/ 251851 h 3641849"/>
                <a:gd name="connsiteX10" fmla="*/ 57852 w 1457148"/>
                <a:gd name="connsiteY10" fmla="*/ 158764 h 3641849"/>
                <a:gd name="connsiteX11" fmla="*/ 77250 w 1457148"/>
                <a:gd name="connsiteY11" fmla="*/ 135494 h 3641849"/>
                <a:gd name="connsiteX12" fmla="*/ 91105 w 1457148"/>
                <a:gd name="connsiteY12" fmla="*/ 117394 h 3641849"/>
                <a:gd name="connsiteX13" fmla="*/ 99418 w 1457148"/>
                <a:gd name="connsiteY13" fmla="*/ 73438 h 3641849"/>
                <a:gd name="connsiteX14" fmla="*/ 124357 w 1457148"/>
                <a:gd name="connsiteY14" fmla="*/ 101880 h 3641849"/>
                <a:gd name="connsiteX15" fmla="*/ 154839 w 1457148"/>
                <a:gd name="connsiteY15" fmla="*/ 88952 h 3641849"/>
                <a:gd name="connsiteX16" fmla="*/ 157609 w 1457148"/>
                <a:gd name="connsiteY16" fmla="*/ 63095 h 3641849"/>
                <a:gd name="connsiteX17" fmla="*/ 165923 w 1457148"/>
                <a:gd name="connsiteY17" fmla="*/ 34652 h 3641849"/>
                <a:gd name="connsiteX18" fmla="*/ 168695 w 1457148"/>
                <a:gd name="connsiteY18" fmla="*/ 3624 h 3641849"/>
                <a:gd name="connsiteX19" fmla="*/ 304475 w 1457148"/>
                <a:gd name="connsiteY19" fmla="*/ 57924 h 3641849"/>
                <a:gd name="connsiteX20" fmla="*/ 334955 w 1457148"/>
                <a:gd name="connsiteY20" fmla="*/ 161352 h 3641849"/>
                <a:gd name="connsiteX21" fmla="*/ 348811 w 1457148"/>
                <a:gd name="connsiteY21" fmla="*/ 184622 h 3641849"/>
                <a:gd name="connsiteX22" fmla="*/ 359895 w 1457148"/>
                <a:gd name="connsiteY22" fmla="*/ 187208 h 3641849"/>
                <a:gd name="connsiteX23" fmla="*/ 473507 w 1457148"/>
                <a:gd name="connsiteY23" fmla="*/ 156181 h 3641849"/>
                <a:gd name="connsiteX24" fmla="*/ 540012 w 1457148"/>
                <a:gd name="connsiteY24" fmla="*/ 166522 h 3641849"/>
                <a:gd name="connsiteX25" fmla="*/ 603746 w 1457148"/>
                <a:gd name="connsiteY25" fmla="*/ 213065 h 3641849"/>
                <a:gd name="connsiteX26" fmla="*/ 617773 w 1457148"/>
                <a:gd name="connsiteY26" fmla="*/ 242621 h 3641849"/>
                <a:gd name="connsiteX27" fmla="*/ 673020 w 1457148"/>
                <a:gd name="connsiteY27" fmla="*/ 277708 h 3641849"/>
                <a:gd name="connsiteX28" fmla="*/ 761694 w 1457148"/>
                <a:gd name="connsiteY28" fmla="*/ 303563 h 3641849"/>
                <a:gd name="connsiteX29" fmla="*/ 833740 w 1457148"/>
                <a:gd name="connsiteY29" fmla="*/ 350106 h 3641849"/>
                <a:gd name="connsiteX30" fmla="*/ 883619 w 1457148"/>
                <a:gd name="connsiteY30" fmla="*/ 401820 h 3641849"/>
                <a:gd name="connsiteX31" fmla="*/ 908558 w 1457148"/>
                <a:gd name="connsiteY31" fmla="*/ 440606 h 3641849"/>
                <a:gd name="connsiteX32" fmla="*/ 941811 w 1457148"/>
                <a:gd name="connsiteY32" fmla="*/ 466462 h 3641849"/>
                <a:gd name="connsiteX33" fmla="*/ 925183 w 1457148"/>
                <a:gd name="connsiteY33" fmla="*/ 691417 h 3641849"/>
                <a:gd name="connsiteX34" fmla="*/ 797717 w 1457148"/>
                <a:gd name="connsiteY34" fmla="*/ 771575 h 3641849"/>
                <a:gd name="connsiteX35" fmla="*/ 684105 w 1457148"/>
                <a:gd name="connsiteY35" fmla="*/ 779331 h 3641849"/>
                <a:gd name="connsiteX36" fmla="*/ 545552 w 1457148"/>
                <a:gd name="connsiteY36" fmla="*/ 758645 h 3641849"/>
                <a:gd name="connsiteX37" fmla="*/ 454108 w 1457148"/>
                <a:gd name="connsiteY37" fmla="*/ 722445 h 3641849"/>
                <a:gd name="connsiteX38" fmla="*/ 434711 w 1457148"/>
                <a:gd name="connsiteY38" fmla="*/ 750888 h 3641849"/>
                <a:gd name="connsiteX39" fmla="*/ 465353 w 1457148"/>
                <a:gd name="connsiteY39" fmla="*/ 824301 h 3641849"/>
                <a:gd name="connsiteX40" fmla="*/ 470894 w 1457148"/>
                <a:gd name="connsiteY40" fmla="*/ 951000 h 3641849"/>
                <a:gd name="connsiteX41" fmla="*/ 443024 w 1457148"/>
                <a:gd name="connsiteY41" fmla="*/ 1012043 h 3641849"/>
                <a:gd name="connsiteX42" fmla="*/ 498443 w 1457148"/>
                <a:gd name="connsiteY42" fmla="*/ 1032728 h 3641849"/>
                <a:gd name="connsiteX43" fmla="*/ 515071 w 1457148"/>
                <a:gd name="connsiteY43" fmla="*/ 1048242 h 3641849"/>
                <a:gd name="connsiteX44" fmla="*/ 540011 w 1457148"/>
                <a:gd name="connsiteY44" fmla="*/ 1074099 h 3641849"/>
                <a:gd name="connsiteX45" fmla="*/ 537240 w 1457148"/>
                <a:gd name="connsiteY45" fmla="*/ 1076685 h 3641849"/>
                <a:gd name="connsiteX46" fmla="*/ 576033 w 1457148"/>
                <a:gd name="connsiteY46" fmla="*/ 1071514 h 3641849"/>
                <a:gd name="connsiteX47" fmla="*/ 584347 w 1457148"/>
                <a:gd name="connsiteY47" fmla="*/ 1035314 h 3641849"/>
                <a:gd name="connsiteX48" fmla="*/ 545552 w 1457148"/>
                <a:gd name="connsiteY48" fmla="*/ 957743 h 3641849"/>
                <a:gd name="connsiteX49" fmla="*/ 614828 w 1457148"/>
                <a:gd name="connsiteY49" fmla="*/ 911200 h 3641849"/>
                <a:gd name="connsiteX50" fmla="*/ 682600 w 1457148"/>
                <a:gd name="connsiteY50" fmla="*/ 918934 h 3641849"/>
                <a:gd name="connsiteX51" fmla="*/ 706433 w 1457148"/>
                <a:gd name="connsiteY51" fmla="*/ 951001 h 3641849"/>
                <a:gd name="connsiteX52" fmla="*/ 862162 w 1457148"/>
                <a:gd name="connsiteY52" fmla="*/ 1007364 h 3641849"/>
                <a:gd name="connsiteX53" fmla="*/ 847754 w 1457148"/>
                <a:gd name="connsiteY53" fmla="*/ 971687 h 3641849"/>
                <a:gd name="connsiteX54" fmla="*/ 814502 w 1457148"/>
                <a:gd name="connsiteY54" fmla="*/ 932901 h 3641849"/>
                <a:gd name="connsiteX55" fmla="*/ 803418 w 1457148"/>
                <a:gd name="connsiteY55" fmla="*/ 881187 h 3641849"/>
                <a:gd name="connsiteX56" fmla="*/ 842213 w 1457148"/>
                <a:gd name="connsiteY56" fmla="*/ 832060 h 3641849"/>
                <a:gd name="connsiteX57" fmla="*/ 869923 w 1457148"/>
                <a:gd name="connsiteY57" fmla="*/ 803617 h 3641849"/>
                <a:gd name="connsiteX58" fmla="*/ 894863 w 1457148"/>
                <a:gd name="connsiteY58" fmla="*/ 767417 h 3641849"/>
                <a:gd name="connsiteX59" fmla="*/ 975223 w 1457148"/>
                <a:gd name="connsiteY59" fmla="*/ 762245 h 3641849"/>
                <a:gd name="connsiteX60" fmla="*/ 980764 w 1457148"/>
                <a:gd name="connsiteY60" fmla="*/ 741560 h 3641849"/>
                <a:gd name="connsiteX61" fmla="*/ 1005704 w 1457148"/>
                <a:gd name="connsiteY61" fmla="*/ 705360 h 3641849"/>
                <a:gd name="connsiteX62" fmla="*/ 1039508 w 1457148"/>
                <a:gd name="connsiteY62" fmla="*/ 687772 h 3641849"/>
                <a:gd name="connsiteX63" fmla="*/ 1097148 w 1457148"/>
                <a:gd name="connsiteY63" fmla="*/ 700189 h 3641849"/>
                <a:gd name="connsiteX64" fmla="*/ 1135941 w 1457148"/>
                <a:gd name="connsiteY64" fmla="*/ 720875 h 3641849"/>
                <a:gd name="connsiteX65" fmla="*/ 1183049 w 1457148"/>
                <a:gd name="connsiteY65" fmla="*/ 728632 h 3641849"/>
                <a:gd name="connsiteX66" fmla="*/ 1183049 w 1457148"/>
                <a:gd name="connsiteY66" fmla="*/ 733803 h 3641849"/>
                <a:gd name="connsiteX67" fmla="*/ 1205218 w 1457148"/>
                <a:gd name="connsiteY67" fmla="*/ 674332 h 3641849"/>
                <a:gd name="connsiteX68" fmla="*/ 1215193 w 1457148"/>
                <a:gd name="connsiteY68" fmla="*/ 640714 h 3641849"/>
                <a:gd name="connsiteX69" fmla="*/ 1221844 w 1457148"/>
                <a:gd name="connsiteY69" fmla="*/ 622618 h 3641849"/>
                <a:gd name="connsiteX70" fmla="*/ 1224781 w 1457148"/>
                <a:gd name="connsiteY70" fmla="*/ 591288 h 3641849"/>
                <a:gd name="connsiteX71" fmla="*/ 1144255 w 1457148"/>
                <a:gd name="connsiteY71" fmla="*/ 545048 h 3641849"/>
                <a:gd name="connsiteX72" fmla="*/ 1130400 w 1457148"/>
                <a:gd name="connsiteY72" fmla="*/ 472648 h 3641849"/>
                <a:gd name="connsiteX73" fmla="*/ 1130400 w 1457148"/>
                <a:gd name="connsiteY73" fmla="*/ 454548 h 3641849"/>
                <a:gd name="connsiteX74" fmla="*/ 1141483 w 1457148"/>
                <a:gd name="connsiteY74" fmla="*/ 431276 h 3641849"/>
                <a:gd name="connsiteX75" fmla="*/ 1144255 w 1457148"/>
                <a:gd name="connsiteY75" fmla="*/ 415762 h 3641849"/>
                <a:gd name="connsiteX76" fmla="*/ 1144254 w 1457148"/>
                <a:gd name="connsiteY76" fmla="*/ 358878 h 3641849"/>
                <a:gd name="connsiteX77" fmla="*/ 1122086 w 1457148"/>
                <a:gd name="connsiteY77" fmla="*/ 335607 h 3641849"/>
                <a:gd name="connsiteX78" fmla="*/ 1094376 w 1457148"/>
                <a:gd name="connsiteY78" fmla="*/ 304578 h 3641849"/>
                <a:gd name="connsiteX79" fmla="*/ 1090208 w 1457148"/>
                <a:gd name="connsiteY79" fmla="*/ 280325 h 3641849"/>
                <a:gd name="connsiteX80" fmla="*/ 1141484 w 1457148"/>
                <a:gd name="connsiteY80" fmla="*/ 258034 h 3641849"/>
                <a:gd name="connsiteX81" fmla="*/ 1195064 w 1457148"/>
                <a:gd name="connsiteY81" fmla="*/ 267906 h 3641849"/>
                <a:gd name="connsiteX82" fmla="*/ 1273848 w 1457148"/>
                <a:gd name="connsiteY82" fmla="*/ 279816 h 3641849"/>
                <a:gd name="connsiteX83" fmla="*/ 1358171 w 1457148"/>
                <a:gd name="connsiteY83" fmla="*/ 349175 h 3641849"/>
                <a:gd name="connsiteX84" fmla="*/ 1420306 w 1457148"/>
                <a:gd name="connsiteY84" fmla="*/ 425271 h 3641849"/>
                <a:gd name="connsiteX85" fmla="*/ 1319335 w 1457148"/>
                <a:gd name="connsiteY85" fmla="*/ 454265 h 3641849"/>
                <a:gd name="connsiteX86" fmla="*/ 1303801 w 1457148"/>
                <a:gd name="connsiteY86" fmla="*/ 501372 h 3641849"/>
                <a:gd name="connsiteX87" fmla="*/ 1361471 w 1457148"/>
                <a:gd name="connsiteY87" fmla="*/ 585862 h 3641849"/>
                <a:gd name="connsiteX88" fmla="*/ 1397005 w 1457148"/>
                <a:gd name="connsiteY88" fmla="*/ 591964 h 3641849"/>
                <a:gd name="connsiteX89" fmla="*/ 1449625 w 1457148"/>
                <a:gd name="connsiteY89" fmla="*/ 598304 h 3641849"/>
                <a:gd name="connsiteX90" fmla="*/ 1444662 w 1457148"/>
                <a:gd name="connsiteY90" fmla="*/ 709079 h 3641849"/>
                <a:gd name="connsiteX91" fmla="*/ 1455731 w 1457148"/>
                <a:gd name="connsiteY91" fmla="*/ 1040047 h 3641849"/>
                <a:gd name="connsiteX92" fmla="*/ 1446863 w 1457148"/>
                <a:gd name="connsiteY92" fmla="*/ 1842646 h 3641849"/>
                <a:gd name="connsiteX93" fmla="*/ 1455730 w 1457148"/>
                <a:gd name="connsiteY93" fmla="*/ 2297728 h 3641849"/>
                <a:gd name="connsiteX94" fmla="*/ 1429282 w 1457148"/>
                <a:gd name="connsiteY94" fmla="*/ 3607693 h 3641849"/>
                <a:gd name="connsiteX95" fmla="*/ 1170855 w 1457148"/>
                <a:gd name="connsiteY95" fmla="*/ 3564098 h 3641849"/>
                <a:gd name="connsiteX96" fmla="*/ 1002377 w 1457148"/>
                <a:gd name="connsiteY96" fmla="*/ 3497903 h 3641849"/>
                <a:gd name="connsiteX97" fmla="*/ 825031 w 1457148"/>
                <a:gd name="connsiteY97" fmla="*/ 3406887 h 3641849"/>
                <a:gd name="connsiteX98" fmla="*/ 726733 w 1457148"/>
                <a:gd name="connsiteY98" fmla="*/ 3326370 h 3641849"/>
                <a:gd name="connsiteX99" fmla="*/ 1020995 w 1457148"/>
                <a:gd name="connsiteY99" fmla="*/ 3018734 h 3641849"/>
                <a:gd name="connsiteX100" fmla="*/ 737241 w 1457148"/>
                <a:gd name="connsiteY100" fmla="*/ 2480910 h 3641849"/>
                <a:gd name="connsiteX101" fmla="*/ 879591 w 1457148"/>
                <a:gd name="connsiteY101" fmla="*/ 2241825 h 3641849"/>
                <a:gd name="connsiteX102" fmla="*/ 692904 w 1457148"/>
                <a:gd name="connsiteY102" fmla="*/ 1703134 h 3641849"/>
                <a:gd name="connsiteX103" fmla="*/ 444620 w 1457148"/>
                <a:gd name="connsiteY103" fmla="*/ 1471456 h 3641849"/>
                <a:gd name="connsiteX104" fmla="*/ 435753 w 1457148"/>
                <a:gd name="connsiteY104" fmla="*/ 1355617 h 3641849"/>
                <a:gd name="connsiteX0" fmla="*/ 435753 w 1457148"/>
                <a:gd name="connsiteY0" fmla="*/ 1355617 h 3641849"/>
                <a:gd name="connsiteX1" fmla="*/ 237969 w 1457148"/>
                <a:gd name="connsiteY1" fmla="*/ 1257686 h 3641849"/>
                <a:gd name="connsiteX2" fmla="*/ 218572 w 1457148"/>
                <a:gd name="connsiteY2" fmla="*/ 973260 h 3641849"/>
                <a:gd name="connsiteX3" fmla="*/ 188091 w 1457148"/>
                <a:gd name="connsiteY3" fmla="*/ 931888 h 3641849"/>
                <a:gd name="connsiteX4" fmla="*/ 96648 w 1457148"/>
                <a:gd name="connsiteY4" fmla="*/ 794845 h 3641849"/>
                <a:gd name="connsiteX5" fmla="*/ 135443 w 1457148"/>
                <a:gd name="connsiteY5" fmla="*/ 779332 h 3641849"/>
                <a:gd name="connsiteX6" fmla="*/ 21830 w 1457148"/>
                <a:gd name="connsiteY6" fmla="*/ 551792 h 3641849"/>
                <a:gd name="connsiteX7" fmla="*/ 80021 w 1457148"/>
                <a:gd name="connsiteY7" fmla="*/ 458707 h 3641849"/>
                <a:gd name="connsiteX8" fmla="*/ 85563 w 1457148"/>
                <a:gd name="connsiteY8" fmla="*/ 378550 h 3641849"/>
                <a:gd name="connsiteX9" fmla="*/ 10744 w 1457148"/>
                <a:gd name="connsiteY9" fmla="*/ 319079 h 3641849"/>
                <a:gd name="connsiteX10" fmla="*/ 2432 w 1457148"/>
                <a:gd name="connsiteY10" fmla="*/ 251851 h 3641849"/>
                <a:gd name="connsiteX11" fmla="*/ 57852 w 1457148"/>
                <a:gd name="connsiteY11" fmla="*/ 158764 h 3641849"/>
                <a:gd name="connsiteX12" fmla="*/ 77250 w 1457148"/>
                <a:gd name="connsiteY12" fmla="*/ 135494 h 3641849"/>
                <a:gd name="connsiteX13" fmla="*/ 91105 w 1457148"/>
                <a:gd name="connsiteY13" fmla="*/ 117394 h 3641849"/>
                <a:gd name="connsiteX14" fmla="*/ 99418 w 1457148"/>
                <a:gd name="connsiteY14" fmla="*/ 73438 h 3641849"/>
                <a:gd name="connsiteX15" fmla="*/ 124357 w 1457148"/>
                <a:gd name="connsiteY15" fmla="*/ 101880 h 3641849"/>
                <a:gd name="connsiteX16" fmla="*/ 154839 w 1457148"/>
                <a:gd name="connsiteY16" fmla="*/ 88952 h 3641849"/>
                <a:gd name="connsiteX17" fmla="*/ 157609 w 1457148"/>
                <a:gd name="connsiteY17" fmla="*/ 63095 h 3641849"/>
                <a:gd name="connsiteX18" fmla="*/ 165923 w 1457148"/>
                <a:gd name="connsiteY18" fmla="*/ 34652 h 3641849"/>
                <a:gd name="connsiteX19" fmla="*/ 168695 w 1457148"/>
                <a:gd name="connsiteY19" fmla="*/ 3624 h 3641849"/>
                <a:gd name="connsiteX20" fmla="*/ 304475 w 1457148"/>
                <a:gd name="connsiteY20" fmla="*/ 57924 h 3641849"/>
                <a:gd name="connsiteX21" fmla="*/ 334955 w 1457148"/>
                <a:gd name="connsiteY21" fmla="*/ 161352 h 3641849"/>
                <a:gd name="connsiteX22" fmla="*/ 348811 w 1457148"/>
                <a:gd name="connsiteY22" fmla="*/ 184622 h 3641849"/>
                <a:gd name="connsiteX23" fmla="*/ 359895 w 1457148"/>
                <a:gd name="connsiteY23" fmla="*/ 187208 h 3641849"/>
                <a:gd name="connsiteX24" fmla="*/ 473507 w 1457148"/>
                <a:gd name="connsiteY24" fmla="*/ 156181 h 3641849"/>
                <a:gd name="connsiteX25" fmla="*/ 540012 w 1457148"/>
                <a:gd name="connsiteY25" fmla="*/ 166522 h 3641849"/>
                <a:gd name="connsiteX26" fmla="*/ 603746 w 1457148"/>
                <a:gd name="connsiteY26" fmla="*/ 213065 h 3641849"/>
                <a:gd name="connsiteX27" fmla="*/ 617773 w 1457148"/>
                <a:gd name="connsiteY27" fmla="*/ 242621 h 3641849"/>
                <a:gd name="connsiteX28" fmla="*/ 673020 w 1457148"/>
                <a:gd name="connsiteY28" fmla="*/ 277708 h 3641849"/>
                <a:gd name="connsiteX29" fmla="*/ 761694 w 1457148"/>
                <a:gd name="connsiteY29" fmla="*/ 303563 h 3641849"/>
                <a:gd name="connsiteX30" fmla="*/ 833740 w 1457148"/>
                <a:gd name="connsiteY30" fmla="*/ 350106 h 3641849"/>
                <a:gd name="connsiteX31" fmla="*/ 883619 w 1457148"/>
                <a:gd name="connsiteY31" fmla="*/ 401820 h 3641849"/>
                <a:gd name="connsiteX32" fmla="*/ 908558 w 1457148"/>
                <a:gd name="connsiteY32" fmla="*/ 440606 h 3641849"/>
                <a:gd name="connsiteX33" fmla="*/ 941811 w 1457148"/>
                <a:gd name="connsiteY33" fmla="*/ 466462 h 3641849"/>
                <a:gd name="connsiteX34" fmla="*/ 925183 w 1457148"/>
                <a:gd name="connsiteY34" fmla="*/ 691417 h 3641849"/>
                <a:gd name="connsiteX35" fmla="*/ 797717 w 1457148"/>
                <a:gd name="connsiteY35" fmla="*/ 771575 h 3641849"/>
                <a:gd name="connsiteX36" fmla="*/ 684105 w 1457148"/>
                <a:gd name="connsiteY36" fmla="*/ 779331 h 3641849"/>
                <a:gd name="connsiteX37" fmla="*/ 545552 w 1457148"/>
                <a:gd name="connsiteY37" fmla="*/ 758645 h 3641849"/>
                <a:gd name="connsiteX38" fmla="*/ 454108 w 1457148"/>
                <a:gd name="connsiteY38" fmla="*/ 722445 h 3641849"/>
                <a:gd name="connsiteX39" fmla="*/ 434711 w 1457148"/>
                <a:gd name="connsiteY39" fmla="*/ 750888 h 3641849"/>
                <a:gd name="connsiteX40" fmla="*/ 465353 w 1457148"/>
                <a:gd name="connsiteY40" fmla="*/ 824301 h 3641849"/>
                <a:gd name="connsiteX41" fmla="*/ 470894 w 1457148"/>
                <a:gd name="connsiteY41" fmla="*/ 951000 h 3641849"/>
                <a:gd name="connsiteX42" fmla="*/ 443024 w 1457148"/>
                <a:gd name="connsiteY42" fmla="*/ 1012043 h 3641849"/>
                <a:gd name="connsiteX43" fmla="*/ 498443 w 1457148"/>
                <a:gd name="connsiteY43" fmla="*/ 1032728 h 3641849"/>
                <a:gd name="connsiteX44" fmla="*/ 515071 w 1457148"/>
                <a:gd name="connsiteY44" fmla="*/ 1048242 h 3641849"/>
                <a:gd name="connsiteX45" fmla="*/ 540011 w 1457148"/>
                <a:gd name="connsiteY45" fmla="*/ 1074099 h 3641849"/>
                <a:gd name="connsiteX46" fmla="*/ 537240 w 1457148"/>
                <a:gd name="connsiteY46" fmla="*/ 1076685 h 3641849"/>
                <a:gd name="connsiteX47" fmla="*/ 576033 w 1457148"/>
                <a:gd name="connsiteY47" fmla="*/ 1071514 h 3641849"/>
                <a:gd name="connsiteX48" fmla="*/ 584347 w 1457148"/>
                <a:gd name="connsiteY48" fmla="*/ 1035314 h 3641849"/>
                <a:gd name="connsiteX49" fmla="*/ 545552 w 1457148"/>
                <a:gd name="connsiteY49" fmla="*/ 957743 h 3641849"/>
                <a:gd name="connsiteX50" fmla="*/ 614828 w 1457148"/>
                <a:gd name="connsiteY50" fmla="*/ 911200 h 3641849"/>
                <a:gd name="connsiteX51" fmla="*/ 682600 w 1457148"/>
                <a:gd name="connsiteY51" fmla="*/ 918934 h 3641849"/>
                <a:gd name="connsiteX52" fmla="*/ 706433 w 1457148"/>
                <a:gd name="connsiteY52" fmla="*/ 951001 h 3641849"/>
                <a:gd name="connsiteX53" fmla="*/ 862162 w 1457148"/>
                <a:gd name="connsiteY53" fmla="*/ 1007364 h 3641849"/>
                <a:gd name="connsiteX54" fmla="*/ 847754 w 1457148"/>
                <a:gd name="connsiteY54" fmla="*/ 971687 h 3641849"/>
                <a:gd name="connsiteX55" fmla="*/ 814502 w 1457148"/>
                <a:gd name="connsiteY55" fmla="*/ 932901 h 3641849"/>
                <a:gd name="connsiteX56" fmla="*/ 803418 w 1457148"/>
                <a:gd name="connsiteY56" fmla="*/ 881187 h 3641849"/>
                <a:gd name="connsiteX57" fmla="*/ 842213 w 1457148"/>
                <a:gd name="connsiteY57" fmla="*/ 832060 h 3641849"/>
                <a:gd name="connsiteX58" fmla="*/ 869923 w 1457148"/>
                <a:gd name="connsiteY58" fmla="*/ 803617 h 3641849"/>
                <a:gd name="connsiteX59" fmla="*/ 894863 w 1457148"/>
                <a:gd name="connsiteY59" fmla="*/ 767417 h 3641849"/>
                <a:gd name="connsiteX60" fmla="*/ 975223 w 1457148"/>
                <a:gd name="connsiteY60" fmla="*/ 762245 h 3641849"/>
                <a:gd name="connsiteX61" fmla="*/ 980764 w 1457148"/>
                <a:gd name="connsiteY61" fmla="*/ 741560 h 3641849"/>
                <a:gd name="connsiteX62" fmla="*/ 1005704 w 1457148"/>
                <a:gd name="connsiteY62" fmla="*/ 705360 h 3641849"/>
                <a:gd name="connsiteX63" fmla="*/ 1039508 w 1457148"/>
                <a:gd name="connsiteY63" fmla="*/ 687772 h 3641849"/>
                <a:gd name="connsiteX64" fmla="*/ 1097148 w 1457148"/>
                <a:gd name="connsiteY64" fmla="*/ 700189 h 3641849"/>
                <a:gd name="connsiteX65" fmla="*/ 1135941 w 1457148"/>
                <a:gd name="connsiteY65" fmla="*/ 720875 h 3641849"/>
                <a:gd name="connsiteX66" fmla="*/ 1183049 w 1457148"/>
                <a:gd name="connsiteY66" fmla="*/ 728632 h 3641849"/>
                <a:gd name="connsiteX67" fmla="*/ 1183049 w 1457148"/>
                <a:gd name="connsiteY67" fmla="*/ 733803 h 3641849"/>
                <a:gd name="connsiteX68" fmla="*/ 1205218 w 1457148"/>
                <a:gd name="connsiteY68" fmla="*/ 674332 h 3641849"/>
                <a:gd name="connsiteX69" fmla="*/ 1215193 w 1457148"/>
                <a:gd name="connsiteY69" fmla="*/ 640714 h 3641849"/>
                <a:gd name="connsiteX70" fmla="*/ 1221844 w 1457148"/>
                <a:gd name="connsiteY70" fmla="*/ 622618 h 3641849"/>
                <a:gd name="connsiteX71" fmla="*/ 1224781 w 1457148"/>
                <a:gd name="connsiteY71" fmla="*/ 591288 h 3641849"/>
                <a:gd name="connsiteX72" fmla="*/ 1144255 w 1457148"/>
                <a:gd name="connsiteY72" fmla="*/ 545048 h 3641849"/>
                <a:gd name="connsiteX73" fmla="*/ 1130400 w 1457148"/>
                <a:gd name="connsiteY73" fmla="*/ 472648 h 3641849"/>
                <a:gd name="connsiteX74" fmla="*/ 1130400 w 1457148"/>
                <a:gd name="connsiteY74" fmla="*/ 454548 h 3641849"/>
                <a:gd name="connsiteX75" fmla="*/ 1141483 w 1457148"/>
                <a:gd name="connsiteY75" fmla="*/ 431276 h 3641849"/>
                <a:gd name="connsiteX76" fmla="*/ 1144255 w 1457148"/>
                <a:gd name="connsiteY76" fmla="*/ 415762 h 3641849"/>
                <a:gd name="connsiteX77" fmla="*/ 1144254 w 1457148"/>
                <a:gd name="connsiteY77" fmla="*/ 358878 h 3641849"/>
                <a:gd name="connsiteX78" fmla="*/ 1122086 w 1457148"/>
                <a:gd name="connsiteY78" fmla="*/ 335607 h 3641849"/>
                <a:gd name="connsiteX79" fmla="*/ 1094376 w 1457148"/>
                <a:gd name="connsiteY79" fmla="*/ 304578 h 3641849"/>
                <a:gd name="connsiteX80" fmla="*/ 1090208 w 1457148"/>
                <a:gd name="connsiteY80" fmla="*/ 280325 h 3641849"/>
                <a:gd name="connsiteX81" fmla="*/ 1141484 w 1457148"/>
                <a:gd name="connsiteY81" fmla="*/ 258034 h 3641849"/>
                <a:gd name="connsiteX82" fmla="*/ 1195064 w 1457148"/>
                <a:gd name="connsiteY82" fmla="*/ 267906 h 3641849"/>
                <a:gd name="connsiteX83" fmla="*/ 1273848 w 1457148"/>
                <a:gd name="connsiteY83" fmla="*/ 279816 h 3641849"/>
                <a:gd name="connsiteX84" fmla="*/ 1358171 w 1457148"/>
                <a:gd name="connsiteY84" fmla="*/ 349175 h 3641849"/>
                <a:gd name="connsiteX85" fmla="*/ 1420306 w 1457148"/>
                <a:gd name="connsiteY85" fmla="*/ 425271 h 3641849"/>
                <a:gd name="connsiteX86" fmla="*/ 1319335 w 1457148"/>
                <a:gd name="connsiteY86" fmla="*/ 454265 h 3641849"/>
                <a:gd name="connsiteX87" fmla="*/ 1303801 w 1457148"/>
                <a:gd name="connsiteY87" fmla="*/ 501372 h 3641849"/>
                <a:gd name="connsiteX88" fmla="*/ 1361471 w 1457148"/>
                <a:gd name="connsiteY88" fmla="*/ 585862 h 3641849"/>
                <a:gd name="connsiteX89" fmla="*/ 1397005 w 1457148"/>
                <a:gd name="connsiteY89" fmla="*/ 591964 h 3641849"/>
                <a:gd name="connsiteX90" fmla="*/ 1449625 w 1457148"/>
                <a:gd name="connsiteY90" fmla="*/ 598304 h 3641849"/>
                <a:gd name="connsiteX91" fmla="*/ 1444662 w 1457148"/>
                <a:gd name="connsiteY91" fmla="*/ 709079 h 3641849"/>
                <a:gd name="connsiteX92" fmla="*/ 1455731 w 1457148"/>
                <a:gd name="connsiteY92" fmla="*/ 1040047 h 3641849"/>
                <a:gd name="connsiteX93" fmla="*/ 1446863 w 1457148"/>
                <a:gd name="connsiteY93" fmla="*/ 1842646 h 3641849"/>
                <a:gd name="connsiteX94" fmla="*/ 1455730 w 1457148"/>
                <a:gd name="connsiteY94" fmla="*/ 2297728 h 3641849"/>
                <a:gd name="connsiteX95" fmla="*/ 1429282 w 1457148"/>
                <a:gd name="connsiteY95" fmla="*/ 3607693 h 3641849"/>
                <a:gd name="connsiteX96" fmla="*/ 1170855 w 1457148"/>
                <a:gd name="connsiteY96" fmla="*/ 3564098 h 3641849"/>
                <a:gd name="connsiteX97" fmla="*/ 1002377 w 1457148"/>
                <a:gd name="connsiteY97" fmla="*/ 3497903 h 3641849"/>
                <a:gd name="connsiteX98" fmla="*/ 825031 w 1457148"/>
                <a:gd name="connsiteY98" fmla="*/ 3406887 h 3641849"/>
                <a:gd name="connsiteX99" fmla="*/ 726733 w 1457148"/>
                <a:gd name="connsiteY99" fmla="*/ 3326370 h 3641849"/>
                <a:gd name="connsiteX100" fmla="*/ 1020995 w 1457148"/>
                <a:gd name="connsiteY100" fmla="*/ 3018734 h 3641849"/>
                <a:gd name="connsiteX101" fmla="*/ 737241 w 1457148"/>
                <a:gd name="connsiteY101" fmla="*/ 2480910 h 3641849"/>
                <a:gd name="connsiteX102" fmla="*/ 879591 w 1457148"/>
                <a:gd name="connsiteY102" fmla="*/ 2241825 h 3641849"/>
                <a:gd name="connsiteX103" fmla="*/ 692904 w 1457148"/>
                <a:gd name="connsiteY103" fmla="*/ 1703134 h 3641849"/>
                <a:gd name="connsiteX104" fmla="*/ 444620 w 1457148"/>
                <a:gd name="connsiteY104" fmla="*/ 1471456 h 3641849"/>
                <a:gd name="connsiteX105" fmla="*/ 435753 w 1457148"/>
                <a:gd name="connsiteY105" fmla="*/ 1355617 h 3641849"/>
                <a:gd name="connsiteX0" fmla="*/ 435753 w 1457148"/>
                <a:gd name="connsiteY0" fmla="*/ 1355617 h 3641849"/>
                <a:gd name="connsiteX1" fmla="*/ 237969 w 1457148"/>
                <a:gd name="connsiteY1" fmla="*/ 1257686 h 3641849"/>
                <a:gd name="connsiteX2" fmla="*/ 218572 w 1457148"/>
                <a:gd name="connsiteY2" fmla="*/ 973260 h 3641849"/>
                <a:gd name="connsiteX3" fmla="*/ 188091 w 1457148"/>
                <a:gd name="connsiteY3" fmla="*/ 931888 h 3641849"/>
                <a:gd name="connsiteX4" fmla="*/ 96648 w 1457148"/>
                <a:gd name="connsiteY4" fmla="*/ 794845 h 3641849"/>
                <a:gd name="connsiteX5" fmla="*/ 135443 w 1457148"/>
                <a:gd name="connsiteY5" fmla="*/ 779332 h 3641849"/>
                <a:gd name="connsiteX6" fmla="*/ 21830 w 1457148"/>
                <a:gd name="connsiteY6" fmla="*/ 551792 h 3641849"/>
                <a:gd name="connsiteX7" fmla="*/ 80021 w 1457148"/>
                <a:gd name="connsiteY7" fmla="*/ 458707 h 3641849"/>
                <a:gd name="connsiteX8" fmla="*/ 85563 w 1457148"/>
                <a:gd name="connsiteY8" fmla="*/ 378550 h 3641849"/>
                <a:gd name="connsiteX9" fmla="*/ 10744 w 1457148"/>
                <a:gd name="connsiteY9" fmla="*/ 319079 h 3641849"/>
                <a:gd name="connsiteX10" fmla="*/ 2432 w 1457148"/>
                <a:gd name="connsiteY10" fmla="*/ 251851 h 3641849"/>
                <a:gd name="connsiteX11" fmla="*/ 57852 w 1457148"/>
                <a:gd name="connsiteY11" fmla="*/ 158764 h 3641849"/>
                <a:gd name="connsiteX12" fmla="*/ 77250 w 1457148"/>
                <a:gd name="connsiteY12" fmla="*/ 135494 h 3641849"/>
                <a:gd name="connsiteX13" fmla="*/ 91105 w 1457148"/>
                <a:gd name="connsiteY13" fmla="*/ 117394 h 3641849"/>
                <a:gd name="connsiteX14" fmla="*/ 99418 w 1457148"/>
                <a:gd name="connsiteY14" fmla="*/ 73438 h 3641849"/>
                <a:gd name="connsiteX15" fmla="*/ 124357 w 1457148"/>
                <a:gd name="connsiteY15" fmla="*/ 101880 h 3641849"/>
                <a:gd name="connsiteX16" fmla="*/ 154839 w 1457148"/>
                <a:gd name="connsiteY16" fmla="*/ 88952 h 3641849"/>
                <a:gd name="connsiteX17" fmla="*/ 157609 w 1457148"/>
                <a:gd name="connsiteY17" fmla="*/ 63095 h 3641849"/>
                <a:gd name="connsiteX18" fmla="*/ 165923 w 1457148"/>
                <a:gd name="connsiteY18" fmla="*/ 34652 h 3641849"/>
                <a:gd name="connsiteX19" fmla="*/ 168695 w 1457148"/>
                <a:gd name="connsiteY19" fmla="*/ 3624 h 3641849"/>
                <a:gd name="connsiteX20" fmla="*/ 304475 w 1457148"/>
                <a:gd name="connsiteY20" fmla="*/ 57924 h 3641849"/>
                <a:gd name="connsiteX21" fmla="*/ 334955 w 1457148"/>
                <a:gd name="connsiteY21" fmla="*/ 161352 h 3641849"/>
                <a:gd name="connsiteX22" fmla="*/ 348811 w 1457148"/>
                <a:gd name="connsiteY22" fmla="*/ 184622 h 3641849"/>
                <a:gd name="connsiteX23" fmla="*/ 359895 w 1457148"/>
                <a:gd name="connsiteY23" fmla="*/ 187208 h 3641849"/>
                <a:gd name="connsiteX24" fmla="*/ 473507 w 1457148"/>
                <a:gd name="connsiteY24" fmla="*/ 156181 h 3641849"/>
                <a:gd name="connsiteX25" fmla="*/ 540012 w 1457148"/>
                <a:gd name="connsiteY25" fmla="*/ 166522 h 3641849"/>
                <a:gd name="connsiteX26" fmla="*/ 603746 w 1457148"/>
                <a:gd name="connsiteY26" fmla="*/ 213065 h 3641849"/>
                <a:gd name="connsiteX27" fmla="*/ 617773 w 1457148"/>
                <a:gd name="connsiteY27" fmla="*/ 242621 h 3641849"/>
                <a:gd name="connsiteX28" fmla="*/ 673020 w 1457148"/>
                <a:gd name="connsiteY28" fmla="*/ 277708 h 3641849"/>
                <a:gd name="connsiteX29" fmla="*/ 761694 w 1457148"/>
                <a:gd name="connsiteY29" fmla="*/ 303563 h 3641849"/>
                <a:gd name="connsiteX30" fmla="*/ 833740 w 1457148"/>
                <a:gd name="connsiteY30" fmla="*/ 350106 h 3641849"/>
                <a:gd name="connsiteX31" fmla="*/ 883619 w 1457148"/>
                <a:gd name="connsiteY31" fmla="*/ 401820 h 3641849"/>
                <a:gd name="connsiteX32" fmla="*/ 908558 w 1457148"/>
                <a:gd name="connsiteY32" fmla="*/ 440606 h 3641849"/>
                <a:gd name="connsiteX33" fmla="*/ 941811 w 1457148"/>
                <a:gd name="connsiteY33" fmla="*/ 466462 h 3641849"/>
                <a:gd name="connsiteX34" fmla="*/ 925183 w 1457148"/>
                <a:gd name="connsiteY34" fmla="*/ 691417 h 3641849"/>
                <a:gd name="connsiteX35" fmla="*/ 797717 w 1457148"/>
                <a:gd name="connsiteY35" fmla="*/ 771575 h 3641849"/>
                <a:gd name="connsiteX36" fmla="*/ 684105 w 1457148"/>
                <a:gd name="connsiteY36" fmla="*/ 779331 h 3641849"/>
                <a:gd name="connsiteX37" fmla="*/ 545552 w 1457148"/>
                <a:gd name="connsiteY37" fmla="*/ 758645 h 3641849"/>
                <a:gd name="connsiteX38" fmla="*/ 454108 w 1457148"/>
                <a:gd name="connsiteY38" fmla="*/ 722445 h 3641849"/>
                <a:gd name="connsiteX39" fmla="*/ 434711 w 1457148"/>
                <a:gd name="connsiteY39" fmla="*/ 750888 h 3641849"/>
                <a:gd name="connsiteX40" fmla="*/ 465353 w 1457148"/>
                <a:gd name="connsiteY40" fmla="*/ 824301 h 3641849"/>
                <a:gd name="connsiteX41" fmla="*/ 470894 w 1457148"/>
                <a:gd name="connsiteY41" fmla="*/ 951000 h 3641849"/>
                <a:gd name="connsiteX42" fmla="*/ 443024 w 1457148"/>
                <a:gd name="connsiteY42" fmla="*/ 1012043 h 3641849"/>
                <a:gd name="connsiteX43" fmla="*/ 498443 w 1457148"/>
                <a:gd name="connsiteY43" fmla="*/ 1032728 h 3641849"/>
                <a:gd name="connsiteX44" fmla="*/ 515071 w 1457148"/>
                <a:gd name="connsiteY44" fmla="*/ 1048242 h 3641849"/>
                <a:gd name="connsiteX45" fmla="*/ 540011 w 1457148"/>
                <a:gd name="connsiteY45" fmla="*/ 1074099 h 3641849"/>
                <a:gd name="connsiteX46" fmla="*/ 537240 w 1457148"/>
                <a:gd name="connsiteY46" fmla="*/ 1076685 h 3641849"/>
                <a:gd name="connsiteX47" fmla="*/ 576033 w 1457148"/>
                <a:gd name="connsiteY47" fmla="*/ 1071514 h 3641849"/>
                <a:gd name="connsiteX48" fmla="*/ 584347 w 1457148"/>
                <a:gd name="connsiteY48" fmla="*/ 1035314 h 3641849"/>
                <a:gd name="connsiteX49" fmla="*/ 545552 w 1457148"/>
                <a:gd name="connsiteY49" fmla="*/ 957743 h 3641849"/>
                <a:gd name="connsiteX50" fmla="*/ 614828 w 1457148"/>
                <a:gd name="connsiteY50" fmla="*/ 911200 h 3641849"/>
                <a:gd name="connsiteX51" fmla="*/ 682600 w 1457148"/>
                <a:gd name="connsiteY51" fmla="*/ 918934 h 3641849"/>
                <a:gd name="connsiteX52" fmla="*/ 706433 w 1457148"/>
                <a:gd name="connsiteY52" fmla="*/ 951001 h 3641849"/>
                <a:gd name="connsiteX53" fmla="*/ 862162 w 1457148"/>
                <a:gd name="connsiteY53" fmla="*/ 1007364 h 3641849"/>
                <a:gd name="connsiteX54" fmla="*/ 847754 w 1457148"/>
                <a:gd name="connsiteY54" fmla="*/ 971687 h 3641849"/>
                <a:gd name="connsiteX55" fmla="*/ 814502 w 1457148"/>
                <a:gd name="connsiteY55" fmla="*/ 932901 h 3641849"/>
                <a:gd name="connsiteX56" fmla="*/ 803418 w 1457148"/>
                <a:gd name="connsiteY56" fmla="*/ 881187 h 3641849"/>
                <a:gd name="connsiteX57" fmla="*/ 842213 w 1457148"/>
                <a:gd name="connsiteY57" fmla="*/ 832060 h 3641849"/>
                <a:gd name="connsiteX58" fmla="*/ 869923 w 1457148"/>
                <a:gd name="connsiteY58" fmla="*/ 803617 h 3641849"/>
                <a:gd name="connsiteX59" fmla="*/ 894863 w 1457148"/>
                <a:gd name="connsiteY59" fmla="*/ 767417 h 3641849"/>
                <a:gd name="connsiteX60" fmla="*/ 975223 w 1457148"/>
                <a:gd name="connsiteY60" fmla="*/ 762245 h 3641849"/>
                <a:gd name="connsiteX61" fmla="*/ 980764 w 1457148"/>
                <a:gd name="connsiteY61" fmla="*/ 741560 h 3641849"/>
                <a:gd name="connsiteX62" fmla="*/ 1005704 w 1457148"/>
                <a:gd name="connsiteY62" fmla="*/ 705360 h 3641849"/>
                <a:gd name="connsiteX63" fmla="*/ 1039508 w 1457148"/>
                <a:gd name="connsiteY63" fmla="*/ 687772 h 3641849"/>
                <a:gd name="connsiteX64" fmla="*/ 1097148 w 1457148"/>
                <a:gd name="connsiteY64" fmla="*/ 700189 h 3641849"/>
                <a:gd name="connsiteX65" fmla="*/ 1135941 w 1457148"/>
                <a:gd name="connsiteY65" fmla="*/ 720875 h 3641849"/>
                <a:gd name="connsiteX66" fmla="*/ 1183049 w 1457148"/>
                <a:gd name="connsiteY66" fmla="*/ 728632 h 3641849"/>
                <a:gd name="connsiteX67" fmla="*/ 1183049 w 1457148"/>
                <a:gd name="connsiteY67" fmla="*/ 733803 h 3641849"/>
                <a:gd name="connsiteX68" fmla="*/ 1205218 w 1457148"/>
                <a:gd name="connsiteY68" fmla="*/ 674332 h 3641849"/>
                <a:gd name="connsiteX69" fmla="*/ 1215193 w 1457148"/>
                <a:gd name="connsiteY69" fmla="*/ 640714 h 3641849"/>
                <a:gd name="connsiteX70" fmla="*/ 1221844 w 1457148"/>
                <a:gd name="connsiteY70" fmla="*/ 622618 h 3641849"/>
                <a:gd name="connsiteX71" fmla="*/ 1224781 w 1457148"/>
                <a:gd name="connsiteY71" fmla="*/ 591288 h 3641849"/>
                <a:gd name="connsiteX72" fmla="*/ 1144255 w 1457148"/>
                <a:gd name="connsiteY72" fmla="*/ 545048 h 3641849"/>
                <a:gd name="connsiteX73" fmla="*/ 1130400 w 1457148"/>
                <a:gd name="connsiteY73" fmla="*/ 472648 h 3641849"/>
                <a:gd name="connsiteX74" fmla="*/ 1130400 w 1457148"/>
                <a:gd name="connsiteY74" fmla="*/ 454548 h 3641849"/>
                <a:gd name="connsiteX75" fmla="*/ 1141483 w 1457148"/>
                <a:gd name="connsiteY75" fmla="*/ 431276 h 3641849"/>
                <a:gd name="connsiteX76" fmla="*/ 1144255 w 1457148"/>
                <a:gd name="connsiteY76" fmla="*/ 415762 h 3641849"/>
                <a:gd name="connsiteX77" fmla="*/ 1144254 w 1457148"/>
                <a:gd name="connsiteY77" fmla="*/ 358878 h 3641849"/>
                <a:gd name="connsiteX78" fmla="*/ 1122086 w 1457148"/>
                <a:gd name="connsiteY78" fmla="*/ 335607 h 3641849"/>
                <a:gd name="connsiteX79" fmla="*/ 1094376 w 1457148"/>
                <a:gd name="connsiteY79" fmla="*/ 304578 h 3641849"/>
                <a:gd name="connsiteX80" fmla="*/ 1090208 w 1457148"/>
                <a:gd name="connsiteY80" fmla="*/ 280325 h 3641849"/>
                <a:gd name="connsiteX81" fmla="*/ 1141484 w 1457148"/>
                <a:gd name="connsiteY81" fmla="*/ 258034 h 3641849"/>
                <a:gd name="connsiteX82" fmla="*/ 1195064 w 1457148"/>
                <a:gd name="connsiteY82" fmla="*/ 267906 h 3641849"/>
                <a:gd name="connsiteX83" fmla="*/ 1273848 w 1457148"/>
                <a:gd name="connsiteY83" fmla="*/ 279816 h 3641849"/>
                <a:gd name="connsiteX84" fmla="*/ 1358171 w 1457148"/>
                <a:gd name="connsiteY84" fmla="*/ 349175 h 3641849"/>
                <a:gd name="connsiteX85" fmla="*/ 1420306 w 1457148"/>
                <a:gd name="connsiteY85" fmla="*/ 425271 h 3641849"/>
                <a:gd name="connsiteX86" fmla="*/ 1319335 w 1457148"/>
                <a:gd name="connsiteY86" fmla="*/ 454265 h 3641849"/>
                <a:gd name="connsiteX87" fmla="*/ 1303801 w 1457148"/>
                <a:gd name="connsiteY87" fmla="*/ 501372 h 3641849"/>
                <a:gd name="connsiteX88" fmla="*/ 1361471 w 1457148"/>
                <a:gd name="connsiteY88" fmla="*/ 585862 h 3641849"/>
                <a:gd name="connsiteX89" fmla="*/ 1397005 w 1457148"/>
                <a:gd name="connsiteY89" fmla="*/ 591964 h 3641849"/>
                <a:gd name="connsiteX90" fmla="*/ 1449625 w 1457148"/>
                <a:gd name="connsiteY90" fmla="*/ 598304 h 3641849"/>
                <a:gd name="connsiteX91" fmla="*/ 1444662 w 1457148"/>
                <a:gd name="connsiteY91" fmla="*/ 709079 h 3641849"/>
                <a:gd name="connsiteX92" fmla="*/ 1455731 w 1457148"/>
                <a:gd name="connsiteY92" fmla="*/ 1040047 h 3641849"/>
                <a:gd name="connsiteX93" fmla="*/ 1446863 w 1457148"/>
                <a:gd name="connsiteY93" fmla="*/ 1842646 h 3641849"/>
                <a:gd name="connsiteX94" fmla="*/ 1455730 w 1457148"/>
                <a:gd name="connsiteY94" fmla="*/ 2297728 h 3641849"/>
                <a:gd name="connsiteX95" fmla="*/ 1429282 w 1457148"/>
                <a:gd name="connsiteY95" fmla="*/ 3607693 h 3641849"/>
                <a:gd name="connsiteX96" fmla="*/ 1170855 w 1457148"/>
                <a:gd name="connsiteY96" fmla="*/ 3564098 h 3641849"/>
                <a:gd name="connsiteX97" fmla="*/ 1002377 w 1457148"/>
                <a:gd name="connsiteY97" fmla="*/ 3497903 h 3641849"/>
                <a:gd name="connsiteX98" fmla="*/ 825031 w 1457148"/>
                <a:gd name="connsiteY98" fmla="*/ 3406887 h 3641849"/>
                <a:gd name="connsiteX99" fmla="*/ 726733 w 1457148"/>
                <a:gd name="connsiteY99" fmla="*/ 3326370 h 3641849"/>
                <a:gd name="connsiteX100" fmla="*/ 1020995 w 1457148"/>
                <a:gd name="connsiteY100" fmla="*/ 3018734 h 3641849"/>
                <a:gd name="connsiteX101" fmla="*/ 737241 w 1457148"/>
                <a:gd name="connsiteY101" fmla="*/ 2480910 h 3641849"/>
                <a:gd name="connsiteX102" fmla="*/ 879591 w 1457148"/>
                <a:gd name="connsiteY102" fmla="*/ 2241825 h 3641849"/>
                <a:gd name="connsiteX103" fmla="*/ 692904 w 1457148"/>
                <a:gd name="connsiteY103" fmla="*/ 1703134 h 3641849"/>
                <a:gd name="connsiteX104" fmla="*/ 444620 w 1457148"/>
                <a:gd name="connsiteY104" fmla="*/ 1471456 h 3641849"/>
                <a:gd name="connsiteX105" fmla="*/ 435753 w 1457148"/>
                <a:gd name="connsiteY105" fmla="*/ 1355617 h 3641849"/>
                <a:gd name="connsiteX0" fmla="*/ 435753 w 1457148"/>
                <a:gd name="connsiteY0" fmla="*/ 1355617 h 3641849"/>
                <a:gd name="connsiteX1" fmla="*/ 237969 w 1457148"/>
                <a:gd name="connsiteY1" fmla="*/ 1257686 h 3641849"/>
                <a:gd name="connsiteX2" fmla="*/ 218572 w 1457148"/>
                <a:gd name="connsiteY2" fmla="*/ 973260 h 3641849"/>
                <a:gd name="connsiteX3" fmla="*/ 135441 w 1457148"/>
                <a:gd name="connsiteY3" fmla="*/ 1001702 h 3641849"/>
                <a:gd name="connsiteX4" fmla="*/ 96648 w 1457148"/>
                <a:gd name="connsiteY4" fmla="*/ 794845 h 3641849"/>
                <a:gd name="connsiteX5" fmla="*/ 135443 w 1457148"/>
                <a:gd name="connsiteY5" fmla="*/ 779332 h 3641849"/>
                <a:gd name="connsiteX6" fmla="*/ 21830 w 1457148"/>
                <a:gd name="connsiteY6" fmla="*/ 551792 h 3641849"/>
                <a:gd name="connsiteX7" fmla="*/ 80021 w 1457148"/>
                <a:gd name="connsiteY7" fmla="*/ 458707 h 3641849"/>
                <a:gd name="connsiteX8" fmla="*/ 85563 w 1457148"/>
                <a:gd name="connsiteY8" fmla="*/ 378550 h 3641849"/>
                <a:gd name="connsiteX9" fmla="*/ 10744 w 1457148"/>
                <a:gd name="connsiteY9" fmla="*/ 319079 h 3641849"/>
                <a:gd name="connsiteX10" fmla="*/ 2432 w 1457148"/>
                <a:gd name="connsiteY10" fmla="*/ 251851 h 3641849"/>
                <a:gd name="connsiteX11" fmla="*/ 57852 w 1457148"/>
                <a:gd name="connsiteY11" fmla="*/ 158764 h 3641849"/>
                <a:gd name="connsiteX12" fmla="*/ 77250 w 1457148"/>
                <a:gd name="connsiteY12" fmla="*/ 135494 h 3641849"/>
                <a:gd name="connsiteX13" fmla="*/ 91105 w 1457148"/>
                <a:gd name="connsiteY13" fmla="*/ 117394 h 3641849"/>
                <a:gd name="connsiteX14" fmla="*/ 99418 w 1457148"/>
                <a:gd name="connsiteY14" fmla="*/ 73438 h 3641849"/>
                <a:gd name="connsiteX15" fmla="*/ 124357 w 1457148"/>
                <a:gd name="connsiteY15" fmla="*/ 101880 h 3641849"/>
                <a:gd name="connsiteX16" fmla="*/ 154839 w 1457148"/>
                <a:gd name="connsiteY16" fmla="*/ 88952 h 3641849"/>
                <a:gd name="connsiteX17" fmla="*/ 157609 w 1457148"/>
                <a:gd name="connsiteY17" fmla="*/ 63095 h 3641849"/>
                <a:gd name="connsiteX18" fmla="*/ 165923 w 1457148"/>
                <a:gd name="connsiteY18" fmla="*/ 34652 h 3641849"/>
                <a:gd name="connsiteX19" fmla="*/ 168695 w 1457148"/>
                <a:gd name="connsiteY19" fmla="*/ 3624 h 3641849"/>
                <a:gd name="connsiteX20" fmla="*/ 304475 w 1457148"/>
                <a:gd name="connsiteY20" fmla="*/ 57924 h 3641849"/>
                <a:gd name="connsiteX21" fmla="*/ 334955 w 1457148"/>
                <a:gd name="connsiteY21" fmla="*/ 161352 h 3641849"/>
                <a:gd name="connsiteX22" fmla="*/ 348811 w 1457148"/>
                <a:gd name="connsiteY22" fmla="*/ 184622 h 3641849"/>
                <a:gd name="connsiteX23" fmla="*/ 359895 w 1457148"/>
                <a:gd name="connsiteY23" fmla="*/ 187208 h 3641849"/>
                <a:gd name="connsiteX24" fmla="*/ 473507 w 1457148"/>
                <a:gd name="connsiteY24" fmla="*/ 156181 h 3641849"/>
                <a:gd name="connsiteX25" fmla="*/ 540012 w 1457148"/>
                <a:gd name="connsiteY25" fmla="*/ 166522 h 3641849"/>
                <a:gd name="connsiteX26" fmla="*/ 603746 w 1457148"/>
                <a:gd name="connsiteY26" fmla="*/ 213065 h 3641849"/>
                <a:gd name="connsiteX27" fmla="*/ 617773 w 1457148"/>
                <a:gd name="connsiteY27" fmla="*/ 242621 h 3641849"/>
                <a:gd name="connsiteX28" fmla="*/ 673020 w 1457148"/>
                <a:gd name="connsiteY28" fmla="*/ 277708 h 3641849"/>
                <a:gd name="connsiteX29" fmla="*/ 761694 w 1457148"/>
                <a:gd name="connsiteY29" fmla="*/ 303563 h 3641849"/>
                <a:gd name="connsiteX30" fmla="*/ 833740 w 1457148"/>
                <a:gd name="connsiteY30" fmla="*/ 350106 h 3641849"/>
                <a:gd name="connsiteX31" fmla="*/ 883619 w 1457148"/>
                <a:gd name="connsiteY31" fmla="*/ 401820 h 3641849"/>
                <a:gd name="connsiteX32" fmla="*/ 908558 w 1457148"/>
                <a:gd name="connsiteY32" fmla="*/ 440606 h 3641849"/>
                <a:gd name="connsiteX33" fmla="*/ 941811 w 1457148"/>
                <a:gd name="connsiteY33" fmla="*/ 466462 h 3641849"/>
                <a:gd name="connsiteX34" fmla="*/ 925183 w 1457148"/>
                <a:gd name="connsiteY34" fmla="*/ 691417 h 3641849"/>
                <a:gd name="connsiteX35" fmla="*/ 797717 w 1457148"/>
                <a:gd name="connsiteY35" fmla="*/ 771575 h 3641849"/>
                <a:gd name="connsiteX36" fmla="*/ 684105 w 1457148"/>
                <a:gd name="connsiteY36" fmla="*/ 779331 h 3641849"/>
                <a:gd name="connsiteX37" fmla="*/ 545552 w 1457148"/>
                <a:gd name="connsiteY37" fmla="*/ 758645 h 3641849"/>
                <a:gd name="connsiteX38" fmla="*/ 454108 w 1457148"/>
                <a:gd name="connsiteY38" fmla="*/ 722445 h 3641849"/>
                <a:gd name="connsiteX39" fmla="*/ 434711 w 1457148"/>
                <a:gd name="connsiteY39" fmla="*/ 750888 h 3641849"/>
                <a:gd name="connsiteX40" fmla="*/ 465353 w 1457148"/>
                <a:gd name="connsiteY40" fmla="*/ 824301 h 3641849"/>
                <a:gd name="connsiteX41" fmla="*/ 470894 w 1457148"/>
                <a:gd name="connsiteY41" fmla="*/ 951000 h 3641849"/>
                <a:gd name="connsiteX42" fmla="*/ 443024 w 1457148"/>
                <a:gd name="connsiteY42" fmla="*/ 1012043 h 3641849"/>
                <a:gd name="connsiteX43" fmla="*/ 498443 w 1457148"/>
                <a:gd name="connsiteY43" fmla="*/ 1032728 h 3641849"/>
                <a:gd name="connsiteX44" fmla="*/ 515071 w 1457148"/>
                <a:gd name="connsiteY44" fmla="*/ 1048242 h 3641849"/>
                <a:gd name="connsiteX45" fmla="*/ 540011 w 1457148"/>
                <a:gd name="connsiteY45" fmla="*/ 1074099 h 3641849"/>
                <a:gd name="connsiteX46" fmla="*/ 537240 w 1457148"/>
                <a:gd name="connsiteY46" fmla="*/ 1076685 h 3641849"/>
                <a:gd name="connsiteX47" fmla="*/ 576033 w 1457148"/>
                <a:gd name="connsiteY47" fmla="*/ 1071514 h 3641849"/>
                <a:gd name="connsiteX48" fmla="*/ 584347 w 1457148"/>
                <a:gd name="connsiteY48" fmla="*/ 1035314 h 3641849"/>
                <a:gd name="connsiteX49" fmla="*/ 545552 w 1457148"/>
                <a:gd name="connsiteY49" fmla="*/ 957743 h 3641849"/>
                <a:gd name="connsiteX50" fmla="*/ 614828 w 1457148"/>
                <a:gd name="connsiteY50" fmla="*/ 911200 h 3641849"/>
                <a:gd name="connsiteX51" fmla="*/ 682600 w 1457148"/>
                <a:gd name="connsiteY51" fmla="*/ 918934 h 3641849"/>
                <a:gd name="connsiteX52" fmla="*/ 706433 w 1457148"/>
                <a:gd name="connsiteY52" fmla="*/ 951001 h 3641849"/>
                <a:gd name="connsiteX53" fmla="*/ 862162 w 1457148"/>
                <a:gd name="connsiteY53" fmla="*/ 1007364 h 3641849"/>
                <a:gd name="connsiteX54" fmla="*/ 847754 w 1457148"/>
                <a:gd name="connsiteY54" fmla="*/ 971687 h 3641849"/>
                <a:gd name="connsiteX55" fmla="*/ 814502 w 1457148"/>
                <a:gd name="connsiteY55" fmla="*/ 932901 h 3641849"/>
                <a:gd name="connsiteX56" fmla="*/ 803418 w 1457148"/>
                <a:gd name="connsiteY56" fmla="*/ 881187 h 3641849"/>
                <a:gd name="connsiteX57" fmla="*/ 842213 w 1457148"/>
                <a:gd name="connsiteY57" fmla="*/ 832060 h 3641849"/>
                <a:gd name="connsiteX58" fmla="*/ 869923 w 1457148"/>
                <a:gd name="connsiteY58" fmla="*/ 803617 h 3641849"/>
                <a:gd name="connsiteX59" fmla="*/ 894863 w 1457148"/>
                <a:gd name="connsiteY59" fmla="*/ 767417 h 3641849"/>
                <a:gd name="connsiteX60" fmla="*/ 975223 w 1457148"/>
                <a:gd name="connsiteY60" fmla="*/ 762245 h 3641849"/>
                <a:gd name="connsiteX61" fmla="*/ 980764 w 1457148"/>
                <a:gd name="connsiteY61" fmla="*/ 741560 h 3641849"/>
                <a:gd name="connsiteX62" fmla="*/ 1005704 w 1457148"/>
                <a:gd name="connsiteY62" fmla="*/ 705360 h 3641849"/>
                <a:gd name="connsiteX63" fmla="*/ 1039508 w 1457148"/>
                <a:gd name="connsiteY63" fmla="*/ 687772 h 3641849"/>
                <a:gd name="connsiteX64" fmla="*/ 1097148 w 1457148"/>
                <a:gd name="connsiteY64" fmla="*/ 700189 h 3641849"/>
                <a:gd name="connsiteX65" fmla="*/ 1135941 w 1457148"/>
                <a:gd name="connsiteY65" fmla="*/ 720875 h 3641849"/>
                <a:gd name="connsiteX66" fmla="*/ 1183049 w 1457148"/>
                <a:gd name="connsiteY66" fmla="*/ 728632 h 3641849"/>
                <a:gd name="connsiteX67" fmla="*/ 1183049 w 1457148"/>
                <a:gd name="connsiteY67" fmla="*/ 733803 h 3641849"/>
                <a:gd name="connsiteX68" fmla="*/ 1205218 w 1457148"/>
                <a:gd name="connsiteY68" fmla="*/ 674332 h 3641849"/>
                <a:gd name="connsiteX69" fmla="*/ 1215193 w 1457148"/>
                <a:gd name="connsiteY69" fmla="*/ 640714 h 3641849"/>
                <a:gd name="connsiteX70" fmla="*/ 1221844 w 1457148"/>
                <a:gd name="connsiteY70" fmla="*/ 622618 h 3641849"/>
                <a:gd name="connsiteX71" fmla="*/ 1224781 w 1457148"/>
                <a:gd name="connsiteY71" fmla="*/ 591288 h 3641849"/>
                <a:gd name="connsiteX72" fmla="*/ 1144255 w 1457148"/>
                <a:gd name="connsiteY72" fmla="*/ 545048 h 3641849"/>
                <a:gd name="connsiteX73" fmla="*/ 1130400 w 1457148"/>
                <a:gd name="connsiteY73" fmla="*/ 472648 h 3641849"/>
                <a:gd name="connsiteX74" fmla="*/ 1130400 w 1457148"/>
                <a:gd name="connsiteY74" fmla="*/ 454548 h 3641849"/>
                <a:gd name="connsiteX75" fmla="*/ 1141483 w 1457148"/>
                <a:gd name="connsiteY75" fmla="*/ 431276 h 3641849"/>
                <a:gd name="connsiteX76" fmla="*/ 1144255 w 1457148"/>
                <a:gd name="connsiteY76" fmla="*/ 415762 h 3641849"/>
                <a:gd name="connsiteX77" fmla="*/ 1144254 w 1457148"/>
                <a:gd name="connsiteY77" fmla="*/ 358878 h 3641849"/>
                <a:gd name="connsiteX78" fmla="*/ 1122086 w 1457148"/>
                <a:gd name="connsiteY78" fmla="*/ 335607 h 3641849"/>
                <a:gd name="connsiteX79" fmla="*/ 1094376 w 1457148"/>
                <a:gd name="connsiteY79" fmla="*/ 304578 h 3641849"/>
                <a:gd name="connsiteX80" fmla="*/ 1090208 w 1457148"/>
                <a:gd name="connsiteY80" fmla="*/ 280325 h 3641849"/>
                <a:gd name="connsiteX81" fmla="*/ 1141484 w 1457148"/>
                <a:gd name="connsiteY81" fmla="*/ 258034 h 3641849"/>
                <a:gd name="connsiteX82" fmla="*/ 1195064 w 1457148"/>
                <a:gd name="connsiteY82" fmla="*/ 267906 h 3641849"/>
                <a:gd name="connsiteX83" fmla="*/ 1273848 w 1457148"/>
                <a:gd name="connsiteY83" fmla="*/ 279816 h 3641849"/>
                <a:gd name="connsiteX84" fmla="*/ 1358171 w 1457148"/>
                <a:gd name="connsiteY84" fmla="*/ 349175 h 3641849"/>
                <a:gd name="connsiteX85" fmla="*/ 1420306 w 1457148"/>
                <a:gd name="connsiteY85" fmla="*/ 425271 h 3641849"/>
                <a:gd name="connsiteX86" fmla="*/ 1319335 w 1457148"/>
                <a:gd name="connsiteY86" fmla="*/ 454265 h 3641849"/>
                <a:gd name="connsiteX87" fmla="*/ 1303801 w 1457148"/>
                <a:gd name="connsiteY87" fmla="*/ 501372 h 3641849"/>
                <a:gd name="connsiteX88" fmla="*/ 1361471 w 1457148"/>
                <a:gd name="connsiteY88" fmla="*/ 585862 h 3641849"/>
                <a:gd name="connsiteX89" fmla="*/ 1397005 w 1457148"/>
                <a:gd name="connsiteY89" fmla="*/ 591964 h 3641849"/>
                <a:gd name="connsiteX90" fmla="*/ 1449625 w 1457148"/>
                <a:gd name="connsiteY90" fmla="*/ 598304 h 3641849"/>
                <a:gd name="connsiteX91" fmla="*/ 1444662 w 1457148"/>
                <a:gd name="connsiteY91" fmla="*/ 709079 h 3641849"/>
                <a:gd name="connsiteX92" fmla="*/ 1455731 w 1457148"/>
                <a:gd name="connsiteY92" fmla="*/ 1040047 h 3641849"/>
                <a:gd name="connsiteX93" fmla="*/ 1446863 w 1457148"/>
                <a:gd name="connsiteY93" fmla="*/ 1842646 h 3641849"/>
                <a:gd name="connsiteX94" fmla="*/ 1455730 w 1457148"/>
                <a:gd name="connsiteY94" fmla="*/ 2297728 h 3641849"/>
                <a:gd name="connsiteX95" fmla="*/ 1429282 w 1457148"/>
                <a:gd name="connsiteY95" fmla="*/ 3607693 h 3641849"/>
                <a:gd name="connsiteX96" fmla="*/ 1170855 w 1457148"/>
                <a:gd name="connsiteY96" fmla="*/ 3564098 h 3641849"/>
                <a:gd name="connsiteX97" fmla="*/ 1002377 w 1457148"/>
                <a:gd name="connsiteY97" fmla="*/ 3497903 h 3641849"/>
                <a:gd name="connsiteX98" fmla="*/ 825031 w 1457148"/>
                <a:gd name="connsiteY98" fmla="*/ 3406887 h 3641849"/>
                <a:gd name="connsiteX99" fmla="*/ 726733 w 1457148"/>
                <a:gd name="connsiteY99" fmla="*/ 3326370 h 3641849"/>
                <a:gd name="connsiteX100" fmla="*/ 1020995 w 1457148"/>
                <a:gd name="connsiteY100" fmla="*/ 3018734 h 3641849"/>
                <a:gd name="connsiteX101" fmla="*/ 737241 w 1457148"/>
                <a:gd name="connsiteY101" fmla="*/ 2480910 h 3641849"/>
                <a:gd name="connsiteX102" fmla="*/ 879591 w 1457148"/>
                <a:gd name="connsiteY102" fmla="*/ 2241825 h 3641849"/>
                <a:gd name="connsiteX103" fmla="*/ 692904 w 1457148"/>
                <a:gd name="connsiteY103" fmla="*/ 1703134 h 3641849"/>
                <a:gd name="connsiteX104" fmla="*/ 444620 w 1457148"/>
                <a:gd name="connsiteY104" fmla="*/ 1471456 h 3641849"/>
                <a:gd name="connsiteX105" fmla="*/ 435753 w 1457148"/>
                <a:gd name="connsiteY105" fmla="*/ 1355617 h 3641849"/>
                <a:gd name="connsiteX0" fmla="*/ 435753 w 1457148"/>
                <a:gd name="connsiteY0" fmla="*/ 1355617 h 3641849"/>
                <a:gd name="connsiteX1" fmla="*/ 237969 w 1457148"/>
                <a:gd name="connsiteY1" fmla="*/ 1257686 h 3641849"/>
                <a:gd name="connsiteX2" fmla="*/ 218572 w 1457148"/>
                <a:gd name="connsiteY2" fmla="*/ 973260 h 3641849"/>
                <a:gd name="connsiteX3" fmla="*/ 96648 w 1457148"/>
                <a:gd name="connsiteY3" fmla="*/ 794845 h 3641849"/>
                <a:gd name="connsiteX4" fmla="*/ 135443 w 1457148"/>
                <a:gd name="connsiteY4" fmla="*/ 779332 h 3641849"/>
                <a:gd name="connsiteX5" fmla="*/ 21830 w 1457148"/>
                <a:gd name="connsiteY5" fmla="*/ 551792 h 3641849"/>
                <a:gd name="connsiteX6" fmla="*/ 80021 w 1457148"/>
                <a:gd name="connsiteY6" fmla="*/ 458707 h 3641849"/>
                <a:gd name="connsiteX7" fmla="*/ 85563 w 1457148"/>
                <a:gd name="connsiteY7" fmla="*/ 378550 h 3641849"/>
                <a:gd name="connsiteX8" fmla="*/ 10744 w 1457148"/>
                <a:gd name="connsiteY8" fmla="*/ 319079 h 3641849"/>
                <a:gd name="connsiteX9" fmla="*/ 2432 w 1457148"/>
                <a:gd name="connsiteY9" fmla="*/ 251851 h 3641849"/>
                <a:gd name="connsiteX10" fmla="*/ 57852 w 1457148"/>
                <a:gd name="connsiteY10" fmla="*/ 158764 h 3641849"/>
                <a:gd name="connsiteX11" fmla="*/ 77250 w 1457148"/>
                <a:gd name="connsiteY11" fmla="*/ 135494 h 3641849"/>
                <a:gd name="connsiteX12" fmla="*/ 91105 w 1457148"/>
                <a:gd name="connsiteY12" fmla="*/ 117394 h 3641849"/>
                <a:gd name="connsiteX13" fmla="*/ 99418 w 1457148"/>
                <a:gd name="connsiteY13" fmla="*/ 73438 h 3641849"/>
                <a:gd name="connsiteX14" fmla="*/ 124357 w 1457148"/>
                <a:gd name="connsiteY14" fmla="*/ 101880 h 3641849"/>
                <a:gd name="connsiteX15" fmla="*/ 154839 w 1457148"/>
                <a:gd name="connsiteY15" fmla="*/ 88952 h 3641849"/>
                <a:gd name="connsiteX16" fmla="*/ 157609 w 1457148"/>
                <a:gd name="connsiteY16" fmla="*/ 63095 h 3641849"/>
                <a:gd name="connsiteX17" fmla="*/ 165923 w 1457148"/>
                <a:gd name="connsiteY17" fmla="*/ 34652 h 3641849"/>
                <a:gd name="connsiteX18" fmla="*/ 168695 w 1457148"/>
                <a:gd name="connsiteY18" fmla="*/ 3624 h 3641849"/>
                <a:gd name="connsiteX19" fmla="*/ 304475 w 1457148"/>
                <a:gd name="connsiteY19" fmla="*/ 57924 h 3641849"/>
                <a:gd name="connsiteX20" fmla="*/ 334955 w 1457148"/>
                <a:gd name="connsiteY20" fmla="*/ 161352 h 3641849"/>
                <a:gd name="connsiteX21" fmla="*/ 348811 w 1457148"/>
                <a:gd name="connsiteY21" fmla="*/ 184622 h 3641849"/>
                <a:gd name="connsiteX22" fmla="*/ 359895 w 1457148"/>
                <a:gd name="connsiteY22" fmla="*/ 187208 h 3641849"/>
                <a:gd name="connsiteX23" fmla="*/ 473507 w 1457148"/>
                <a:gd name="connsiteY23" fmla="*/ 156181 h 3641849"/>
                <a:gd name="connsiteX24" fmla="*/ 540012 w 1457148"/>
                <a:gd name="connsiteY24" fmla="*/ 166522 h 3641849"/>
                <a:gd name="connsiteX25" fmla="*/ 603746 w 1457148"/>
                <a:gd name="connsiteY25" fmla="*/ 213065 h 3641849"/>
                <a:gd name="connsiteX26" fmla="*/ 617773 w 1457148"/>
                <a:gd name="connsiteY26" fmla="*/ 242621 h 3641849"/>
                <a:gd name="connsiteX27" fmla="*/ 673020 w 1457148"/>
                <a:gd name="connsiteY27" fmla="*/ 277708 h 3641849"/>
                <a:gd name="connsiteX28" fmla="*/ 761694 w 1457148"/>
                <a:gd name="connsiteY28" fmla="*/ 303563 h 3641849"/>
                <a:gd name="connsiteX29" fmla="*/ 833740 w 1457148"/>
                <a:gd name="connsiteY29" fmla="*/ 350106 h 3641849"/>
                <a:gd name="connsiteX30" fmla="*/ 883619 w 1457148"/>
                <a:gd name="connsiteY30" fmla="*/ 401820 h 3641849"/>
                <a:gd name="connsiteX31" fmla="*/ 908558 w 1457148"/>
                <a:gd name="connsiteY31" fmla="*/ 440606 h 3641849"/>
                <a:gd name="connsiteX32" fmla="*/ 941811 w 1457148"/>
                <a:gd name="connsiteY32" fmla="*/ 466462 h 3641849"/>
                <a:gd name="connsiteX33" fmla="*/ 925183 w 1457148"/>
                <a:gd name="connsiteY33" fmla="*/ 691417 h 3641849"/>
                <a:gd name="connsiteX34" fmla="*/ 797717 w 1457148"/>
                <a:gd name="connsiteY34" fmla="*/ 771575 h 3641849"/>
                <a:gd name="connsiteX35" fmla="*/ 684105 w 1457148"/>
                <a:gd name="connsiteY35" fmla="*/ 779331 h 3641849"/>
                <a:gd name="connsiteX36" fmla="*/ 545552 w 1457148"/>
                <a:gd name="connsiteY36" fmla="*/ 758645 h 3641849"/>
                <a:gd name="connsiteX37" fmla="*/ 454108 w 1457148"/>
                <a:gd name="connsiteY37" fmla="*/ 722445 h 3641849"/>
                <a:gd name="connsiteX38" fmla="*/ 434711 w 1457148"/>
                <a:gd name="connsiteY38" fmla="*/ 750888 h 3641849"/>
                <a:gd name="connsiteX39" fmla="*/ 465353 w 1457148"/>
                <a:gd name="connsiteY39" fmla="*/ 824301 h 3641849"/>
                <a:gd name="connsiteX40" fmla="*/ 470894 w 1457148"/>
                <a:gd name="connsiteY40" fmla="*/ 951000 h 3641849"/>
                <a:gd name="connsiteX41" fmla="*/ 443024 w 1457148"/>
                <a:gd name="connsiteY41" fmla="*/ 1012043 h 3641849"/>
                <a:gd name="connsiteX42" fmla="*/ 498443 w 1457148"/>
                <a:gd name="connsiteY42" fmla="*/ 1032728 h 3641849"/>
                <a:gd name="connsiteX43" fmla="*/ 515071 w 1457148"/>
                <a:gd name="connsiteY43" fmla="*/ 1048242 h 3641849"/>
                <a:gd name="connsiteX44" fmla="*/ 540011 w 1457148"/>
                <a:gd name="connsiteY44" fmla="*/ 1074099 h 3641849"/>
                <a:gd name="connsiteX45" fmla="*/ 537240 w 1457148"/>
                <a:gd name="connsiteY45" fmla="*/ 1076685 h 3641849"/>
                <a:gd name="connsiteX46" fmla="*/ 576033 w 1457148"/>
                <a:gd name="connsiteY46" fmla="*/ 1071514 h 3641849"/>
                <a:gd name="connsiteX47" fmla="*/ 584347 w 1457148"/>
                <a:gd name="connsiteY47" fmla="*/ 1035314 h 3641849"/>
                <a:gd name="connsiteX48" fmla="*/ 545552 w 1457148"/>
                <a:gd name="connsiteY48" fmla="*/ 957743 h 3641849"/>
                <a:gd name="connsiteX49" fmla="*/ 614828 w 1457148"/>
                <a:gd name="connsiteY49" fmla="*/ 911200 h 3641849"/>
                <a:gd name="connsiteX50" fmla="*/ 682600 w 1457148"/>
                <a:gd name="connsiteY50" fmla="*/ 918934 h 3641849"/>
                <a:gd name="connsiteX51" fmla="*/ 706433 w 1457148"/>
                <a:gd name="connsiteY51" fmla="*/ 951001 h 3641849"/>
                <a:gd name="connsiteX52" fmla="*/ 862162 w 1457148"/>
                <a:gd name="connsiteY52" fmla="*/ 1007364 h 3641849"/>
                <a:gd name="connsiteX53" fmla="*/ 847754 w 1457148"/>
                <a:gd name="connsiteY53" fmla="*/ 971687 h 3641849"/>
                <a:gd name="connsiteX54" fmla="*/ 814502 w 1457148"/>
                <a:gd name="connsiteY54" fmla="*/ 932901 h 3641849"/>
                <a:gd name="connsiteX55" fmla="*/ 803418 w 1457148"/>
                <a:gd name="connsiteY55" fmla="*/ 881187 h 3641849"/>
                <a:gd name="connsiteX56" fmla="*/ 842213 w 1457148"/>
                <a:gd name="connsiteY56" fmla="*/ 832060 h 3641849"/>
                <a:gd name="connsiteX57" fmla="*/ 869923 w 1457148"/>
                <a:gd name="connsiteY57" fmla="*/ 803617 h 3641849"/>
                <a:gd name="connsiteX58" fmla="*/ 894863 w 1457148"/>
                <a:gd name="connsiteY58" fmla="*/ 767417 h 3641849"/>
                <a:gd name="connsiteX59" fmla="*/ 975223 w 1457148"/>
                <a:gd name="connsiteY59" fmla="*/ 762245 h 3641849"/>
                <a:gd name="connsiteX60" fmla="*/ 980764 w 1457148"/>
                <a:gd name="connsiteY60" fmla="*/ 741560 h 3641849"/>
                <a:gd name="connsiteX61" fmla="*/ 1005704 w 1457148"/>
                <a:gd name="connsiteY61" fmla="*/ 705360 h 3641849"/>
                <a:gd name="connsiteX62" fmla="*/ 1039508 w 1457148"/>
                <a:gd name="connsiteY62" fmla="*/ 687772 h 3641849"/>
                <a:gd name="connsiteX63" fmla="*/ 1097148 w 1457148"/>
                <a:gd name="connsiteY63" fmla="*/ 700189 h 3641849"/>
                <a:gd name="connsiteX64" fmla="*/ 1135941 w 1457148"/>
                <a:gd name="connsiteY64" fmla="*/ 720875 h 3641849"/>
                <a:gd name="connsiteX65" fmla="*/ 1183049 w 1457148"/>
                <a:gd name="connsiteY65" fmla="*/ 728632 h 3641849"/>
                <a:gd name="connsiteX66" fmla="*/ 1183049 w 1457148"/>
                <a:gd name="connsiteY66" fmla="*/ 733803 h 3641849"/>
                <a:gd name="connsiteX67" fmla="*/ 1205218 w 1457148"/>
                <a:gd name="connsiteY67" fmla="*/ 674332 h 3641849"/>
                <a:gd name="connsiteX68" fmla="*/ 1215193 w 1457148"/>
                <a:gd name="connsiteY68" fmla="*/ 640714 h 3641849"/>
                <a:gd name="connsiteX69" fmla="*/ 1221844 w 1457148"/>
                <a:gd name="connsiteY69" fmla="*/ 622618 h 3641849"/>
                <a:gd name="connsiteX70" fmla="*/ 1224781 w 1457148"/>
                <a:gd name="connsiteY70" fmla="*/ 591288 h 3641849"/>
                <a:gd name="connsiteX71" fmla="*/ 1144255 w 1457148"/>
                <a:gd name="connsiteY71" fmla="*/ 545048 h 3641849"/>
                <a:gd name="connsiteX72" fmla="*/ 1130400 w 1457148"/>
                <a:gd name="connsiteY72" fmla="*/ 472648 h 3641849"/>
                <a:gd name="connsiteX73" fmla="*/ 1130400 w 1457148"/>
                <a:gd name="connsiteY73" fmla="*/ 454548 h 3641849"/>
                <a:gd name="connsiteX74" fmla="*/ 1141483 w 1457148"/>
                <a:gd name="connsiteY74" fmla="*/ 431276 h 3641849"/>
                <a:gd name="connsiteX75" fmla="*/ 1144255 w 1457148"/>
                <a:gd name="connsiteY75" fmla="*/ 415762 h 3641849"/>
                <a:gd name="connsiteX76" fmla="*/ 1144254 w 1457148"/>
                <a:gd name="connsiteY76" fmla="*/ 358878 h 3641849"/>
                <a:gd name="connsiteX77" fmla="*/ 1122086 w 1457148"/>
                <a:gd name="connsiteY77" fmla="*/ 335607 h 3641849"/>
                <a:gd name="connsiteX78" fmla="*/ 1094376 w 1457148"/>
                <a:gd name="connsiteY78" fmla="*/ 304578 h 3641849"/>
                <a:gd name="connsiteX79" fmla="*/ 1090208 w 1457148"/>
                <a:gd name="connsiteY79" fmla="*/ 280325 h 3641849"/>
                <a:gd name="connsiteX80" fmla="*/ 1141484 w 1457148"/>
                <a:gd name="connsiteY80" fmla="*/ 258034 h 3641849"/>
                <a:gd name="connsiteX81" fmla="*/ 1195064 w 1457148"/>
                <a:gd name="connsiteY81" fmla="*/ 267906 h 3641849"/>
                <a:gd name="connsiteX82" fmla="*/ 1273848 w 1457148"/>
                <a:gd name="connsiteY82" fmla="*/ 279816 h 3641849"/>
                <a:gd name="connsiteX83" fmla="*/ 1358171 w 1457148"/>
                <a:gd name="connsiteY83" fmla="*/ 349175 h 3641849"/>
                <a:gd name="connsiteX84" fmla="*/ 1420306 w 1457148"/>
                <a:gd name="connsiteY84" fmla="*/ 425271 h 3641849"/>
                <a:gd name="connsiteX85" fmla="*/ 1319335 w 1457148"/>
                <a:gd name="connsiteY85" fmla="*/ 454265 h 3641849"/>
                <a:gd name="connsiteX86" fmla="*/ 1303801 w 1457148"/>
                <a:gd name="connsiteY86" fmla="*/ 501372 h 3641849"/>
                <a:gd name="connsiteX87" fmla="*/ 1361471 w 1457148"/>
                <a:gd name="connsiteY87" fmla="*/ 585862 h 3641849"/>
                <a:gd name="connsiteX88" fmla="*/ 1397005 w 1457148"/>
                <a:gd name="connsiteY88" fmla="*/ 591964 h 3641849"/>
                <a:gd name="connsiteX89" fmla="*/ 1449625 w 1457148"/>
                <a:gd name="connsiteY89" fmla="*/ 598304 h 3641849"/>
                <a:gd name="connsiteX90" fmla="*/ 1444662 w 1457148"/>
                <a:gd name="connsiteY90" fmla="*/ 709079 h 3641849"/>
                <a:gd name="connsiteX91" fmla="*/ 1455731 w 1457148"/>
                <a:gd name="connsiteY91" fmla="*/ 1040047 h 3641849"/>
                <a:gd name="connsiteX92" fmla="*/ 1446863 w 1457148"/>
                <a:gd name="connsiteY92" fmla="*/ 1842646 h 3641849"/>
                <a:gd name="connsiteX93" fmla="*/ 1455730 w 1457148"/>
                <a:gd name="connsiteY93" fmla="*/ 2297728 h 3641849"/>
                <a:gd name="connsiteX94" fmla="*/ 1429282 w 1457148"/>
                <a:gd name="connsiteY94" fmla="*/ 3607693 h 3641849"/>
                <a:gd name="connsiteX95" fmla="*/ 1170855 w 1457148"/>
                <a:gd name="connsiteY95" fmla="*/ 3564098 h 3641849"/>
                <a:gd name="connsiteX96" fmla="*/ 1002377 w 1457148"/>
                <a:gd name="connsiteY96" fmla="*/ 3497903 h 3641849"/>
                <a:gd name="connsiteX97" fmla="*/ 825031 w 1457148"/>
                <a:gd name="connsiteY97" fmla="*/ 3406887 h 3641849"/>
                <a:gd name="connsiteX98" fmla="*/ 726733 w 1457148"/>
                <a:gd name="connsiteY98" fmla="*/ 3326370 h 3641849"/>
                <a:gd name="connsiteX99" fmla="*/ 1020995 w 1457148"/>
                <a:gd name="connsiteY99" fmla="*/ 3018734 h 3641849"/>
                <a:gd name="connsiteX100" fmla="*/ 737241 w 1457148"/>
                <a:gd name="connsiteY100" fmla="*/ 2480910 h 3641849"/>
                <a:gd name="connsiteX101" fmla="*/ 879591 w 1457148"/>
                <a:gd name="connsiteY101" fmla="*/ 2241825 h 3641849"/>
                <a:gd name="connsiteX102" fmla="*/ 692904 w 1457148"/>
                <a:gd name="connsiteY102" fmla="*/ 1703134 h 3641849"/>
                <a:gd name="connsiteX103" fmla="*/ 444620 w 1457148"/>
                <a:gd name="connsiteY103" fmla="*/ 1471456 h 3641849"/>
                <a:gd name="connsiteX104" fmla="*/ 435753 w 1457148"/>
                <a:gd name="connsiteY104" fmla="*/ 1355617 h 3641849"/>
                <a:gd name="connsiteX0" fmla="*/ 435753 w 1457148"/>
                <a:gd name="connsiteY0" fmla="*/ 1355617 h 3641849"/>
                <a:gd name="connsiteX1" fmla="*/ 237969 w 1457148"/>
                <a:gd name="connsiteY1" fmla="*/ 1257686 h 3641849"/>
                <a:gd name="connsiteX2" fmla="*/ 218572 w 1457148"/>
                <a:gd name="connsiteY2" fmla="*/ 973260 h 3641849"/>
                <a:gd name="connsiteX3" fmla="*/ 193634 w 1457148"/>
                <a:gd name="connsiteY3" fmla="*/ 926717 h 3641849"/>
                <a:gd name="connsiteX4" fmla="*/ 96648 w 1457148"/>
                <a:gd name="connsiteY4" fmla="*/ 794845 h 3641849"/>
                <a:gd name="connsiteX5" fmla="*/ 135443 w 1457148"/>
                <a:gd name="connsiteY5" fmla="*/ 779332 h 3641849"/>
                <a:gd name="connsiteX6" fmla="*/ 21830 w 1457148"/>
                <a:gd name="connsiteY6" fmla="*/ 551792 h 3641849"/>
                <a:gd name="connsiteX7" fmla="*/ 80021 w 1457148"/>
                <a:gd name="connsiteY7" fmla="*/ 458707 h 3641849"/>
                <a:gd name="connsiteX8" fmla="*/ 85563 w 1457148"/>
                <a:gd name="connsiteY8" fmla="*/ 378550 h 3641849"/>
                <a:gd name="connsiteX9" fmla="*/ 10744 w 1457148"/>
                <a:gd name="connsiteY9" fmla="*/ 319079 h 3641849"/>
                <a:gd name="connsiteX10" fmla="*/ 2432 w 1457148"/>
                <a:gd name="connsiteY10" fmla="*/ 251851 h 3641849"/>
                <a:gd name="connsiteX11" fmla="*/ 57852 w 1457148"/>
                <a:gd name="connsiteY11" fmla="*/ 158764 h 3641849"/>
                <a:gd name="connsiteX12" fmla="*/ 77250 w 1457148"/>
                <a:gd name="connsiteY12" fmla="*/ 135494 h 3641849"/>
                <a:gd name="connsiteX13" fmla="*/ 91105 w 1457148"/>
                <a:gd name="connsiteY13" fmla="*/ 117394 h 3641849"/>
                <a:gd name="connsiteX14" fmla="*/ 99418 w 1457148"/>
                <a:gd name="connsiteY14" fmla="*/ 73438 h 3641849"/>
                <a:gd name="connsiteX15" fmla="*/ 124357 w 1457148"/>
                <a:gd name="connsiteY15" fmla="*/ 101880 h 3641849"/>
                <a:gd name="connsiteX16" fmla="*/ 154839 w 1457148"/>
                <a:gd name="connsiteY16" fmla="*/ 88952 h 3641849"/>
                <a:gd name="connsiteX17" fmla="*/ 157609 w 1457148"/>
                <a:gd name="connsiteY17" fmla="*/ 63095 h 3641849"/>
                <a:gd name="connsiteX18" fmla="*/ 165923 w 1457148"/>
                <a:gd name="connsiteY18" fmla="*/ 34652 h 3641849"/>
                <a:gd name="connsiteX19" fmla="*/ 168695 w 1457148"/>
                <a:gd name="connsiteY19" fmla="*/ 3624 h 3641849"/>
                <a:gd name="connsiteX20" fmla="*/ 304475 w 1457148"/>
                <a:gd name="connsiteY20" fmla="*/ 57924 h 3641849"/>
                <a:gd name="connsiteX21" fmla="*/ 334955 w 1457148"/>
                <a:gd name="connsiteY21" fmla="*/ 161352 h 3641849"/>
                <a:gd name="connsiteX22" fmla="*/ 348811 w 1457148"/>
                <a:gd name="connsiteY22" fmla="*/ 184622 h 3641849"/>
                <a:gd name="connsiteX23" fmla="*/ 359895 w 1457148"/>
                <a:gd name="connsiteY23" fmla="*/ 187208 h 3641849"/>
                <a:gd name="connsiteX24" fmla="*/ 473507 w 1457148"/>
                <a:gd name="connsiteY24" fmla="*/ 156181 h 3641849"/>
                <a:gd name="connsiteX25" fmla="*/ 540012 w 1457148"/>
                <a:gd name="connsiteY25" fmla="*/ 166522 h 3641849"/>
                <a:gd name="connsiteX26" fmla="*/ 603746 w 1457148"/>
                <a:gd name="connsiteY26" fmla="*/ 213065 h 3641849"/>
                <a:gd name="connsiteX27" fmla="*/ 617773 w 1457148"/>
                <a:gd name="connsiteY27" fmla="*/ 242621 h 3641849"/>
                <a:gd name="connsiteX28" fmla="*/ 673020 w 1457148"/>
                <a:gd name="connsiteY28" fmla="*/ 277708 h 3641849"/>
                <a:gd name="connsiteX29" fmla="*/ 761694 w 1457148"/>
                <a:gd name="connsiteY29" fmla="*/ 303563 h 3641849"/>
                <a:gd name="connsiteX30" fmla="*/ 833740 w 1457148"/>
                <a:gd name="connsiteY30" fmla="*/ 350106 h 3641849"/>
                <a:gd name="connsiteX31" fmla="*/ 883619 w 1457148"/>
                <a:gd name="connsiteY31" fmla="*/ 401820 h 3641849"/>
                <a:gd name="connsiteX32" fmla="*/ 908558 w 1457148"/>
                <a:gd name="connsiteY32" fmla="*/ 440606 h 3641849"/>
                <a:gd name="connsiteX33" fmla="*/ 941811 w 1457148"/>
                <a:gd name="connsiteY33" fmla="*/ 466462 h 3641849"/>
                <a:gd name="connsiteX34" fmla="*/ 925183 w 1457148"/>
                <a:gd name="connsiteY34" fmla="*/ 691417 h 3641849"/>
                <a:gd name="connsiteX35" fmla="*/ 797717 w 1457148"/>
                <a:gd name="connsiteY35" fmla="*/ 771575 h 3641849"/>
                <a:gd name="connsiteX36" fmla="*/ 684105 w 1457148"/>
                <a:gd name="connsiteY36" fmla="*/ 779331 h 3641849"/>
                <a:gd name="connsiteX37" fmla="*/ 545552 w 1457148"/>
                <a:gd name="connsiteY37" fmla="*/ 758645 h 3641849"/>
                <a:gd name="connsiteX38" fmla="*/ 454108 w 1457148"/>
                <a:gd name="connsiteY38" fmla="*/ 722445 h 3641849"/>
                <a:gd name="connsiteX39" fmla="*/ 434711 w 1457148"/>
                <a:gd name="connsiteY39" fmla="*/ 750888 h 3641849"/>
                <a:gd name="connsiteX40" fmla="*/ 465353 w 1457148"/>
                <a:gd name="connsiteY40" fmla="*/ 824301 h 3641849"/>
                <a:gd name="connsiteX41" fmla="*/ 470894 w 1457148"/>
                <a:gd name="connsiteY41" fmla="*/ 951000 h 3641849"/>
                <a:gd name="connsiteX42" fmla="*/ 443024 w 1457148"/>
                <a:gd name="connsiteY42" fmla="*/ 1012043 h 3641849"/>
                <a:gd name="connsiteX43" fmla="*/ 498443 w 1457148"/>
                <a:gd name="connsiteY43" fmla="*/ 1032728 h 3641849"/>
                <a:gd name="connsiteX44" fmla="*/ 515071 w 1457148"/>
                <a:gd name="connsiteY44" fmla="*/ 1048242 h 3641849"/>
                <a:gd name="connsiteX45" fmla="*/ 540011 w 1457148"/>
                <a:gd name="connsiteY45" fmla="*/ 1074099 h 3641849"/>
                <a:gd name="connsiteX46" fmla="*/ 537240 w 1457148"/>
                <a:gd name="connsiteY46" fmla="*/ 1076685 h 3641849"/>
                <a:gd name="connsiteX47" fmla="*/ 576033 w 1457148"/>
                <a:gd name="connsiteY47" fmla="*/ 1071514 h 3641849"/>
                <a:gd name="connsiteX48" fmla="*/ 584347 w 1457148"/>
                <a:gd name="connsiteY48" fmla="*/ 1035314 h 3641849"/>
                <a:gd name="connsiteX49" fmla="*/ 545552 w 1457148"/>
                <a:gd name="connsiteY49" fmla="*/ 957743 h 3641849"/>
                <a:gd name="connsiteX50" fmla="*/ 614828 w 1457148"/>
                <a:gd name="connsiteY50" fmla="*/ 911200 h 3641849"/>
                <a:gd name="connsiteX51" fmla="*/ 682600 w 1457148"/>
                <a:gd name="connsiteY51" fmla="*/ 918934 h 3641849"/>
                <a:gd name="connsiteX52" fmla="*/ 706433 w 1457148"/>
                <a:gd name="connsiteY52" fmla="*/ 951001 h 3641849"/>
                <a:gd name="connsiteX53" fmla="*/ 862162 w 1457148"/>
                <a:gd name="connsiteY53" fmla="*/ 1007364 h 3641849"/>
                <a:gd name="connsiteX54" fmla="*/ 847754 w 1457148"/>
                <a:gd name="connsiteY54" fmla="*/ 971687 h 3641849"/>
                <a:gd name="connsiteX55" fmla="*/ 814502 w 1457148"/>
                <a:gd name="connsiteY55" fmla="*/ 932901 h 3641849"/>
                <a:gd name="connsiteX56" fmla="*/ 803418 w 1457148"/>
                <a:gd name="connsiteY56" fmla="*/ 881187 h 3641849"/>
                <a:gd name="connsiteX57" fmla="*/ 842213 w 1457148"/>
                <a:gd name="connsiteY57" fmla="*/ 832060 h 3641849"/>
                <a:gd name="connsiteX58" fmla="*/ 869923 w 1457148"/>
                <a:gd name="connsiteY58" fmla="*/ 803617 h 3641849"/>
                <a:gd name="connsiteX59" fmla="*/ 894863 w 1457148"/>
                <a:gd name="connsiteY59" fmla="*/ 767417 h 3641849"/>
                <a:gd name="connsiteX60" fmla="*/ 975223 w 1457148"/>
                <a:gd name="connsiteY60" fmla="*/ 762245 h 3641849"/>
                <a:gd name="connsiteX61" fmla="*/ 980764 w 1457148"/>
                <a:gd name="connsiteY61" fmla="*/ 741560 h 3641849"/>
                <a:gd name="connsiteX62" fmla="*/ 1005704 w 1457148"/>
                <a:gd name="connsiteY62" fmla="*/ 705360 h 3641849"/>
                <a:gd name="connsiteX63" fmla="*/ 1039508 w 1457148"/>
                <a:gd name="connsiteY63" fmla="*/ 687772 h 3641849"/>
                <a:gd name="connsiteX64" fmla="*/ 1097148 w 1457148"/>
                <a:gd name="connsiteY64" fmla="*/ 700189 h 3641849"/>
                <a:gd name="connsiteX65" fmla="*/ 1135941 w 1457148"/>
                <a:gd name="connsiteY65" fmla="*/ 720875 h 3641849"/>
                <a:gd name="connsiteX66" fmla="*/ 1183049 w 1457148"/>
                <a:gd name="connsiteY66" fmla="*/ 728632 h 3641849"/>
                <a:gd name="connsiteX67" fmla="*/ 1183049 w 1457148"/>
                <a:gd name="connsiteY67" fmla="*/ 733803 h 3641849"/>
                <a:gd name="connsiteX68" fmla="*/ 1205218 w 1457148"/>
                <a:gd name="connsiteY68" fmla="*/ 674332 h 3641849"/>
                <a:gd name="connsiteX69" fmla="*/ 1215193 w 1457148"/>
                <a:gd name="connsiteY69" fmla="*/ 640714 h 3641849"/>
                <a:gd name="connsiteX70" fmla="*/ 1221844 w 1457148"/>
                <a:gd name="connsiteY70" fmla="*/ 622618 h 3641849"/>
                <a:gd name="connsiteX71" fmla="*/ 1224781 w 1457148"/>
                <a:gd name="connsiteY71" fmla="*/ 591288 h 3641849"/>
                <a:gd name="connsiteX72" fmla="*/ 1144255 w 1457148"/>
                <a:gd name="connsiteY72" fmla="*/ 545048 h 3641849"/>
                <a:gd name="connsiteX73" fmla="*/ 1130400 w 1457148"/>
                <a:gd name="connsiteY73" fmla="*/ 472648 h 3641849"/>
                <a:gd name="connsiteX74" fmla="*/ 1130400 w 1457148"/>
                <a:gd name="connsiteY74" fmla="*/ 454548 h 3641849"/>
                <a:gd name="connsiteX75" fmla="*/ 1141483 w 1457148"/>
                <a:gd name="connsiteY75" fmla="*/ 431276 h 3641849"/>
                <a:gd name="connsiteX76" fmla="*/ 1144255 w 1457148"/>
                <a:gd name="connsiteY76" fmla="*/ 415762 h 3641849"/>
                <a:gd name="connsiteX77" fmla="*/ 1144254 w 1457148"/>
                <a:gd name="connsiteY77" fmla="*/ 358878 h 3641849"/>
                <a:gd name="connsiteX78" fmla="*/ 1122086 w 1457148"/>
                <a:gd name="connsiteY78" fmla="*/ 335607 h 3641849"/>
                <a:gd name="connsiteX79" fmla="*/ 1094376 w 1457148"/>
                <a:gd name="connsiteY79" fmla="*/ 304578 h 3641849"/>
                <a:gd name="connsiteX80" fmla="*/ 1090208 w 1457148"/>
                <a:gd name="connsiteY80" fmla="*/ 280325 h 3641849"/>
                <a:gd name="connsiteX81" fmla="*/ 1141484 w 1457148"/>
                <a:gd name="connsiteY81" fmla="*/ 258034 h 3641849"/>
                <a:gd name="connsiteX82" fmla="*/ 1195064 w 1457148"/>
                <a:gd name="connsiteY82" fmla="*/ 267906 h 3641849"/>
                <a:gd name="connsiteX83" fmla="*/ 1273848 w 1457148"/>
                <a:gd name="connsiteY83" fmla="*/ 279816 h 3641849"/>
                <a:gd name="connsiteX84" fmla="*/ 1358171 w 1457148"/>
                <a:gd name="connsiteY84" fmla="*/ 349175 h 3641849"/>
                <a:gd name="connsiteX85" fmla="*/ 1420306 w 1457148"/>
                <a:gd name="connsiteY85" fmla="*/ 425271 h 3641849"/>
                <a:gd name="connsiteX86" fmla="*/ 1319335 w 1457148"/>
                <a:gd name="connsiteY86" fmla="*/ 454265 h 3641849"/>
                <a:gd name="connsiteX87" fmla="*/ 1303801 w 1457148"/>
                <a:gd name="connsiteY87" fmla="*/ 501372 h 3641849"/>
                <a:gd name="connsiteX88" fmla="*/ 1361471 w 1457148"/>
                <a:gd name="connsiteY88" fmla="*/ 585862 h 3641849"/>
                <a:gd name="connsiteX89" fmla="*/ 1397005 w 1457148"/>
                <a:gd name="connsiteY89" fmla="*/ 591964 h 3641849"/>
                <a:gd name="connsiteX90" fmla="*/ 1449625 w 1457148"/>
                <a:gd name="connsiteY90" fmla="*/ 598304 h 3641849"/>
                <a:gd name="connsiteX91" fmla="*/ 1444662 w 1457148"/>
                <a:gd name="connsiteY91" fmla="*/ 709079 h 3641849"/>
                <a:gd name="connsiteX92" fmla="*/ 1455731 w 1457148"/>
                <a:gd name="connsiteY92" fmla="*/ 1040047 h 3641849"/>
                <a:gd name="connsiteX93" fmla="*/ 1446863 w 1457148"/>
                <a:gd name="connsiteY93" fmla="*/ 1842646 h 3641849"/>
                <a:gd name="connsiteX94" fmla="*/ 1455730 w 1457148"/>
                <a:gd name="connsiteY94" fmla="*/ 2297728 h 3641849"/>
                <a:gd name="connsiteX95" fmla="*/ 1429282 w 1457148"/>
                <a:gd name="connsiteY95" fmla="*/ 3607693 h 3641849"/>
                <a:gd name="connsiteX96" fmla="*/ 1170855 w 1457148"/>
                <a:gd name="connsiteY96" fmla="*/ 3564098 h 3641849"/>
                <a:gd name="connsiteX97" fmla="*/ 1002377 w 1457148"/>
                <a:gd name="connsiteY97" fmla="*/ 3497903 h 3641849"/>
                <a:gd name="connsiteX98" fmla="*/ 825031 w 1457148"/>
                <a:gd name="connsiteY98" fmla="*/ 3406887 h 3641849"/>
                <a:gd name="connsiteX99" fmla="*/ 726733 w 1457148"/>
                <a:gd name="connsiteY99" fmla="*/ 3326370 h 3641849"/>
                <a:gd name="connsiteX100" fmla="*/ 1020995 w 1457148"/>
                <a:gd name="connsiteY100" fmla="*/ 3018734 h 3641849"/>
                <a:gd name="connsiteX101" fmla="*/ 737241 w 1457148"/>
                <a:gd name="connsiteY101" fmla="*/ 2480910 h 3641849"/>
                <a:gd name="connsiteX102" fmla="*/ 879591 w 1457148"/>
                <a:gd name="connsiteY102" fmla="*/ 2241825 h 3641849"/>
                <a:gd name="connsiteX103" fmla="*/ 692904 w 1457148"/>
                <a:gd name="connsiteY103" fmla="*/ 1703134 h 3641849"/>
                <a:gd name="connsiteX104" fmla="*/ 444620 w 1457148"/>
                <a:gd name="connsiteY104" fmla="*/ 1471456 h 3641849"/>
                <a:gd name="connsiteX105" fmla="*/ 435753 w 1457148"/>
                <a:gd name="connsiteY105" fmla="*/ 1355617 h 3641849"/>
                <a:gd name="connsiteX0" fmla="*/ 435753 w 1457148"/>
                <a:gd name="connsiteY0" fmla="*/ 1355617 h 3641849"/>
                <a:gd name="connsiteX1" fmla="*/ 237969 w 1457148"/>
                <a:gd name="connsiteY1" fmla="*/ 1257686 h 3641849"/>
                <a:gd name="connsiteX2" fmla="*/ 218572 w 1457148"/>
                <a:gd name="connsiteY2" fmla="*/ 973260 h 3641849"/>
                <a:gd name="connsiteX3" fmla="*/ 104961 w 1457148"/>
                <a:gd name="connsiteY3" fmla="*/ 1014631 h 3641849"/>
                <a:gd name="connsiteX4" fmla="*/ 96648 w 1457148"/>
                <a:gd name="connsiteY4" fmla="*/ 794845 h 3641849"/>
                <a:gd name="connsiteX5" fmla="*/ 135443 w 1457148"/>
                <a:gd name="connsiteY5" fmla="*/ 779332 h 3641849"/>
                <a:gd name="connsiteX6" fmla="*/ 21830 w 1457148"/>
                <a:gd name="connsiteY6" fmla="*/ 551792 h 3641849"/>
                <a:gd name="connsiteX7" fmla="*/ 80021 w 1457148"/>
                <a:gd name="connsiteY7" fmla="*/ 458707 h 3641849"/>
                <a:gd name="connsiteX8" fmla="*/ 85563 w 1457148"/>
                <a:gd name="connsiteY8" fmla="*/ 378550 h 3641849"/>
                <a:gd name="connsiteX9" fmla="*/ 10744 w 1457148"/>
                <a:gd name="connsiteY9" fmla="*/ 319079 h 3641849"/>
                <a:gd name="connsiteX10" fmla="*/ 2432 w 1457148"/>
                <a:gd name="connsiteY10" fmla="*/ 251851 h 3641849"/>
                <a:gd name="connsiteX11" fmla="*/ 57852 w 1457148"/>
                <a:gd name="connsiteY11" fmla="*/ 158764 h 3641849"/>
                <a:gd name="connsiteX12" fmla="*/ 77250 w 1457148"/>
                <a:gd name="connsiteY12" fmla="*/ 135494 h 3641849"/>
                <a:gd name="connsiteX13" fmla="*/ 91105 w 1457148"/>
                <a:gd name="connsiteY13" fmla="*/ 117394 h 3641849"/>
                <a:gd name="connsiteX14" fmla="*/ 99418 w 1457148"/>
                <a:gd name="connsiteY14" fmla="*/ 73438 h 3641849"/>
                <a:gd name="connsiteX15" fmla="*/ 124357 w 1457148"/>
                <a:gd name="connsiteY15" fmla="*/ 101880 h 3641849"/>
                <a:gd name="connsiteX16" fmla="*/ 154839 w 1457148"/>
                <a:gd name="connsiteY16" fmla="*/ 88952 h 3641849"/>
                <a:gd name="connsiteX17" fmla="*/ 157609 w 1457148"/>
                <a:gd name="connsiteY17" fmla="*/ 63095 h 3641849"/>
                <a:gd name="connsiteX18" fmla="*/ 165923 w 1457148"/>
                <a:gd name="connsiteY18" fmla="*/ 34652 h 3641849"/>
                <a:gd name="connsiteX19" fmla="*/ 168695 w 1457148"/>
                <a:gd name="connsiteY19" fmla="*/ 3624 h 3641849"/>
                <a:gd name="connsiteX20" fmla="*/ 304475 w 1457148"/>
                <a:gd name="connsiteY20" fmla="*/ 57924 h 3641849"/>
                <a:gd name="connsiteX21" fmla="*/ 334955 w 1457148"/>
                <a:gd name="connsiteY21" fmla="*/ 161352 h 3641849"/>
                <a:gd name="connsiteX22" fmla="*/ 348811 w 1457148"/>
                <a:gd name="connsiteY22" fmla="*/ 184622 h 3641849"/>
                <a:gd name="connsiteX23" fmla="*/ 359895 w 1457148"/>
                <a:gd name="connsiteY23" fmla="*/ 187208 h 3641849"/>
                <a:gd name="connsiteX24" fmla="*/ 473507 w 1457148"/>
                <a:gd name="connsiteY24" fmla="*/ 156181 h 3641849"/>
                <a:gd name="connsiteX25" fmla="*/ 540012 w 1457148"/>
                <a:gd name="connsiteY25" fmla="*/ 166522 h 3641849"/>
                <a:gd name="connsiteX26" fmla="*/ 603746 w 1457148"/>
                <a:gd name="connsiteY26" fmla="*/ 213065 h 3641849"/>
                <a:gd name="connsiteX27" fmla="*/ 617773 w 1457148"/>
                <a:gd name="connsiteY27" fmla="*/ 242621 h 3641849"/>
                <a:gd name="connsiteX28" fmla="*/ 673020 w 1457148"/>
                <a:gd name="connsiteY28" fmla="*/ 277708 h 3641849"/>
                <a:gd name="connsiteX29" fmla="*/ 761694 w 1457148"/>
                <a:gd name="connsiteY29" fmla="*/ 303563 h 3641849"/>
                <a:gd name="connsiteX30" fmla="*/ 833740 w 1457148"/>
                <a:gd name="connsiteY30" fmla="*/ 350106 h 3641849"/>
                <a:gd name="connsiteX31" fmla="*/ 883619 w 1457148"/>
                <a:gd name="connsiteY31" fmla="*/ 401820 h 3641849"/>
                <a:gd name="connsiteX32" fmla="*/ 908558 w 1457148"/>
                <a:gd name="connsiteY32" fmla="*/ 440606 h 3641849"/>
                <a:gd name="connsiteX33" fmla="*/ 941811 w 1457148"/>
                <a:gd name="connsiteY33" fmla="*/ 466462 h 3641849"/>
                <a:gd name="connsiteX34" fmla="*/ 925183 w 1457148"/>
                <a:gd name="connsiteY34" fmla="*/ 691417 h 3641849"/>
                <a:gd name="connsiteX35" fmla="*/ 797717 w 1457148"/>
                <a:gd name="connsiteY35" fmla="*/ 771575 h 3641849"/>
                <a:gd name="connsiteX36" fmla="*/ 684105 w 1457148"/>
                <a:gd name="connsiteY36" fmla="*/ 779331 h 3641849"/>
                <a:gd name="connsiteX37" fmla="*/ 545552 w 1457148"/>
                <a:gd name="connsiteY37" fmla="*/ 758645 h 3641849"/>
                <a:gd name="connsiteX38" fmla="*/ 454108 w 1457148"/>
                <a:gd name="connsiteY38" fmla="*/ 722445 h 3641849"/>
                <a:gd name="connsiteX39" fmla="*/ 434711 w 1457148"/>
                <a:gd name="connsiteY39" fmla="*/ 750888 h 3641849"/>
                <a:gd name="connsiteX40" fmla="*/ 465353 w 1457148"/>
                <a:gd name="connsiteY40" fmla="*/ 824301 h 3641849"/>
                <a:gd name="connsiteX41" fmla="*/ 470894 w 1457148"/>
                <a:gd name="connsiteY41" fmla="*/ 951000 h 3641849"/>
                <a:gd name="connsiteX42" fmla="*/ 443024 w 1457148"/>
                <a:gd name="connsiteY42" fmla="*/ 1012043 h 3641849"/>
                <a:gd name="connsiteX43" fmla="*/ 498443 w 1457148"/>
                <a:gd name="connsiteY43" fmla="*/ 1032728 h 3641849"/>
                <a:gd name="connsiteX44" fmla="*/ 515071 w 1457148"/>
                <a:gd name="connsiteY44" fmla="*/ 1048242 h 3641849"/>
                <a:gd name="connsiteX45" fmla="*/ 540011 w 1457148"/>
                <a:gd name="connsiteY45" fmla="*/ 1074099 h 3641849"/>
                <a:gd name="connsiteX46" fmla="*/ 537240 w 1457148"/>
                <a:gd name="connsiteY46" fmla="*/ 1076685 h 3641849"/>
                <a:gd name="connsiteX47" fmla="*/ 576033 w 1457148"/>
                <a:gd name="connsiteY47" fmla="*/ 1071514 h 3641849"/>
                <a:gd name="connsiteX48" fmla="*/ 584347 w 1457148"/>
                <a:gd name="connsiteY48" fmla="*/ 1035314 h 3641849"/>
                <a:gd name="connsiteX49" fmla="*/ 545552 w 1457148"/>
                <a:gd name="connsiteY49" fmla="*/ 957743 h 3641849"/>
                <a:gd name="connsiteX50" fmla="*/ 614828 w 1457148"/>
                <a:gd name="connsiteY50" fmla="*/ 911200 h 3641849"/>
                <a:gd name="connsiteX51" fmla="*/ 682600 w 1457148"/>
                <a:gd name="connsiteY51" fmla="*/ 918934 h 3641849"/>
                <a:gd name="connsiteX52" fmla="*/ 706433 w 1457148"/>
                <a:gd name="connsiteY52" fmla="*/ 951001 h 3641849"/>
                <a:gd name="connsiteX53" fmla="*/ 862162 w 1457148"/>
                <a:gd name="connsiteY53" fmla="*/ 1007364 h 3641849"/>
                <a:gd name="connsiteX54" fmla="*/ 847754 w 1457148"/>
                <a:gd name="connsiteY54" fmla="*/ 971687 h 3641849"/>
                <a:gd name="connsiteX55" fmla="*/ 814502 w 1457148"/>
                <a:gd name="connsiteY55" fmla="*/ 932901 h 3641849"/>
                <a:gd name="connsiteX56" fmla="*/ 803418 w 1457148"/>
                <a:gd name="connsiteY56" fmla="*/ 881187 h 3641849"/>
                <a:gd name="connsiteX57" fmla="*/ 842213 w 1457148"/>
                <a:gd name="connsiteY57" fmla="*/ 832060 h 3641849"/>
                <a:gd name="connsiteX58" fmla="*/ 869923 w 1457148"/>
                <a:gd name="connsiteY58" fmla="*/ 803617 h 3641849"/>
                <a:gd name="connsiteX59" fmla="*/ 894863 w 1457148"/>
                <a:gd name="connsiteY59" fmla="*/ 767417 h 3641849"/>
                <a:gd name="connsiteX60" fmla="*/ 975223 w 1457148"/>
                <a:gd name="connsiteY60" fmla="*/ 762245 h 3641849"/>
                <a:gd name="connsiteX61" fmla="*/ 980764 w 1457148"/>
                <a:gd name="connsiteY61" fmla="*/ 741560 h 3641849"/>
                <a:gd name="connsiteX62" fmla="*/ 1005704 w 1457148"/>
                <a:gd name="connsiteY62" fmla="*/ 705360 h 3641849"/>
                <a:gd name="connsiteX63" fmla="*/ 1039508 w 1457148"/>
                <a:gd name="connsiteY63" fmla="*/ 687772 h 3641849"/>
                <a:gd name="connsiteX64" fmla="*/ 1097148 w 1457148"/>
                <a:gd name="connsiteY64" fmla="*/ 700189 h 3641849"/>
                <a:gd name="connsiteX65" fmla="*/ 1135941 w 1457148"/>
                <a:gd name="connsiteY65" fmla="*/ 720875 h 3641849"/>
                <a:gd name="connsiteX66" fmla="*/ 1183049 w 1457148"/>
                <a:gd name="connsiteY66" fmla="*/ 728632 h 3641849"/>
                <a:gd name="connsiteX67" fmla="*/ 1183049 w 1457148"/>
                <a:gd name="connsiteY67" fmla="*/ 733803 h 3641849"/>
                <a:gd name="connsiteX68" fmla="*/ 1205218 w 1457148"/>
                <a:gd name="connsiteY68" fmla="*/ 674332 h 3641849"/>
                <a:gd name="connsiteX69" fmla="*/ 1215193 w 1457148"/>
                <a:gd name="connsiteY69" fmla="*/ 640714 h 3641849"/>
                <a:gd name="connsiteX70" fmla="*/ 1221844 w 1457148"/>
                <a:gd name="connsiteY70" fmla="*/ 622618 h 3641849"/>
                <a:gd name="connsiteX71" fmla="*/ 1224781 w 1457148"/>
                <a:gd name="connsiteY71" fmla="*/ 591288 h 3641849"/>
                <a:gd name="connsiteX72" fmla="*/ 1144255 w 1457148"/>
                <a:gd name="connsiteY72" fmla="*/ 545048 h 3641849"/>
                <a:gd name="connsiteX73" fmla="*/ 1130400 w 1457148"/>
                <a:gd name="connsiteY73" fmla="*/ 472648 h 3641849"/>
                <a:gd name="connsiteX74" fmla="*/ 1130400 w 1457148"/>
                <a:gd name="connsiteY74" fmla="*/ 454548 h 3641849"/>
                <a:gd name="connsiteX75" fmla="*/ 1141483 w 1457148"/>
                <a:gd name="connsiteY75" fmla="*/ 431276 h 3641849"/>
                <a:gd name="connsiteX76" fmla="*/ 1144255 w 1457148"/>
                <a:gd name="connsiteY76" fmla="*/ 415762 h 3641849"/>
                <a:gd name="connsiteX77" fmla="*/ 1144254 w 1457148"/>
                <a:gd name="connsiteY77" fmla="*/ 358878 h 3641849"/>
                <a:gd name="connsiteX78" fmla="*/ 1122086 w 1457148"/>
                <a:gd name="connsiteY78" fmla="*/ 335607 h 3641849"/>
                <a:gd name="connsiteX79" fmla="*/ 1094376 w 1457148"/>
                <a:gd name="connsiteY79" fmla="*/ 304578 h 3641849"/>
                <a:gd name="connsiteX80" fmla="*/ 1090208 w 1457148"/>
                <a:gd name="connsiteY80" fmla="*/ 280325 h 3641849"/>
                <a:gd name="connsiteX81" fmla="*/ 1141484 w 1457148"/>
                <a:gd name="connsiteY81" fmla="*/ 258034 h 3641849"/>
                <a:gd name="connsiteX82" fmla="*/ 1195064 w 1457148"/>
                <a:gd name="connsiteY82" fmla="*/ 267906 h 3641849"/>
                <a:gd name="connsiteX83" fmla="*/ 1273848 w 1457148"/>
                <a:gd name="connsiteY83" fmla="*/ 279816 h 3641849"/>
                <a:gd name="connsiteX84" fmla="*/ 1358171 w 1457148"/>
                <a:gd name="connsiteY84" fmla="*/ 349175 h 3641849"/>
                <a:gd name="connsiteX85" fmla="*/ 1420306 w 1457148"/>
                <a:gd name="connsiteY85" fmla="*/ 425271 h 3641849"/>
                <a:gd name="connsiteX86" fmla="*/ 1319335 w 1457148"/>
                <a:gd name="connsiteY86" fmla="*/ 454265 h 3641849"/>
                <a:gd name="connsiteX87" fmla="*/ 1303801 w 1457148"/>
                <a:gd name="connsiteY87" fmla="*/ 501372 h 3641849"/>
                <a:gd name="connsiteX88" fmla="*/ 1361471 w 1457148"/>
                <a:gd name="connsiteY88" fmla="*/ 585862 h 3641849"/>
                <a:gd name="connsiteX89" fmla="*/ 1397005 w 1457148"/>
                <a:gd name="connsiteY89" fmla="*/ 591964 h 3641849"/>
                <a:gd name="connsiteX90" fmla="*/ 1449625 w 1457148"/>
                <a:gd name="connsiteY90" fmla="*/ 598304 h 3641849"/>
                <a:gd name="connsiteX91" fmla="*/ 1444662 w 1457148"/>
                <a:gd name="connsiteY91" fmla="*/ 709079 h 3641849"/>
                <a:gd name="connsiteX92" fmla="*/ 1455731 w 1457148"/>
                <a:gd name="connsiteY92" fmla="*/ 1040047 h 3641849"/>
                <a:gd name="connsiteX93" fmla="*/ 1446863 w 1457148"/>
                <a:gd name="connsiteY93" fmla="*/ 1842646 h 3641849"/>
                <a:gd name="connsiteX94" fmla="*/ 1455730 w 1457148"/>
                <a:gd name="connsiteY94" fmla="*/ 2297728 h 3641849"/>
                <a:gd name="connsiteX95" fmla="*/ 1429282 w 1457148"/>
                <a:gd name="connsiteY95" fmla="*/ 3607693 h 3641849"/>
                <a:gd name="connsiteX96" fmla="*/ 1170855 w 1457148"/>
                <a:gd name="connsiteY96" fmla="*/ 3564098 h 3641849"/>
                <a:gd name="connsiteX97" fmla="*/ 1002377 w 1457148"/>
                <a:gd name="connsiteY97" fmla="*/ 3497903 h 3641849"/>
                <a:gd name="connsiteX98" fmla="*/ 825031 w 1457148"/>
                <a:gd name="connsiteY98" fmla="*/ 3406887 h 3641849"/>
                <a:gd name="connsiteX99" fmla="*/ 726733 w 1457148"/>
                <a:gd name="connsiteY99" fmla="*/ 3326370 h 3641849"/>
                <a:gd name="connsiteX100" fmla="*/ 1020995 w 1457148"/>
                <a:gd name="connsiteY100" fmla="*/ 3018734 h 3641849"/>
                <a:gd name="connsiteX101" fmla="*/ 737241 w 1457148"/>
                <a:gd name="connsiteY101" fmla="*/ 2480910 h 3641849"/>
                <a:gd name="connsiteX102" fmla="*/ 879591 w 1457148"/>
                <a:gd name="connsiteY102" fmla="*/ 2241825 h 3641849"/>
                <a:gd name="connsiteX103" fmla="*/ 692904 w 1457148"/>
                <a:gd name="connsiteY103" fmla="*/ 1703134 h 3641849"/>
                <a:gd name="connsiteX104" fmla="*/ 444620 w 1457148"/>
                <a:gd name="connsiteY104" fmla="*/ 1471456 h 3641849"/>
                <a:gd name="connsiteX105" fmla="*/ 435753 w 1457148"/>
                <a:gd name="connsiteY105" fmla="*/ 1355617 h 3641849"/>
                <a:gd name="connsiteX0" fmla="*/ 435753 w 1457148"/>
                <a:gd name="connsiteY0" fmla="*/ 1355617 h 3641849"/>
                <a:gd name="connsiteX1" fmla="*/ 237969 w 1457148"/>
                <a:gd name="connsiteY1" fmla="*/ 1257686 h 3641849"/>
                <a:gd name="connsiteX2" fmla="*/ 218572 w 1457148"/>
                <a:gd name="connsiteY2" fmla="*/ 973260 h 3641849"/>
                <a:gd name="connsiteX3" fmla="*/ 107732 w 1457148"/>
                <a:gd name="connsiteY3" fmla="*/ 1001703 h 3641849"/>
                <a:gd name="connsiteX4" fmla="*/ 96648 w 1457148"/>
                <a:gd name="connsiteY4" fmla="*/ 794845 h 3641849"/>
                <a:gd name="connsiteX5" fmla="*/ 135443 w 1457148"/>
                <a:gd name="connsiteY5" fmla="*/ 779332 h 3641849"/>
                <a:gd name="connsiteX6" fmla="*/ 21830 w 1457148"/>
                <a:gd name="connsiteY6" fmla="*/ 551792 h 3641849"/>
                <a:gd name="connsiteX7" fmla="*/ 80021 w 1457148"/>
                <a:gd name="connsiteY7" fmla="*/ 458707 h 3641849"/>
                <a:gd name="connsiteX8" fmla="*/ 85563 w 1457148"/>
                <a:gd name="connsiteY8" fmla="*/ 378550 h 3641849"/>
                <a:gd name="connsiteX9" fmla="*/ 10744 w 1457148"/>
                <a:gd name="connsiteY9" fmla="*/ 319079 h 3641849"/>
                <a:gd name="connsiteX10" fmla="*/ 2432 w 1457148"/>
                <a:gd name="connsiteY10" fmla="*/ 251851 h 3641849"/>
                <a:gd name="connsiteX11" fmla="*/ 57852 w 1457148"/>
                <a:gd name="connsiteY11" fmla="*/ 158764 h 3641849"/>
                <a:gd name="connsiteX12" fmla="*/ 77250 w 1457148"/>
                <a:gd name="connsiteY12" fmla="*/ 135494 h 3641849"/>
                <a:gd name="connsiteX13" fmla="*/ 91105 w 1457148"/>
                <a:gd name="connsiteY13" fmla="*/ 117394 h 3641849"/>
                <a:gd name="connsiteX14" fmla="*/ 99418 w 1457148"/>
                <a:gd name="connsiteY14" fmla="*/ 73438 h 3641849"/>
                <a:gd name="connsiteX15" fmla="*/ 124357 w 1457148"/>
                <a:gd name="connsiteY15" fmla="*/ 101880 h 3641849"/>
                <a:gd name="connsiteX16" fmla="*/ 154839 w 1457148"/>
                <a:gd name="connsiteY16" fmla="*/ 88952 h 3641849"/>
                <a:gd name="connsiteX17" fmla="*/ 157609 w 1457148"/>
                <a:gd name="connsiteY17" fmla="*/ 63095 h 3641849"/>
                <a:gd name="connsiteX18" fmla="*/ 165923 w 1457148"/>
                <a:gd name="connsiteY18" fmla="*/ 34652 h 3641849"/>
                <a:gd name="connsiteX19" fmla="*/ 168695 w 1457148"/>
                <a:gd name="connsiteY19" fmla="*/ 3624 h 3641849"/>
                <a:gd name="connsiteX20" fmla="*/ 304475 w 1457148"/>
                <a:gd name="connsiteY20" fmla="*/ 57924 h 3641849"/>
                <a:gd name="connsiteX21" fmla="*/ 334955 w 1457148"/>
                <a:gd name="connsiteY21" fmla="*/ 161352 h 3641849"/>
                <a:gd name="connsiteX22" fmla="*/ 348811 w 1457148"/>
                <a:gd name="connsiteY22" fmla="*/ 184622 h 3641849"/>
                <a:gd name="connsiteX23" fmla="*/ 359895 w 1457148"/>
                <a:gd name="connsiteY23" fmla="*/ 187208 h 3641849"/>
                <a:gd name="connsiteX24" fmla="*/ 473507 w 1457148"/>
                <a:gd name="connsiteY24" fmla="*/ 156181 h 3641849"/>
                <a:gd name="connsiteX25" fmla="*/ 540012 w 1457148"/>
                <a:gd name="connsiteY25" fmla="*/ 166522 h 3641849"/>
                <a:gd name="connsiteX26" fmla="*/ 603746 w 1457148"/>
                <a:gd name="connsiteY26" fmla="*/ 213065 h 3641849"/>
                <a:gd name="connsiteX27" fmla="*/ 617773 w 1457148"/>
                <a:gd name="connsiteY27" fmla="*/ 242621 h 3641849"/>
                <a:gd name="connsiteX28" fmla="*/ 673020 w 1457148"/>
                <a:gd name="connsiteY28" fmla="*/ 277708 h 3641849"/>
                <a:gd name="connsiteX29" fmla="*/ 761694 w 1457148"/>
                <a:gd name="connsiteY29" fmla="*/ 303563 h 3641849"/>
                <a:gd name="connsiteX30" fmla="*/ 833740 w 1457148"/>
                <a:gd name="connsiteY30" fmla="*/ 350106 h 3641849"/>
                <a:gd name="connsiteX31" fmla="*/ 883619 w 1457148"/>
                <a:gd name="connsiteY31" fmla="*/ 401820 h 3641849"/>
                <a:gd name="connsiteX32" fmla="*/ 908558 w 1457148"/>
                <a:gd name="connsiteY32" fmla="*/ 440606 h 3641849"/>
                <a:gd name="connsiteX33" fmla="*/ 941811 w 1457148"/>
                <a:gd name="connsiteY33" fmla="*/ 466462 h 3641849"/>
                <a:gd name="connsiteX34" fmla="*/ 925183 w 1457148"/>
                <a:gd name="connsiteY34" fmla="*/ 691417 h 3641849"/>
                <a:gd name="connsiteX35" fmla="*/ 797717 w 1457148"/>
                <a:gd name="connsiteY35" fmla="*/ 771575 h 3641849"/>
                <a:gd name="connsiteX36" fmla="*/ 684105 w 1457148"/>
                <a:gd name="connsiteY36" fmla="*/ 779331 h 3641849"/>
                <a:gd name="connsiteX37" fmla="*/ 545552 w 1457148"/>
                <a:gd name="connsiteY37" fmla="*/ 758645 h 3641849"/>
                <a:gd name="connsiteX38" fmla="*/ 454108 w 1457148"/>
                <a:gd name="connsiteY38" fmla="*/ 722445 h 3641849"/>
                <a:gd name="connsiteX39" fmla="*/ 434711 w 1457148"/>
                <a:gd name="connsiteY39" fmla="*/ 750888 h 3641849"/>
                <a:gd name="connsiteX40" fmla="*/ 465353 w 1457148"/>
                <a:gd name="connsiteY40" fmla="*/ 824301 h 3641849"/>
                <a:gd name="connsiteX41" fmla="*/ 470894 w 1457148"/>
                <a:gd name="connsiteY41" fmla="*/ 951000 h 3641849"/>
                <a:gd name="connsiteX42" fmla="*/ 443024 w 1457148"/>
                <a:gd name="connsiteY42" fmla="*/ 1012043 h 3641849"/>
                <a:gd name="connsiteX43" fmla="*/ 498443 w 1457148"/>
                <a:gd name="connsiteY43" fmla="*/ 1032728 h 3641849"/>
                <a:gd name="connsiteX44" fmla="*/ 515071 w 1457148"/>
                <a:gd name="connsiteY44" fmla="*/ 1048242 h 3641849"/>
                <a:gd name="connsiteX45" fmla="*/ 540011 w 1457148"/>
                <a:gd name="connsiteY45" fmla="*/ 1074099 h 3641849"/>
                <a:gd name="connsiteX46" fmla="*/ 537240 w 1457148"/>
                <a:gd name="connsiteY46" fmla="*/ 1076685 h 3641849"/>
                <a:gd name="connsiteX47" fmla="*/ 576033 w 1457148"/>
                <a:gd name="connsiteY47" fmla="*/ 1071514 h 3641849"/>
                <a:gd name="connsiteX48" fmla="*/ 584347 w 1457148"/>
                <a:gd name="connsiteY48" fmla="*/ 1035314 h 3641849"/>
                <a:gd name="connsiteX49" fmla="*/ 545552 w 1457148"/>
                <a:gd name="connsiteY49" fmla="*/ 957743 h 3641849"/>
                <a:gd name="connsiteX50" fmla="*/ 614828 w 1457148"/>
                <a:gd name="connsiteY50" fmla="*/ 911200 h 3641849"/>
                <a:gd name="connsiteX51" fmla="*/ 682600 w 1457148"/>
                <a:gd name="connsiteY51" fmla="*/ 918934 h 3641849"/>
                <a:gd name="connsiteX52" fmla="*/ 706433 w 1457148"/>
                <a:gd name="connsiteY52" fmla="*/ 951001 h 3641849"/>
                <a:gd name="connsiteX53" fmla="*/ 862162 w 1457148"/>
                <a:gd name="connsiteY53" fmla="*/ 1007364 h 3641849"/>
                <a:gd name="connsiteX54" fmla="*/ 847754 w 1457148"/>
                <a:gd name="connsiteY54" fmla="*/ 971687 h 3641849"/>
                <a:gd name="connsiteX55" fmla="*/ 814502 w 1457148"/>
                <a:gd name="connsiteY55" fmla="*/ 932901 h 3641849"/>
                <a:gd name="connsiteX56" fmla="*/ 803418 w 1457148"/>
                <a:gd name="connsiteY56" fmla="*/ 881187 h 3641849"/>
                <a:gd name="connsiteX57" fmla="*/ 842213 w 1457148"/>
                <a:gd name="connsiteY57" fmla="*/ 832060 h 3641849"/>
                <a:gd name="connsiteX58" fmla="*/ 869923 w 1457148"/>
                <a:gd name="connsiteY58" fmla="*/ 803617 h 3641849"/>
                <a:gd name="connsiteX59" fmla="*/ 894863 w 1457148"/>
                <a:gd name="connsiteY59" fmla="*/ 767417 h 3641849"/>
                <a:gd name="connsiteX60" fmla="*/ 975223 w 1457148"/>
                <a:gd name="connsiteY60" fmla="*/ 762245 h 3641849"/>
                <a:gd name="connsiteX61" fmla="*/ 980764 w 1457148"/>
                <a:gd name="connsiteY61" fmla="*/ 741560 h 3641849"/>
                <a:gd name="connsiteX62" fmla="*/ 1005704 w 1457148"/>
                <a:gd name="connsiteY62" fmla="*/ 705360 h 3641849"/>
                <a:gd name="connsiteX63" fmla="*/ 1039508 w 1457148"/>
                <a:gd name="connsiteY63" fmla="*/ 687772 h 3641849"/>
                <a:gd name="connsiteX64" fmla="*/ 1097148 w 1457148"/>
                <a:gd name="connsiteY64" fmla="*/ 700189 h 3641849"/>
                <a:gd name="connsiteX65" fmla="*/ 1135941 w 1457148"/>
                <a:gd name="connsiteY65" fmla="*/ 720875 h 3641849"/>
                <a:gd name="connsiteX66" fmla="*/ 1183049 w 1457148"/>
                <a:gd name="connsiteY66" fmla="*/ 728632 h 3641849"/>
                <a:gd name="connsiteX67" fmla="*/ 1183049 w 1457148"/>
                <a:gd name="connsiteY67" fmla="*/ 733803 h 3641849"/>
                <a:gd name="connsiteX68" fmla="*/ 1205218 w 1457148"/>
                <a:gd name="connsiteY68" fmla="*/ 674332 h 3641849"/>
                <a:gd name="connsiteX69" fmla="*/ 1215193 w 1457148"/>
                <a:gd name="connsiteY69" fmla="*/ 640714 h 3641849"/>
                <a:gd name="connsiteX70" fmla="*/ 1221844 w 1457148"/>
                <a:gd name="connsiteY70" fmla="*/ 622618 h 3641849"/>
                <a:gd name="connsiteX71" fmla="*/ 1224781 w 1457148"/>
                <a:gd name="connsiteY71" fmla="*/ 591288 h 3641849"/>
                <a:gd name="connsiteX72" fmla="*/ 1144255 w 1457148"/>
                <a:gd name="connsiteY72" fmla="*/ 545048 h 3641849"/>
                <a:gd name="connsiteX73" fmla="*/ 1130400 w 1457148"/>
                <a:gd name="connsiteY73" fmla="*/ 472648 h 3641849"/>
                <a:gd name="connsiteX74" fmla="*/ 1130400 w 1457148"/>
                <a:gd name="connsiteY74" fmla="*/ 454548 h 3641849"/>
                <a:gd name="connsiteX75" fmla="*/ 1141483 w 1457148"/>
                <a:gd name="connsiteY75" fmla="*/ 431276 h 3641849"/>
                <a:gd name="connsiteX76" fmla="*/ 1144255 w 1457148"/>
                <a:gd name="connsiteY76" fmla="*/ 415762 h 3641849"/>
                <a:gd name="connsiteX77" fmla="*/ 1144254 w 1457148"/>
                <a:gd name="connsiteY77" fmla="*/ 358878 h 3641849"/>
                <a:gd name="connsiteX78" fmla="*/ 1122086 w 1457148"/>
                <a:gd name="connsiteY78" fmla="*/ 335607 h 3641849"/>
                <a:gd name="connsiteX79" fmla="*/ 1094376 w 1457148"/>
                <a:gd name="connsiteY79" fmla="*/ 304578 h 3641849"/>
                <a:gd name="connsiteX80" fmla="*/ 1090208 w 1457148"/>
                <a:gd name="connsiteY80" fmla="*/ 280325 h 3641849"/>
                <a:gd name="connsiteX81" fmla="*/ 1141484 w 1457148"/>
                <a:gd name="connsiteY81" fmla="*/ 258034 h 3641849"/>
                <a:gd name="connsiteX82" fmla="*/ 1195064 w 1457148"/>
                <a:gd name="connsiteY82" fmla="*/ 267906 h 3641849"/>
                <a:gd name="connsiteX83" fmla="*/ 1273848 w 1457148"/>
                <a:gd name="connsiteY83" fmla="*/ 279816 h 3641849"/>
                <a:gd name="connsiteX84" fmla="*/ 1358171 w 1457148"/>
                <a:gd name="connsiteY84" fmla="*/ 349175 h 3641849"/>
                <a:gd name="connsiteX85" fmla="*/ 1420306 w 1457148"/>
                <a:gd name="connsiteY85" fmla="*/ 425271 h 3641849"/>
                <a:gd name="connsiteX86" fmla="*/ 1319335 w 1457148"/>
                <a:gd name="connsiteY86" fmla="*/ 454265 h 3641849"/>
                <a:gd name="connsiteX87" fmla="*/ 1303801 w 1457148"/>
                <a:gd name="connsiteY87" fmla="*/ 501372 h 3641849"/>
                <a:gd name="connsiteX88" fmla="*/ 1361471 w 1457148"/>
                <a:gd name="connsiteY88" fmla="*/ 585862 h 3641849"/>
                <a:gd name="connsiteX89" fmla="*/ 1397005 w 1457148"/>
                <a:gd name="connsiteY89" fmla="*/ 591964 h 3641849"/>
                <a:gd name="connsiteX90" fmla="*/ 1449625 w 1457148"/>
                <a:gd name="connsiteY90" fmla="*/ 598304 h 3641849"/>
                <a:gd name="connsiteX91" fmla="*/ 1444662 w 1457148"/>
                <a:gd name="connsiteY91" fmla="*/ 709079 h 3641849"/>
                <a:gd name="connsiteX92" fmla="*/ 1455731 w 1457148"/>
                <a:gd name="connsiteY92" fmla="*/ 1040047 h 3641849"/>
                <a:gd name="connsiteX93" fmla="*/ 1446863 w 1457148"/>
                <a:gd name="connsiteY93" fmla="*/ 1842646 h 3641849"/>
                <a:gd name="connsiteX94" fmla="*/ 1455730 w 1457148"/>
                <a:gd name="connsiteY94" fmla="*/ 2297728 h 3641849"/>
                <a:gd name="connsiteX95" fmla="*/ 1429282 w 1457148"/>
                <a:gd name="connsiteY95" fmla="*/ 3607693 h 3641849"/>
                <a:gd name="connsiteX96" fmla="*/ 1170855 w 1457148"/>
                <a:gd name="connsiteY96" fmla="*/ 3564098 h 3641849"/>
                <a:gd name="connsiteX97" fmla="*/ 1002377 w 1457148"/>
                <a:gd name="connsiteY97" fmla="*/ 3497903 h 3641849"/>
                <a:gd name="connsiteX98" fmla="*/ 825031 w 1457148"/>
                <a:gd name="connsiteY98" fmla="*/ 3406887 h 3641849"/>
                <a:gd name="connsiteX99" fmla="*/ 726733 w 1457148"/>
                <a:gd name="connsiteY99" fmla="*/ 3326370 h 3641849"/>
                <a:gd name="connsiteX100" fmla="*/ 1020995 w 1457148"/>
                <a:gd name="connsiteY100" fmla="*/ 3018734 h 3641849"/>
                <a:gd name="connsiteX101" fmla="*/ 737241 w 1457148"/>
                <a:gd name="connsiteY101" fmla="*/ 2480910 h 3641849"/>
                <a:gd name="connsiteX102" fmla="*/ 879591 w 1457148"/>
                <a:gd name="connsiteY102" fmla="*/ 2241825 h 3641849"/>
                <a:gd name="connsiteX103" fmla="*/ 692904 w 1457148"/>
                <a:gd name="connsiteY103" fmla="*/ 1703134 h 3641849"/>
                <a:gd name="connsiteX104" fmla="*/ 444620 w 1457148"/>
                <a:gd name="connsiteY104" fmla="*/ 1471456 h 3641849"/>
                <a:gd name="connsiteX105" fmla="*/ 435753 w 1457148"/>
                <a:gd name="connsiteY105" fmla="*/ 1355617 h 3641849"/>
                <a:gd name="connsiteX0" fmla="*/ 435753 w 1457148"/>
                <a:gd name="connsiteY0" fmla="*/ 1355617 h 3641849"/>
                <a:gd name="connsiteX1" fmla="*/ 237969 w 1457148"/>
                <a:gd name="connsiteY1" fmla="*/ 1257686 h 3641849"/>
                <a:gd name="connsiteX2" fmla="*/ 201945 w 1457148"/>
                <a:gd name="connsiteY2" fmla="*/ 1045659 h 3641849"/>
                <a:gd name="connsiteX3" fmla="*/ 107732 w 1457148"/>
                <a:gd name="connsiteY3" fmla="*/ 1001703 h 3641849"/>
                <a:gd name="connsiteX4" fmla="*/ 96648 w 1457148"/>
                <a:gd name="connsiteY4" fmla="*/ 794845 h 3641849"/>
                <a:gd name="connsiteX5" fmla="*/ 135443 w 1457148"/>
                <a:gd name="connsiteY5" fmla="*/ 779332 h 3641849"/>
                <a:gd name="connsiteX6" fmla="*/ 21830 w 1457148"/>
                <a:gd name="connsiteY6" fmla="*/ 551792 h 3641849"/>
                <a:gd name="connsiteX7" fmla="*/ 80021 w 1457148"/>
                <a:gd name="connsiteY7" fmla="*/ 458707 h 3641849"/>
                <a:gd name="connsiteX8" fmla="*/ 85563 w 1457148"/>
                <a:gd name="connsiteY8" fmla="*/ 378550 h 3641849"/>
                <a:gd name="connsiteX9" fmla="*/ 10744 w 1457148"/>
                <a:gd name="connsiteY9" fmla="*/ 319079 h 3641849"/>
                <a:gd name="connsiteX10" fmla="*/ 2432 w 1457148"/>
                <a:gd name="connsiteY10" fmla="*/ 251851 h 3641849"/>
                <a:gd name="connsiteX11" fmla="*/ 57852 w 1457148"/>
                <a:gd name="connsiteY11" fmla="*/ 158764 h 3641849"/>
                <a:gd name="connsiteX12" fmla="*/ 77250 w 1457148"/>
                <a:gd name="connsiteY12" fmla="*/ 135494 h 3641849"/>
                <a:gd name="connsiteX13" fmla="*/ 91105 w 1457148"/>
                <a:gd name="connsiteY13" fmla="*/ 117394 h 3641849"/>
                <a:gd name="connsiteX14" fmla="*/ 99418 w 1457148"/>
                <a:gd name="connsiteY14" fmla="*/ 73438 h 3641849"/>
                <a:gd name="connsiteX15" fmla="*/ 124357 w 1457148"/>
                <a:gd name="connsiteY15" fmla="*/ 101880 h 3641849"/>
                <a:gd name="connsiteX16" fmla="*/ 154839 w 1457148"/>
                <a:gd name="connsiteY16" fmla="*/ 88952 h 3641849"/>
                <a:gd name="connsiteX17" fmla="*/ 157609 w 1457148"/>
                <a:gd name="connsiteY17" fmla="*/ 63095 h 3641849"/>
                <a:gd name="connsiteX18" fmla="*/ 165923 w 1457148"/>
                <a:gd name="connsiteY18" fmla="*/ 34652 h 3641849"/>
                <a:gd name="connsiteX19" fmla="*/ 168695 w 1457148"/>
                <a:gd name="connsiteY19" fmla="*/ 3624 h 3641849"/>
                <a:gd name="connsiteX20" fmla="*/ 304475 w 1457148"/>
                <a:gd name="connsiteY20" fmla="*/ 57924 h 3641849"/>
                <a:gd name="connsiteX21" fmla="*/ 334955 w 1457148"/>
                <a:gd name="connsiteY21" fmla="*/ 161352 h 3641849"/>
                <a:gd name="connsiteX22" fmla="*/ 348811 w 1457148"/>
                <a:gd name="connsiteY22" fmla="*/ 184622 h 3641849"/>
                <a:gd name="connsiteX23" fmla="*/ 359895 w 1457148"/>
                <a:gd name="connsiteY23" fmla="*/ 187208 h 3641849"/>
                <a:gd name="connsiteX24" fmla="*/ 473507 w 1457148"/>
                <a:gd name="connsiteY24" fmla="*/ 156181 h 3641849"/>
                <a:gd name="connsiteX25" fmla="*/ 540012 w 1457148"/>
                <a:gd name="connsiteY25" fmla="*/ 166522 h 3641849"/>
                <a:gd name="connsiteX26" fmla="*/ 603746 w 1457148"/>
                <a:gd name="connsiteY26" fmla="*/ 213065 h 3641849"/>
                <a:gd name="connsiteX27" fmla="*/ 617773 w 1457148"/>
                <a:gd name="connsiteY27" fmla="*/ 242621 h 3641849"/>
                <a:gd name="connsiteX28" fmla="*/ 673020 w 1457148"/>
                <a:gd name="connsiteY28" fmla="*/ 277708 h 3641849"/>
                <a:gd name="connsiteX29" fmla="*/ 761694 w 1457148"/>
                <a:gd name="connsiteY29" fmla="*/ 303563 h 3641849"/>
                <a:gd name="connsiteX30" fmla="*/ 833740 w 1457148"/>
                <a:gd name="connsiteY30" fmla="*/ 350106 h 3641849"/>
                <a:gd name="connsiteX31" fmla="*/ 883619 w 1457148"/>
                <a:gd name="connsiteY31" fmla="*/ 401820 h 3641849"/>
                <a:gd name="connsiteX32" fmla="*/ 908558 w 1457148"/>
                <a:gd name="connsiteY32" fmla="*/ 440606 h 3641849"/>
                <a:gd name="connsiteX33" fmla="*/ 941811 w 1457148"/>
                <a:gd name="connsiteY33" fmla="*/ 466462 h 3641849"/>
                <a:gd name="connsiteX34" fmla="*/ 925183 w 1457148"/>
                <a:gd name="connsiteY34" fmla="*/ 691417 h 3641849"/>
                <a:gd name="connsiteX35" fmla="*/ 797717 w 1457148"/>
                <a:gd name="connsiteY35" fmla="*/ 771575 h 3641849"/>
                <a:gd name="connsiteX36" fmla="*/ 684105 w 1457148"/>
                <a:gd name="connsiteY36" fmla="*/ 779331 h 3641849"/>
                <a:gd name="connsiteX37" fmla="*/ 545552 w 1457148"/>
                <a:gd name="connsiteY37" fmla="*/ 758645 h 3641849"/>
                <a:gd name="connsiteX38" fmla="*/ 454108 w 1457148"/>
                <a:gd name="connsiteY38" fmla="*/ 722445 h 3641849"/>
                <a:gd name="connsiteX39" fmla="*/ 434711 w 1457148"/>
                <a:gd name="connsiteY39" fmla="*/ 750888 h 3641849"/>
                <a:gd name="connsiteX40" fmla="*/ 465353 w 1457148"/>
                <a:gd name="connsiteY40" fmla="*/ 824301 h 3641849"/>
                <a:gd name="connsiteX41" fmla="*/ 470894 w 1457148"/>
                <a:gd name="connsiteY41" fmla="*/ 951000 h 3641849"/>
                <a:gd name="connsiteX42" fmla="*/ 443024 w 1457148"/>
                <a:gd name="connsiteY42" fmla="*/ 1012043 h 3641849"/>
                <a:gd name="connsiteX43" fmla="*/ 498443 w 1457148"/>
                <a:gd name="connsiteY43" fmla="*/ 1032728 h 3641849"/>
                <a:gd name="connsiteX44" fmla="*/ 515071 w 1457148"/>
                <a:gd name="connsiteY44" fmla="*/ 1048242 h 3641849"/>
                <a:gd name="connsiteX45" fmla="*/ 540011 w 1457148"/>
                <a:gd name="connsiteY45" fmla="*/ 1074099 h 3641849"/>
                <a:gd name="connsiteX46" fmla="*/ 537240 w 1457148"/>
                <a:gd name="connsiteY46" fmla="*/ 1076685 h 3641849"/>
                <a:gd name="connsiteX47" fmla="*/ 576033 w 1457148"/>
                <a:gd name="connsiteY47" fmla="*/ 1071514 h 3641849"/>
                <a:gd name="connsiteX48" fmla="*/ 584347 w 1457148"/>
                <a:gd name="connsiteY48" fmla="*/ 1035314 h 3641849"/>
                <a:gd name="connsiteX49" fmla="*/ 545552 w 1457148"/>
                <a:gd name="connsiteY49" fmla="*/ 957743 h 3641849"/>
                <a:gd name="connsiteX50" fmla="*/ 614828 w 1457148"/>
                <a:gd name="connsiteY50" fmla="*/ 911200 h 3641849"/>
                <a:gd name="connsiteX51" fmla="*/ 682600 w 1457148"/>
                <a:gd name="connsiteY51" fmla="*/ 918934 h 3641849"/>
                <a:gd name="connsiteX52" fmla="*/ 706433 w 1457148"/>
                <a:gd name="connsiteY52" fmla="*/ 951001 h 3641849"/>
                <a:gd name="connsiteX53" fmla="*/ 862162 w 1457148"/>
                <a:gd name="connsiteY53" fmla="*/ 1007364 h 3641849"/>
                <a:gd name="connsiteX54" fmla="*/ 847754 w 1457148"/>
                <a:gd name="connsiteY54" fmla="*/ 971687 h 3641849"/>
                <a:gd name="connsiteX55" fmla="*/ 814502 w 1457148"/>
                <a:gd name="connsiteY55" fmla="*/ 932901 h 3641849"/>
                <a:gd name="connsiteX56" fmla="*/ 803418 w 1457148"/>
                <a:gd name="connsiteY56" fmla="*/ 881187 h 3641849"/>
                <a:gd name="connsiteX57" fmla="*/ 842213 w 1457148"/>
                <a:gd name="connsiteY57" fmla="*/ 832060 h 3641849"/>
                <a:gd name="connsiteX58" fmla="*/ 869923 w 1457148"/>
                <a:gd name="connsiteY58" fmla="*/ 803617 h 3641849"/>
                <a:gd name="connsiteX59" fmla="*/ 894863 w 1457148"/>
                <a:gd name="connsiteY59" fmla="*/ 767417 h 3641849"/>
                <a:gd name="connsiteX60" fmla="*/ 975223 w 1457148"/>
                <a:gd name="connsiteY60" fmla="*/ 762245 h 3641849"/>
                <a:gd name="connsiteX61" fmla="*/ 980764 w 1457148"/>
                <a:gd name="connsiteY61" fmla="*/ 741560 h 3641849"/>
                <a:gd name="connsiteX62" fmla="*/ 1005704 w 1457148"/>
                <a:gd name="connsiteY62" fmla="*/ 705360 h 3641849"/>
                <a:gd name="connsiteX63" fmla="*/ 1039508 w 1457148"/>
                <a:gd name="connsiteY63" fmla="*/ 687772 h 3641849"/>
                <a:gd name="connsiteX64" fmla="*/ 1097148 w 1457148"/>
                <a:gd name="connsiteY64" fmla="*/ 700189 h 3641849"/>
                <a:gd name="connsiteX65" fmla="*/ 1135941 w 1457148"/>
                <a:gd name="connsiteY65" fmla="*/ 720875 h 3641849"/>
                <a:gd name="connsiteX66" fmla="*/ 1183049 w 1457148"/>
                <a:gd name="connsiteY66" fmla="*/ 728632 h 3641849"/>
                <a:gd name="connsiteX67" fmla="*/ 1183049 w 1457148"/>
                <a:gd name="connsiteY67" fmla="*/ 733803 h 3641849"/>
                <a:gd name="connsiteX68" fmla="*/ 1205218 w 1457148"/>
                <a:gd name="connsiteY68" fmla="*/ 674332 h 3641849"/>
                <a:gd name="connsiteX69" fmla="*/ 1215193 w 1457148"/>
                <a:gd name="connsiteY69" fmla="*/ 640714 h 3641849"/>
                <a:gd name="connsiteX70" fmla="*/ 1221844 w 1457148"/>
                <a:gd name="connsiteY70" fmla="*/ 622618 h 3641849"/>
                <a:gd name="connsiteX71" fmla="*/ 1224781 w 1457148"/>
                <a:gd name="connsiteY71" fmla="*/ 591288 h 3641849"/>
                <a:gd name="connsiteX72" fmla="*/ 1144255 w 1457148"/>
                <a:gd name="connsiteY72" fmla="*/ 545048 h 3641849"/>
                <a:gd name="connsiteX73" fmla="*/ 1130400 w 1457148"/>
                <a:gd name="connsiteY73" fmla="*/ 472648 h 3641849"/>
                <a:gd name="connsiteX74" fmla="*/ 1130400 w 1457148"/>
                <a:gd name="connsiteY74" fmla="*/ 454548 h 3641849"/>
                <a:gd name="connsiteX75" fmla="*/ 1141483 w 1457148"/>
                <a:gd name="connsiteY75" fmla="*/ 431276 h 3641849"/>
                <a:gd name="connsiteX76" fmla="*/ 1144255 w 1457148"/>
                <a:gd name="connsiteY76" fmla="*/ 415762 h 3641849"/>
                <a:gd name="connsiteX77" fmla="*/ 1144254 w 1457148"/>
                <a:gd name="connsiteY77" fmla="*/ 358878 h 3641849"/>
                <a:gd name="connsiteX78" fmla="*/ 1122086 w 1457148"/>
                <a:gd name="connsiteY78" fmla="*/ 335607 h 3641849"/>
                <a:gd name="connsiteX79" fmla="*/ 1094376 w 1457148"/>
                <a:gd name="connsiteY79" fmla="*/ 304578 h 3641849"/>
                <a:gd name="connsiteX80" fmla="*/ 1090208 w 1457148"/>
                <a:gd name="connsiteY80" fmla="*/ 280325 h 3641849"/>
                <a:gd name="connsiteX81" fmla="*/ 1141484 w 1457148"/>
                <a:gd name="connsiteY81" fmla="*/ 258034 h 3641849"/>
                <a:gd name="connsiteX82" fmla="*/ 1195064 w 1457148"/>
                <a:gd name="connsiteY82" fmla="*/ 267906 h 3641849"/>
                <a:gd name="connsiteX83" fmla="*/ 1273848 w 1457148"/>
                <a:gd name="connsiteY83" fmla="*/ 279816 h 3641849"/>
                <a:gd name="connsiteX84" fmla="*/ 1358171 w 1457148"/>
                <a:gd name="connsiteY84" fmla="*/ 349175 h 3641849"/>
                <a:gd name="connsiteX85" fmla="*/ 1420306 w 1457148"/>
                <a:gd name="connsiteY85" fmla="*/ 425271 h 3641849"/>
                <a:gd name="connsiteX86" fmla="*/ 1319335 w 1457148"/>
                <a:gd name="connsiteY86" fmla="*/ 454265 h 3641849"/>
                <a:gd name="connsiteX87" fmla="*/ 1303801 w 1457148"/>
                <a:gd name="connsiteY87" fmla="*/ 501372 h 3641849"/>
                <a:gd name="connsiteX88" fmla="*/ 1361471 w 1457148"/>
                <a:gd name="connsiteY88" fmla="*/ 585862 h 3641849"/>
                <a:gd name="connsiteX89" fmla="*/ 1397005 w 1457148"/>
                <a:gd name="connsiteY89" fmla="*/ 591964 h 3641849"/>
                <a:gd name="connsiteX90" fmla="*/ 1449625 w 1457148"/>
                <a:gd name="connsiteY90" fmla="*/ 598304 h 3641849"/>
                <a:gd name="connsiteX91" fmla="*/ 1444662 w 1457148"/>
                <a:gd name="connsiteY91" fmla="*/ 709079 h 3641849"/>
                <a:gd name="connsiteX92" fmla="*/ 1455731 w 1457148"/>
                <a:gd name="connsiteY92" fmla="*/ 1040047 h 3641849"/>
                <a:gd name="connsiteX93" fmla="*/ 1446863 w 1457148"/>
                <a:gd name="connsiteY93" fmla="*/ 1842646 h 3641849"/>
                <a:gd name="connsiteX94" fmla="*/ 1455730 w 1457148"/>
                <a:gd name="connsiteY94" fmla="*/ 2297728 h 3641849"/>
                <a:gd name="connsiteX95" fmla="*/ 1429282 w 1457148"/>
                <a:gd name="connsiteY95" fmla="*/ 3607693 h 3641849"/>
                <a:gd name="connsiteX96" fmla="*/ 1170855 w 1457148"/>
                <a:gd name="connsiteY96" fmla="*/ 3564098 h 3641849"/>
                <a:gd name="connsiteX97" fmla="*/ 1002377 w 1457148"/>
                <a:gd name="connsiteY97" fmla="*/ 3497903 h 3641849"/>
                <a:gd name="connsiteX98" fmla="*/ 825031 w 1457148"/>
                <a:gd name="connsiteY98" fmla="*/ 3406887 h 3641849"/>
                <a:gd name="connsiteX99" fmla="*/ 726733 w 1457148"/>
                <a:gd name="connsiteY99" fmla="*/ 3326370 h 3641849"/>
                <a:gd name="connsiteX100" fmla="*/ 1020995 w 1457148"/>
                <a:gd name="connsiteY100" fmla="*/ 3018734 h 3641849"/>
                <a:gd name="connsiteX101" fmla="*/ 737241 w 1457148"/>
                <a:gd name="connsiteY101" fmla="*/ 2480910 h 3641849"/>
                <a:gd name="connsiteX102" fmla="*/ 879591 w 1457148"/>
                <a:gd name="connsiteY102" fmla="*/ 2241825 h 3641849"/>
                <a:gd name="connsiteX103" fmla="*/ 692904 w 1457148"/>
                <a:gd name="connsiteY103" fmla="*/ 1703134 h 3641849"/>
                <a:gd name="connsiteX104" fmla="*/ 444620 w 1457148"/>
                <a:gd name="connsiteY104" fmla="*/ 1471456 h 3641849"/>
                <a:gd name="connsiteX105" fmla="*/ 435753 w 1457148"/>
                <a:gd name="connsiteY105" fmla="*/ 1355617 h 3641849"/>
                <a:gd name="connsiteX0" fmla="*/ 435753 w 1457148"/>
                <a:gd name="connsiteY0" fmla="*/ 1355617 h 3641849"/>
                <a:gd name="connsiteX1" fmla="*/ 237969 w 1457148"/>
                <a:gd name="connsiteY1" fmla="*/ 1257686 h 3641849"/>
                <a:gd name="connsiteX2" fmla="*/ 201945 w 1457148"/>
                <a:gd name="connsiteY2" fmla="*/ 1045659 h 3641849"/>
                <a:gd name="connsiteX3" fmla="*/ 104961 w 1457148"/>
                <a:gd name="connsiteY3" fmla="*/ 1001703 h 3641849"/>
                <a:gd name="connsiteX4" fmla="*/ 96648 w 1457148"/>
                <a:gd name="connsiteY4" fmla="*/ 794845 h 3641849"/>
                <a:gd name="connsiteX5" fmla="*/ 135443 w 1457148"/>
                <a:gd name="connsiteY5" fmla="*/ 779332 h 3641849"/>
                <a:gd name="connsiteX6" fmla="*/ 21830 w 1457148"/>
                <a:gd name="connsiteY6" fmla="*/ 551792 h 3641849"/>
                <a:gd name="connsiteX7" fmla="*/ 80021 w 1457148"/>
                <a:gd name="connsiteY7" fmla="*/ 458707 h 3641849"/>
                <a:gd name="connsiteX8" fmla="*/ 85563 w 1457148"/>
                <a:gd name="connsiteY8" fmla="*/ 378550 h 3641849"/>
                <a:gd name="connsiteX9" fmla="*/ 10744 w 1457148"/>
                <a:gd name="connsiteY9" fmla="*/ 319079 h 3641849"/>
                <a:gd name="connsiteX10" fmla="*/ 2432 w 1457148"/>
                <a:gd name="connsiteY10" fmla="*/ 251851 h 3641849"/>
                <a:gd name="connsiteX11" fmla="*/ 57852 w 1457148"/>
                <a:gd name="connsiteY11" fmla="*/ 158764 h 3641849"/>
                <a:gd name="connsiteX12" fmla="*/ 77250 w 1457148"/>
                <a:gd name="connsiteY12" fmla="*/ 135494 h 3641849"/>
                <a:gd name="connsiteX13" fmla="*/ 91105 w 1457148"/>
                <a:gd name="connsiteY13" fmla="*/ 117394 h 3641849"/>
                <a:gd name="connsiteX14" fmla="*/ 99418 w 1457148"/>
                <a:gd name="connsiteY14" fmla="*/ 73438 h 3641849"/>
                <a:gd name="connsiteX15" fmla="*/ 124357 w 1457148"/>
                <a:gd name="connsiteY15" fmla="*/ 101880 h 3641849"/>
                <a:gd name="connsiteX16" fmla="*/ 154839 w 1457148"/>
                <a:gd name="connsiteY16" fmla="*/ 88952 h 3641849"/>
                <a:gd name="connsiteX17" fmla="*/ 157609 w 1457148"/>
                <a:gd name="connsiteY17" fmla="*/ 63095 h 3641849"/>
                <a:gd name="connsiteX18" fmla="*/ 165923 w 1457148"/>
                <a:gd name="connsiteY18" fmla="*/ 34652 h 3641849"/>
                <a:gd name="connsiteX19" fmla="*/ 168695 w 1457148"/>
                <a:gd name="connsiteY19" fmla="*/ 3624 h 3641849"/>
                <a:gd name="connsiteX20" fmla="*/ 304475 w 1457148"/>
                <a:gd name="connsiteY20" fmla="*/ 57924 h 3641849"/>
                <a:gd name="connsiteX21" fmla="*/ 334955 w 1457148"/>
                <a:gd name="connsiteY21" fmla="*/ 161352 h 3641849"/>
                <a:gd name="connsiteX22" fmla="*/ 348811 w 1457148"/>
                <a:gd name="connsiteY22" fmla="*/ 184622 h 3641849"/>
                <a:gd name="connsiteX23" fmla="*/ 359895 w 1457148"/>
                <a:gd name="connsiteY23" fmla="*/ 187208 h 3641849"/>
                <a:gd name="connsiteX24" fmla="*/ 473507 w 1457148"/>
                <a:gd name="connsiteY24" fmla="*/ 156181 h 3641849"/>
                <a:gd name="connsiteX25" fmla="*/ 540012 w 1457148"/>
                <a:gd name="connsiteY25" fmla="*/ 166522 h 3641849"/>
                <a:gd name="connsiteX26" fmla="*/ 603746 w 1457148"/>
                <a:gd name="connsiteY26" fmla="*/ 213065 h 3641849"/>
                <a:gd name="connsiteX27" fmla="*/ 617773 w 1457148"/>
                <a:gd name="connsiteY27" fmla="*/ 242621 h 3641849"/>
                <a:gd name="connsiteX28" fmla="*/ 673020 w 1457148"/>
                <a:gd name="connsiteY28" fmla="*/ 277708 h 3641849"/>
                <a:gd name="connsiteX29" fmla="*/ 761694 w 1457148"/>
                <a:gd name="connsiteY29" fmla="*/ 303563 h 3641849"/>
                <a:gd name="connsiteX30" fmla="*/ 833740 w 1457148"/>
                <a:gd name="connsiteY30" fmla="*/ 350106 h 3641849"/>
                <a:gd name="connsiteX31" fmla="*/ 883619 w 1457148"/>
                <a:gd name="connsiteY31" fmla="*/ 401820 h 3641849"/>
                <a:gd name="connsiteX32" fmla="*/ 908558 w 1457148"/>
                <a:gd name="connsiteY32" fmla="*/ 440606 h 3641849"/>
                <a:gd name="connsiteX33" fmla="*/ 941811 w 1457148"/>
                <a:gd name="connsiteY33" fmla="*/ 466462 h 3641849"/>
                <a:gd name="connsiteX34" fmla="*/ 925183 w 1457148"/>
                <a:gd name="connsiteY34" fmla="*/ 691417 h 3641849"/>
                <a:gd name="connsiteX35" fmla="*/ 797717 w 1457148"/>
                <a:gd name="connsiteY35" fmla="*/ 771575 h 3641849"/>
                <a:gd name="connsiteX36" fmla="*/ 684105 w 1457148"/>
                <a:gd name="connsiteY36" fmla="*/ 779331 h 3641849"/>
                <a:gd name="connsiteX37" fmla="*/ 545552 w 1457148"/>
                <a:gd name="connsiteY37" fmla="*/ 758645 h 3641849"/>
                <a:gd name="connsiteX38" fmla="*/ 454108 w 1457148"/>
                <a:gd name="connsiteY38" fmla="*/ 722445 h 3641849"/>
                <a:gd name="connsiteX39" fmla="*/ 434711 w 1457148"/>
                <a:gd name="connsiteY39" fmla="*/ 750888 h 3641849"/>
                <a:gd name="connsiteX40" fmla="*/ 465353 w 1457148"/>
                <a:gd name="connsiteY40" fmla="*/ 824301 h 3641849"/>
                <a:gd name="connsiteX41" fmla="*/ 470894 w 1457148"/>
                <a:gd name="connsiteY41" fmla="*/ 951000 h 3641849"/>
                <a:gd name="connsiteX42" fmla="*/ 443024 w 1457148"/>
                <a:gd name="connsiteY42" fmla="*/ 1012043 h 3641849"/>
                <a:gd name="connsiteX43" fmla="*/ 498443 w 1457148"/>
                <a:gd name="connsiteY43" fmla="*/ 1032728 h 3641849"/>
                <a:gd name="connsiteX44" fmla="*/ 515071 w 1457148"/>
                <a:gd name="connsiteY44" fmla="*/ 1048242 h 3641849"/>
                <a:gd name="connsiteX45" fmla="*/ 540011 w 1457148"/>
                <a:gd name="connsiteY45" fmla="*/ 1074099 h 3641849"/>
                <a:gd name="connsiteX46" fmla="*/ 537240 w 1457148"/>
                <a:gd name="connsiteY46" fmla="*/ 1076685 h 3641849"/>
                <a:gd name="connsiteX47" fmla="*/ 576033 w 1457148"/>
                <a:gd name="connsiteY47" fmla="*/ 1071514 h 3641849"/>
                <a:gd name="connsiteX48" fmla="*/ 584347 w 1457148"/>
                <a:gd name="connsiteY48" fmla="*/ 1035314 h 3641849"/>
                <a:gd name="connsiteX49" fmla="*/ 545552 w 1457148"/>
                <a:gd name="connsiteY49" fmla="*/ 957743 h 3641849"/>
                <a:gd name="connsiteX50" fmla="*/ 614828 w 1457148"/>
                <a:gd name="connsiteY50" fmla="*/ 911200 h 3641849"/>
                <a:gd name="connsiteX51" fmla="*/ 682600 w 1457148"/>
                <a:gd name="connsiteY51" fmla="*/ 918934 h 3641849"/>
                <a:gd name="connsiteX52" fmla="*/ 706433 w 1457148"/>
                <a:gd name="connsiteY52" fmla="*/ 951001 h 3641849"/>
                <a:gd name="connsiteX53" fmla="*/ 862162 w 1457148"/>
                <a:gd name="connsiteY53" fmla="*/ 1007364 h 3641849"/>
                <a:gd name="connsiteX54" fmla="*/ 847754 w 1457148"/>
                <a:gd name="connsiteY54" fmla="*/ 971687 h 3641849"/>
                <a:gd name="connsiteX55" fmla="*/ 814502 w 1457148"/>
                <a:gd name="connsiteY55" fmla="*/ 932901 h 3641849"/>
                <a:gd name="connsiteX56" fmla="*/ 803418 w 1457148"/>
                <a:gd name="connsiteY56" fmla="*/ 881187 h 3641849"/>
                <a:gd name="connsiteX57" fmla="*/ 842213 w 1457148"/>
                <a:gd name="connsiteY57" fmla="*/ 832060 h 3641849"/>
                <a:gd name="connsiteX58" fmla="*/ 869923 w 1457148"/>
                <a:gd name="connsiteY58" fmla="*/ 803617 h 3641849"/>
                <a:gd name="connsiteX59" fmla="*/ 894863 w 1457148"/>
                <a:gd name="connsiteY59" fmla="*/ 767417 h 3641849"/>
                <a:gd name="connsiteX60" fmla="*/ 975223 w 1457148"/>
                <a:gd name="connsiteY60" fmla="*/ 762245 h 3641849"/>
                <a:gd name="connsiteX61" fmla="*/ 980764 w 1457148"/>
                <a:gd name="connsiteY61" fmla="*/ 741560 h 3641849"/>
                <a:gd name="connsiteX62" fmla="*/ 1005704 w 1457148"/>
                <a:gd name="connsiteY62" fmla="*/ 705360 h 3641849"/>
                <a:gd name="connsiteX63" fmla="*/ 1039508 w 1457148"/>
                <a:gd name="connsiteY63" fmla="*/ 687772 h 3641849"/>
                <a:gd name="connsiteX64" fmla="*/ 1097148 w 1457148"/>
                <a:gd name="connsiteY64" fmla="*/ 700189 h 3641849"/>
                <a:gd name="connsiteX65" fmla="*/ 1135941 w 1457148"/>
                <a:gd name="connsiteY65" fmla="*/ 720875 h 3641849"/>
                <a:gd name="connsiteX66" fmla="*/ 1183049 w 1457148"/>
                <a:gd name="connsiteY66" fmla="*/ 728632 h 3641849"/>
                <a:gd name="connsiteX67" fmla="*/ 1183049 w 1457148"/>
                <a:gd name="connsiteY67" fmla="*/ 733803 h 3641849"/>
                <a:gd name="connsiteX68" fmla="*/ 1205218 w 1457148"/>
                <a:gd name="connsiteY68" fmla="*/ 674332 h 3641849"/>
                <a:gd name="connsiteX69" fmla="*/ 1215193 w 1457148"/>
                <a:gd name="connsiteY69" fmla="*/ 640714 h 3641849"/>
                <a:gd name="connsiteX70" fmla="*/ 1221844 w 1457148"/>
                <a:gd name="connsiteY70" fmla="*/ 622618 h 3641849"/>
                <a:gd name="connsiteX71" fmla="*/ 1224781 w 1457148"/>
                <a:gd name="connsiteY71" fmla="*/ 591288 h 3641849"/>
                <a:gd name="connsiteX72" fmla="*/ 1144255 w 1457148"/>
                <a:gd name="connsiteY72" fmla="*/ 545048 h 3641849"/>
                <a:gd name="connsiteX73" fmla="*/ 1130400 w 1457148"/>
                <a:gd name="connsiteY73" fmla="*/ 472648 h 3641849"/>
                <a:gd name="connsiteX74" fmla="*/ 1130400 w 1457148"/>
                <a:gd name="connsiteY74" fmla="*/ 454548 h 3641849"/>
                <a:gd name="connsiteX75" fmla="*/ 1141483 w 1457148"/>
                <a:gd name="connsiteY75" fmla="*/ 431276 h 3641849"/>
                <a:gd name="connsiteX76" fmla="*/ 1144255 w 1457148"/>
                <a:gd name="connsiteY76" fmla="*/ 415762 h 3641849"/>
                <a:gd name="connsiteX77" fmla="*/ 1144254 w 1457148"/>
                <a:gd name="connsiteY77" fmla="*/ 358878 h 3641849"/>
                <a:gd name="connsiteX78" fmla="*/ 1122086 w 1457148"/>
                <a:gd name="connsiteY78" fmla="*/ 335607 h 3641849"/>
                <a:gd name="connsiteX79" fmla="*/ 1094376 w 1457148"/>
                <a:gd name="connsiteY79" fmla="*/ 304578 h 3641849"/>
                <a:gd name="connsiteX80" fmla="*/ 1090208 w 1457148"/>
                <a:gd name="connsiteY80" fmla="*/ 280325 h 3641849"/>
                <a:gd name="connsiteX81" fmla="*/ 1141484 w 1457148"/>
                <a:gd name="connsiteY81" fmla="*/ 258034 h 3641849"/>
                <a:gd name="connsiteX82" fmla="*/ 1195064 w 1457148"/>
                <a:gd name="connsiteY82" fmla="*/ 267906 h 3641849"/>
                <a:gd name="connsiteX83" fmla="*/ 1273848 w 1457148"/>
                <a:gd name="connsiteY83" fmla="*/ 279816 h 3641849"/>
                <a:gd name="connsiteX84" fmla="*/ 1358171 w 1457148"/>
                <a:gd name="connsiteY84" fmla="*/ 349175 h 3641849"/>
                <a:gd name="connsiteX85" fmla="*/ 1420306 w 1457148"/>
                <a:gd name="connsiteY85" fmla="*/ 425271 h 3641849"/>
                <a:gd name="connsiteX86" fmla="*/ 1319335 w 1457148"/>
                <a:gd name="connsiteY86" fmla="*/ 454265 h 3641849"/>
                <a:gd name="connsiteX87" fmla="*/ 1303801 w 1457148"/>
                <a:gd name="connsiteY87" fmla="*/ 501372 h 3641849"/>
                <a:gd name="connsiteX88" fmla="*/ 1361471 w 1457148"/>
                <a:gd name="connsiteY88" fmla="*/ 585862 h 3641849"/>
                <a:gd name="connsiteX89" fmla="*/ 1397005 w 1457148"/>
                <a:gd name="connsiteY89" fmla="*/ 591964 h 3641849"/>
                <a:gd name="connsiteX90" fmla="*/ 1449625 w 1457148"/>
                <a:gd name="connsiteY90" fmla="*/ 598304 h 3641849"/>
                <a:gd name="connsiteX91" fmla="*/ 1444662 w 1457148"/>
                <a:gd name="connsiteY91" fmla="*/ 709079 h 3641849"/>
                <a:gd name="connsiteX92" fmla="*/ 1455731 w 1457148"/>
                <a:gd name="connsiteY92" fmla="*/ 1040047 h 3641849"/>
                <a:gd name="connsiteX93" fmla="*/ 1446863 w 1457148"/>
                <a:gd name="connsiteY93" fmla="*/ 1842646 h 3641849"/>
                <a:gd name="connsiteX94" fmla="*/ 1455730 w 1457148"/>
                <a:gd name="connsiteY94" fmla="*/ 2297728 h 3641849"/>
                <a:gd name="connsiteX95" fmla="*/ 1429282 w 1457148"/>
                <a:gd name="connsiteY95" fmla="*/ 3607693 h 3641849"/>
                <a:gd name="connsiteX96" fmla="*/ 1170855 w 1457148"/>
                <a:gd name="connsiteY96" fmla="*/ 3564098 h 3641849"/>
                <a:gd name="connsiteX97" fmla="*/ 1002377 w 1457148"/>
                <a:gd name="connsiteY97" fmla="*/ 3497903 h 3641849"/>
                <a:gd name="connsiteX98" fmla="*/ 825031 w 1457148"/>
                <a:gd name="connsiteY98" fmla="*/ 3406887 h 3641849"/>
                <a:gd name="connsiteX99" fmla="*/ 726733 w 1457148"/>
                <a:gd name="connsiteY99" fmla="*/ 3326370 h 3641849"/>
                <a:gd name="connsiteX100" fmla="*/ 1020995 w 1457148"/>
                <a:gd name="connsiteY100" fmla="*/ 3018734 h 3641849"/>
                <a:gd name="connsiteX101" fmla="*/ 737241 w 1457148"/>
                <a:gd name="connsiteY101" fmla="*/ 2480910 h 3641849"/>
                <a:gd name="connsiteX102" fmla="*/ 879591 w 1457148"/>
                <a:gd name="connsiteY102" fmla="*/ 2241825 h 3641849"/>
                <a:gd name="connsiteX103" fmla="*/ 692904 w 1457148"/>
                <a:gd name="connsiteY103" fmla="*/ 1703134 h 3641849"/>
                <a:gd name="connsiteX104" fmla="*/ 444620 w 1457148"/>
                <a:gd name="connsiteY104" fmla="*/ 1471456 h 3641849"/>
                <a:gd name="connsiteX105" fmla="*/ 435753 w 1457148"/>
                <a:gd name="connsiteY105" fmla="*/ 1355617 h 3641849"/>
                <a:gd name="connsiteX0" fmla="*/ 435753 w 1457148"/>
                <a:gd name="connsiteY0" fmla="*/ 1355617 h 3641849"/>
                <a:gd name="connsiteX1" fmla="*/ 237969 w 1457148"/>
                <a:gd name="connsiteY1" fmla="*/ 1257686 h 3641849"/>
                <a:gd name="connsiteX2" fmla="*/ 201945 w 1457148"/>
                <a:gd name="connsiteY2" fmla="*/ 1056002 h 3641849"/>
                <a:gd name="connsiteX3" fmla="*/ 104961 w 1457148"/>
                <a:gd name="connsiteY3" fmla="*/ 1001703 h 3641849"/>
                <a:gd name="connsiteX4" fmla="*/ 96648 w 1457148"/>
                <a:gd name="connsiteY4" fmla="*/ 794845 h 3641849"/>
                <a:gd name="connsiteX5" fmla="*/ 135443 w 1457148"/>
                <a:gd name="connsiteY5" fmla="*/ 779332 h 3641849"/>
                <a:gd name="connsiteX6" fmla="*/ 21830 w 1457148"/>
                <a:gd name="connsiteY6" fmla="*/ 551792 h 3641849"/>
                <a:gd name="connsiteX7" fmla="*/ 80021 w 1457148"/>
                <a:gd name="connsiteY7" fmla="*/ 458707 h 3641849"/>
                <a:gd name="connsiteX8" fmla="*/ 85563 w 1457148"/>
                <a:gd name="connsiteY8" fmla="*/ 378550 h 3641849"/>
                <a:gd name="connsiteX9" fmla="*/ 10744 w 1457148"/>
                <a:gd name="connsiteY9" fmla="*/ 319079 h 3641849"/>
                <a:gd name="connsiteX10" fmla="*/ 2432 w 1457148"/>
                <a:gd name="connsiteY10" fmla="*/ 251851 h 3641849"/>
                <a:gd name="connsiteX11" fmla="*/ 57852 w 1457148"/>
                <a:gd name="connsiteY11" fmla="*/ 158764 h 3641849"/>
                <a:gd name="connsiteX12" fmla="*/ 77250 w 1457148"/>
                <a:gd name="connsiteY12" fmla="*/ 135494 h 3641849"/>
                <a:gd name="connsiteX13" fmla="*/ 91105 w 1457148"/>
                <a:gd name="connsiteY13" fmla="*/ 117394 h 3641849"/>
                <a:gd name="connsiteX14" fmla="*/ 99418 w 1457148"/>
                <a:gd name="connsiteY14" fmla="*/ 73438 h 3641849"/>
                <a:gd name="connsiteX15" fmla="*/ 124357 w 1457148"/>
                <a:gd name="connsiteY15" fmla="*/ 101880 h 3641849"/>
                <a:gd name="connsiteX16" fmla="*/ 154839 w 1457148"/>
                <a:gd name="connsiteY16" fmla="*/ 88952 h 3641849"/>
                <a:gd name="connsiteX17" fmla="*/ 157609 w 1457148"/>
                <a:gd name="connsiteY17" fmla="*/ 63095 h 3641849"/>
                <a:gd name="connsiteX18" fmla="*/ 165923 w 1457148"/>
                <a:gd name="connsiteY18" fmla="*/ 34652 h 3641849"/>
                <a:gd name="connsiteX19" fmla="*/ 168695 w 1457148"/>
                <a:gd name="connsiteY19" fmla="*/ 3624 h 3641849"/>
                <a:gd name="connsiteX20" fmla="*/ 304475 w 1457148"/>
                <a:gd name="connsiteY20" fmla="*/ 57924 h 3641849"/>
                <a:gd name="connsiteX21" fmla="*/ 334955 w 1457148"/>
                <a:gd name="connsiteY21" fmla="*/ 161352 h 3641849"/>
                <a:gd name="connsiteX22" fmla="*/ 348811 w 1457148"/>
                <a:gd name="connsiteY22" fmla="*/ 184622 h 3641849"/>
                <a:gd name="connsiteX23" fmla="*/ 359895 w 1457148"/>
                <a:gd name="connsiteY23" fmla="*/ 187208 h 3641849"/>
                <a:gd name="connsiteX24" fmla="*/ 473507 w 1457148"/>
                <a:gd name="connsiteY24" fmla="*/ 156181 h 3641849"/>
                <a:gd name="connsiteX25" fmla="*/ 540012 w 1457148"/>
                <a:gd name="connsiteY25" fmla="*/ 166522 h 3641849"/>
                <a:gd name="connsiteX26" fmla="*/ 603746 w 1457148"/>
                <a:gd name="connsiteY26" fmla="*/ 213065 h 3641849"/>
                <a:gd name="connsiteX27" fmla="*/ 617773 w 1457148"/>
                <a:gd name="connsiteY27" fmla="*/ 242621 h 3641849"/>
                <a:gd name="connsiteX28" fmla="*/ 673020 w 1457148"/>
                <a:gd name="connsiteY28" fmla="*/ 277708 h 3641849"/>
                <a:gd name="connsiteX29" fmla="*/ 761694 w 1457148"/>
                <a:gd name="connsiteY29" fmla="*/ 303563 h 3641849"/>
                <a:gd name="connsiteX30" fmla="*/ 833740 w 1457148"/>
                <a:gd name="connsiteY30" fmla="*/ 350106 h 3641849"/>
                <a:gd name="connsiteX31" fmla="*/ 883619 w 1457148"/>
                <a:gd name="connsiteY31" fmla="*/ 401820 h 3641849"/>
                <a:gd name="connsiteX32" fmla="*/ 908558 w 1457148"/>
                <a:gd name="connsiteY32" fmla="*/ 440606 h 3641849"/>
                <a:gd name="connsiteX33" fmla="*/ 941811 w 1457148"/>
                <a:gd name="connsiteY33" fmla="*/ 466462 h 3641849"/>
                <a:gd name="connsiteX34" fmla="*/ 925183 w 1457148"/>
                <a:gd name="connsiteY34" fmla="*/ 691417 h 3641849"/>
                <a:gd name="connsiteX35" fmla="*/ 797717 w 1457148"/>
                <a:gd name="connsiteY35" fmla="*/ 771575 h 3641849"/>
                <a:gd name="connsiteX36" fmla="*/ 684105 w 1457148"/>
                <a:gd name="connsiteY36" fmla="*/ 779331 h 3641849"/>
                <a:gd name="connsiteX37" fmla="*/ 545552 w 1457148"/>
                <a:gd name="connsiteY37" fmla="*/ 758645 h 3641849"/>
                <a:gd name="connsiteX38" fmla="*/ 454108 w 1457148"/>
                <a:gd name="connsiteY38" fmla="*/ 722445 h 3641849"/>
                <a:gd name="connsiteX39" fmla="*/ 434711 w 1457148"/>
                <a:gd name="connsiteY39" fmla="*/ 750888 h 3641849"/>
                <a:gd name="connsiteX40" fmla="*/ 465353 w 1457148"/>
                <a:gd name="connsiteY40" fmla="*/ 824301 h 3641849"/>
                <a:gd name="connsiteX41" fmla="*/ 470894 w 1457148"/>
                <a:gd name="connsiteY41" fmla="*/ 951000 h 3641849"/>
                <a:gd name="connsiteX42" fmla="*/ 443024 w 1457148"/>
                <a:gd name="connsiteY42" fmla="*/ 1012043 h 3641849"/>
                <a:gd name="connsiteX43" fmla="*/ 498443 w 1457148"/>
                <a:gd name="connsiteY43" fmla="*/ 1032728 h 3641849"/>
                <a:gd name="connsiteX44" fmla="*/ 515071 w 1457148"/>
                <a:gd name="connsiteY44" fmla="*/ 1048242 h 3641849"/>
                <a:gd name="connsiteX45" fmla="*/ 540011 w 1457148"/>
                <a:gd name="connsiteY45" fmla="*/ 1074099 h 3641849"/>
                <a:gd name="connsiteX46" fmla="*/ 537240 w 1457148"/>
                <a:gd name="connsiteY46" fmla="*/ 1076685 h 3641849"/>
                <a:gd name="connsiteX47" fmla="*/ 576033 w 1457148"/>
                <a:gd name="connsiteY47" fmla="*/ 1071514 h 3641849"/>
                <a:gd name="connsiteX48" fmla="*/ 584347 w 1457148"/>
                <a:gd name="connsiteY48" fmla="*/ 1035314 h 3641849"/>
                <a:gd name="connsiteX49" fmla="*/ 545552 w 1457148"/>
                <a:gd name="connsiteY49" fmla="*/ 957743 h 3641849"/>
                <a:gd name="connsiteX50" fmla="*/ 614828 w 1457148"/>
                <a:gd name="connsiteY50" fmla="*/ 911200 h 3641849"/>
                <a:gd name="connsiteX51" fmla="*/ 682600 w 1457148"/>
                <a:gd name="connsiteY51" fmla="*/ 918934 h 3641849"/>
                <a:gd name="connsiteX52" fmla="*/ 706433 w 1457148"/>
                <a:gd name="connsiteY52" fmla="*/ 951001 h 3641849"/>
                <a:gd name="connsiteX53" fmla="*/ 862162 w 1457148"/>
                <a:gd name="connsiteY53" fmla="*/ 1007364 h 3641849"/>
                <a:gd name="connsiteX54" fmla="*/ 847754 w 1457148"/>
                <a:gd name="connsiteY54" fmla="*/ 971687 h 3641849"/>
                <a:gd name="connsiteX55" fmla="*/ 814502 w 1457148"/>
                <a:gd name="connsiteY55" fmla="*/ 932901 h 3641849"/>
                <a:gd name="connsiteX56" fmla="*/ 803418 w 1457148"/>
                <a:gd name="connsiteY56" fmla="*/ 881187 h 3641849"/>
                <a:gd name="connsiteX57" fmla="*/ 842213 w 1457148"/>
                <a:gd name="connsiteY57" fmla="*/ 832060 h 3641849"/>
                <a:gd name="connsiteX58" fmla="*/ 869923 w 1457148"/>
                <a:gd name="connsiteY58" fmla="*/ 803617 h 3641849"/>
                <a:gd name="connsiteX59" fmla="*/ 894863 w 1457148"/>
                <a:gd name="connsiteY59" fmla="*/ 767417 h 3641849"/>
                <a:gd name="connsiteX60" fmla="*/ 975223 w 1457148"/>
                <a:gd name="connsiteY60" fmla="*/ 762245 h 3641849"/>
                <a:gd name="connsiteX61" fmla="*/ 980764 w 1457148"/>
                <a:gd name="connsiteY61" fmla="*/ 741560 h 3641849"/>
                <a:gd name="connsiteX62" fmla="*/ 1005704 w 1457148"/>
                <a:gd name="connsiteY62" fmla="*/ 705360 h 3641849"/>
                <a:gd name="connsiteX63" fmla="*/ 1039508 w 1457148"/>
                <a:gd name="connsiteY63" fmla="*/ 687772 h 3641849"/>
                <a:gd name="connsiteX64" fmla="*/ 1097148 w 1457148"/>
                <a:gd name="connsiteY64" fmla="*/ 700189 h 3641849"/>
                <a:gd name="connsiteX65" fmla="*/ 1135941 w 1457148"/>
                <a:gd name="connsiteY65" fmla="*/ 720875 h 3641849"/>
                <a:gd name="connsiteX66" fmla="*/ 1183049 w 1457148"/>
                <a:gd name="connsiteY66" fmla="*/ 728632 h 3641849"/>
                <a:gd name="connsiteX67" fmla="*/ 1183049 w 1457148"/>
                <a:gd name="connsiteY67" fmla="*/ 733803 h 3641849"/>
                <a:gd name="connsiteX68" fmla="*/ 1205218 w 1457148"/>
                <a:gd name="connsiteY68" fmla="*/ 674332 h 3641849"/>
                <a:gd name="connsiteX69" fmla="*/ 1215193 w 1457148"/>
                <a:gd name="connsiteY69" fmla="*/ 640714 h 3641849"/>
                <a:gd name="connsiteX70" fmla="*/ 1221844 w 1457148"/>
                <a:gd name="connsiteY70" fmla="*/ 622618 h 3641849"/>
                <a:gd name="connsiteX71" fmla="*/ 1224781 w 1457148"/>
                <a:gd name="connsiteY71" fmla="*/ 591288 h 3641849"/>
                <a:gd name="connsiteX72" fmla="*/ 1144255 w 1457148"/>
                <a:gd name="connsiteY72" fmla="*/ 545048 h 3641849"/>
                <a:gd name="connsiteX73" fmla="*/ 1130400 w 1457148"/>
                <a:gd name="connsiteY73" fmla="*/ 472648 h 3641849"/>
                <a:gd name="connsiteX74" fmla="*/ 1130400 w 1457148"/>
                <a:gd name="connsiteY74" fmla="*/ 454548 h 3641849"/>
                <a:gd name="connsiteX75" fmla="*/ 1141483 w 1457148"/>
                <a:gd name="connsiteY75" fmla="*/ 431276 h 3641849"/>
                <a:gd name="connsiteX76" fmla="*/ 1144255 w 1457148"/>
                <a:gd name="connsiteY76" fmla="*/ 415762 h 3641849"/>
                <a:gd name="connsiteX77" fmla="*/ 1144254 w 1457148"/>
                <a:gd name="connsiteY77" fmla="*/ 358878 h 3641849"/>
                <a:gd name="connsiteX78" fmla="*/ 1122086 w 1457148"/>
                <a:gd name="connsiteY78" fmla="*/ 335607 h 3641849"/>
                <a:gd name="connsiteX79" fmla="*/ 1094376 w 1457148"/>
                <a:gd name="connsiteY79" fmla="*/ 304578 h 3641849"/>
                <a:gd name="connsiteX80" fmla="*/ 1090208 w 1457148"/>
                <a:gd name="connsiteY80" fmla="*/ 280325 h 3641849"/>
                <a:gd name="connsiteX81" fmla="*/ 1141484 w 1457148"/>
                <a:gd name="connsiteY81" fmla="*/ 258034 h 3641849"/>
                <a:gd name="connsiteX82" fmla="*/ 1195064 w 1457148"/>
                <a:gd name="connsiteY82" fmla="*/ 267906 h 3641849"/>
                <a:gd name="connsiteX83" fmla="*/ 1273848 w 1457148"/>
                <a:gd name="connsiteY83" fmla="*/ 279816 h 3641849"/>
                <a:gd name="connsiteX84" fmla="*/ 1358171 w 1457148"/>
                <a:gd name="connsiteY84" fmla="*/ 349175 h 3641849"/>
                <a:gd name="connsiteX85" fmla="*/ 1420306 w 1457148"/>
                <a:gd name="connsiteY85" fmla="*/ 425271 h 3641849"/>
                <a:gd name="connsiteX86" fmla="*/ 1319335 w 1457148"/>
                <a:gd name="connsiteY86" fmla="*/ 454265 h 3641849"/>
                <a:gd name="connsiteX87" fmla="*/ 1303801 w 1457148"/>
                <a:gd name="connsiteY87" fmla="*/ 501372 h 3641849"/>
                <a:gd name="connsiteX88" fmla="*/ 1361471 w 1457148"/>
                <a:gd name="connsiteY88" fmla="*/ 585862 h 3641849"/>
                <a:gd name="connsiteX89" fmla="*/ 1397005 w 1457148"/>
                <a:gd name="connsiteY89" fmla="*/ 591964 h 3641849"/>
                <a:gd name="connsiteX90" fmla="*/ 1449625 w 1457148"/>
                <a:gd name="connsiteY90" fmla="*/ 598304 h 3641849"/>
                <a:gd name="connsiteX91" fmla="*/ 1444662 w 1457148"/>
                <a:gd name="connsiteY91" fmla="*/ 709079 h 3641849"/>
                <a:gd name="connsiteX92" fmla="*/ 1455731 w 1457148"/>
                <a:gd name="connsiteY92" fmla="*/ 1040047 h 3641849"/>
                <a:gd name="connsiteX93" fmla="*/ 1446863 w 1457148"/>
                <a:gd name="connsiteY93" fmla="*/ 1842646 h 3641849"/>
                <a:gd name="connsiteX94" fmla="*/ 1455730 w 1457148"/>
                <a:gd name="connsiteY94" fmla="*/ 2297728 h 3641849"/>
                <a:gd name="connsiteX95" fmla="*/ 1429282 w 1457148"/>
                <a:gd name="connsiteY95" fmla="*/ 3607693 h 3641849"/>
                <a:gd name="connsiteX96" fmla="*/ 1170855 w 1457148"/>
                <a:gd name="connsiteY96" fmla="*/ 3564098 h 3641849"/>
                <a:gd name="connsiteX97" fmla="*/ 1002377 w 1457148"/>
                <a:gd name="connsiteY97" fmla="*/ 3497903 h 3641849"/>
                <a:gd name="connsiteX98" fmla="*/ 825031 w 1457148"/>
                <a:gd name="connsiteY98" fmla="*/ 3406887 h 3641849"/>
                <a:gd name="connsiteX99" fmla="*/ 726733 w 1457148"/>
                <a:gd name="connsiteY99" fmla="*/ 3326370 h 3641849"/>
                <a:gd name="connsiteX100" fmla="*/ 1020995 w 1457148"/>
                <a:gd name="connsiteY100" fmla="*/ 3018734 h 3641849"/>
                <a:gd name="connsiteX101" fmla="*/ 737241 w 1457148"/>
                <a:gd name="connsiteY101" fmla="*/ 2480910 h 3641849"/>
                <a:gd name="connsiteX102" fmla="*/ 879591 w 1457148"/>
                <a:gd name="connsiteY102" fmla="*/ 2241825 h 3641849"/>
                <a:gd name="connsiteX103" fmla="*/ 692904 w 1457148"/>
                <a:gd name="connsiteY103" fmla="*/ 1703134 h 3641849"/>
                <a:gd name="connsiteX104" fmla="*/ 444620 w 1457148"/>
                <a:gd name="connsiteY104" fmla="*/ 1471456 h 3641849"/>
                <a:gd name="connsiteX105" fmla="*/ 435753 w 1457148"/>
                <a:gd name="connsiteY105" fmla="*/ 1355617 h 3641849"/>
                <a:gd name="connsiteX0" fmla="*/ 435753 w 1457148"/>
                <a:gd name="connsiteY0" fmla="*/ 1355617 h 3641849"/>
                <a:gd name="connsiteX1" fmla="*/ 237969 w 1457148"/>
                <a:gd name="connsiteY1" fmla="*/ 1257686 h 3641849"/>
                <a:gd name="connsiteX2" fmla="*/ 201945 w 1457148"/>
                <a:gd name="connsiteY2" fmla="*/ 1056002 h 3641849"/>
                <a:gd name="connsiteX3" fmla="*/ 143755 w 1457148"/>
                <a:gd name="connsiteY3" fmla="*/ 1019802 h 3641849"/>
                <a:gd name="connsiteX4" fmla="*/ 104961 w 1457148"/>
                <a:gd name="connsiteY4" fmla="*/ 1001703 h 3641849"/>
                <a:gd name="connsiteX5" fmla="*/ 96648 w 1457148"/>
                <a:gd name="connsiteY5" fmla="*/ 794845 h 3641849"/>
                <a:gd name="connsiteX6" fmla="*/ 135443 w 1457148"/>
                <a:gd name="connsiteY6" fmla="*/ 779332 h 3641849"/>
                <a:gd name="connsiteX7" fmla="*/ 21830 w 1457148"/>
                <a:gd name="connsiteY7" fmla="*/ 551792 h 3641849"/>
                <a:gd name="connsiteX8" fmla="*/ 80021 w 1457148"/>
                <a:gd name="connsiteY8" fmla="*/ 458707 h 3641849"/>
                <a:gd name="connsiteX9" fmla="*/ 85563 w 1457148"/>
                <a:gd name="connsiteY9" fmla="*/ 378550 h 3641849"/>
                <a:gd name="connsiteX10" fmla="*/ 10744 w 1457148"/>
                <a:gd name="connsiteY10" fmla="*/ 319079 h 3641849"/>
                <a:gd name="connsiteX11" fmla="*/ 2432 w 1457148"/>
                <a:gd name="connsiteY11" fmla="*/ 251851 h 3641849"/>
                <a:gd name="connsiteX12" fmla="*/ 57852 w 1457148"/>
                <a:gd name="connsiteY12" fmla="*/ 158764 h 3641849"/>
                <a:gd name="connsiteX13" fmla="*/ 77250 w 1457148"/>
                <a:gd name="connsiteY13" fmla="*/ 135494 h 3641849"/>
                <a:gd name="connsiteX14" fmla="*/ 91105 w 1457148"/>
                <a:gd name="connsiteY14" fmla="*/ 117394 h 3641849"/>
                <a:gd name="connsiteX15" fmla="*/ 99418 w 1457148"/>
                <a:gd name="connsiteY15" fmla="*/ 73438 h 3641849"/>
                <a:gd name="connsiteX16" fmla="*/ 124357 w 1457148"/>
                <a:gd name="connsiteY16" fmla="*/ 101880 h 3641849"/>
                <a:gd name="connsiteX17" fmla="*/ 154839 w 1457148"/>
                <a:gd name="connsiteY17" fmla="*/ 88952 h 3641849"/>
                <a:gd name="connsiteX18" fmla="*/ 157609 w 1457148"/>
                <a:gd name="connsiteY18" fmla="*/ 63095 h 3641849"/>
                <a:gd name="connsiteX19" fmla="*/ 165923 w 1457148"/>
                <a:gd name="connsiteY19" fmla="*/ 34652 h 3641849"/>
                <a:gd name="connsiteX20" fmla="*/ 168695 w 1457148"/>
                <a:gd name="connsiteY20" fmla="*/ 3624 h 3641849"/>
                <a:gd name="connsiteX21" fmla="*/ 304475 w 1457148"/>
                <a:gd name="connsiteY21" fmla="*/ 57924 h 3641849"/>
                <a:gd name="connsiteX22" fmla="*/ 334955 w 1457148"/>
                <a:gd name="connsiteY22" fmla="*/ 161352 h 3641849"/>
                <a:gd name="connsiteX23" fmla="*/ 348811 w 1457148"/>
                <a:gd name="connsiteY23" fmla="*/ 184622 h 3641849"/>
                <a:gd name="connsiteX24" fmla="*/ 359895 w 1457148"/>
                <a:gd name="connsiteY24" fmla="*/ 187208 h 3641849"/>
                <a:gd name="connsiteX25" fmla="*/ 473507 w 1457148"/>
                <a:gd name="connsiteY25" fmla="*/ 156181 h 3641849"/>
                <a:gd name="connsiteX26" fmla="*/ 540012 w 1457148"/>
                <a:gd name="connsiteY26" fmla="*/ 166522 h 3641849"/>
                <a:gd name="connsiteX27" fmla="*/ 603746 w 1457148"/>
                <a:gd name="connsiteY27" fmla="*/ 213065 h 3641849"/>
                <a:gd name="connsiteX28" fmla="*/ 617773 w 1457148"/>
                <a:gd name="connsiteY28" fmla="*/ 242621 h 3641849"/>
                <a:gd name="connsiteX29" fmla="*/ 673020 w 1457148"/>
                <a:gd name="connsiteY29" fmla="*/ 277708 h 3641849"/>
                <a:gd name="connsiteX30" fmla="*/ 761694 w 1457148"/>
                <a:gd name="connsiteY30" fmla="*/ 303563 h 3641849"/>
                <a:gd name="connsiteX31" fmla="*/ 833740 w 1457148"/>
                <a:gd name="connsiteY31" fmla="*/ 350106 h 3641849"/>
                <a:gd name="connsiteX32" fmla="*/ 883619 w 1457148"/>
                <a:gd name="connsiteY32" fmla="*/ 401820 h 3641849"/>
                <a:gd name="connsiteX33" fmla="*/ 908558 w 1457148"/>
                <a:gd name="connsiteY33" fmla="*/ 440606 h 3641849"/>
                <a:gd name="connsiteX34" fmla="*/ 941811 w 1457148"/>
                <a:gd name="connsiteY34" fmla="*/ 466462 h 3641849"/>
                <a:gd name="connsiteX35" fmla="*/ 925183 w 1457148"/>
                <a:gd name="connsiteY35" fmla="*/ 691417 h 3641849"/>
                <a:gd name="connsiteX36" fmla="*/ 797717 w 1457148"/>
                <a:gd name="connsiteY36" fmla="*/ 771575 h 3641849"/>
                <a:gd name="connsiteX37" fmla="*/ 684105 w 1457148"/>
                <a:gd name="connsiteY37" fmla="*/ 779331 h 3641849"/>
                <a:gd name="connsiteX38" fmla="*/ 545552 w 1457148"/>
                <a:gd name="connsiteY38" fmla="*/ 758645 h 3641849"/>
                <a:gd name="connsiteX39" fmla="*/ 454108 w 1457148"/>
                <a:gd name="connsiteY39" fmla="*/ 722445 h 3641849"/>
                <a:gd name="connsiteX40" fmla="*/ 434711 w 1457148"/>
                <a:gd name="connsiteY40" fmla="*/ 750888 h 3641849"/>
                <a:gd name="connsiteX41" fmla="*/ 465353 w 1457148"/>
                <a:gd name="connsiteY41" fmla="*/ 824301 h 3641849"/>
                <a:gd name="connsiteX42" fmla="*/ 470894 w 1457148"/>
                <a:gd name="connsiteY42" fmla="*/ 951000 h 3641849"/>
                <a:gd name="connsiteX43" fmla="*/ 443024 w 1457148"/>
                <a:gd name="connsiteY43" fmla="*/ 1012043 h 3641849"/>
                <a:gd name="connsiteX44" fmla="*/ 498443 w 1457148"/>
                <a:gd name="connsiteY44" fmla="*/ 1032728 h 3641849"/>
                <a:gd name="connsiteX45" fmla="*/ 515071 w 1457148"/>
                <a:gd name="connsiteY45" fmla="*/ 1048242 h 3641849"/>
                <a:gd name="connsiteX46" fmla="*/ 540011 w 1457148"/>
                <a:gd name="connsiteY46" fmla="*/ 1074099 h 3641849"/>
                <a:gd name="connsiteX47" fmla="*/ 537240 w 1457148"/>
                <a:gd name="connsiteY47" fmla="*/ 1076685 h 3641849"/>
                <a:gd name="connsiteX48" fmla="*/ 576033 w 1457148"/>
                <a:gd name="connsiteY48" fmla="*/ 1071514 h 3641849"/>
                <a:gd name="connsiteX49" fmla="*/ 584347 w 1457148"/>
                <a:gd name="connsiteY49" fmla="*/ 1035314 h 3641849"/>
                <a:gd name="connsiteX50" fmla="*/ 545552 w 1457148"/>
                <a:gd name="connsiteY50" fmla="*/ 957743 h 3641849"/>
                <a:gd name="connsiteX51" fmla="*/ 614828 w 1457148"/>
                <a:gd name="connsiteY51" fmla="*/ 911200 h 3641849"/>
                <a:gd name="connsiteX52" fmla="*/ 682600 w 1457148"/>
                <a:gd name="connsiteY52" fmla="*/ 918934 h 3641849"/>
                <a:gd name="connsiteX53" fmla="*/ 706433 w 1457148"/>
                <a:gd name="connsiteY53" fmla="*/ 951001 h 3641849"/>
                <a:gd name="connsiteX54" fmla="*/ 862162 w 1457148"/>
                <a:gd name="connsiteY54" fmla="*/ 1007364 h 3641849"/>
                <a:gd name="connsiteX55" fmla="*/ 847754 w 1457148"/>
                <a:gd name="connsiteY55" fmla="*/ 971687 h 3641849"/>
                <a:gd name="connsiteX56" fmla="*/ 814502 w 1457148"/>
                <a:gd name="connsiteY56" fmla="*/ 932901 h 3641849"/>
                <a:gd name="connsiteX57" fmla="*/ 803418 w 1457148"/>
                <a:gd name="connsiteY57" fmla="*/ 881187 h 3641849"/>
                <a:gd name="connsiteX58" fmla="*/ 842213 w 1457148"/>
                <a:gd name="connsiteY58" fmla="*/ 832060 h 3641849"/>
                <a:gd name="connsiteX59" fmla="*/ 869923 w 1457148"/>
                <a:gd name="connsiteY59" fmla="*/ 803617 h 3641849"/>
                <a:gd name="connsiteX60" fmla="*/ 894863 w 1457148"/>
                <a:gd name="connsiteY60" fmla="*/ 767417 h 3641849"/>
                <a:gd name="connsiteX61" fmla="*/ 975223 w 1457148"/>
                <a:gd name="connsiteY61" fmla="*/ 762245 h 3641849"/>
                <a:gd name="connsiteX62" fmla="*/ 980764 w 1457148"/>
                <a:gd name="connsiteY62" fmla="*/ 741560 h 3641849"/>
                <a:gd name="connsiteX63" fmla="*/ 1005704 w 1457148"/>
                <a:gd name="connsiteY63" fmla="*/ 705360 h 3641849"/>
                <a:gd name="connsiteX64" fmla="*/ 1039508 w 1457148"/>
                <a:gd name="connsiteY64" fmla="*/ 687772 h 3641849"/>
                <a:gd name="connsiteX65" fmla="*/ 1097148 w 1457148"/>
                <a:gd name="connsiteY65" fmla="*/ 700189 h 3641849"/>
                <a:gd name="connsiteX66" fmla="*/ 1135941 w 1457148"/>
                <a:gd name="connsiteY66" fmla="*/ 720875 h 3641849"/>
                <a:gd name="connsiteX67" fmla="*/ 1183049 w 1457148"/>
                <a:gd name="connsiteY67" fmla="*/ 728632 h 3641849"/>
                <a:gd name="connsiteX68" fmla="*/ 1183049 w 1457148"/>
                <a:gd name="connsiteY68" fmla="*/ 733803 h 3641849"/>
                <a:gd name="connsiteX69" fmla="*/ 1205218 w 1457148"/>
                <a:gd name="connsiteY69" fmla="*/ 674332 h 3641849"/>
                <a:gd name="connsiteX70" fmla="*/ 1215193 w 1457148"/>
                <a:gd name="connsiteY70" fmla="*/ 640714 h 3641849"/>
                <a:gd name="connsiteX71" fmla="*/ 1221844 w 1457148"/>
                <a:gd name="connsiteY71" fmla="*/ 622618 h 3641849"/>
                <a:gd name="connsiteX72" fmla="*/ 1224781 w 1457148"/>
                <a:gd name="connsiteY72" fmla="*/ 591288 h 3641849"/>
                <a:gd name="connsiteX73" fmla="*/ 1144255 w 1457148"/>
                <a:gd name="connsiteY73" fmla="*/ 545048 h 3641849"/>
                <a:gd name="connsiteX74" fmla="*/ 1130400 w 1457148"/>
                <a:gd name="connsiteY74" fmla="*/ 472648 h 3641849"/>
                <a:gd name="connsiteX75" fmla="*/ 1130400 w 1457148"/>
                <a:gd name="connsiteY75" fmla="*/ 454548 h 3641849"/>
                <a:gd name="connsiteX76" fmla="*/ 1141483 w 1457148"/>
                <a:gd name="connsiteY76" fmla="*/ 431276 h 3641849"/>
                <a:gd name="connsiteX77" fmla="*/ 1144255 w 1457148"/>
                <a:gd name="connsiteY77" fmla="*/ 415762 h 3641849"/>
                <a:gd name="connsiteX78" fmla="*/ 1144254 w 1457148"/>
                <a:gd name="connsiteY78" fmla="*/ 358878 h 3641849"/>
                <a:gd name="connsiteX79" fmla="*/ 1122086 w 1457148"/>
                <a:gd name="connsiteY79" fmla="*/ 335607 h 3641849"/>
                <a:gd name="connsiteX80" fmla="*/ 1094376 w 1457148"/>
                <a:gd name="connsiteY80" fmla="*/ 304578 h 3641849"/>
                <a:gd name="connsiteX81" fmla="*/ 1090208 w 1457148"/>
                <a:gd name="connsiteY81" fmla="*/ 280325 h 3641849"/>
                <a:gd name="connsiteX82" fmla="*/ 1141484 w 1457148"/>
                <a:gd name="connsiteY82" fmla="*/ 258034 h 3641849"/>
                <a:gd name="connsiteX83" fmla="*/ 1195064 w 1457148"/>
                <a:gd name="connsiteY83" fmla="*/ 267906 h 3641849"/>
                <a:gd name="connsiteX84" fmla="*/ 1273848 w 1457148"/>
                <a:gd name="connsiteY84" fmla="*/ 279816 h 3641849"/>
                <a:gd name="connsiteX85" fmla="*/ 1358171 w 1457148"/>
                <a:gd name="connsiteY85" fmla="*/ 349175 h 3641849"/>
                <a:gd name="connsiteX86" fmla="*/ 1420306 w 1457148"/>
                <a:gd name="connsiteY86" fmla="*/ 425271 h 3641849"/>
                <a:gd name="connsiteX87" fmla="*/ 1319335 w 1457148"/>
                <a:gd name="connsiteY87" fmla="*/ 454265 h 3641849"/>
                <a:gd name="connsiteX88" fmla="*/ 1303801 w 1457148"/>
                <a:gd name="connsiteY88" fmla="*/ 501372 h 3641849"/>
                <a:gd name="connsiteX89" fmla="*/ 1361471 w 1457148"/>
                <a:gd name="connsiteY89" fmla="*/ 585862 h 3641849"/>
                <a:gd name="connsiteX90" fmla="*/ 1397005 w 1457148"/>
                <a:gd name="connsiteY90" fmla="*/ 591964 h 3641849"/>
                <a:gd name="connsiteX91" fmla="*/ 1449625 w 1457148"/>
                <a:gd name="connsiteY91" fmla="*/ 598304 h 3641849"/>
                <a:gd name="connsiteX92" fmla="*/ 1444662 w 1457148"/>
                <a:gd name="connsiteY92" fmla="*/ 709079 h 3641849"/>
                <a:gd name="connsiteX93" fmla="*/ 1455731 w 1457148"/>
                <a:gd name="connsiteY93" fmla="*/ 1040047 h 3641849"/>
                <a:gd name="connsiteX94" fmla="*/ 1446863 w 1457148"/>
                <a:gd name="connsiteY94" fmla="*/ 1842646 h 3641849"/>
                <a:gd name="connsiteX95" fmla="*/ 1455730 w 1457148"/>
                <a:gd name="connsiteY95" fmla="*/ 2297728 h 3641849"/>
                <a:gd name="connsiteX96" fmla="*/ 1429282 w 1457148"/>
                <a:gd name="connsiteY96" fmla="*/ 3607693 h 3641849"/>
                <a:gd name="connsiteX97" fmla="*/ 1170855 w 1457148"/>
                <a:gd name="connsiteY97" fmla="*/ 3564098 h 3641849"/>
                <a:gd name="connsiteX98" fmla="*/ 1002377 w 1457148"/>
                <a:gd name="connsiteY98" fmla="*/ 3497903 h 3641849"/>
                <a:gd name="connsiteX99" fmla="*/ 825031 w 1457148"/>
                <a:gd name="connsiteY99" fmla="*/ 3406887 h 3641849"/>
                <a:gd name="connsiteX100" fmla="*/ 726733 w 1457148"/>
                <a:gd name="connsiteY100" fmla="*/ 3326370 h 3641849"/>
                <a:gd name="connsiteX101" fmla="*/ 1020995 w 1457148"/>
                <a:gd name="connsiteY101" fmla="*/ 3018734 h 3641849"/>
                <a:gd name="connsiteX102" fmla="*/ 737241 w 1457148"/>
                <a:gd name="connsiteY102" fmla="*/ 2480910 h 3641849"/>
                <a:gd name="connsiteX103" fmla="*/ 879591 w 1457148"/>
                <a:gd name="connsiteY103" fmla="*/ 2241825 h 3641849"/>
                <a:gd name="connsiteX104" fmla="*/ 692904 w 1457148"/>
                <a:gd name="connsiteY104" fmla="*/ 1703134 h 3641849"/>
                <a:gd name="connsiteX105" fmla="*/ 444620 w 1457148"/>
                <a:gd name="connsiteY105" fmla="*/ 1471456 h 3641849"/>
                <a:gd name="connsiteX106" fmla="*/ 435753 w 1457148"/>
                <a:gd name="connsiteY106" fmla="*/ 1355617 h 3641849"/>
                <a:gd name="connsiteX0" fmla="*/ 435753 w 1457148"/>
                <a:gd name="connsiteY0" fmla="*/ 1355617 h 3641849"/>
                <a:gd name="connsiteX1" fmla="*/ 237969 w 1457148"/>
                <a:gd name="connsiteY1" fmla="*/ 1257686 h 3641849"/>
                <a:gd name="connsiteX2" fmla="*/ 201945 w 1457148"/>
                <a:gd name="connsiteY2" fmla="*/ 1056002 h 3641849"/>
                <a:gd name="connsiteX3" fmla="*/ 143755 w 1457148"/>
                <a:gd name="connsiteY3" fmla="*/ 1019802 h 3641849"/>
                <a:gd name="connsiteX4" fmla="*/ 102190 w 1457148"/>
                <a:gd name="connsiteY4" fmla="*/ 991360 h 3641849"/>
                <a:gd name="connsiteX5" fmla="*/ 96648 w 1457148"/>
                <a:gd name="connsiteY5" fmla="*/ 794845 h 3641849"/>
                <a:gd name="connsiteX6" fmla="*/ 135443 w 1457148"/>
                <a:gd name="connsiteY6" fmla="*/ 779332 h 3641849"/>
                <a:gd name="connsiteX7" fmla="*/ 21830 w 1457148"/>
                <a:gd name="connsiteY7" fmla="*/ 551792 h 3641849"/>
                <a:gd name="connsiteX8" fmla="*/ 80021 w 1457148"/>
                <a:gd name="connsiteY8" fmla="*/ 458707 h 3641849"/>
                <a:gd name="connsiteX9" fmla="*/ 85563 w 1457148"/>
                <a:gd name="connsiteY9" fmla="*/ 378550 h 3641849"/>
                <a:gd name="connsiteX10" fmla="*/ 10744 w 1457148"/>
                <a:gd name="connsiteY10" fmla="*/ 319079 h 3641849"/>
                <a:gd name="connsiteX11" fmla="*/ 2432 w 1457148"/>
                <a:gd name="connsiteY11" fmla="*/ 251851 h 3641849"/>
                <a:gd name="connsiteX12" fmla="*/ 57852 w 1457148"/>
                <a:gd name="connsiteY12" fmla="*/ 158764 h 3641849"/>
                <a:gd name="connsiteX13" fmla="*/ 77250 w 1457148"/>
                <a:gd name="connsiteY13" fmla="*/ 135494 h 3641849"/>
                <a:gd name="connsiteX14" fmla="*/ 91105 w 1457148"/>
                <a:gd name="connsiteY14" fmla="*/ 117394 h 3641849"/>
                <a:gd name="connsiteX15" fmla="*/ 99418 w 1457148"/>
                <a:gd name="connsiteY15" fmla="*/ 73438 h 3641849"/>
                <a:gd name="connsiteX16" fmla="*/ 124357 w 1457148"/>
                <a:gd name="connsiteY16" fmla="*/ 101880 h 3641849"/>
                <a:gd name="connsiteX17" fmla="*/ 154839 w 1457148"/>
                <a:gd name="connsiteY17" fmla="*/ 88952 h 3641849"/>
                <a:gd name="connsiteX18" fmla="*/ 157609 w 1457148"/>
                <a:gd name="connsiteY18" fmla="*/ 63095 h 3641849"/>
                <a:gd name="connsiteX19" fmla="*/ 165923 w 1457148"/>
                <a:gd name="connsiteY19" fmla="*/ 34652 h 3641849"/>
                <a:gd name="connsiteX20" fmla="*/ 168695 w 1457148"/>
                <a:gd name="connsiteY20" fmla="*/ 3624 h 3641849"/>
                <a:gd name="connsiteX21" fmla="*/ 304475 w 1457148"/>
                <a:gd name="connsiteY21" fmla="*/ 57924 h 3641849"/>
                <a:gd name="connsiteX22" fmla="*/ 334955 w 1457148"/>
                <a:gd name="connsiteY22" fmla="*/ 161352 h 3641849"/>
                <a:gd name="connsiteX23" fmla="*/ 348811 w 1457148"/>
                <a:gd name="connsiteY23" fmla="*/ 184622 h 3641849"/>
                <a:gd name="connsiteX24" fmla="*/ 359895 w 1457148"/>
                <a:gd name="connsiteY24" fmla="*/ 187208 h 3641849"/>
                <a:gd name="connsiteX25" fmla="*/ 473507 w 1457148"/>
                <a:gd name="connsiteY25" fmla="*/ 156181 h 3641849"/>
                <a:gd name="connsiteX26" fmla="*/ 540012 w 1457148"/>
                <a:gd name="connsiteY26" fmla="*/ 166522 h 3641849"/>
                <a:gd name="connsiteX27" fmla="*/ 603746 w 1457148"/>
                <a:gd name="connsiteY27" fmla="*/ 213065 h 3641849"/>
                <a:gd name="connsiteX28" fmla="*/ 617773 w 1457148"/>
                <a:gd name="connsiteY28" fmla="*/ 242621 h 3641849"/>
                <a:gd name="connsiteX29" fmla="*/ 673020 w 1457148"/>
                <a:gd name="connsiteY29" fmla="*/ 277708 h 3641849"/>
                <a:gd name="connsiteX30" fmla="*/ 761694 w 1457148"/>
                <a:gd name="connsiteY30" fmla="*/ 303563 h 3641849"/>
                <a:gd name="connsiteX31" fmla="*/ 833740 w 1457148"/>
                <a:gd name="connsiteY31" fmla="*/ 350106 h 3641849"/>
                <a:gd name="connsiteX32" fmla="*/ 883619 w 1457148"/>
                <a:gd name="connsiteY32" fmla="*/ 401820 h 3641849"/>
                <a:gd name="connsiteX33" fmla="*/ 908558 w 1457148"/>
                <a:gd name="connsiteY33" fmla="*/ 440606 h 3641849"/>
                <a:gd name="connsiteX34" fmla="*/ 941811 w 1457148"/>
                <a:gd name="connsiteY34" fmla="*/ 466462 h 3641849"/>
                <a:gd name="connsiteX35" fmla="*/ 925183 w 1457148"/>
                <a:gd name="connsiteY35" fmla="*/ 691417 h 3641849"/>
                <a:gd name="connsiteX36" fmla="*/ 797717 w 1457148"/>
                <a:gd name="connsiteY36" fmla="*/ 771575 h 3641849"/>
                <a:gd name="connsiteX37" fmla="*/ 684105 w 1457148"/>
                <a:gd name="connsiteY37" fmla="*/ 779331 h 3641849"/>
                <a:gd name="connsiteX38" fmla="*/ 545552 w 1457148"/>
                <a:gd name="connsiteY38" fmla="*/ 758645 h 3641849"/>
                <a:gd name="connsiteX39" fmla="*/ 454108 w 1457148"/>
                <a:gd name="connsiteY39" fmla="*/ 722445 h 3641849"/>
                <a:gd name="connsiteX40" fmla="*/ 434711 w 1457148"/>
                <a:gd name="connsiteY40" fmla="*/ 750888 h 3641849"/>
                <a:gd name="connsiteX41" fmla="*/ 465353 w 1457148"/>
                <a:gd name="connsiteY41" fmla="*/ 824301 h 3641849"/>
                <a:gd name="connsiteX42" fmla="*/ 470894 w 1457148"/>
                <a:gd name="connsiteY42" fmla="*/ 951000 h 3641849"/>
                <a:gd name="connsiteX43" fmla="*/ 443024 w 1457148"/>
                <a:gd name="connsiteY43" fmla="*/ 1012043 h 3641849"/>
                <a:gd name="connsiteX44" fmla="*/ 498443 w 1457148"/>
                <a:gd name="connsiteY44" fmla="*/ 1032728 h 3641849"/>
                <a:gd name="connsiteX45" fmla="*/ 515071 w 1457148"/>
                <a:gd name="connsiteY45" fmla="*/ 1048242 h 3641849"/>
                <a:gd name="connsiteX46" fmla="*/ 540011 w 1457148"/>
                <a:gd name="connsiteY46" fmla="*/ 1074099 h 3641849"/>
                <a:gd name="connsiteX47" fmla="*/ 537240 w 1457148"/>
                <a:gd name="connsiteY47" fmla="*/ 1076685 h 3641849"/>
                <a:gd name="connsiteX48" fmla="*/ 576033 w 1457148"/>
                <a:gd name="connsiteY48" fmla="*/ 1071514 h 3641849"/>
                <a:gd name="connsiteX49" fmla="*/ 584347 w 1457148"/>
                <a:gd name="connsiteY49" fmla="*/ 1035314 h 3641849"/>
                <a:gd name="connsiteX50" fmla="*/ 545552 w 1457148"/>
                <a:gd name="connsiteY50" fmla="*/ 957743 h 3641849"/>
                <a:gd name="connsiteX51" fmla="*/ 614828 w 1457148"/>
                <a:gd name="connsiteY51" fmla="*/ 911200 h 3641849"/>
                <a:gd name="connsiteX52" fmla="*/ 682600 w 1457148"/>
                <a:gd name="connsiteY52" fmla="*/ 918934 h 3641849"/>
                <a:gd name="connsiteX53" fmla="*/ 706433 w 1457148"/>
                <a:gd name="connsiteY53" fmla="*/ 951001 h 3641849"/>
                <a:gd name="connsiteX54" fmla="*/ 862162 w 1457148"/>
                <a:gd name="connsiteY54" fmla="*/ 1007364 h 3641849"/>
                <a:gd name="connsiteX55" fmla="*/ 847754 w 1457148"/>
                <a:gd name="connsiteY55" fmla="*/ 971687 h 3641849"/>
                <a:gd name="connsiteX56" fmla="*/ 814502 w 1457148"/>
                <a:gd name="connsiteY56" fmla="*/ 932901 h 3641849"/>
                <a:gd name="connsiteX57" fmla="*/ 803418 w 1457148"/>
                <a:gd name="connsiteY57" fmla="*/ 881187 h 3641849"/>
                <a:gd name="connsiteX58" fmla="*/ 842213 w 1457148"/>
                <a:gd name="connsiteY58" fmla="*/ 832060 h 3641849"/>
                <a:gd name="connsiteX59" fmla="*/ 869923 w 1457148"/>
                <a:gd name="connsiteY59" fmla="*/ 803617 h 3641849"/>
                <a:gd name="connsiteX60" fmla="*/ 894863 w 1457148"/>
                <a:gd name="connsiteY60" fmla="*/ 767417 h 3641849"/>
                <a:gd name="connsiteX61" fmla="*/ 975223 w 1457148"/>
                <a:gd name="connsiteY61" fmla="*/ 762245 h 3641849"/>
                <a:gd name="connsiteX62" fmla="*/ 980764 w 1457148"/>
                <a:gd name="connsiteY62" fmla="*/ 741560 h 3641849"/>
                <a:gd name="connsiteX63" fmla="*/ 1005704 w 1457148"/>
                <a:gd name="connsiteY63" fmla="*/ 705360 h 3641849"/>
                <a:gd name="connsiteX64" fmla="*/ 1039508 w 1457148"/>
                <a:gd name="connsiteY64" fmla="*/ 687772 h 3641849"/>
                <a:gd name="connsiteX65" fmla="*/ 1097148 w 1457148"/>
                <a:gd name="connsiteY65" fmla="*/ 700189 h 3641849"/>
                <a:gd name="connsiteX66" fmla="*/ 1135941 w 1457148"/>
                <a:gd name="connsiteY66" fmla="*/ 720875 h 3641849"/>
                <a:gd name="connsiteX67" fmla="*/ 1183049 w 1457148"/>
                <a:gd name="connsiteY67" fmla="*/ 728632 h 3641849"/>
                <a:gd name="connsiteX68" fmla="*/ 1183049 w 1457148"/>
                <a:gd name="connsiteY68" fmla="*/ 733803 h 3641849"/>
                <a:gd name="connsiteX69" fmla="*/ 1205218 w 1457148"/>
                <a:gd name="connsiteY69" fmla="*/ 674332 h 3641849"/>
                <a:gd name="connsiteX70" fmla="*/ 1215193 w 1457148"/>
                <a:gd name="connsiteY70" fmla="*/ 640714 h 3641849"/>
                <a:gd name="connsiteX71" fmla="*/ 1221844 w 1457148"/>
                <a:gd name="connsiteY71" fmla="*/ 622618 h 3641849"/>
                <a:gd name="connsiteX72" fmla="*/ 1224781 w 1457148"/>
                <a:gd name="connsiteY72" fmla="*/ 591288 h 3641849"/>
                <a:gd name="connsiteX73" fmla="*/ 1144255 w 1457148"/>
                <a:gd name="connsiteY73" fmla="*/ 545048 h 3641849"/>
                <a:gd name="connsiteX74" fmla="*/ 1130400 w 1457148"/>
                <a:gd name="connsiteY74" fmla="*/ 472648 h 3641849"/>
                <a:gd name="connsiteX75" fmla="*/ 1130400 w 1457148"/>
                <a:gd name="connsiteY75" fmla="*/ 454548 h 3641849"/>
                <a:gd name="connsiteX76" fmla="*/ 1141483 w 1457148"/>
                <a:gd name="connsiteY76" fmla="*/ 431276 h 3641849"/>
                <a:gd name="connsiteX77" fmla="*/ 1144255 w 1457148"/>
                <a:gd name="connsiteY77" fmla="*/ 415762 h 3641849"/>
                <a:gd name="connsiteX78" fmla="*/ 1144254 w 1457148"/>
                <a:gd name="connsiteY78" fmla="*/ 358878 h 3641849"/>
                <a:gd name="connsiteX79" fmla="*/ 1122086 w 1457148"/>
                <a:gd name="connsiteY79" fmla="*/ 335607 h 3641849"/>
                <a:gd name="connsiteX80" fmla="*/ 1094376 w 1457148"/>
                <a:gd name="connsiteY80" fmla="*/ 304578 h 3641849"/>
                <a:gd name="connsiteX81" fmla="*/ 1090208 w 1457148"/>
                <a:gd name="connsiteY81" fmla="*/ 280325 h 3641849"/>
                <a:gd name="connsiteX82" fmla="*/ 1141484 w 1457148"/>
                <a:gd name="connsiteY82" fmla="*/ 258034 h 3641849"/>
                <a:gd name="connsiteX83" fmla="*/ 1195064 w 1457148"/>
                <a:gd name="connsiteY83" fmla="*/ 267906 h 3641849"/>
                <a:gd name="connsiteX84" fmla="*/ 1273848 w 1457148"/>
                <a:gd name="connsiteY84" fmla="*/ 279816 h 3641849"/>
                <a:gd name="connsiteX85" fmla="*/ 1358171 w 1457148"/>
                <a:gd name="connsiteY85" fmla="*/ 349175 h 3641849"/>
                <a:gd name="connsiteX86" fmla="*/ 1420306 w 1457148"/>
                <a:gd name="connsiteY86" fmla="*/ 425271 h 3641849"/>
                <a:gd name="connsiteX87" fmla="*/ 1319335 w 1457148"/>
                <a:gd name="connsiteY87" fmla="*/ 454265 h 3641849"/>
                <a:gd name="connsiteX88" fmla="*/ 1303801 w 1457148"/>
                <a:gd name="connsiteY88" fmla="*/ 501372 h 3641849"/>
                <a:gd name="connsiteX89" fmla="*/ 1361471 w 1457148"/>
                <a:gd name="connsiteY89" fmla="*/ 585862 h 3641849"/>
                <a:gd name="connsiteX90" fmla="*/ 1397005 w 1457148"/>
                <a:gd name="connsiteY90" fmla="*/ 591964 h 3641849"/>
                <a:gd name="connsiteX91" fmla="*/ 1449625 w 1457148"/>
                <a:gd name="connsiteY91" fmla="*/ 598304 h 3641849"/>
                <a:gd name="connsiteX92" fmla="*/ 1444662 w 1457148"/>
                <a:gd name="connsiteY92" fmla="*/ 709079 h 3641849"/>
                <a:gd name="connsiteX93" fmla="*/ 1455731 w 1457148"/>
                <a:gd name="connsiteY93" fmla="*/ 1040047 h 3641849"/>
                <a:gd name="connsiteX94" fmla="*/ 1446863 w 1457148"/>
                <a:gd name="connsiteY94" fmla="*/ 1842646 h 3641849"/>
                <a:gd name="connsiteX95" fmla="*/ 1455730 w 1457148"/>
                <a:gd name="connsiteY95" fmla="*/ 2297728 h 3641849"/>
                <a:gd name="connsiteX96" fmla="*/ 1429282 w 1457148"/>
                <a:gd name="connsiteY96" fmla="*/ 3607693 h 3641849"/>
                <a:gd name="connsiteX97" fmla="*/ 1170855 w 1457148"/>
                <a:gd name="connsiteY97" fmla="*/ 3564098 h 3641849"/>
                <a:gd name="connsiteX98" fmla="*/ 1002377 w 1457148"/>
                <a:gd name="connsiteY98" fmla="*/ 3497903 h 3641849"/>
                <a:gd name="connsiteX99" fmla="*/ 825031 w 1457148"/>
                <a:gd name="connsiteY99" fmla="*/ 3406887 h 3641849"/>
                <a:gd name="connsiteX100" fmla="*/ 726733 w 1457148"/>
                <a:gd name="connsiteY100" fmla="*/ 3326370 h 3641849"/>
                <a:gd name="connsiteX101" fmla="*/ 1020995 w 1457148"/>
                <a:gd name="connsiteY101" fmla="*/ 3018734 h 3641849"/>
                <a:gd name="connsiteX102" fmla="*/ 737241 w 1457148"/>
                <a:gd name="connsiteY102" fmla="*/ 2480910 h 3641849"/>
                <a:gd name="connsiteX103" fmla="*/ 879591 w 1457148"/>
                <a:gd name="connsiteY103" fmla="*/ 2241825 h 3641849"/>
                <a:gd name="connsiteX104" fmla="*/ 692904 w 1457148"/>
                <a:gd name="connsiteY104" fmla="*/ 1703134 h 3641849"/>
                <a:gd name="connsiteX105" fmla="*/ 444620 w 1457148"/>
                <a:gd name="connsiteY105" fmla="*/ 1471456 h 3641849"/>
                <a:gd name="connsiteX106" fmla="*/ 435753 w 1457148"/>
                <a:gd name="connsiteY106" fmla="*/ 1355617 h 3641849"/>
                <a:gd name="connsiteX0" fmla="*/ 435753 w 1457148"/>
                <a:gd name="connsiteY0" fmla="*/ 1355617 h 3641849"/>
                <a:gd name="connsiteX1" fmla="*/ 237969 w 1457148"/>
                <a:gd name="connsiteY1" fmla="*/ 1257686 h 3641849"/>
                <a:gd name="connsiteX2" fmla="*/ 116044 w 1457148"/>
                <a:gd name="connsiteY2" fmla="*/ 1061174 h 3641849"/>
                <a:gd name="connsiteX3" fmla="*/ 143755 w 1457148"/>
                <a:gd name="connsiteY3" fmla="*/ 1019802 h 3641849"/>
                <a:gd name="connsiteX4" fmla="*/ 102190 w 1457148"/>
                <a:gd name="connsiteY4" fmla="*/ 991360 h 3641849"/>
                <a:gd name="connsiteX5" fmla="*/ 96648 w 1457148"/>
                <a:gd name="connsiteY5" fmla="*/ 794845 h 3641849"/>
                <a:gd name="connsiteX6" fmla="*/ 135443 w 1457148"/>
                <a:gd name="connsiteY6" fmla="*/ 779332 h 3641849"/>
                <a:gd name="connsiteX7" fmla="*/ 21830 w 1457148"/>
                <a:gd name="connsiteY7" fmla="*/ 551792 h 3641849"/>
                <a:gd name="connsiteX8" fmla="*/ 80021 w 1457148"/>
                <a:gd name="connsiteY8" fmla="*/ 458707 h 3641849"/>
                <a:gd name="connsiteX9" fmla="*/ 85563 w 1457148"/>
                <a:gd name="connsiteY9" fmla="*/ 378550 h 3641849"/>
                <a:gd name="connsiteX10" fmla="*/ 10744 w 1457148"/>
                <a:gd name="connsiteY10" fmla="*/ 319079 h 3641849"/>
                <a:gd name="connsiteX11" fmla="*/ 2432 w 1457148"/>
                <a:gd name="connsiteY11" fmla="*/ 251851 h 3641849"/>
                <a:gd name="connsiteX12" fmla="*/ 57852 w 1457148"/>
                <a:gd name="connsiteY12" fmla="*/ 158764 h 3641849"/>
                <a:gd name="connsiteX13" fmla="*/ 77250 w 1457148"/>
                <a:gd name="connsiteY13" fmla="*/ 135494 h 3641849"/>
                <a:gd name="connsiteX14" fmla="*/ 91105 w 1457148"/>
                <a:gd name="connsiteY14" fmla="*/ 117394 h 3641849"/>
                <a:gd name="connsiteX15" fmla="*/ 99418 w 1457148"/>
                <a:gd name="connsiteY15" fmla="*/ 73438 h 3641849"/>
                <a:gd name="connsiteX16" fmla="*/ 124357 w 1457148"/>
                <a:gd name="connsiteY16" fmla="*/ 101880 h 3641849"/>
                <a:gd name="connsiteX17" fmla="*/ 154839 w 1457148"/>
                <a:gd name="connsiteY17" fmla="*/ 88952 h 3641849"/>
                <a:gd name="connsiteX18" fmla="*/ 157609 w 1457148"/>
                <a:gd name="connsiteY18" fmla="*/ 63095 h 3641849"/>
                <a:gd name="connsiteX19" fmla="*/ 165923 w 1457148"/>
                <a:gd name="connsiteY19" fmla="*/ 34652 h 3641849"/>
                <a:gd name="connsiteX20" fmla="*/ 168695 w 1457148"/>
                <a:gd name="connsiteY20" fmla="*/ 3624 h 3641849"/>
                <a:gd name="connsiteX21" fmla="*/ 304475 w 1457148"/>
                <a:gd name="connsiteY21" fmla="*/ 57924 h 3641849"/>
                <a:gd name="connsiteX22" fmla="*/ 334955 w 1457148"/>
                <a:gd name="connsiteY22" fmla="*/ 161352 h 3641849"/>
                <a:gd name="connsiteX23" fmla="*/ 348811 w 1457148"/>
                <a:gd name="connsiteY23" fmla="*/ 184622 h 3641849"/>
                <a:gd name="connsiteX24" fmla="*/ 359895 w 1457148"/>
                <a:gd name="connsiteY24" fmla="*/ 187208 h 3641849"/>
                <a:gd name="connsiteX25" fmla="*/ 473507 w 1457148"/>
                <a:gd name="connsiteY25" fmla="*/ 156181 h 3641849"/>
                <a:gd name="connsiteX26" fmla="*/ 540012 w 1457148"/>
                <a:gd name="connsiteY26" fmla="*/ 166522 h 3641849"/>
                <a:gd name="connsiteX27" fmla="*/ 603746 w 1457148"/>
                <a:gd name="connsiteY27" fmla="*/ 213065 h 3641849"/>
                <a:gd name="connsiteX28" fmla="*/ 617773 w 1457148"/>
                <a:gd name="connsiteY28" fmla="*/ 242621 h 3641849"/>
                <a:gd name="connsiteX29" fmla="*/ 673020 w 1457148"/>
                <a:gd name="connsiteY29" fmla="*/ 277708 h 3641849"/>
                <a:gd name="connsiteX30" fmla="*/ 761694 w 1457148"/>
                <a:gd name="connsiteY30" fmla="*/ 303563 h 3641849"/>
                <a:gd name="connsiteX31" fmla="*/ 833740 w 1457148"/>
                <a:gd name="connsiteY31" fmla="*/ 350106 h 3641849"/>
                <a:gd name="connsiteX32" fmla="*/ 883619 w 1457148"/>
                <a:gd name="connsiteY32" fmla="*/ 401820 h 3641849"/>
                <a:gd name="connsiteX33" fmla="*/ 908558 w 1457148"/>
                <a:gd name="connsiteY33" fmla="*/ 440606 h 3641849"/>
                <a:gd name="connsiteX34" fmla="*/ 941811 w 1457148"/>
                <a:gd name="connsiteY34" fmla="*/ 466462 h 3641849"/>
                <a:gd name="connsiteX35" fmla="*/ 925183 w 1457148"/>
                <a:gd name="connsiteY35" fmla="*/ 691417 h 3641849"/>
                <a:gd name="connsiteX36" fmla="*/ 797717 w 1457148"/>
                <a:gd name="connsiteY36" fmla="*/ 771575 h 3641849"/>
                <a:gd name="connsiteX37" fmla="*/ 684105 w 1457148"/>
                <a:gd name="connsiteY37" fmla="*/ 779331 h 3641849"/>
                <a:gd name="connsiteX38" fmla="*/ 545552 w 1457148"/>
                <a:gd name="connsiteY38" fmla="*/ 758645 h 3641849"/>
                <a:gd name="connsiteX39" fmla="*/ 454108 w 1457148"/>
                <a:gd name="connsiteY39" fmla="*/ 722445 h 3641849"/>
                <a:gd name="connsiteX40" fmla="*/ 434711 w 1457148"/>
                <a:gd name="connsiteY40" fmla="*/ 750888 h 3641849"/>
                <a:gd name="connsiteX41" fmla="*/ 465353 w 1457148"/>
                <a:gd name="connsiteY41" fmla="*/ 824301 h 3641849"/>
                <a:gd name="connsiteX42" fmla="*/ 470894 w 1457148"/>
                <a:gd name="connsiteY42" fmla="*/ 951000 h 3641849"/>
                <a:gd name="connsiteX43" fmla="*/ 443024 w 1457148"/>
                <a:gd name="connsiteY43" fmla="*/ 1012043 h 3641849"/>
                <a:gd name="connsiteX44" fmla="*/ 498443 w 1457148"/>
                <a:gd name="connsiteY44" fmla="*/ 1032728 h 3641849"/>
                <a:gd name="connsiteX45" fmla="*/ 515071 w 1457148"/>
                <a:gd name="connsiteY45" fmla="*/ 1048242 h 3641849"/>
                <a:gd name="connsiteX46" fmla="*/ 540011 w 1457148"/>
                <a:gd name="connsiteY46" fmla="*/ 1074099 h 3641849"/>
                <a:gd name="connsiteX47" fmla="*/ 537240 w 1457148"/>
                <a:gd name="connsiteY47" fmla="*/ 1076685 h 3641849"/>
                <a:gd name="connsiteX48" fmla="*/ 576033 w 1457148"/>
                <a:gd name="connsiteY48" fmla="*/ 1071514 h 3641849"/>
                <a:gd name="connsiteX49" fmla="*/ 584347 w 1457148"/>
                <a:gd name="connsiteY49" fmla="*/ 1035314 h 3641849"/>
                <a:gd name="connsiteX50" fmla="*/ 545552 w 1457148"/>
                <a:gd name="connsiteY50" fmla="*/ 957743 h 3641849"/>
                <a:gd name="connsiteX51" fmla="*/ 614828 w 1457148"/>
                <a:gd name="connsiteY51" fmla="*/ 911200 h 3641849"/>
                <a:gd name="connsiteX52" fmla="*/ 682600 w 1457148"/>
                <a:gd name="connsiteY52" fmla="*/ 918934 h 3641849"/>
                <a:gd name="connsiteX53" fmla="*/ 706433 w 1457148"/>
                <a:gd name="connsiteY53" fmla="*/ 951001 h 3641849"/>
                <a:gd name="connsiteX54" fmla="*/ 862162 w 1457148"/>
                <a:gd name="connsiteY54" fmla="*/ 1007364 h 3641849"/>
                <a:gd name="connsiteX55" fmla="*/ 847754 w 1457148"/>
                <a:gd name="connsiteY55" fmla="*/ 971687 h 3641849"/>
                <a:gd name="connsiteX56" fmla="*/ 814502 w 1457148"/>
                <a:gd name="connsiteY56" fmla="*/ 932901 h 3641849"/>
                <a:gd name="connsiteX57" fmla="*/ 803418 w 1457148"/>
                <a:gd name="connsiteY57" fmla="*/ 881187 h 3641849"/>
                <a:gd name="connsiteX58" fmla="*/ 842213 w 1457148"/>
                <a:gd name="connsiteY58" fmla="*/ 832060 h 3641849"/>
                <a:gd name="connsiteX59" fmla="*/ 869923 w 1457148"/>
                <a:gd name="connsiteY59" fmla="*/ 803617 h 3641849"/>
                <a:gd name="connsiteX60" fmla="*/ 894863 w 1457148"/>
                <a:gd name="connsiteY60" fmla="*/ 767417 h 3641849"/>
                <a:gd name="connsiteX61" fmla="*/ 975223 w 1457148"/>
                <a:gd name="connsiteY61" fmla="*/ 762245 h 3641849"/>
                <a:gd name="connsiteX62" fmla="*/ 980764 w 1457148"/>
                <a:gd name="connsiteY62" fmla="*/ 741560 h 3641849"/>
                <a:gd name="connsiteX63" fmla="*/ 1005704 w 1457148"/>
                <a:gd name="connsiteY63" fmla="*/ 705360 h 3641849"/>
                <a:gd name="connsiteX64" fmla="*/ 1039508 w 1457148"/>
                <a:gd name="connsiteY64" fmla="*/ 687772 h 3641849"/>
                <a:gd name="connsiteX65" fmla="*/ 1097148 w 1457148"/>
                <a:gd name="connsiteY65" fmla="*/ 700189 h 3641849"/>
                <a:gd name="connsiteX66" fmla="*/ 1135941 w 1457148"/>
                <a:gd name="connsiteY66" fmla="*/ 720875 h 3641849"/>
                <a:gd name="connsiteX67" fmla="*/ 1183049 w 1457148"/>
                <a:gd name="connsiteY67" fmla="*/ 728632 h 3641849"/>
                <a:gd name="connsiteX68" fmla="*/ 1183049 w 1457148"/>
                <a:gd name="connsiteY68" fmla="*/ 733803 h 3641849"/>
                <a:gd name="connsiteX69" fmla="*/ 1205218 w 1457148"/>
                <a:gd name="connsiteY69" fmla="*/ 674332 h 3641849"/>
                <a:gd name="connsiteX70" fmla="*/ 1215193 w 1457148"/>
                <a:gd name="connsiteY70" fmla="*/ 640714 h 3641849"/>
                <a:gd name="connsiteX71" fmla="*/ 1221844 w 1457148"/>
                <a:gd name="connsiteY71" fmla="*/ 622618 h 3641849"/>
                <a:gd name="connsiteX72" fmla="*/ 1224781 w 1457148"/>
                <a:gd name="connsiteY72" fmla="*/ 591288 h 3641849"/>
                <a:gd name="connsiteX73" fmla="*/ 1144255 w 1457148"/>
                <a:gd name="connsiteY73" fmla="*/ 545048 h 3641849"/>
                <a:gd name="connsiteX74" fmla="*/ 1130400 w 1457148"/>
                <a:gd name="connsiteY74" fmla="*/ 472648 h 3641849"/>
                <a:gd name="connsiteX75" fmla="*/ 1130400 w 1457148"/>
                <a:gd name="connsiteY75" fmla="*/ 454548 h 3641849"/>
                <a:gd name="connsiteX76" fmla="*/ 1141483 w 1457148"/>
                <a:gd name="connsiteY76" fmla="*/ 431276 h 3641849"/>
                <a:gd name="connsiteX77" fmla="*/ 1144255 w 1457148"/>
                <a:gd name="connsiteY77" fmla="*/ 415762 h 3641849"/>
                <a:gd name="connsiteX78" fmla="*/ 1144254 w 1457148"/>
                <a:gd name="connsiteY78" fmla="*/ 358878 h 3641849"/>
                <a:gd name="connsiteX79" fmla="*/ 1122086 w 1457148"/>
                <a:gd name="connsiteY79" fmla="*/ 335607 h 3641849"/>
                <a:gd name="connsiteX80" fmla="*/ 1094376 w 1457148"/>
                <a:gd name="connsiteY80" fmla="*/ 304578 h 3641849"/>
                <a:gd name="connsiteX81" fmla="*/ 1090208 w 1457148"/>
                <a:gd name="connsiteY81" fmla="*/ 280325 h 3641849"/>
                <a:gd name="connsiteX82" fmla="*/ 1141484 w 1457148"/>
                <a:gd name="connsiteY82" fmla="*/ 258034 h 3641849"/>
                <a:gd name="connsiteX83" fmla="*/ 1195064 w 1457148"/>
                <a:gd name="connsiteY83" fmla="*/ 267906 h 3641849"/>
                <a:gd name="connsiteX84" fmla="*/ 1273848 w 1457148"/>
                <a:gd name="connsiteY84" fmla="*/ 279816 h 3641849"/>
                <a:gd name="connsiteX85" fmla="*/ 1358171 w 1457148"/>
                <a:gd name="connsiteY85" fmla="*/ 349175 h 3641849"/>
                <a:gd name="connsiteX86" fmla="*/ 1420306 w 1457148"/>
                <a:gd name="connsiteY86" fmla="*/ 425271 h 3641849"/>
                <a:gd name="connsiteX87" fmla="*/ 1319335 w 1457148"/>
                <a:gd name="connsiteY87" fmla="*/ 454265 h 3641849"/>
                <a:gd name="connsiteX88" fmla="*/ 1303801 w 1457148"/>
                <a:gd name="connsiteY88" fmla="*/ 501372 h 3641849"/>
                <a:gd name="connsiteX89" fmla="*/ 1361471 w 1457148"/>
                <a:gd name="connsiteY89" fmla="*/ 585862 h 3641849"/>
                <a:gd name="connsiteX90" fmla="*/ 1397005 w 1457148"/>
                <a:gd name="connsiteY90" fmla="*/ 591964 h 3641849"/>
                <a:gd name="connsiteX91" fmla="*/ 1449625 w 1457148"/>
                <a:gd name="connsiteY91" fmla="*/ 598304 h 3641849"/>
                <a:gd name="connsiteX92" fmla="*/ 1444662 w 1457148"/>
                <a:gd name="connsiteY92" fmla="*/ 709079 h 3641849"/>
                <a:gd name="connsiteX93" fmla="*/ 1455731 w 1457148"/>
                <a:gd name="connsiteY93" fmla="*/ 1040047 h 3641849"/>
                <a:gd name="connsiteX94" fmla="*/ 1446863 w 1457148"/>
                <a:gd name="connsiteY94" fmla="*/ 1842646 h 3641849"/>
                <a:gd name="connsiteX95" fmla="*/ 1455730 w 1457148"/>
                <a:gd name="connsiteY95" fmla="*/ 2297728 h 3641849"/>
                <a:gd name="connsiteX96" fmla="*/ 1429282 w 1457148"/>
                <a:gd name="connsiteY96" fmla="*/ 3607693 h 3641849"/>
                <a:gd name="connsiteX97" fmla="*/ 1170855 w 1457148"/>
                <a:gd name="connsiteY97" fmla="*/ 3564098 h 3641849"/>
                <a:gd name="connsiteX98" fmla="*/ 1002377 w 1457148"/>
                <a:gd name="connsiteY98" fmla="*/ 3497903 h 3641849"/>
                <a:gd name="connsiteX99" fmla="*/ 825031 w 1457148"/>
                <a:gd name="connsiteY99" fmla="*/ 3406887 h 3641849"/>
                <a:gd name="connsiteX100" fmla="*/ 726733 w 1457148"/>
                <a:gd name="connsiteY100" fmla="*/ 3326370 h 3641849"/>
                <a:gd name="connsiteX101" fmla="*/ 1020995 w 1457148"/>
                <a:gd name="connsiteY101" fmla="*/ 3018734 h 3641849"/>
                <a:gd name="connsiteX102" fmla="*/ 737241 w 1457148"/>
                <a:gd name="connsiteY102" fmla="*/ 2480910 h 3641849"/>
                <a:gd name="connsiteX103" fmla="*/ 879591 w 1457148"/>
                <a:gd name="connsiteY103" fmla="*/ 2241825 h 3641849"/>
                <a:gd name="connsiteX104" fmla="*/ 692904 w 1457148"/>
                <a:gd name="connsiteY104" fmla="*/ 1703134 h 3641849"/>
                <a:gd name="connsiteX105" fmla="*/ 444620 w 1457148"/>
                <a:gd name="connsiteY105" fmla="*/ 1471456 h 3641849"/>
                <a:gd name="connsiteX106" fmla="*/ 435753 w 1457148"/>
                <a:gd name="connsiteY106" fmla="*/ 1355617 h 3641849"/>
                <a:gd name="connsiteX0" fmla="*/ 435753 w 1457148"/>
                <a:gd name="connsiteY0" fmla="*/ 1355617 h 3641849"/>
                <a:gd name="connsiteX1" fmla="*/ 237969 w 1457148"/>
                <a:gd name="connsiteY1" fmla="*/ 1257686 h 3641849"/>
                <a:gd name="connsiteX2" fmla="*/ 116044 w 1457148"/>
                <a:gd name="connsiteY2" fmla="*/ 1061174 h 3641849"/>
                <a:gd name="connsiteX3" fmla="*/ 143755 w 1457148"/>
                <a:gd name="connsiteY3" fmla="*/ 1019802 h 3641849"/>
                <a:gd name="connsiteX4" fmla="*/ 96649 w 1457148"/>
                <a:gd name="connsiteY4" fmla="*/ 993947 h 3641849"/>
                <a:gd name="connsiteX5" fmla="*/ 96648 w 1457148"/>
                <a:gd name="connsiteY5" fmla="*/ 794845 h 3641849"/>
                <a:gd name="connsiteX6" fmla="*/ 135443 w 1457148"/>
                <a:gd name="connsiteY6" fmla="*/ 779332 h 3641849"/>
                <a:gd name="connsiteX7" fmla="*/ 21830 w 1457148"/>
                <a:gd name="connsiteY7" fmla="*/ 551792 h 3641849"/>
                <a:gd name="connsiteX8" fmla="*/ 80021 w 1457148"/>
                <a:gd name="connsiteY8" fmla="*/ 458707 h 3641849"/>
                <a:gd name="connsiteX9" fmla="*/ 85563 w 1457148"/>
                <a:gd name="connsiteY9" fmla="*/ 378550 h 3641849"/>
                <a:gd name="connsiteX10" fmla="*/ 10744 w 1457148"/>
                <a:gd name="connsiteY10" fmla="*/ 319079 h 3641849"/>
                <a:gd name="connsiteX11" fmla="*/ 2432 w 1457148"/>
                <a:gd name="connsiteY11" fmla="*/ 251851 h 3641849"/>
                <a:gd name="connsiteX12" fmla="*/ 57852 w 1457148"/>
                <a:gd name="connsiteY12" fmla="*/ 158764 h 3641849"/>
                <a:gd name="connsiteX13" fmla="*/ 77250 w 1457148"/>
                <a:gd name="connsiteY13" fmla="*/ 135494 h 3641849"/>
                <a:gd name="connsiteX14" fmla="*/ 91105 w 1457148"/>
                <a:gd name="connsiteY14" fmla="*/ 117394 h 3641849"/>
                <a:gd name="connsiteX15" fmla="*/ 99418 w 1457148"/>
                <a:gd name="connsiteY15" fmla="*/ 73438 h 3641849"/>
                <a:gd name="connsiteX16" fmla="*/ 124357 w 1457148"/>
                <a:gd name="connsiteY16" fmla="*/ 101880 h 3641849"/>
                <a:gd name="connsiteX17" fmla="*/ 154839 w 1457148"/>
                <a:gd name="connsiteY17" fmla="*/ 88952 h 3641849"/>
                <a:gd name="connsiteX18" fmla="*/ 157609 w 1457148"/>
                <a:gd name="connsiteY18" fmla="*/ 63095 h 3641849"/>
                <a:gd name="connsiteX19" fmla="*/ 165923 w 1457148"/>
                <a:gd name="connsiteY19" fmla="*/ 34652 h 3641849"/>
                <a:gd name="connsiteX20" fmla="*/ 168695 w 1457148"/>
                <a:gd name="connsiteY20" fmla="*/ 3624 h 3641849"/>
                <a:gd name="connsiteX21" fmla="*/ 304475 w 1457148"/>
                <a:gd name="connsiteY21" fmla="*/ 57924 h 3641849"/>
                <a:gd name="connsiteX22" fmla="*/ 334955 w 1457148"/>
                <a:gd name="connsiteY22" fmla="*/ 161352 h 3641849"/>
                <a:gd name="connsiteX23" fmla="*/ 348811 w 1457148"/>
                <a:gd name="connsiteY23" fmla="*/ 184622 h 3641849"/>
                <a:gd name="connsiteX24" fmla="*/ 359895 w 1457148"/>
                <a:gd name="connsiteY24" fmla="*/ 187208 h 3641849"/>
                <a:gd name="connsiteX25" fmla="*/ 473507 w 1457148"/>
                <a:gd name="connsiteY25" fmla="*/ 156181 h 3641849"/>
                <a:gd name="connsiteX26" fmla="*/ 540012 w 1457148"/>
                <a:gd name="connsiteY26" fmla="*/ 166522 h 3641849"/>
                <a:gd name="connsiteX27" fmla="*/ 603746 w 1457148"/>
                <a:gd name="connsiteY27" fmla="*/ 213065 h 3641849"/>
                <a:gd name="connsiteX28" fmla="*/ 617773 w 1457148"/>
                <a:gd name="connsiteY28" fmla="*/ 242621 h 3641849"/>
                <a:gd name="connsiteX29" fmla="*/ 673020 w 1457148"/>
                <a:gd name="connsiteY29" fmla="*/ 277708 h 3641849"/>
                <a:gd name="connsiteX30" fmla="*/ 761694 w 1457148"/>
                <a:gd name="connsiteY30" fmla="*/ 303563 h 3641849"/>
                <a:gd name="connsiteX31" fmla="*/ 833740 w 1457148"/>
                <a:gd name="connsiteY31" fmla="*/ 350106 h 3641849"/>
                <a:gd name="connsiteX32" fmla="*/ 883619 w 1457148"/>
                <a:gd name="connsiteY32" fmla="*/ 401820 h 3641849"/>
                <a:gd name="connsiteX33" fmla="*/ 908558 w 1457148"/>
                <a:gd name="connsiteY33" fmla="*/ 440606 h 3641849"/>
                <a:gd name="connsiteX34" fmla="*/ 941811 w 1457148"/>
                <a:gd name="connsiteY34" fmla="*/ 466462 h 3641849"/>
                <a:gd name="connsiteX35" fmla="*/ 925183 w 1457148"/>
                <a:gd name="connsiteY35" fmla="*/ 691417 h 3641849"/>
                <a:gd name="connsiteX36" fmla="*/ 797717 w 1457148"/>
                <a:gd name="connsiteY36" fmla="*/ 771575 h 3641849"/>
                <a:gd name="connsiteX37" fmla="*/ 684105 w 1457148"/>
                <a:gd name="connsiteY37" fmla="*/ 779331 h 3641849"/>
                <a:gd name="connsiteX38" fmla="*/ 545552 w 1457148"/>
                <a:gd name="connsiteY38" fmla="*/ 758645 h 3641849"/>
                <a:gd name="connsiteX39" fmla="*/ 454108 w 1457148"/>
                <a:gd name="connsiteY39" fmla="*/ 722445 h 3641849"/>
                <a:gd name="connsiteX40" fmla="*/ 434711 w 1457148"/>
                <a:gd name="connsiteY40" fmla="*/ 750888 h 3641849"/>
                <a:gd name="connsiteX41" fmla="*/ 465353 w 1457148"/>
                <a:gd name="connsiteY41" fmla="*/ 824301 h 3641849"/>
                <a:gd name="connsiteX42" fmla="*/ 470894 w 1457148"/>
                <a:gd name="connsiteY42" fmla="*/ 951000 h 3641849"/>
                <a:gd name="connsiteX43" fmla="*/ 443024 w 1457148"/>
                <a:gd name="connsiteY43" fmla="*/ 1012043 h 3641849"/>
                <a:gd name="connsiteX44" fmla="*/ 498443 w 1457148"/>
                <a:gd name="connsiteY44" fmla="*/ 1032728 h 3641849"/>
                <a:gd name="connsiteX45" fmla="*/ 515071 w 1457148"/>
                <a:gd name="connsiteY45" fmla="*/ 1048242 h 3641849"/>
                <a:gd name="connsiteX46" fmla="*/ 540011 w 1457148"/>
                <a:gd name="connsiteY46" fmla="*/ 1074099 h 3641849"/>
                <a:gd name="connsiteX47" fmla="*/ 537240 w 1457148"/>
                <a:gd name="connsiteY47" fmla="*/ 1076685 h 3641849"/>
                <a:gd name="connsiteX48" fmla="*/ 576033 w 1457148"/>
                <a:gd name="connsiteY48" fmla="*/ 1071514 h 3641849"/>
                <a:gd name="connsiteX49" fmla="*/ 584347 w 1457148"/>
                <a:gd name="connsiteY49" fmla="*/ 1035314 h 3641849"/>
                <a:gd name="connsiteX50" fmla="*/ 545552 w 1457148"/>
                <a:gd name="connsiteY50" fmla="*/ 957743 h 3641849"/>
                <a:gd name="connsiteX51" fmla="*/ 614828 w 1457148"/>
                <a:gd name="connsiteY51" fmla="*/ 911200 h 3641849"/>
                <a:gd name="connsiteX52" fmla="*/ 682600 w 1457148"/>
                <a:gd name="connsiteY52" fmla="*/ 918934 h 3641849"/>
                <a:gd name="connsiteX53" fmla="*/ 706433 w 1457148"/>
                <a:gd name="connsiteY53" fmla="*/ 951001 h 3641849"/>
                <a:gd name="connsiteX54" fmla="*/ 862162 w 1457148"/>
                <a:gd name="connsiteY54" fmla="*/ 1007364 h 3641849"/>
                <a:gd name="connsiteX55" fmla="*/ 847754 w 1457148"/>
                <a:gd name="connsiteY55" fmla="*/ 971687 h 3641849"/>
                <a:gd name="connsiteX56" fmla="*/ 814502 w 1457148"/>
                <a:gd name="connsiteY56" fmla="*/ 932901 h 3641849"/>
                <a:gd name="connsiteX57" fmla="*/ 803418 w 1457148"/>
                <a:gd name="connsiteY57" fmla="*/ 881187 h 3641849"/>
                <a:gd name="connsiteX58" fmla="*/ 842213 w 1457148"/>
                <a:gd name="connsiteY58" fmla="*/ 832060 h 3641849"/>
                <a:gd name="connsiteX59" fmla="*/ 869923 w 1457148"/>
                <a:gd name="connsiteY59" fmla="*/ 803617 h 3641849"/>
                <a:gd name="connsiteX60" fmla="*/ 894863 w 1457148"/>
                <a:gd name="connsiteY60" fmla="*/ 767417 h 3641849"/>
                <a:gd name="connsiteX61" fmla="*/ 975223 w 1457148"/>
                <a:gd name="connsiteY61" fmla="*/ 762245 h 3641849"/>
                <a:gd name="connsiteX62" fmla="*/ 980764 w 1457148"/>
                <a:gd name="connsiteY62" fmla="*/ 741560 h 3641849"/>
                <a:gd name="connsiteX63" fmla="*/ 1005704 w 1457148"/>
                <a:gd name="connsiteY63" fmla="*/ 705360 h 3641849"/>
                <a:gd name="connsiteX64" fmla="*/ 1039508 w 1457148"/>
                <a:gd name="connsiteY64" fmla="*/ 687772 h 3641849"/>
                <a:gd name="connsiteX65" fmla="*/ 1097148 w 1457148"/>
                <a:gd name="connsiteY65" fmla="*/ 700189 h 3641849"/>
                <a:gd name="connsiteX66" fmla="*/ 1135941 w 1457148"/>
                <a:gd name="connsiteY66" fmla="*/ 720875 h 3641849"/>
                <a:gd name="connsiteX67" fmla="*/ 1183049 w 1457148"/>
                <a:gd name="connsiteY67" fmla="*/ 728632 h 3641849"/>
                <a:gd name="connsiteX68" fmla="*/ 1183049 w 1457148"/>
                <a:gd name="connsiteY68" fmla="*/ 733803 h 3641849"/>
                <a:gd name="connsiteX69" fmla="*/ 1205218 w 1457148"/>
                <a:gd name="connsiteY69" fmla="*/ 674332 h 3641849"/>
                <a:gd name="connsiteX70" fmla="*/ 1215193 w 1457148"/>
                <a:gd name="connsiteY70" fmla="*/ 640714 h 3641849"/>
                <a:gd name="connsiteX71" fmla="*/ 1221844 w 1457148"/>
                <a:gd name="connsiteY71" fmla="*/ 622618 h 3641849"/>
                <a:gd name="connsiteX72" fmla="*/ 1224781 w 1457148"/>
                <a:gd name="connsiteY72" fmla="*/ 591288 h 3641849"/>
                <a:gd name="connsiteX73" fmla="*/ 1144255 w 1457148"/>
                <a:gd name="connsiteY73" fmla="*/ 545048 h 3641849"/>
                <a:gd name="connsiteX74" fmla="*/ 1130400 w 1457148"/>
                <a:gd name="connsiteY74" fmla="*/ 472648 h 3641849"/>
                <a:gd name="connsiteX75" fmla="*/ 1130400 w 1457148"/>
                <a:gd name="connsiteY75" fmla="*/ 454548 h 3641849"/>
                <a:gd name="connsiteX76" fmla="*/ 1141483 w 1457148"/>
                <a:gd name="connsiteY76" fmla="*/ 431276 h 3641849"/>
                <a:gd name="connsiteX77" fmla="*/ 1144255 w 1457148"/>
                <a:gd name="connsiteY77" fmla="*/ 415762 h 3641849"/>
                <a:gd name="connsiteX78" fmla="*/ 1144254 w 1457148"/>
                <a:gd name="connsiteY78" fmla="*/ 358878 h 3641849"/>
                <a:gd name="connsiteX79" fmla="*/ 1122086 w 1457148"/>
                <a:gd name="connsiteY79" fmla="*/ 335607 h 3641849"/>
                <a:gd name="connsiteX80" fmla="*/ 1094376 w 1457148"/>
                <a:gd name="connsiteY80" fmla="*/ 304578 h 3641849"/>
                <a:gd name="connsiteX81" fmla="*/ 1090208 w 1457148"/>
                <a:gd name="connsiteY81" fmla="*/ 280325 h 3641849"/>
                <a:gd name="connsiteX82" fmla="*/ 1141484 w 1457148"/>
                <a:gd name="connsiteY82" fmla="*/ 258034 h 3641849"/>
                <a:gd name="connsiteX83" fmla="*/ 1195064 w 1457148"/>
                <a:gd name="connsiteY83" fmla="*/ 267906 h 3641849"/>
                <a:gd name="connsiteX84" fmla="*/ 1273848 w 1457148"/>
                <a:gd name="connsiteY84" fmla="*/ 279816 h 3641849"/>
                <a:gd name="connsiteX85" fmla="*/ 1358171 w 1457148"/>
                <a:gd name="connsiteY85" fmla="*/ 349175 h 3641849"/>
                <a:gd name="connsiteX86" fmla="*/ 1420306 w 1457148"/>
                <a:gd name="connsiteY86" fmla="*/ 425271 h 3641849"/>
                <a:gd name="connsiteX87" fmla="*/ 1319335 w 1457148"/>
                <a:gd name="connsiteY87" fmla="*/ 454265 h 3641849"/>
                <a:gd name="connsiteX88" fmla="*/ 1303801 w 1457148"/>
                <a:gd name="connsiteY88" fmla="*/ 501372 h 3641849"/>
                <a:gd name="connsiteX89" fmla="*/ 1361471 w 1457148"/>
                <a:gd name="connsiteY89" fmla="*/ 585862 h 3641849"/>
                <a:gd name="connsiteX90" fmla="*/ 1397005 w 1457148"/>
                <a:gd name="connsiteY90" fmla="*/ 591964 h 3641849"/>
                <a:gd name="connsiteX91" fmla="*/ 1449625 w 1457148"/>
                <a:gd name="connsiteY91" fmla="*/ 598304 h 3641849"/>
                <a:gd name="connsiteX92" fmla="*/ 1444662 w 1457148"/>
                <a:gd name="connsiteY92" fmla="*/ 709079 h 3641849"/>
                <a:gd name="connsiteX93" fmla="*/ 1455731 w 1457148"/>
                <a:gd name="connsiteY93" fmla="*/ 1040047 h 3641849"/>
                <a:gd name="connsiteX94" fmla="*/ 1446863 w 1457148"/>
                <a:gd name="connsiteY94" fmla="*/ 1842646 h 3641849"/>
                <a:gd name="connsiteX95" fmla="*/ 1455730 w 1457148"/>
                <a:gd name="connsiteY95" fmla="*/ 2297728 h 3641849"/>
                <a:gd name="connsiteX96" fmla="*/ 1429282 w 1457148"/>
                <a:gd name="connsiteY96" fmla="*/ 3607693 h 3641849"/>
                <a:gd name="connsiteX97" fmla="*/ 1170855 w 1457148"/>
                <a:gd name="connsiteY97" fmla="*/ 3564098 h 3641849"/>
                <a:gd name="connsiteX98" fmla="*/ 1002377 w 1457148"/>
                <a:gd name="connsiteY98" fmla="*/ 3497903 h 3641849"/>
                <a:gd name="connsiteX99" fmla="*/ 825031 w 1457148"/>
                <a:gd name="connsiteY99" fmla="*/ 3406887 h 3641849"/>
                <a:gd name="connsiteX100" fmla="*/ 726733 w 1457148"/>
                <a:gd name="connsiteY100" fmla="*/ 3326370 h 3641849"/>
                <a:gd name="connsiteX101" fmla="*/ 1020995 w 1457148"/>
                <a:gd name="connsiteY101" fmla="*/ 3018734 h 3641849"/>
                <a:gd name="connsiteX102" fmla="*/ 737241 w 1457148"/>
                <a:gd name="connsiteY102" fmla="*/ 2480910 h 3641849"/>
                <a:gd name="connsiteX103" fmla="*/ 879591 w 1457148"/>
                <a:gd name="connsiteY103" fmla="*/ 2241825 h 3641849"/>
                <a:gd name="connsiteX104" fmla="*/ 692904 w 1457148"/>
                <a:gd name="connsiteY104" fmla="*/ 1703134 h 3641849"/>
                <a:gd name="connsiteX105" fmla="*/ 444620 w 1457148"/>
                <a:gd name="connsiteY105" fmla="*/ 1471456 h 3641849"/>
                <a:gd name="connsiteX106" fmla="*/ 435753 w 1457148"/>
                <a:gd name="connsiteY106" fmla="*/ 1355617 h 3641849"/>
                <a:gd name="connsiteX0" fmla="*/ 435753 w 1457148"/>
                <a:gd name="connsiteY0" fmla="*/ 1355617 h 3641849"/>
                <a:gd name="connsiteX1" fmla="*/ 237969 w 1457148"/>
                <a:gd name="connsiteY1" fmla="*/ 1257686 h 3641849"/>
                <a:gd name="connsiteX2" fmla="*/ 229657 w 1457148"/>
                <a:gd name="connsiteY2" fmla="*/ 1079274 h 3641849"/>
                <a:gd name="connsiteX3" fmla="*/ 143755 w 1457148"/>
                <a:gd name="connsiteY3" fmla="*/ 1019802 h 3641849"/>
                <a:gd name="connsiteX4" fmla="*/ 96649 w 1457148"/>
                <a:gd name="connsiteY4" fmla="*/ 993947 h 3641849"/>
                <a:gd name="connsiteX5" fmla="*/ 96648 w 1457148"/>
                <a:gd name="connsiteY5" fmla="*/ 794845 h 3641849"/>
                <a:gd name="connsiteX6" fmla="*/ 135443 w 1457148"/>
                <a:gd name="connsiteY6" fmla="*/ 779332 h 3641849"/>
                <a:gd name="connsiteX7" fmla="*/ 21830 w 1457148"/>
                <a:gd name="connsiteY7" fmla="*/ 551792 h 3641849"/>
                <a:gd name="connsiteX8" fmla="*/ 80021 w 1457148"/>
                <a:gd name="connsiteY8" fmla="*/ 458707 h 3641849"/>
                <a:gd name="connsiteX9" fmla="*/ 85563 w 1457148"/>
                <a:gd name="connsiteY9" fmla="*/ 378550 h 3641849"/>
                <a:gd name="connsiteX10" fmla="*/ 10744 w 1457148"/>
                <a:gd name="connsiteY10" fmla="*/ 319079 h 3641849"/>
                <a:gd name="connsiteX11" fmla="*/ 2432 w 1457148"/>
                <a:gd name="connsiteY11" fmla="*/ 251851 h 3641849"/>
                <a:gd name="connsiteX12" fmla="*/ 57852 w 1457148"/>
                <a:gd name="connsiteY12" fmla="*/ 158764 h 3641849"/>
                <a:gd name="connsiteX13" fmla="*/ 77250 w 1457148"/>
                <a:gd name="connsiteY13" fmla="*/ 135494 h 3641849"/>
                <a:gd name="connsiteX14" fmla="*/ 91105 w 1457148"/>
                <a:gd name="connsiteY14" fmla="*/ 117394 h 3641849"/>
                <a:gd name="connsiteX15" fmla="*/ 99418 w 1457148"/>
                <a:gd name="connsiteY15" fmla="*/ 73438 h 3641849"/>
                <a:gd name="connsiteX16" fmla="*/ 124357 w 1457148"/>
                <a:gd name="connsiteY16" fmla="*/ 101880 h 3641849"/>
                <a:gd name="connsiteX17" fmla="*/ 154839 w 1457148"/>
                <a:gd name="connsiteY17" fmla="*/ 88952 h 3641849"/>
                <a:gd name="connsiteX18" fmla="*/ 157609 w 1457148"/>
                <a:gd name="connsiteY18" fmla="*/ 63095 h 3641849"/>
                <a:gd name="connsiteX19" fmla="*/ 165923 w 1457148"/>
                <a:gd name="connsiteY19" fmla="*/ 34652 h 3641849"/>
                <a:gd name="connsiteX20" fmla="*/ 168695 w 1457148"/>
                <a:gd name="connsiteY20" fmla="*/ 3624 h 3641849"/>
                <a:gd name="connsiteX21" fmla="*/ 304475 w 1457148"/>
                <a:gd name="connsiteY21" fmla="*/ 57924 h 3641849"/>
                <a:gd name="connsiteX22" fmla="*/ 334955 w 1457148"/>
                <a:gd name="connsiteY22" fmla="*/ 161352 h 3641849"/>
                <a:gd name="connsiteX23" fmla="*/ 348811 w 1457148"/>
                <a:gd name="connsiteY23" fmla="*/ 184622 h 3641849"/>
                <a:gd name="connsiteX24" fmla="*/ 359895 w 1457148"/>
                <a:gd name="connsiteY24" fmla="*/ 187208 h 3641849"/>
                <a:gd name="connsiteX25" fmla="*/ 473507 w 1457148"/>
                <a:gd name="connsiteY25" fmla="*/ 156181 h 3641849"/>
                <a:gd name="connsiteX26" fmla="*/ 540012 w 1457148"/>
                <a:gd name="connsiteY26" fmla="*/ 166522 h 3641849"/>
                <a:gd name="connsiteX27" fmla="*/ 603746 w 1457148"/>
                <a:gd name="connsiteY27" fmla="*/ 213065 h 3641849"/>
                <a:gd name="connsiteX28" fmla="*/ 617773 w 1457148"/>
                <a:gd name="connsiteY28" fmla="*/ 242621 h 3641849"/>
                <a:gd name="connsiteX29" fmla="*/ 673020 w 1457148"/>
                <a:gd name="connsiteY29" fmla="*/ 277708 h 3641849"/>
                <a:gd name="connsiteX30" fmla="*/ 761694 w 1457148"/>
                <a:gd name="connsiteY30" fmla="*/ 303563 h 3641849"/>
                <a:gd name="connsiteX31" fmla="*/ 833740 w 1457148"/>
                <a:gd name="connsiteY31" fmla="*/ 350106 h 3641849"/>
                <a:gd name="connsiteX32" fmla="*/ 883619 w 1457148"/>
                <a:gd name="connsiteY32" fmla="*/ 401820 h 3641849"/>
                <a:gd name="connsiteX33" fmla="*/ 908558 w 1457148"/>
                <a:gd name="connsiteY33" fmla="*/ 440606 h 3641849"/>
                <a:gd name="connsiteX34" fmla="*/ 941811 w 1457148"/>
                <a:gd name="connsiteY34" fmla="*/ 466462 h 3641849"/>
                <a:gd name="connsiteX35" fmla="*/ 925183 w 1457148"/>
                <a:gd name="connsiteY35" fmla="*/ 691417 h 3641849"/>
                <a:gd name="connsiteX36" fmla="*/ 797717 w 1457148"/>
                <a:gd name="connsiteY36" fmla="*/ 771575 h 3641849"/>
                <a:gd name="connsiteX37" fmla="*/ 684105 w 1457148"/>
                <a:gd name="connsiteY37" fmla="*/ 779331 h 3641849"/>
                <a:gd name="connsiteX38" fmla="*/ 545552 w 1457148"/>
                <a:gd name="connsiteY38" fmla="*/ 758645 h 3641849"/>
                <a:gd name="connsiteX39" fmla="*/ 454108 w 1457148"/>
                <a:gd name="connsiteY39" fmla="*/ 722445 h 3641849"/>
                <a:gd name="connsiteX40" fmla="*/ 434711 w 1457148"/>
                <a:gd name="connsiteY40" fmla="*/ 750888 h 3641849"/>
                <a:gd name="connsiteX41" fmla="*/ 465353 w 1457148"/>
                <a:gd name="connsiteY41" fmla="*/ 824301 h 3641849"/>
                <a:gd name="connsiteX42" fmla="*/ 470894 w 1457148"/>
                <a:gd name="connsiteY42" fmla="*/ 951000 h 3641849"/>
                <a:gd name="connsiteX43" fmla="*/ 443024 w 1457148"/>
                <a:gd name="connsiteY43" fmla="*/ 1012043 h 3641849"/>
                <a:gd name="connsiteX44" fmla="*/ 498443 w 1457148"/>
                <a:gd name="connsiteY44" fmla="*/ 1032728 h 3641849"/>
                <a:gd name="connsiteX45" fmla="*/ 515071 w 1457148"/>
                <a:gd name="connsiteY45" fmla="*/ 1048242 h 3641849"/>
                <a:gd name="connsiteX46" fmla="*/ 540011 w 1457148"/>
                <a:gd name="connsiteY46" fmla="*/ 1074099 h 3641849"/>
                <a:gd name="connsiteX47" fmla="*/ 537240 w 1457148"/>
                <a:gd name="connsiteY47" fmla="*/ 1076685 h 3641849"/>
                <a:gd name="connsiteX48" fmla="*/ 576033 w 1457148"/>
                <a:gd name="connsiteY48" fmla="*/ 1071514 h 3641849"/>
                <a:gd name="connsiteX49" fmla="*/ 584347 w 1457148"/>
                <a:gd name="connsiteY49" fmla="*/ 1035314 h 3641849"/>
                <a:gd name="connsiteX50" fmla="*/ 545552 w 1457148"/>
                <a:gd name="connsiteY50" fmla="*/ 957743 h 3641849"/>
                <a:gd name="connsiteX51" fmla="*/ 614828 w 1457148"/>
                <a:gd name="connsiteY51" fmla="*/ 911200 h 3641849"/>
                <a:gd name="connsiteX52" fmla="*/ 682600 w 1457148"/>
                <a:gd name="connsiteY52" fmla="*/ 918934 h 3641849"/>
                <a:gd name="connsiteX53" fmla="*/ 706433 w 1457148"/>
                <a:gd name="connsiteY53" fmla="*/ 951001 h 3641849"/>
                <a:gd name="connsiteX54" fmla="*/ 862162 w 1457148"/>
                <a:gd name="connsiteY54" fmla="*/ 1007364 h 3641849"/>
                <a:gd name="connsiteX55" fmla="*/ 847754 w 1457148"/>
                <a:gd name="connsiteY55" fmla="*/ 971687 h 3641849"/>
                <a:gd name="connsiteX56" fmla="*/ 814502 w 1457148"/>
                <a:gd name="connsiteY56" fmla="*/ 932901 h 3641849"/>
                <a:gd name="connsiteX57" fmla="*/ 803418 w 1457148"/>
                <a:gd name="connsiteY57" fmla="*/ 881187 h 3641849"/>
                <a:gd name="connsiteX58" fmla="*/ 842213 w 1457148"/>
                <a:gd name="connsiteY58" fmla="*/ 832060 h 3641849"/>
                <a:gd name="connsiteX59" fmla="*/ 869923 w 1457148"/>
                <a:gd name="connsiteY59" fmla="*/ 803617 h 3641849"/>
                <a:gd name="connsiteX60" fmla="*/ 894863 w 1457148"/>
                <a:gd name="connsiteY60" fmla="*/ 767417 h 3641849"/>
                <a:gd name="connsiteX61" fmla="*/ 975223 w 1457148"/>
                <a:gd name="connsiteY61" fmla="*/ 762245 h 3641849"/>
                <a:gd name="connsiteX62" fmla="*/ 980764 w 1457148"/>
                <a:gd name="connsiteY62" fmla="*/ 741560 h 3641849"/>
                <a:gd name="connsiteX63" fmla="*/ 1005704 w 1457148"/>
                <a:gd name="connsiteY63" fmla="*/ 705360 h 3641849"/>
                <a:gd name="connsiteX64" fmla="*/ 1039508 w 1457148"/>
                <a:gd name="connsiteY64" fmla="*/ 687772 h 3641849"/>
                <a:gd name="connsiteX65" fmla="*/ 1097148 w 1457148"/>
                <a:gd name="connsiteY65" fmla="*/ 700189 h 3641849"/>
                <a:gd name="connsiteX66" fmla="*/ 1135941 w 1457148"/>
                <a:gd name="connsiteY66" fmla="*/ 720875 h 3641849"/>
                <a:gd name="connsiteX67" fmla="*/ 1183049 w 1457148"/>
                <a:gd name="connsiteY67" fmla="*/ 728632 h 3641849"/>
                <a:gd name="connsiteX68" fmla="*/ 1183049 w 1457148"/>
                <a:gd name="connsiteY68" fmla="*/ 733803 h 3641849"/>
                <a:gd name="connsiteX69" fmla="*/ 1205218 w 1457148"/>
                <a:gd name="connsiteY69" fmla="*/ 674332 h 3641849"/>
                <a:gd name="connsiteX70" fmla="*/ 1215193 w 1457148"/>
                <a:gd name="connsiteY70" fmla="*/ 640714 h 3641849"/>
                <a:gd name="connsiteX71" fmla="*/ 1221844 w 1457148"/>
                <a:gd name="connsiteY71" fmla="*/ 622618 h 3641849"/>
                <a:gd name="connsiteX72" fmla="*/ 1224781 w 1457148"/>
                <a:gd name="connsiteY72" fmla="*/ 591288 h 3641849"/>
                <a:gd name="connsiteX73" fmla="*/ 1144255 w 1457148"/>
                <a:gd name="connsiteY73" fmla="*/ 545048 h 3641849"/>
                <a:gd name="connsiteX74" fmla="*/ 1130400 w 1457148"/>
                <a:gd name="connsiteY74" fmla="*/ 472648 h 3641849"/>
                <a:gd name="connsiteX75" fmla="*/ 1130400 w 1457148"/>
                <a:gd name="connsiteY75" fmla="*/ 454548 h 3641849"/>
                <a:gd name="connsiteX76" fmla="*/ 1141483 w 1457148"/>
                <a:gd name="connsiteY76" fmla="*/ 431276 h 3641849"/>
                <a:gd name="connsiteX77" fmla="*/ 1144255 w 1457148"/>
                <a:gd name="connsiteY77" fmla="*/ 415762 h 3641849"/>
                <a:gd name="connsiteX78" fmla="*/ 1144254 w 1457148"/>
                <a:gd name="connsiteY78" fmla="*/ 358878 h 3641849"/>
                <a:gd name="connsiteX79" fmla="*/ 1122086 w 1457148"/>
                <a:gd name="connsiteY79" fmla="*/ 335607 h 3641849"/>
                <a:gd name="connsiteX80" fmla="*/ 1094376 w 1457148"/>
                <a:gd name="connsiteY80" fmla="*/ 304578 h 3641849"/>
                <a:gd name="connsiteX81" fmla="*/ 1090208 w 1457148"/>
                <a:gd name="connsiteY81" fmla="*/ 280325 h 3641849"/>
                <a:gd name="connsiteX82" fmla="*/ 1141484 w 1457148"/>
                <a:gd name="connsiteY82" fmla="*/ 258034 h 3641849"/>
                <a:gd name="connsiteX83" fmla="*/ 1195064 w 1457148"/>
                <a:gd name="connsiteY83" fmla="*/ 267906 h 3641849"/>
                <a:gd name="connsiteX84" fmla="*/ 1273848 w 1457148"/>
                <a:gd name="connsiteY84" fmla="*/ 279816 h 3641849"/>
                <a:gd name="connsiteX85" fmla="*/ 1358171 w 1457148"/>
                <a:gd name="connsiteY85" fmla="*/ 349175 h 3641849"/>
                <a:gd name="connsiteX86" fmla="*/ 1420306 w 1457148"/>
                <a:gd name="connsiteY86" fmla="*/ 425271 h 3641849"/>
                <a:gd name="connsiteX87" fmla="*/ 1319335 w 1457148"/>
                <a:gd name="connsiteY87" fmla="*/ 454265 h 3641849"/>
                <a:gd name="connsiteX88" fmla="*/ 1303801 w 1457148"/>
                <a:gd name="connsiteY88" fmla="*/ 501372 h 3641849"/>
                <a:gd name="connsiteX89" fmla="*/ 1361471 w 1457148"/>
                <a:gd name="connsiteY89" fmla="*/ 585862 h 3641849"/>
                <a:gd name="connsiteX90" fmla="*/ 1397005 w 1457148"/>
                <a:gd name="connsiteY90" fmla="*/ 591964 h 3641849"/>
                <a:gd name="connsiteX91" fmla="*/ 1449625 w 1457148"/>
                <a:gd name="connsiteY91" fmla="*/ 598304 h 3641849"/>
                <a:gd name="connsiteX92" fmla="*/ 1444662 w 1457148"/>
                <a:gd name="connsiteY92" fmla="*/ 709079 h 3641849"/>
                <a:gd name="connsiteX93" fmla="*/ 1455731 w 1457148"/>
                <a:gd name="connsiteY93" fmla="*/ 1040047 h 3641849"/>
                <a:gd name="connsiteX94" fmla="*/ 1446863 w 1457148"/>
                <a:gd name="connsiteY94" fmla="*/ 1842646 h 3641849"/>
                <a:gd name="connsiteX95" fmla="*/ 1455730 w 1457148"/>
                <a:gd name="connsiteY95" fmla="*/ 2297728 h 3641849"/>
                <a:gd name="connsiteX96" fmla="*/ 1429282 w 1457148"/>
                <a:gd name="connsiteY96" fmla="*/ 3607693 h 3641849"/>
                <a:gd name="connsiteX97" fmla="*/ 1170855 w 1457148"/>
                <a:gd name="connsiteY97" fmla="*/ 3564098 h 3641849"/>
                <a:gd name="connsiteX98" fmla="*/ 1002377 w 1457148"/>
                <a:gd name="connsiteY98" fmla="*/ 3497903 h 3641849"/>
                <a:gd name="connsiteX99" fmla="*/ 825031 w 1457148"/>
                <a:gd name="connsiteY99" fmla="*/ 3406887 h 3641849"/>
                <a:gd name="connsiteX100" fmla="*/ 726733 w 1457148"/>
                <a:gd name="connsiteY100" fmla="*/ 3326370 h 3641849"/>
                <a:gd name="connsiteX101" fmla="*/ 1020995 w 1457148"/>
                <a:gd name="connsiteY101" fmla="*/ 3018734 h 3641849"/>
                <a:gd name="connsiteX102" fmla="*/ 737241 w 1457148"/>
                <a:gd name="connsiteY102" fmla="*/ 2480910 h 3641849"/>
                <a:gd name="connsiteX103" fmla="*/ 879591 w 1457148"/>
                <a:gd name="connsiteY103" fmla="*/ 2241825 h 3641849"/>
                <a:gd name="connsiteX104" fmla="*/ 692904 w 1457148"/>
                <a:gd name="connsiteY104" fmla="*/ 1703134 h 3641849"/>
                <a:gd name="connsiteX105" fmla="*/ 444620 w 1457148"/>
                <a:gd name="connsiteY105" fmla="*/ 1471456 h 3641849"/>
                <a:gd name="connsiteX106" fmla="*/ 435753 w 1457148"/>
                <a:gd name="connsiteY106" fmla="*/ 1355617 h 3641849"/>
                <a:gd name="connsiteX0" fmla="*/ 435753 w 1457148"/>
                <a:gd name="connsiteY0" fmla="*/ 1355617 h 3641849"/>
                <a:gd name="connsiteX1" fmla="*/ 237969 w 1457148"/>
                <a:gd name="connsiteY1" fmla="*/ 1257686 h 3641849"/>
                <a:gd name="connsiteX2" fmla="*/ 229657 w 1457148"/>
                <a:gd name="connsiteY2" fmla="*/ 1079274 h 3641849"/>
                <a:gd name="connsiteX3" fmla="*/ 143755 w 1457148"/>
                <a:gd name="connsiteY3" fmla="*/ 1019802 h 3641849"/>
                <a:gd name="connsiteX4" fmla="*/ 96649 w 1457148"/>
                <a:gd name="connsiteY4" fmla="*/ 993947 h 3641849"/>
                <a:gd name="connsiteX5" fmla="*/ 96648 w 1457148"/>
                <a:gd name="connsiteY5" fmla="*/ 794845 h 3641849"/>
                <a:gd name="connsiteX6" fmla="*/ 135443 w 1457148"/>
                <a:gd name="connsiteY6" fmla="*/ 779332 h 3641849"/>
                <a:gd name="connsiteX7" fmla="*/ 21830 w 1457148"/>
                <a:gd name="connsiteY7" fmla="*/ 551792 h 3641849"/>
                <a:gd name="connsiteX8" fmla="*/ 80021 w 1457148"/>
                <a:gd name="connsiteY8" fmla="*/ 458707 h 3641849"/>
                <a:gd name="connsiteX9" fmla="*/ 85563 w 1457148"/>
                <a:gd name="connsiteY9" fmla="*/ 378550 h 3641849"/>
                <a:gd name="connsiteX10" fmla="*/ 10744 w 1457148"/>
                <a:gd name="connsiteY10" fmla="*/ 319079 h 3641849"/>
                <a:gd name="connsiteX11" fmla="*/ 2432 w 1457148"/>
                <a:gd name="connsiteY11" fmla="*/ 251851 h 3641849"/>
                <a:gd name="connsiteX12" fmla="*/ 57852 w 1457148"/>
                <a:gd name="connsiteY12" fmla="*/ 158764 h 3641849"/>
                <a:gd name="connsiteX13" fmla="*/ 77250 w 1457148"/>
                <a:gd name="connsiteY13" fmla="*/ 135494 h 3641849"/>
                <a:gd name="connsiteX14" fmla="*/ 91105 w 1457148"/>
                <a:gd name="connsiteY14" fmla="*/ 117394 h 3641849"/>
                <a:gd name="connsiteX15" fmla="*/ 99418 w 1457148"/>
                <a:gd name="connsiteY15" fmla="*/ 73438 h 3641849"/>
                <a:gd name="connsiteX16" fmla="*/ 124357 w 1457148"/>
                <a:gd name="connsiteY16" fmla="*/ 101880 h 3641849"/>
                <a:gd name="connsiteX17" fmla="*/ 154839 w 1457148"/>
                <a:gd name="connsiteY17" fmla="*/ 88952 h 3641849"/>
                <a:gd name="connsiteX18" fmla="*/ 157609 w 1457148"/>
                <a:gd name="connsiteY18" fmla="*/ 63095 h 3641849"/>
                <a:gd name="connsiteX19" fmla="*/ 165923 w 1457148"/>
                <a:gd name="connsiteY19" fmla="*/ 34652 h 3641849"/>
                <a:gd name="connsiteX20" fmla="*/ 168695 w 1457148"/>
                <a:gd name="connsiteY20" fmla="*/ 3624 h 3641849"/>
                <a:gd name="connsiteX21" fmla="*/ 304475 w 1457148"/>
                <a:gd name="connsiteY21" fmla="*/ 57924 h 3641849"/>
                <a:gd name="connsiteX22" fmla="*/ 334955 w 1457148"/>
                <a:gd name="connsiteY22" fmla="*/ 161352 h 3641849"/>
                <a:gd name="connsiteX23" fmla="*/ 348811 w 1457148"/>
                <a:gd name="connsiteY23" fmla="*/ 184622 h 3641849"/>
                <a:gd name="connsiteX24" fmla="*/ 359895 w 1457148"/>
                <a:gd name="connsiteY24" fmla="*/ 187208 h 3641849"/>
                <a:gd name="connsiteX25" fmla="*/ 473507 w 1457148"/>
                <a:gd name="connsiteY25" fmla="*/ 156181 h 3641849"/>
                <a:gd name="connsiteX26" fmla="*/ 540012 w 1457148"/>
                <a:gd name="connsiteY26" fmla="*/ 166522 h 3641849"/>
                <a:gd name="connsiteX27" fmla="*/ 603746 w 1457148"/>
                <a:gd name="connsiteY27" fmla="*/ 213065 h 3641849"/>
                <a:gd name="connsiteX28" fmla="*/ 617773 w 1457148"/>
                <a:gd name="connsiteY28" fmla="*/ 242621 h 3641849"/>
                <a:gd name="connsiteX29" fmla="*/ 673020 w 1457148"/>
                <a:gd name="connsiteY29" fmla="*/ 277708 h 3641849"/>
                <a:gd name="connsiteX30" fmla="*/ 761694 w 1457148"/>
                <a:gd name="connsiteY30" fmla="*/ 303563 h 3641849"/>
                <a:gd name="connsiteX31" fmla="*/ 833740 w 1457148"/>
                <a:gd name="connsiteY31" fmla="*/ 350106 h 3641849"/>
                <a:gd name="connsiteX32" fmla="*/ 883619 w 1457148"/>
                <a:gd name="connsiteY32" fmla="*/ 401820 h 3641849"/>
                <a:gd name="connsiteX33" fmla="*/ 908558 w 1457148"/>
                <a:gd name="connsiteY33" fmla="*/ 440606 h 3641849"/>
                <a:gd name="connsiteX34" fmla="*/ 941811 w 1457148"/>
                <a:gd name="connsiteY34" fmla="*/ 466462 h 3641849"/>
                <a:gd name="connsiteX35" fmla="*/ 925183 w 1457148"/>
                <a:gd name="connsiteY35" fmla="*/ 691417 h 3641849"/>
                <a:gd name="connsiteX36" fmla="*/ 797717 w 1457148"/>
                <a:gd name="connsiteY36" fmla="*/ 771575 h 3641849"/>
                <a:gd name="connsiteX37" fmla="*/ 684105 w 1457148"/>
                <a:gd name="connsiteY37" fmla="*/ 779331 h 3641849"/>
                <a:gd name="connsiteX38" fmla="*/ 545552 w 1457148"/>
                <a:gd name="connsiteY38" fmla="*/ 758645 h 3641849"/>
                <a:gd name="connsiteX39" fmla="*/ 454108 w 1457148"/>
                <a:gd name="connsiteY39" fmla="*/ 722445 h 3641849"/>
                <a:gd name="connsiteX40" fmla="*/ 434711 w 1457148"/>
                <a:gd name="connsiteY40" fmla="*/ 750888 h 3641849"/>
                <a:gd name="connsiteX41" fmla="*/ 465353 w 1457148"/>
                <a:gd name="connsiteY41" fmla="*/ 824301 h 3641849"/>
                <a:gd name="connsiteX42" fmla="*/ 470894 w 1457148"/>
                <a:gd name="connsiteY42" fmla="*/ 951000 h 3641849"/>
                <a:gd name="connsiteX43" fmla="*/ 443024 w 1457148"/>
                <a:gd name="connsiteY43" fmla="*/ 1012043 h 3641849"/>
                <a:gd name="connsiteX44" fmla="*/ 498443 w 1457148"/>
                <a:gd name="connsiteY44" fmla="*/ 1032728 h 3641849"/>
                <a:gd name="connsiteX45" fmla="*/ 515071 w 1457148"/>
                <a:gd name="connsiteY45" fmla="*/ 1048242 h 3641849"/>
                <a:gd name="connsiteX46" fmla="*/ 540011 w 1457148"/>
                <a:gd name="connsiteY46" fmla="*/ 1074099 h 3641849"/>
                <a:gd name="connsiteX47" fmla="*/ 537240 w 1457148"/>
                <a:gd name="connsiteY47" fmla="*/ 1076685 h 3641849"/>
                <a:gd name="connsiteX48" fmla="*/ 576033 w 1457148"/>
                <a:gd name="connsiteY48" fmla="*/ 1071514 h 3641849"/>
                <a:gd name="connsiteX49" fmla="*/ 584347 w 1457148"/>
                <a:gd name="connsiteY49" fmla="*/ 1035314 h 3641849"/>
                <a:gd name="connsiteX50" fmla="*/ 545552 w 1457148"/>
                <a:gd name="connsiteY50" fmla="*/ 957743 h 3641849"/>
                <a:gd name="connsiteX51" fmla="*/ 614828 w 1457148"/>
                <a:gd name="connsiteY51" fmla="*/ 911200 h 3641849"/>
                <a:gd name="connsiteX52" fmla="*/ 682600 w 1457148"/>
                <a:gd name="connsiteY52" fmla="*/ 918934 h 3641849"/>
                <a:gd name="connsiteX53" fmla="*/ 706433 w 1457148"/>
                <a:gd name="connsiteY53" fmla="*/ 951001 h 3641849"/>
                <a:gd name="connsiteX54" fmla="*/ 862162 w 1457148"/>
                <a:gd name="connsiteY54" fmla="*/ 1007364 h 3641849"/>
                <a:gd name="connsiteX55" fmla="*/ 847754 w 1457148"/>
                <a:gd name="connsiteY55" fmla="*/ 971687 h 3641849"/>
                <a:gd name="connsiteX56" fmla="*/ 814502 w 1457148"/>
                <a:gd name="connsiteY56" fmla="*/ 932901 h 3641849"/>
                <a:gd name="connsiteX57" fmla="*/ 803418 w 1457148"/>
                <a:gd name="connsiteY57" fmla="*/ 881187 h 3641849"/>
                <a:gd name="connsiteX58" fmla="*/ 842213 w 1457148"/>
                <a:gd name="connsiteY58" fmla="*/ 832060 h 3641849"/>
                <a:gd name="connsiteX59" fmla="*/ 869923 w 1457148"/>
                <a:gd name="connsiteY59" fmla="*/ 803617 h 3641849"/>
                <a:gd name="connsiteX60" fmla="*/ 894863 w 1457148"/>
                <a:gd name="connsiteY60" fmla="*/ 767417 h 3641849"/>
                <a:gd name="connsiteX61" fmla="*/ 975223 w 1457148"/>
                <a:gd name="connsiteY61" fmla="*/ 762245 h 3641849"/>
                <a:gd name="connsiteX62" fmla="*/ 980764 w 1457148"/>
                <a:gd name="connsiteY62" fmla="*/ 741560 h 3641849"/>
                <a:gd name="connsiteX63" fmla="*/ 1005704 w 1457148"/>
                <a:gd name="connsiteY63" fmla="*/ 705360 h 3641849"/>
                <a:gd name="connsiteX64" fmla="*/ 1039508 w 1457148"/>
                <a:gd name="connsiteY64" fmla="*/ 687772 h 3641849"/>
                <a:gd name="connsiteX65" fmla="*/ 1097148 w 1457148"/>
                <a:gd name="connsiteY65" fmla="*/ 700189 h 3641849"/>
                <a:gd name="connsiteX66" fmla="*/ 1135941 w 1457148"/>
                <a:gd name="connsiteY66" fmla="*/ 720875 h 3641849"/>
                <a:gd name="connsiteX67" fmla="*/ 1183049 w 1457148"/>
                <a:gd name="connsiteY67" fmla="*/ 728632 h 3641849"/>
                <a:gd name="connsiteX68" fmla="*/ 1183049 w 1457148"/>
                <a:gd name="connsiteY68" fmla="*/ 733803 h 3641849"/>
                <a:gd name="connsiteX69" fmla="*/ 1205218 w 1457148"/>
                <a:gd name="connsiteY69" fmla="*/ 674332 h 3641849"/>
                <a:gd name="connsiteX70" fmla="*/ 1215193 w 1457148"/>
                <a:gd name="connsiteY70" fmla="*/ 640714 h 3641849"/>
                <a:gd name="connsiteX71" fmla="*/ 1221844 w 1457148"/>
                <a:gd name="connsiteY71" fmla="*/ 622618 h 3641849"/>
                <a:gd name="connsiteX72" fmla="*/ 1224781 w 1457148"/>
                <a:gd name="connsiteY72" fmla="*/ 591288 h 3641849"/>
                <a:gd name="connsiteX73" fmla="*/ 1144255 w 1457148"/>
                <a:gd name="connsiteY73" fmla="*/ 545048 h 3641849"/>
                <a:gd name="connsiteX74" fmla="*/ 1130400 w 1457148"/>
                <a:gd name="connsiteY74" fmla="*/ 472648 h 3641849"/>
                <a:gd name="connsiteX75" fmla="*/ 1130400 w 1457148"/>
                <a:gd name="connsiteY75" fmla="*/ 454548 h 3641849"/>
                <a:gd name="connsiteX76" fmla="*/ 1141483 w 1457148"/>
                <a:gd name="connsiteY76" fmla="*/ 431276 h 3641849"/>
                <a:gd name="connsiteX77" fmla="*/ 1144255 w 1457148"/>
                <a:gd name="connsiteY77" fmla="*/ 415762 h 3641849"/>
                <a:gd name="connsiteX78" fmla="*/ 1144254 w 1457148"/>
                <a:gd name="connsiteY78" fmla="*/ 358878 h 3641849"/>
                <a:gd name="connsiteX79" fmla="*/ 1122086 w 1457148"/>
                <a:gd name="connsiteY79" fmla="*/ 335607 h 3641849"/>
                <a:gd name="connsiteX80" fmla="*/ 1094376 w 1457148"/>
                <a:gd name="connsiteY80" fmla="*/ 304578 h 3641849"/>
                <a:gd name="connsiteX81" fmla="*/ 1090208 w 1457148"/>
                <a:gd name="connsiteY81" fmla="*/ 280325 h 3641849"/>
                <a:gd name="connsiteX82" fmla="*/ 1141484 w 1457148"/>
                <a:gd name="connsiteY82" fmla="*/ 258034 h 3641849"/>
                <a:gd name="connsiteX83" fmla="*/ 1195064 w 1457148"/>
                <a:gd name="connsiteY83" fmla="*/ 267906 h 3641849"/>
                <a:gd name="connsiteX84" fmla="*/ 1273848 w 1457148"/>
                <a:gd name="connsiteY84" fmla="*/ 279816 h 3641849"/>
                <a:gd name="connsiteX85" fmla="*/ 1358171 w 1457148"/>
                <a:gd name="connsiteY85" fmla="*/ 349175 h 3641849"/>
                <a:gd name="connsiteX86" fmla="*/ 1420306 w 1457148"/>
                <a:gd name="connsiteY86" fmla="*/ 425271 h 3641849"/>
                <a:gd name="connsiteX87" fmla="*/ 1319335 w 1457148"/>
                <a:gd name="connsiteY87" fmla="*/ 454265 h 3641849"/>
                <a:gd name="connsiteX88" fmla="*/ 1303801 w 1457148"/>
                <a:gd name="connsiteY88" fmla="*/ 501372 h 3641849"/>
                <a:gd name="connsiteX89" fmla="*/ 1361471 w 1457148"/>
                <a:gd name="connsiteY89" fmla="*/ 585862 h 3641849"/>
                <a:gd name="connsiteX90" fmla="*/ 1397005 w 1457148"/>
                <a:gd name="connsiteY90" fmla="*/ 591964 h 3641849"/>
                <a:gd name="connsiteX91" fmla="*/ 1449625 w 1457148"/>
                <a:gd name="connsiteY91" fmla="*/ 598304 h 3641849"/>
                <a:gd name="connsiteX92" fmla="*/ 1444662 w 1457148"/>
                <a:gd name="connsiteY92" fmla="*/ 709079 h 3641849"/>
                <a:gd name="connsiteX93" fmla="*/ 1455731 w 1457148"/>
                <a:gd name="connsiteY93" fmla="*/ 1040047 h 3641849"/>
                <a:gd name="connsiteX94" fmla="*/ 1446863 w 1457148"/>
                <a:gd name="connsiteY94" fmla="*/ 1842646 h 3641849"/>
                <a:gd name="connsiteX95" fmla="*/ 1455730 w 1457148"/>
                <a:gd name="connsiteY95" fmla="*/ 2297728 h 3641849"/>
                <a:gd name="connsiteX96" fmla="*/ 1429282 w 1457148"/>
                <a:gd name="connsiteY96" fmla="*/ 3607693 h 3641849"/>
                <a:gd name="connsiteX97" fmla="*/ 1170855 w 1457148"/>
                <a:gd name="connsiteY97" fmla="*/ 3564098 h 3641849"/>
                <a:gd name="connsiteX98" fmla="*/ 1002377 w 1457148"/>
                <a:gd name="connsiteY98" fmla="*/ 3497903 h 3641849"/>
                <a:gd name="connsiteX99" fmla="*/ 825031 w 1457148"/>
                <a:gd name="connsiteY99" fmla="*/ 3406887 h 3641849"/>
                <a:gd name="connsiteX100" fmla="*/ 726733 w 1457148"/>
                <a:gd name="connsiteY100" fmla="*/ 3326370 h 3641849"/>
                <a:gd name="connsiteX101" fmla="*/ 1020995 w 1457148"/>
                <a:gd name="connsiteY101" fmla="*/ 3018734 h 3641849"/>
                <a:gd name="connsiteX102" fmla="*/ 737241 w 1457148"/>
                <a:gd name="connsiteY102" fmla="*/ 2480910 h 3641849"/>
                <a:gd name="connsiteX103" fmla="*/ 879591 w 1457148"/>
                <a:gd name="connsiteY103" fmla="*/ 2241825 h 3641849"/>
                <a:gd name="connsiteX104" fmla="*/ 692904 w 1457148"/>
                <a:gd name="connsiteY104" fmla="*/ 1703134 h 3641849"/>
                <a:gd name="connsiteX105" fmla="*/ 444620 w 1457148"/>
                <a:gd name="connsiteY105" fmla="*/ 1471456 h 3641849"/>
                <a:gd name="connsiteX106" fmla="*/ 435753 w 1457148"/>
                <a:gd name="connsiteY106" fmla="*/ 1355617 h 3641849"/>
                <a:gd name="connsiteX0" fmla="*/ 435753 w 1457148"/>
                <a:gd name="connsiteY0" fmla="*/ 1355617 h 3641849"/>
                <a:gd name="connsiteX1" fmla="*/ 237969 w 1457148"/>
                <a:gd name="connsiteY1" fmla="*/ 1257686 h 3641849"/>
                <a:gd name="connsiteX2" fmla="*/ 229657 w 1457148"/>
                <a:gd name="connsiteY2" fmla="*/ 1079274 h 3641849"/>
                <a:gd name="connsiteX3" fmla="*/ 107732 w 1457148"/>
                <a:gd name="connsiteY3" fmla="*/ 1056001 h 3641849"/>
                <a:gd name="connsiteX4" fmla="*/ 143755 w 1457148"/>
                <a:gd name="connsiteY4" fmla="*/ 1019802 h 3641849"/>
                <a:gd name="connsiteX5" fmla="*/ 96649 w 1457148"/>
                <a:gd name="connsiteY5" fmla="*/ 993947 h 3641849"/>
                <a:gd name="connsiteX6" fmla="*/ 96648 w 1457148"/>
                <a:gd name="connsiteY6" fmla="*/ 794845 h 3641849"/>
                <a:gd name="connsiteX7" fmla="*/ 135443 w 1457148"/>
                <a:gd name="connsiteY7" fmla="*/ 779332 h 3641849"/>
                <a:gd name="connsiteX8" fmla="*/ 21830 w 1457148"/>
                <a:gd name="connsiteY8" fmla="*/ 551792 h 3641849"/>
                <a:gd name="connsiteX9" fmla="*/ 80021 w 1457148"/>
                <a:gd name="connsiteY9" fmla="*/ 458707 h 3641849"/>
                <a:gd name="connsiteX10" fmla="*/ 85563 w 1457148"/>
                <a:gd name="connsiteY10" fmla="*/ 378550 h 3641849"/>
                <a:gd name="connsiteX11" fmla="*/ 10744 w 1457148"/>
                <a:gd name="connsiteY11" fmla="*/ 319079 h 3641849"/>
                <a:gd name="connsiteX12" fmla="*/ 2432 w 1457148"/>
                <a:gd name="connsiteY12" fmla="*/ 251851 h 3641849"/>
                <a:gd name="connsiteX13" fmla="*/ 57852 w 1457148"/>
                <a:gd name="connsiteY13" fmla="*/ 158764 h 3641849"/>
                <a:gd name="connsiteX14" fmla="*/ 77250 w 1457148"/>
                <a:gd name="connsiteY14" fmla="*/ 135494 h 3641849"/>
                <a:gd name="connsiteX15" fmla="*/ 91105 w 1457148"/>
                <a:gd name="connsiteY15" fmla="*/ 117394 h 3641849"/>
                <a:gd name="connsiteX16" fmla="*/ 99418 w 1457148"/>
                <a:gd name="connsiteY16" fmla="*/ 73438 h 3641849"/>
                <a:gd name="connsiteX17" fmla="*/ 124357 w 1457148"/>
                <a:gd name="connsiteY17" fmla="*/ 101880 h 3641849"/>
                <a:gd name="connsiteX18" fmla="*/ 154839 w 1457148"/>
                <a:gd name="connsiteY18" fmla="*/ 88952 h 3641849"/>
                <a:gd name="connsiteX19" fmla="*/ 157609 w 1457148"/>
                <a:gd name="connsiteY19" fmla="*/ 63095 h 3641849"/>
                <a:gd name="connsiteX20" fmla="*/ 165923 w 1457148"/>
                <a:gd name="connsiteY20" fmla="*/ 34652 h 3641849"/>
                <a:gd name="connsiteX21" fmla="*/ 168695 w 1457148"/>
                <a:gd name="connsiteY21" fmla="*/ 3624 h 3641849"/>
                <a:gd name="connsiteX22" fmla="*/ 304475 w 1457148"/>
                <a:gd name="connsiteY22" fmla="*/ 57924 h 3641849"/>
                <a:gd name="connsiteX23" fmla="*/ 334955 w 1457148"/>
                <a:gd name="connsiteY23" fmla="*/ 161352 h 3641849"/>
                <a:gd name="connsiteX24" fmla="*/ 348811 w 1457148"/>
                <a:gd name="connsiteY24" fmla="*/ 184622 h 3641849"/>
                <a:gd name="connsiteX25" fmla="*/ 359895 w 1457148"/>
                <a:gd name="connsiteY25" fmla="*/ 187208 h 3641849"/>
                <a:gd name="connsiteX26" fmla="*/ 473507 w 1457148"/>
                <a:gd name="connsiteY26" fmla="*/ 156181 h 3641849"/>
                <a:gd name="connsiteX27" fmla="*/ 540012 w 1457148"/>
                <a:gd name="connsiteY27" fmla="*/ 166522 h 3641849"/>
                <a:gd name="connsiteX28" fmla="*/ 603746 w 1457148"/>
                <a:gd name="connsiteY28" fmla="*/ 213065 h 3641849"/>
                <a:gd name="connsiteX29" fmla="*/ 617773 w 1457148"/>
                <a:gd name="connsiteY29" fmla="*/ 242621 h 3641849"/>
                <a:gd name="connsiteX30" fmla="*/ 673020 w 1457148"/>
                <a:gd name="connsiteY30" fmla="*/ 277708 h 3641849"/>
                <a:gd name="connsiteX31" fmla="*/ 761694 w 1457148"/>
                <a:gd name="connsiteY31" fmla="*/ 303563 h 3641849"/>
                <a:gd name="connsiteX32" fmla="*/ 833740 w 1457148"/>
                <a:gd name="connsiteY32" fmla="*/ 350106 h 3641849"/>
                <a:gd name="connsiteX33" fmla="*/ 883619 w 1457148"/>
                <a:gd name="connsiteY33" fmla="*/ 401820 h 3641849"/>
                <a:gd name="connsiteX34" fmla="*/ 908558 w 1457148"/>
                <a:gd name="connsiteY34" fmla="*/ 440606 h 3641849"/>
                <a:gd name="connsiteX35" fmla="*/ 941811 w 1457148"/>
                <a:gd name="connsiteY35" fmla="*/ 466462 h 3641849"/>
                <a:gd name="connsiteX36" fmla="*/ 925183 w 1457148"/>
                <a:gd name="connsiteY36" fmla="*/ 691417 h 3641849"/>
                <a:gd name="connsiteX37" fmla="*/ 797717 w 1457148"/>
                <a:gd name="connsiteY37" fmla="*/ 771575 h 3641849"/>
                <a:gd name="connsiteX38" fmla="*/ 684105 w 1457148"/>
                <a:gd name="connsiteY38" fmla="*/ 779331 h 3641849"/>
                <a:gd name="connsiteX39" fmla="*/ 545552 w 1457148"/>
                <a:gd name="connsiteY39" fmla="*/ 758645 h 3641849"/>
                <a:gd name="connsiteX40" fmla="*/ 454108 w 1457148"/>
                <a:gd name="connsiteY40" fmla="*/ 722445 h 3641849"/>
                <a:gd name="connsiteX41" fmla="*/ 434711 w 1457148"/>
                <a:gd name="connsiteY41" fmla="*/ 750888 h 3641849"/>
                <a:gd name="connsiteX42" fmla="*/ 465353 w 1457148"/>
                <a:gd name="connsiteY42" fmla="*/ 824301 h 3641849"/>
                <a:gd name="connsiteX43" fmla="*/ 470894 w 1457148"/>
                <a:gd name="connsiteY43" fmla="*/ 951000 h 3641849"/>
                <a:gd name="connsiteX44" fmla="*/ 443024 w 1457148"/>
                <a:gd name="connsiteY44" fmla="*/ 1012043 h 3641849"/>
                <a:gd name="connsiteX45" fmla="*/ 498443 w 1457148"/>
                <a:gd name="connsiteY45" fmla="*/ 1032728 h 3641849"/>
                <a:gd name="connsiteX46" fmla="*/ 515071 w 1457148"/>
                <a:gd name="connsiteY46" fmla="*/ 1048242 h 3641849"/>
                <a:gd name="connsiteX47" fmla="*/ 540011 w 1457148"/>
                <a:gd name="connsiteY47" fmla="*/ 1074099 h 3641849"/>
                <a:gd name="connsiteX48" fmla="*/ 537240 w 1457148"/>
                <a:gd name="connsiteY48" fmla="*/ 1076685 h 3641849"/>
                <a:gd name="connsiteX49" fmla="*/ 576033 w 1457148"/>
                <a:gd name="connsiteY49" fmla="*/ 1071514 h 3641849"/>
                <a:gd name="connsiteX50" fmla="*/ 584347 w 1457148"/>
                <a:gd name="connsiteY50" fmla="*/ 1035314 h 3641849"/>
                <a:gd name="connsiteX51" fmla="*/ 545552 w 1457148"/>
                <a:gd name="connsiteY51" fmla="*/ 957743 h 3641849"/>
                <a:gd name="connsiteX52" fmla="*/ 614828 w 1457148"/>
                <a:gd name="connsiteY52" fmla="*/ 911200 h 3641849"/>
                <a:gd name="connsiteX53" fmla="*/ 682600 w 1457148"/>
                <a:gd name="connsiteY53" fmla="*/ 918934 h 3641849"/>
                <a:gd name="connsiteX54" fmla="*/ 706433 w 1457148"/>
                <a:gd name="connsiteY54" fmla="*/ 951001 h 3641849"/>
                <a:gd name="connsiteX55" fmla="*/ 862162 w 1457148"/>
                <a:gd name="connsiteY55" fmla="*/ 1007364 h 3641849"/>
                <a:gd name="connsiteX56" fmla="*/ 847754 w 1457148"/>
                <a:gd name="connsiteY56" fmla="*/ 971687 h 3641849"/>
                <a:gd name="connsiteX57" fmla="*/ 814502 w 1457148"/>
                <a:gd name="connsiteY57" fmla="*/ 932901 h 3641849"/>
                <a:gd name="connsiteX58" fmla="*/ 803418 w 1457148"/>
                <a:gd name="connsiteY58" fmla="*/ 881187 h 3641849"/>
                <a:gd name="connsiteX59" fmla="*/ 842213 w 1457148"/>
                <a:gd name="connsiteY59" fmla="*/ 832060 h 3641849"/>
                <a:gd name="connsiteX60" fmla="*/ 869923 w 1457148"/>
                <a:gd name="connsiteY60" fmla="*/ 803617 h 3641849"/>
                <a:gd name="connsiteX61" fmla="*/ 894863 w 1457148"/>
                <a:gd name="connsiteY61" fmla="*/ 767417 h 3641849"/>
                <a:gd name="connsiteX62" fmla="*/ 975223 w 1457148"/>
                <a:gd name="connsiteY62" fmla="*/ 762245 h 3641849"/>
                <a:gd name="connsiteX63" fmla="*/ 980764 w 1457148"/>
                <a:gd name="connsiteY63" fmla="*/ 741560 h 3641849"/>
                <a:gd name="connsiteX64" fmla="*/ 1005704 w 1457148"/>
                <a:gd name="connsiteY64" fmla="*/ 705360 h 3641849"/>
                <a:gd name="connsiteX65" fmla="*/ 1039508 w 1457148"/>
                <a:gd name="connsiteY65" fmla="*/ 687772 h 3641849"/>
                <a:gd name="connsiteX66" fmla="*/ 1097148 w 1457148"/>
                <a:gd name="connsiteY66" fmla="*/ 700189 h 3641849"/>
                <a:gd name="connsiteX67" fmla="*/ 1135941 w 1457148"/>
                <a:gd name="connsiteY67" fmla="*/ 720875 h 3641849"/>
                <a:gd name="connsiteX68" fmla="*/ 1183049 w 1457148"/>
                <a:gd name="connsiteY68" fmla="*/ 728632 h 3641849"/>
                <a:gd name="connsiteX69" fmla="*/ 1183049 w 1457148"/>
                <a:gd name="connsiteY69" fmla="*/ 733803 h 3641849"/>
                <a:gd name="connsiteX70" fmla="*/ 1205218 w 1457148"/>
                <a:gd name="connsiteY70" fmla="*/ 674332 h 3641849"/>
                <a:gd name="connsiteX71" fmla="*/ 1215193 w 1457148"/>
                <a:gd name="connsiteY71" fmla="*/ 640714 h 3641849"/>
                <a:gd name="connsiteX72" fmla="*/ 1221844 w 1457148"/>
                <a:gd name="connsiteY72" fmla="*/ 622618 h 3641849"/>
                <a:gd name="connsiteX73" fmla="*/ 1224781 w 1457148"/>
                <a:gd name="connsiteY73" fmla="*/ 591288 h 3641849"/>
                <a:gd name="connsiteX74" fmla="*/ 1144255 w 1457148"/>
                <a:gd name="connsiteY74" fmla="*/ 545048 h 3641849"/>
                <a:gd name="connsiteX75" fmla="*/ 1130400 w 1457148"/>
                <a:gd name="connsiteY75" fmla="*/ 472648 h 3641849"/>
                <a:gd name="connsiteX76" fmla="*/ 1130400 w 1457148"/>
                <a:gd name="connsiteY76" fmla="*/ 454548 h 3641849"/>
                <a:gd name="connsiteX77" fmla="*/ 1141483 w 1457148"/>
                <a:gd name="connsiteY77" fmla="*/ 431276 h 3641849"/>
                <a:gd name="connsiteX78" fmla="*/ 1144255 w 1457148"/>
                <a:gd name="connsiteY78" fmla="*/ 415762 h 3641849"/>
                <a:gd name="connsiteX79" fmla="*/ 1144254 w 1457148"/>
                <a:gd name="connsiteY79" fmla="*/ 358878 h 3641849"/>
                <a:gd name="connsiteX80" fmla="*/ 1122086 w 1457148"/>
                <a:gd name="connsiteY80" fmla="*/ 335607 h 3641849"/>
                <a:gd name="connsiteX81" fmla="*/ 1094376 w 1457148"/>
                <a:gd name="connsiteY81" fmla="*/ 304578 h 3641849"/>
                <a:gd name="connsiteX82" fmla="*/ 1090208 w 1457148"/>
                <a:gd name="connsiteY82" fmla="*/ 280325 h 3641849"/>
                <a:gd name="connsiteX83" fmla="*/ 1141484 w 1457148"/>
                <a:gd name="connsiteY83" fmla="*/ 258034 h 3641849"/>
                <a:gd name="connsiteX84" fmla="*/ 1195064 w 1457148"/>
                <a:gd name="connsiteY84" fmla="*/ 267906 h 3641849"/>
                <a:gd name="connsiteX85" fmla="*/ 1273848 w 1457148"/>
                <a:gd name="connsiteY85" fmla="*/ 279816 h 3641849"/>
                <a:gd name="connsiteX86" fmla="*/ 1358171 w 1457148"/>
                <a:gd name="connsiteY86" fmla="*/ 349175 h 3641849"/>
                <a:gd name="connsiteX87" fmla="*/ 1420306 w 1457148"/>
                <a:gd name="connsiteY87" fmla="*/ 425271 h 3641849"/>
                <a:gd name="connsiteX88" fmla="*/ 1319335 w 1457148"/>
                <a:gd name="connsiteY88" fmla="*/ 454265 h 3641849"/>
                <a:gd name="connsiteX89" fmla="*/ 1303801 w 1457148"/>
                <a:gd name="connsiteY89" fmla="*/ 501372 h 3641849"/>
                <a:gd name="connsiteX90" fmla="*/ 1361471 w 1457148"/>
                <a:gd name="connsiteY90" fmla="*/ 585862 h 3641849"/>
                <a:gd name="connsiteX91" fmla="*/ 1397005 w 1457148"/>
                <a:gd name="connsiteY91" fmla="*/ 591964 h 3641849"/>
                <a:gd name="connsiteX92" fmla="*/ 1449625 w 1457148"/>
                <a:gd name="connsiteY92" fmla="*/ 598304 h 3641849"/>
                <a:gd name="connsiteX93" fmla="*/ 1444662 w 1457148"/>
                <a:gd name="connsiteY93" fmla="*/ 709079 h 3641849"/>
                <a:gd name="connsiteX94" fmla="*/ 1455731 w 1457148"/>
                <a:gd name="connsiteY94" fmla="*/ 1040047 h 3641849"/>
                <a:gd name="connsiteX95" fmla="*/ 1446863 w 1457148"/>
                <a:gd name="connsiteY95" fmla="*/ 1842646 h 3641849"/>
                <a:gd name="connsiteX96" fmla="*/ 1455730 w 1457148"/>
                <a:gd name="connsiteY96" fmla="*/ 2297728 h 3641849"/>
                <a:gd name="connsiteX97" fmla="*/ 1429282 w 1457148"/>
                <a:gd name="connsiteY97" fmla="*/ 3607693 h 3641849"/>
                <a:gd name="connsiteX98" fmla="*/ 1170855 w 1457148"/>
                <a:gd name="connsiteY98" fmla="*/ 3564098 h 3641849"/>
                <a:gd name="connsiteX99" fmla="*/ 1002377 w 1457148"/>
                <a:gd name="connsiteY99" fmla="*/ 3497903 h 3641849"/>
                <a:gd name="connsiteX100" fmla="*/ 825031 w 1457148"/>
                <a:gd name="connsiteY100" fmla="*/ 3406887 h 3641849"/>
                <a:gd name="connsiteX101" fmla="*/ 726733 w 1457148"/>
                <a:gd name="connsiteY101" fmla="*/ 3326370 h 3641849"/>
                <a:gd name="connsiteX102" fmla="*/ 1020995 w 1457148"/>
                <a:gd name="connsiteY102" fmla="*/ 3018734 h 3641849"/>
                <a:gd name="connsiteX103" fmla="*/ 737241 w 1457148"/>
                <a:gd name="connsiteY103" fmla="*/ 2480910 h 3641849"/>
                <a:gd name="connsiteX104" fmla="*/ 879591 w 1457148"/>
                <a:gd name="connsiteY104" fmla="*/ 2241825 h 3641849"/>
                <a:gd name="connsiteX105" fmla="*/ 692904 w 1457148"/>
                <a:gd name="connsiteY105" fmla="*/ 1703134 h 3641849"/>
                <a:gd name="connsiteX106" fmla="*/ 444620 w 1457148"/>
                <a:gd name="connsiteY106" fmla="*/ 1471456 h 3641849"/>
                <a:gd name="connsiteX107" fmla="*/ 435753 w 1457148"/>
                <a:gd name="connsiteY107" fmla="*/ 1355617 h 3641849"/>
                <a:gd name="connsiteX0" fmla="*/ 435753 w 1457148"/>
                <a:gd name="connsiteY0" fmla="*/ 1355617 h 3641849"/>
                <a:gd name="connsiteX1" fmla="*/ 237969 w 1457148"/>
                <a:gd name="connsiteY1" fmla="*/ 1257686 h 3641849"/>
                <a:gd name="connsiteX2" fmla="*/ 229657 w 1457148"/>
                <a:gd name="connsiteY2" fmla="*/ 1079274 h 3641849"/>
                <a:gd name="connsiteX3" fmla="*/ 107732 w 1457148"/>
                <a:gd name="connsiteY3" fmla="*/ 1056001 h 3641849"/>
                <a:gd name="connsiteX4" fmla="*/ 143755 w 1457148"/>
                <a:gd name="connsiteY4" fmla="*/ 1019802 h 3641849"/>
                <a:gd name="connsiteX5" fmla="*/ 96649 w 1457148"/>
                <a:gd name="connsiteY5" fmla="*/ 993947 h 3641849"/>
                <a:gd name="connsiteX6" fmla="*/ 96648 w 1457148"/>
                <a:gd name="connsiteY6" fmla="*/ 794845 h 3641849"/>
                <a:gd name="connsiteX7" fmla="*/ 135443 w 1457148"/>
                <a:gd name="connsiteY7" fmla="*/ 779332 h 3641849"/>
                <a:gd name="connsiteX8" fmla="*/ 21830 w 1457148"/>
                <a:gd name="connsiteY8" fmla="*/ 551792 h 3641849"/>
                <a:gd name="connsiteX9" fmla="*/ 80021 w 1457148"/>
                <a:gd name="connsiteY9" fmla="*/ 458707 h 3641849"/>
                <a:gd name="connsiteX10" fmla="*/ 85563 w 1457148"/>
                <a:gd name="connsiteY10" fmla="*/ 378550 h 3641849"/>
                <a:gd name="connsiteX11" fmla="*/ 10744 w 1457148"/>
                <a:gd name="connsiteY11" fmla="*/ 319079 h 3641849"/>
                <a:gd name="connsiteX12" fmla="*/ 2432 w 1457148"/>
                <a:gd name="connsiteY12" fmla="*/ 251851 h 3641849"/>
                <a:gd name="connsiteX13" fmla="*/ 57852 w 1457148"/>
                <a:gd name="connsiteY13" fmla="*/ 158764 h 3641849"/>
                <a:gd name="connsiteX14" fmla="*/ 77250 w 1457148"/>
                <a:gd name="connsiteY14" fmla="*/ 135494 h 3641849"/>
                <a:gd name="connsiteX15" fmla="*/ 91105 w 1457148"/>
                <a:gd name="connsiteY15" fmla="*/ 117394 h 3641849"/>
                <a:gd name="connsiteX16" fmla="*/ 99418 w 1457148"/>
                <a:gd name="connsiteY16" fmla="*/ 73438 h 3641849"/>
                <a:gd name="connsiteX17" fmla="*/ 124357 w 1457148"/>
                <a:gd name="connsiteY17" fmla="*/ 101880 h 3641849"/>
                <a:gd name="connsiteX18" fmla="*/ 154839 w 1457148"/>
                <a:gd name="connsiteY18" fmla="*/ 88952 h 3641849"/>
                <a:gd name="connsiteX19" fmla="*/ 157609 w 1457148"/>
                <a:gd name="connsiteY19" fmla="*/ 63095 h 3641849"/>
                <a:gd name="connsiteX20" fmla="*/ 165923 w 1457148"/>
                <a:gd name="connsiteY20" fmla="*/ 34652 h 3641849"/>
                <a:gd name="connsiteX21" fmla="*/ 168695 w 1457148"/>
                <a:gd name="connsiteY21" fmla="*/ 3624 h 3641849"/>
                <a:gd name="connsiteX22" fmla="*/ 304475 w 1457148"/>
                <a:gd name="connsiteY22" fmla="*/ 57924 h 3641849"/>
                <a:gd name="connsiteX23" fmla="*/ 334955 w 1457148"/>
                <a:gd name="connsiteY23" fmla="*/ 161352 h 3641849"/>
                <a:gd name="connsiteX24" fmla="*/ 348811 w 1457148"/>
                <a:gd name="connsiteY24" fmla="*/ 184622 h 3641849"/>
                <a:gd name="connsiteX25" fmla="*/ 359895 w 1457148"/>
                <a:gd name="connsiteY25" fmla="*/ 187208 h 3641849"/>
                <a:gd name="connsiteX26" fmla="*/ 473507 w 1457148"/>
                <a:gd name="connsiteY26" fmla="*/ 156181 h 3641849"/>
                <a:gd name="connsiteX27" fmla="*/ 540012 w 1457148"/>
                <a:gd name="connsiteY27" fmla="*/ 166522 h 3641849"/>
                <a:gd name="connsiteX28" fmla="*/ 603746 w 1457148"/>
                <a:gd name="connsiteY28" fmla="*/ 213065 h 3641849"/>
                <a:gd name="connsiteX29" fmla="*/ 617773 w 1457148"/>
                <a:gd name="connsiteY29" fmla="*/ 242621 h 3641849"/>
                <a:gd name="connsiteX30" fmla="*/ 673020 w 1457148"/>
                <a:gd name="connsiteY30" fmla="*/ 277708 h 3641849"/>
                <a:gd name="connsiteX31" fmla="*/ 761694 w 1457148"/>
                <a:gd name="connsiteY31" fmla="*/ 303563 h 3641849"/>
                <a:gd name="connsiteX32" fmla="*/ 833740 w 1457148"/>
                <a:gd name="connsiteY32" fmla="*/ 350106 h 3641849"/>
                <a:gd name="connsiteX33" fmla="*/ 883619 w 1457148"/>
                <a:gd name="connsiteY33" fmla="*/ 401820 h 3641849"/>
                <a:gd name="connsiteX34" fmla="*/ 908558 w 1457148"/>
                <a:gd name="connsiteY34" fmla="*/ 440606 h 3641849"/>
                <a:gd name="connsiteX35" fmla="*/ 941811 w 1457148"/>
                <a:gd name="connsiteY35" fmla="*/ 466462 h 3641849"/>
                <a:gd name="connsiteX36" fmla="*/ 925183 w 1457148"/>
                <a:gd name="connsiteY36" fmla="*/ 691417 h 3641849"/>
                <a:gd name="connsiteX37" fmla="*/ 797717 w 1457148"/>
                <a:gd name="connsiteY37" fmla="*/ 771575 h 3641849"/>
                <a:gd name="connsiteX38" fmla="*/ 684105 w 1457148"/>
                <a:gd name="connsiteY38" fmla="*/ 779331 h 3641849"/>
                <a:gd name="connsiteX39" fmla="*/ 545552 w 1457148"/>
                <a:gd name="connsiteY39" fmla="*/ 758645 h 3641849"/>
                <a:gd name="connsiteX40" fmla="*/ 454108 w 1457148"/>
                <a:gd name="connsiteY40" fmla="*/ 722445 h 3641849"/>
                <a:gd name="connsiteX41" fmla="*/ 434711 w 1457148"/>
                <a:gd name="connsiteY41" fmla="*/ 750888 h 3641849"/>
                <a:gd name="connsiteX42" fmla="*/ 465353 w 1457148"/>
                <a:gd name="connsiteY42" fmla="*/ 824301 h 3641849"/>
                <a:gd name="connsiteX43" fmla="*/ 470894 w 1457148"/>
                <a:gd name="connsiteY43" fmla="*/ 951000 h 3641849"/>
                <a:gd name="connsiteX44" fmla="*/ 443024 w 1457148"/>
                <a:gd name="connsiteY44" fmla="*/ 1012043 h 3641849"/>
                <a:gd name="connsiteX45" fmla="*/ 498443 w 1457148"/>
                <a:gd name="connsiteY45" fmla="*/ 1032728 h 3641849"/>
                <a:gd name="connsiteX46" fmla="*/ 515071 w 1457148"/>
                <a:gd name="connsiteY46" fmla="*/ 1048242 h 3641849"/>
                <a:gd name="connsiteX47" fmla="*/ 540011 w 1457148"/>
                <a:gd name="connsiteY47" fmla="*/ 1074099 h 3641849"/>
                <a:gd name="connsiteX48" fmla="*/ 537240 w 1457148"/>
                <a:gd name="connsiteY48" fmla="*/ 1076685 h 3641849"/>
                <a:gd name="connsiteX49" fmla="*/ 576033 w 1457148"/>
                <a:gd name="connsiteY49" fmla="*/ 1071514 h 3641849"/>
                <a:gd name="connsiteX50" fmla="*/ 584347 w 1457148"/>
                <a:gd name="connsiteY50" fmla="*/ 1035314 h 3641849"/>
                <a:gd name="connsiteX51" fmla="*/ 545552 w 1457148"/>
                <a:gd name="connsiteY51" fmla="*/ 957743 h 3641849"/>
                <a:gd name="connsiteX52" fmla="*/ 614828 w 1457148"/>
                <a:gd name="connsiteY52" fmla="*/ 911200 h 3641849"/>
                <a:gd name="connsiteX53" fmla="*/ 682600 w 1457148"/>
                <a:gd name="connsiteY53" fmla="*/ 918934 h 3641849"/>
                <a:gd name="connsiteX54" fmla="*/ 706433 w 1457148"/>
                <a:gd name="connsiteY54" fmla="*/ 951001 h 3641849"/>
                <a:gd name="connsiteX55" fmla="*/ 862162 w 1457148"/>
                <a:gd name="connsiteY55" fmla="*/ 1007364 h 3641849"/>
                <a:gd name="connsiteX56" fmla="*/ 847754 w 1457148"/>
                <a:gd name="connsiteY56" fmla="*/ 971687 h 3641849"/>
                <a:gd name="connsiteX57" fmla="*/ 814502 w 1457148"/>
                <a:gd name="connsiteY57" fmla="*/ 932901 h 3641849"/>
                <a:gd name="connsiteX58" fmla="*/ 803418 w 1457148"/>
                <a:gd name="connsiteY58" fmla="*/ 881187 h 3641849"/>
                <a:gd name="connsiteX59" fmla="*/ 842213 w 1457148"/>
                <a:gd name="connsiteY59" fmla="*/ 832060 h 3641849"/>
                <a:gd name="connsiteX60" fmla="*/ 869923 w 1457148"/>
                <a:gd name="connsiteY60" fmla="*/ 803617 h 3641849"/>
                <a:gd name="connsiteX61" fmla="*/ 894863 w 1457148"/>
                <a:gd name="connsiteY61" fmla="*/ 767417 h 3641849"/>
                <a:gd name="connsiteX62" fmla="*/ 975223 w 1457148"/>
                <a:gd name="connsiteY62" fmla="*/ 762245 h 3641849"/>
                <a:gd name="connsiteX63" fmla="*/ 980764 w 1457148"/>
                <a:gd name="connsiteY63" fmla="*/ 741560 h 3641849"/>
                <a:gd name="connsiteX64" fmla="*/ 1005704 w 1457148"/>
                <a:gd name="connsiteY64" fmla="*/ 705360 h 3641849"/>
                <a:gd name="connsiteX65" fmla="*/ 1039508 w 1457148"/>
                <a:gd name="connsiteY65" fmla="*/ 687772 h 3641849"/>
                <a:gd name="connsiteX66" fmla="*/ 1097148 w 1457148"/>
                <a:gd name="connsiteY66" fmla="*/ 700189 h 3641849"/>
                <a:gd name="connsiteX67" fmla="*/ 1135941 w 1457148"/>
                <a:gd name="connsiteY67" fmla="*/ 720875 h 3641849"/>
                <a:gd name="connsiteX68" fmla="*/ 1183049 w 1457148"/>
                <a:gd name="connsiteY68" fmla="*/ 728632 h 3641849"/>
                <a:gd name="connsiteX69" fmla="*/ 1183049 w 1457148"/>
                <a:gd name="connsiteY69" fmla="*/ 733803 h 3641849"/>
                <a:gd name="connsiteX70" fmla="*/ 1205218 w 1457148"/>
                <a:gd name="connsiteY70" fmla="*/ 674332 h 3641849"/>
                <a:gd name="connsiteX71" fmla="*/ 1215193 w 1457148"/>
                <a:gd name="connsiteY71" fmla="*/ 640714 h 3641849"/>
                <a:gd name="connsiteX72" fmla="*/ 1221844 w 1457148"/>
                <a:gd name="connsiteY72" fmla="*/ 622618 h 3641849"/>
                <a:gd name="connsiteX73" fmla="*/ 1224781 w 1457148"/>
                <a:gd name="connsiteY73" fmla="*/ 591288 h 3641849"/>
                <a:gd name="connsiteX74" fmla="*/ 1144255 w 1457148"/>
                <a:gd name="connsiteY74" fmla="*/ 545048 h 3641849"/>
                <a:gd name="connsiteX75" fmla="*/ 1130400 w 1457148"/>
                <a:gd name="connsiteY75" fmla="*/ 472648 h 3641849"/>
                <a:gd name="connsiteX76" fmla="*/ 1130400 w 1457148"/>
                <a:gd name="connsiteY76" fmla="*/ 454548 h 3641849"/>
                <a:gd name="connsiteX77" fmla="*/ 1141483 w 1457148"/>
                <a:gd name="connsiteY77" fmla="*/ 431276 h 3641849"/>
                <a:gd name="connsiteX78" fmla="*/ 1144255 w 1457148"/>
                <a:gd name="connsiteY78" fmla="*/ 415762 h 3641849"/>
                <a:gd name="connsiteX79" fmla="*/ 1144254 w 1457148"/>
                <a:gd name="connsiteY79" fmla="*/ 358878 h 3641849"/>
                <a:gd name="connsiteX80" fmla="*/ 1122086 w 1457148"/>
                <a:gd name="connsiteY80" fmla="*/ 335607 h 3641849"/>
                <a:gd name="connsiteX81" fmla="*/ 1094376 w 1457148"/>
                <a:gd name="connsiteY81" fmla="*/ 304578 h 3641849"/>
                <a:gd name="connsiteX82" fmla="*/ 1090208 w 1457148"/>
                <a:gd name="connsiteY82" fmla="*/ 280325 h 3641849"/>
                <a:gd name="connsiteX83" fmla="*/ 1141484 w 1457148"/>
                <a:gd name="connsiteY83" fmla="*/ 258034 h 3641849"/>
                <a:gd name="connsiteX84" fmla="*/ 1195064 w 1457148"/>
                <a:gd name="connsiteY84" fmla="*/ 267906 h 3641849"/>
                <a:gd name="connsiteX85" fmla="*/ 1273848 w 1457148"/>
                <a:gd name="connsiteY85" fmla="*/ 279816 h 3641849"/>
                <a:gd name="connsiteX86" fmla="*/ 1358171 w 1457148"/>
                <a:gd name="connsiteY86" fmla="*/ 349175 h 3641849"/>
                <a:gd name="connsiteX87" fmla="*/ 1420306 w 1457148"/>
                <a:gd name="connsiteY87" fmla="*/ 425271 h 3641849"/>
                <a:gd name="connsiteX88" fmla="*/ 1319335 w 1457148"/>
                <a:gd name="connsiteY88" fmla="*/ 454265 h 3641849"/>
                <a:gd name="connsiteX89" fmla="*/ 1303801 w 1457148"/>
                <a:gd name="connsiteY89" fmla="*/ 501372 h 3641849"/>
                <a:gd name="connsiteX90" fmla="*/ 1361471 w 1457148"/>
                <a:gd name="connsiteY90" fmla="*/ 585862 h 3641849"/>
                <a:gd name="connsiteX91" fmla="*/ 1397005 w 1457148"/>
                <a:gd name="connsiteY91" fmla="*/ 591964 h 3641849"/>
                <a:gd name="connsiteX92" fmla="*/ 1449625 w 1457148"/>
                <a:gd name="connsiteY92" fmla="*/ 598304 h 3641849"/>
                <a:gd name="connsiteX93" fmla="*/ 1444662 w 1457148"/>
                <a:gd name="connsiteY93" fmla="*/ 709079 h 3641849"/>
                <a:gd name="connsiteX94" fmla="*/ 1455731 w 1457148"/>
                <a:gd name="connsiteY94" fmla="*/ 1040047 h 3641849"/>
                <a:gd name="connsiteX95" fmla="*/ 1446863 w 1457148"/>
                <a:gd name="connsiteY95" fmla="*/ 1842646 h 3641849"/>
                <a:gd name="connsiteX96" fmla="*/ 1455730 w 1457148"/>
                <a:gd name="connsiteY96" fmla="*/ 2297728 h 3641849"/>
                <a:gd name="connsiteX97" fmla="*/ 1429282 w 1457148"/>
                <a:gd name="connsiteY97" fmla="*/ 3607693 h 3641849"/>
                <a:gd name="connsiteX98" fmla="*/ 1170855 w 1457148"/>
                <a:gd name="connsiteY98" fmla="*/ 3564098 h 3641849"/>
                <a:gd name="connsiteX99" fmla="*/ 1002377 w 1457148"/>
                <a:gd name="connsiteY99" fmla="*/ 3497903 h 3641849"/>
                <a:gd name="connsiteX100" fmla="*/ 825031 w 1457148"/>
                <a:gd name="connsiteY100" fmla="*/ 3406887 h 3641849"/>
                <a:gd name="connsiteX101" fmla="*/ 726733 w 1457148"/>
                <a:gd name="connsiteY101" fmla="*/ 3326370 h 3641849"/>
                <a:gd name="connsiteX102" fmla="*/ 1020995 w 1457148"/>
                <a:gd name="connsiteY102" fmla="*/ 3018734 h 3641849"/>
                <a:gd name="connsiteX103" fmla="*/ 737241 w 1457148"/>
                <a:gd name="connsiteY103" fmla="*/ 2480910 h 3641849"/>
                <a:gd name="connsiteX104" fmla="*/ 879591 w 1457148"/>
                <a:gd name="connsiteY104" fmla="*/ 2241825 h 3641849"/>
                <a:gd name="connsiteX105" fmla="*/ 692904 w 1457148"/>
                <a:gd name="connsiteY105" fmla="*/ 1703134 h 3641849"/>
                <a:gd name="connsiteX106" fmla="*/ 444620 w 1457148"/>
                <a:gd name="connsiteY106" fmla="*/ 1471456 h 3641849"/>
                <a:gd name="connsiteX107" fmla="*/ 435753 w 1457148"/>
                <a:gd name="connsiteY107" fmla="*/ 1355617 h 3641849"/>
                <a:gd name="connsiteX0" fmla="*/ 435753 w 1457148"/>
                <a:gd name="connsiteY0" fmla="*/ 1355617 h 3641849"/>
                <a:gd name="connsiteX1" fmla="*/ 237969 w 1457148"/>
                <a:gd name="connsiteY1" fmla="*/ 1257686 h 3641849"/>
                <a:gd name="connsiteX2" fmla="*/ 215802 w 1457148"/>
                <a:gd name="connsiteY2" fmla="*/ 1125816 h 3641849"/>
                <a:gd name="connsiteX3" fmla="*/ 107732 w 1457148"/>
                <a:gd name="connsiteY3" fmla="*/ 1056001 h 3641849"/>
                <a:gd name="connsiteX4" fmla="*/ 143755 w 1457148"/>
                <a:gd name="connsiteY4" fmla="*/ 1019802 h 3641849"/>
                <a:gd name="connsiteX5" fmla="*/ 96649 w 1457148"/>
                <a:gd name="connsiteY5" fmla="*/ 993947 h 3641849"/>
                <a:gd name="connsiteX6" fmla="*/ 96648 w 1457148"/>
                <a:gd name="connsiteY6" fmla="*/ 794845 h 3641849"/>
                <a:gd name="connsiteX7" fmla="*/ 135443 w 1457148"/>
                <a:gd name="connsiteY7" fmla="*/ 779332 h 3641849"/>
                <a:gd name="connsiteX8" fmla="*/ 21830 w 1457148"/>
                <a:gd name="connsiteY8" fmla="*/ 551792 h 3641849"/>
                <a:gd name="connsiteX9" fmla="*/ 80021 w 1457148"/>
                <a:gd name="connsiteY9" fmla="*/ 458707 h 3641849"/>
                <a:gd name="connsiteX10" fmla="*/ 85563 w 1457148"/>
                <a:gd name="connsiteY10" fmla="*/ 378550 h 3641849"/>
                <a:gd name="connsiteX11" fmla="*/ 10744 w 1457148"/>
                <a:gd name="connsiteY11" fmla="*/ 319079 h 3641849"/>
                <a:gd name="connsiteX12" fmla="*/ 2432 w 1457148"/>
                <a:gd name="connsiteY12" fmla="*/ 251851 h 3641849"/>
                <a:gd name="connsiteX13" fmla="*/ 57852 w 1457148"/>
                <a:gd name="connsiteY13" fmla="*/ 158764 h 3641849"/>
                <a:gd name="connsiteX14" fmla="*/ 77250 w 1457148"/>
                <a:gd name="connsiteY14" fmla="*/ 135494 h 3641849"/>
                <a:gd name="connsiteX15" fmla="*/ 91105 w 1457148"/>
                <a:gd name="connsiteY15" fmla="*/ 117394 h 3641849"/>
                <a:gd name="connsiteX16" fmla="*/ 99418 w 1457148"/>
                <a:gd name="connsiteY16" fmla="*/ 73438 h 3641849"/>
                <a:gd name="connsiteX17" fmla="*/ 124357 w 1457148"/>
                <a:gd name="connsiteY17" fmla="*/ 101880 h 3641849"/>
                <a:gd name="connsiteX18" fmla="*/ 154839 w 1457148"/>
                <a:gd name="connsiteY18" fmla="*/ 88952 h 3641849"/>
                <a:gd name="connsiteX19" fmla="*/ 157609 w 1457148"/>
                <a:gd name="connsiteY19" fmla="*/ 63095 h 3641849"/>
                <a:gd name="connsiteX20" fmla="*/ 165923 w 1457148"/>
                <a:gd name="connsiteY20" fmla="*/ 34652 h 3641849"/>
                <a:gd name="connsiteX21" fmla="*/ 168695 w 1457148"/>
                <a:gd name="connsiteY21" fmla="*/ 3624 h 3641849"/>
                <a:gd name="connsiteX22" fmla="*/ 304475 w 1457148"/>
                <a:gd name="connsiteY22" fmla="*/ 57924 h 3641849"/>
                <a:gd name="connsiteX23" fmla="*/ 334955 w 1457148"/>
                <a:gd name="connsiteY23" fmla="*/ 161352 h 3641849"/>
                <a:gd name="connsiteX24" fmla="*/ 348811 w 1457148"/>
                <a:gd name="connsiteY24" fmla="*/ 184622 h 3641849"/>
                <a:gd name="connsiteX25" fmla="*/ 359895 w 1457148"/>
                <a:gd name="connsiteY25" fmla="*/ 187208 h 3641849"/>
                <a:gd name="connsiteX26" fmla="*/ 473507 w 1457148"/>
                <a:gd name="connsiteY26" fmla="*/ 156181 h 3641849"/>
                <a:gd name="connsiteX27" fmla="*/ 540012 w 1457148"/>
                <a:gd name="connsiteY27" fmla="*/ 166522 h 3641849"/>
                <a:gd name="connsiteX28" fmla="*/ 603746 w 1457148"/>
                <a:gd name="connsiteY28" fmla="*/ 213065 h 3641849"/>
                <a:gd name="connsiteX29" fmla="*/ 617773 w 1457148"/>
                <a:gd name="connsiteY29" fmla="*/ 242621 h 3641849"/>
                <a:gd name="connsiteX30" fmla="*/ 673020 w 1457148"/>
                <a:gd name="connsiteY30" fmla="*/ 277708 h 3641849"/>
                <a:gd name="connsiteX31" fmla="*/ 761694 w 1457148"/>
                <a:gd name="connsiteY31" fmla="*/ 303563 h 3641849"/>
                <a:gd name="connsiteX32" fmla="*/ 833740 w 1457148"/>
                <a:gd name="connsiteY32" fmla="*/ 350106 h 3641849"/>
                <a:gd name="connsiteX33" fmla="*/ 883619 w 1457148"/>
                <a:gd name="connsiteY33" fmla="*/ 401820 h 3641849"/>
                <a:gd name="connsiteX34" fmla="*/ 908558 w 1457148"/>
                <a:gd name="connsiteY34" fmla="*/ 440606 h 3641849"/>
                <a:gd name="connsiteX35" fmla="*/ 941811 w 1457148"/>
                <a:gd name="connsiteY35" fmla="*/ 466462 h 3641849"/>
                <a:gd name="connsiteX36" fmla="*/ 925183 w 1457148"/>
                <a:gd name="connsiteY36" fmla="*/ 691417 h 3641849"/>
                <a:gd name="connsiteX37" fmla="*/ 797717 w 1457148"/>
                <a:gd name="connsiteY37" fmla="*/ 771575 h 3641849"/>
                <a:gd name="connsiteX38" fmla="*/ 684105 w 1457148"/>
                <a:gd name="connsiteY38" fmla="*/ 779331 h 3641849"/>
                <a:gd name="connsiteX39" fmla="*/ 545552 w 1457148"/>
                <a:gd name="connsiteY39" fmla="*/ 758645 h 3641849"/>
                <a:gd name="connsiteX40" fmla="*/ 454108 w 1457148"/>
                <a:gd name="connsiteY40" fmla="*/ 722445 h 3641849"/>
                <a:gd name="connsiteX41" fmla="*/ 434711 w 1457148"/>
                <a:gd name="connsiteY41" fmla="*/ 750888 h 3641849"/>
                <a:gd name="connsiteX42" fmla="*/ 465353 w 1457148"/>
                <a:gd name="connsiteY42" fmla="*/ 824301 h 3641849"/>
                <a:gd name="connsiteX43" fmla="*/ 470894 w 1457148"/>
                <a:gd name="connsiteY43" fmla="*/ 951000 h 3641849"/>
                <a:gd name="connsiteX44" fmla="*/ 443024 w 1457148"/>
                <a:gd name="connsiteY44" fmla="*/ 1012043 h 3641849"/>
                <a:gd name="connsiteX45" fmla="*/ 498443 w 1457148"/>
                <a:gd name="connsiteY45" fmla="*/ 1032728 h 3641849"/>
                <a:gd name="connsiteX46" fmla="*/ 515071 w 1457148"/>
                <a:gd name="connsiteY46" fmla="*/ 1048242 h 3641849"/>
                <a:gd name="connsiteX47" fmla="*/ 540011 w 1457148"/>
                <a:gd name="connsiteY47" fmla="*/ 1074099 h 3641849"/>
                <a:gd name="connsiteX48" fmla="*/ 537240 w 1457148"/>
                <a:gd name="connsiteY48" fmla="*/ 1076685 h 3641849"/>
                <a:gd name="connsiteX49" fmla="*/ 576033 w 1457148"/>
                <a:gd name="connsiteY49" fmla="*/ 1071514 h 3641849"/>
                <a:gd name="connsiteX50" fmla="*/ 584347 w 1457148"/>
                <a:gd name="connsiteY50" fmla="*/ 1035314 h 3641849"/>
                <a:gd name="connsiteX51" fmla="*/ 545552 w 1457148"/>
                <a:gd name="connsiteY51" fmla="*/ 957743 h 3641849"/>
                <a:gd name="connsiteX52" fmla="*/ 614828 w 1457148"/>
                <a:gd name="connsiteY52" fmla="*/ 911200 h 3641849"/>
                <a:gd name="connsiteX53" fmla="*/ 682600 w 1457148"/>
                <a:gd name="connsiteY53" fmla="*/ 918934 h 3641849"/>
                <a:gd name="connsiteX54" fmla="*/ 706433 w 1457148"/>
                <a:gd name="connsiteY54" fmla="*/ 951001 h 3641849"/>
                <a:gd name="connsiteX55" fmla="*/ 862162 w 1457148"/>
                <a:gd name="connsiteY55" fmla="*/ 1007364 h 3641849"/>
                <a:gd name="connsiteX56" fmla="*/ 847754 w 1457148"/>
                <a:gd name="connsiteY56" fmla="*/ 971687 h 3641849"/>
                <a:gd name="connsiteX57" fmla="*/ 814502 w 1457148"/>
                <a:gd name="connsiteY57" fmla="*/ 932901 h 3641849"/>
                <a:gd name="connsiteX58" fmla="*/ 803418 w 1457148"/>
                <a:gd name="connsiteY58" fmla="*/ 881187 h 3641849"/>
                <a:gd name="connsiteX59" fmla="*/ 842213 w 1457148"/>
                <a:gd name="connsiteY59" fmla="*/ 832060 h 3641849"/>
                <a:gd name="connsiteX60" fmla="*/ 869923 w 1457148"/>
                <a:gd name="connsiteY60" fmla="*/ 803617 h 3641849"/>
                <a:gd name="connsiteX61" fmla="*/ 894863 w 1457148"/>
                <a:gd name="connsiteY61" fmla="*/ 767417 h 3641849"/>
                <a:gd name="connsiteX62" fmla="*/ 975223 w 1457148"/>
                <a:gd name="connsiteY62" fmla="*/ 762245 h 3641849"/>
                <a:gd name="connsiteX63" fmla="*/ 980764 w 1457148"/>
                <a:gd name="connsiteY63" fmla="*/ 741560 h 3641849"/>
                <a:gd name="connsiteX64" fmla="*/ 1005704 w 1457148"/>
                <a:gd name="connsiteY64" fmla="*/ 705360 h 3641849"/>
                <a:gd name="connsiteX65" fmla="*/ 1039508 w 1457148"/>
                <a:gd name="connsiteY65" fmla="*/ 687772 h 3641849"/>
                <a:gd name="connsiteX66" fmla="*/ 1097148 w 1457148"/>
                <a:gd name="connsiteY66" fmla="*/ 700189 h 3641849"/>
                <a:gd name="connsiteX67" fmla="*/ 1135941 w 1457148"/>
                <a:gd name="connsiteY67" fmla="*/ 720875 h 3641849"/>
                <a:gd name="connsiteX68" fmla="*/ 1183049 w 1457148"/>
                <a:gd name="connsiteY68" fmla="*/ 728632 h 3641849"/>
                <a:gd name="connsiteX69" fmla="*/ 1183049 w 1457148"/>
                <a:gd name="connsiteY69" fmla="*/ 733803 h 3641849"/>
                <a:gd name="connsiteX70" fmla="*/ 1205218 w 1457148"/>
                <a:gd name="connsiteY70" fmla="*/ 674332 h 3641849"/>
                <a:gd name="connsiteX71" fmla="*/ 1215193 w 1457148"/>
                <a:gd name="connsiteY71" fmla="*/ 640714 h 3641849"/>
                <a:gd name="connsiteX72" fmla="*/ 1221844 w 1457148"/>
                <a:gd name="connsiteY72" fmla="*/ 622618 h 3641849"/>
                <a:gd name="connsiteX73" fmla="*/ 1224781 w 1457148"/>
                <a:gd name="connsiteY73" fmla="*/ 591288 h 3641849"/>
                <a:gd name="connsiteX74" fmla="*/ 1144255 w 1457148"/>
                <a:gd name="connsiteY74" fmla="*/ 545048 h 3641849"/>
                <a:gd name="connsiteX75" fmla="*/ 1130400 w 1457148"/>
                <a:gd name="connsiteY75" fmla="*/ 472648 h 3641849"/>
                <a:gd name="connsiteX76" fmla="*/ 1130400 w 1457148"/>
                <a:gd name="connsiteY76" fmla="*/ 454548 h 3641849"/>
                <a:gd name="connsiteX77" fmla="*/ 1141483 w 1457148"/>
                <a:gd name="connsiteY77" fmla="*/ 431276 h 3641849"/>
                <a:gd name="connsiteX78" fmla="*/ 1144255 w 1457148"/>
                <a:gd name="connsiteY78" fmla="*/ 415762 h 3641849"/>
                <a:gd name="connsiteX79" fmla="*/ 1144254 w 1457148"/>
                <a:gd name="connsiteY79" fmla="*/ 358878 h 3641849"/>
                <a:gd name="connsiteX80" fmla="*/ 1122086 w 1457148"/>
                <a:gd name="connsiteY80" fmla="*/ 335607 h 3641849"/>
                <a:gd name="connsiteX81" fmla="*/ 1094376 w 1457148"/>
                <a:gd name="connsiteY81" fmla="*/ 304578 h 3641849"/>
                <a:gd name="connsiteX82" fmla="*/ 1090208 w 1457148"/>
                <a:gd name="connsiteY82" fmla="*/ 280325 h 3641849"/>
                <a:gd name="connsiteX83" fmla="*/ 1141484 w 1457148"/>
                <a:gd name="connsiteY83" fmla="*/ 258034 h 3641849"/>
                <a:gd name="connsiteX84" fmla="*/ 1195064 w 1457148"/>
                <a:gd name="connsiteY84" fmla="*/ 267906 h 3641849"/>
                <a:gd name="connsiteX85" fmla="*/ 1273848 w 1457148"/>
                <a:gd name="connsiteY85" fmla="*/ 279816 h 3641849"/>
                <a:gd name="connsiteX86" fmla="*/ 1358171 w 1457148"/>
                <a:gd name="connsiteY86" fmla="*/ 349175 h 3641849"/>
                <a:gd name="connsiteX87" fmla="*/ 1420306 w 1457148"/>
                <a:gd name="connsiteY87" fmla="*/ 425271 h 3641849"/>
                <a:gd name="connsiteX88" fmla="*/ 1319335 w 1457148"/>
                <a:gd name="connsiteY88" fmla="*/ 454265 h 3641849"/>
                <a:gd name="connsiteX89" fmla="*/ 1303801 w 1457148"/>
                <a:gd name="connsiteY89" fmla="*/ 501372 h 3641849"/>
                <a:gd name="connsiteX90" fmla="*/ 1361471 w 1457148"/>
                <a:gd name="connsiteY90" fmla="*/ 585862 h 3641849"/>
                <a:gd name="connsiteX91" fmla="*/ 1397005 w 1457148"/>
                <a:gd name="connsiteY91" fmla="*/ 591964 h 3641849"/>
                <a:gd name="connsiteX92" fmla="*/ 1449625 w 1457148"/>
                <a:gd name="connsiteY92" fmla="*/ 598304 h 3641849"/>
                <a:gd name="connsiteX93" fmla="*/ 1444662 w 1457148"/>
                <a:gd name="connsiteY93" fmla="*/ 709079 h 3641849"/>
                <a:gd name="connsiteX94" fmla="*/ 1455731 w 1457148"/>
                <a:gd name="connsiteY94" fmla="*/ 1040047 h 3641849"/>
                <a:gd name="connsiteX95" fmla="*/ 1446863 w 1457148"/>
                <a:gd name="connsiteY95" fmla="*/ 1842646 h 3641849"/>
                <a:gd name="connsiteX96" fmla="*/ 1455730 w 1457148"/>
                <a:gd name="connsiteY96" fmla="*/ 2297728 h 3641849"/>
                <a:gd name="connsiteX97" fmla="*/ 1429282 w 1457148"/>
                <a:gd name="connsiteY97" fmla="*/ 3607693 h 3641849"/>
                <a:gd name="connsiteX98" fmla="*/ 1170855 w 1457148"/>
                <a:gd name="connsiteY98" fmla="*/ 3564098 h 3641849"/>
                <a:gd name="connsiteX99" fmla="*/ 1002377 w 1457148"/>
                <a:gd name="connsiteY99" fmla="*/ 3497903 h 3641849"/>
                <a:gd name="connsiteX100" fmla="*/ 825031 w 1457148"/>
                <a:gd name="connsiteY100" fmla="*/ 3406887 h 3641849"/>
                <a:gd name="connsiteX101" fmla="*/ 726733 w 1457148"/>
                <a:gd name="connsiteY101" fmla="*/ 3326370 h 3641849"/>
                <a:gd name="connsiteX102" fmla="*/ 1020995 w 1457148"/>
                <a:gd name="connsiteY102" fmla="*/ 3018734 h 3641849"/>
                <a:gd name="connsiteX103" fmla="*/ 737241 w 1457148"/>
                <a:gd name="connsiteY103" fmla="*/ 2480910 h 3641849"/>
                <a:gd name="connsiteX104" fmla="*/ 879591 w 1457148"/>
                <a:gd name="connsiteY104" fmla="*/ 2241825 h 3641849"/>
                <a:gd name="connsiteX105" fmla="*/ 692904 w 1457148"/>
                <a:gd name="connsiteY105" fmla="*/ 1703134 h 3641849"/>
                <a:gd name="connsiteX106" fmla="*/ 444620 w 1457148"/>
                <a:gd name="connsiteY106" fmla="*/ 1471456 h 3641849"/>
                <a:gd name="connsiteX107" fmla="*/ 435753 w 1457148"/>
                <a:gd name="connsiteY107" fmla="*/ 1355617 h 3641849"/>
                <a:gd name="connsiteX0" fmla="*/ 435753 w 1457148"/>
                <a:gd name="connsiteY0" fmla="*/ 1355617 h 3641849"/>
                <a:gd name="connsiteX1" fmla="*/ 237969 w 1457148"/>
                <a:gd name="connsiteY1" fmla="*/ 1257686 h 3641849"/>
                <a:gd name="connsiteX2" fmla="*/ 215802 w 1457148"/>
                <a:gd name="connsiteY2" fmla="*/ 1125816 h 3641849"/>
                <a:gd name="connsiteX3" fmla="*/ 102190 w 1457148"/>
                <a:gd name="connsiteY3" fmla="*/ 1050829 h 3641849"/>
                <a:gd name="connsiteX4" fmla="*/ 143755 w 1457148"/>
                <a:gd name="connsiteY4" fmla="*/ 1019802 h 3641849"/>
                <a:gd name="connsiteX5" fmla="*/ 96649 w 1457148"/>
                <a:gd name="connsiteY5" fmla="*/ 993947 h 3641849"/>
                <a:gd name="connsiteX6" fmla="*/ 96648 w 1457148"/>
                <a:gd name="connsiteY6" fmla="*/ 794845 h 3641849"/>
                <a:gd name="connsiteX7" fmla="*/ 135443 w 1457148"/>
                <a:gd name="connsiteY7" fmla="*/ 779332 h 3641849"/>
                <a:gd name="connsiteX8" fmla="*/ 21830 w 1457148"/>
                <a:gd name="connsiteY8" fmla="*/ 551792 h 3641849"/>
                <a:gd name="connsiteX9" fmla="*/ 80021 w 1457148"/>
                <a:gd name="connsiteY9" fmla="*/ 458707 h 3641849"/>
                <a:gd name="connsiteX10" fmla="*/ 85563 w 1457148"/>
                <a:gd name="connsiteY10" fmla="*/ 378550 h 3641849"/>
                <a:gd name="connsiteX11" fmla="*/ 10744 w 1457148"/>
                <a:gd name="connsiteY11" fmla="*/ 319079 h 3641849"/>
                <a:gd name="connsiteX12" fmla="*/ 2432 w 1457148"/>
                <a:gd name="connsiteY12" fmla="*/ 251851 h 3641849"/>
                <a:gd name="connsiteX13" fmla="*/ 57852 w 1457148"/>
                <a:gd name="connsiteY13" fmla="*/ 158764 h 3641849"/>
                <a:gd name="connsiteX14" fmla="*/ 77250 w 1457148"/>
                <a:gd name="connsiteY14" fmla="*/ 135494 h 3641849"/>
                <a:gd name="connsiteX15" fmla="*/ 91105 w 1457148"/>
                <a:gd name="connsiteY15" fmla="*/ 117394 h 3641849"/>
                <a:gd name="connsiteX16" fmla="*/ 99418 w 1457148"/>
                <a:gd name="connsiteY16" fmla="*/ 73438 h 3641849"/>
                <a:gd name="connsiteX17" fmla="*/ 124357 w 1457148"/>
                <a:gd name="connsiteY17" fmla="*/ 101880 h 3641849"/>
                <a:gd name="connsiteX18" fmla="*/ 154839 w 1457148"/>
                <a:gd name="connsiteY18" fmla="*/ 88952 h 3641849"/>
                <a:gd name="connsiteX19" fmla="*/ 157609 w 1457148"/>
                <a:gd name="connsiteY19" fmla="*/ 63095 h 3641849"/>
                <a:gd name="connsiteX20" fmla="*/ 165923 w 1457148"/>
                <a:gd name="connsiteY20" fmla="*/ 34652 h 3641849"/>
                <a:gd name="connsiteX21" fmla="*/ 168695 w 1457148"/>
                <a:gd name="connsiteY21" fmla="*/ 3624 h 3641849"/>
                <a:gd name="connsiteX22" fmla="*/ 304475 w 1457148"/>
                <a:gd name="connsiteY22" fmla="*/ 57924 h 3641849"/>
                <a:gd name="connsiteX23" fmla="*/ 334955 w 1457148"/>
                <a:gd name="connsiteY23" fmla="*/ 161352 h 3641849"/>
                <a:gd name="connsiteX24" fmla="*/ 348811 w 1457148"/>
                <a:gd name="connsiteY24" fmla="*/ 184622 h 3641849"/>
                <a:gd name="connsiteX25" fmla="*/ 359895 w 1457148"/>
                <a:gd name="connsiteY25" fmla="*/ 187208 h 3641849"/>
                <a:gd name="connsiteX26" fmla="*/ 473507 w 1457148"/>
                <a:gd name="connsiteY26" fmla="*/ 156181 h 3641849"/>
                <a:gd name="connsiteX27" fmla="*/ 540012 w 1457148"/>
                <a:gd name="connsiteY27" fmla="*/ 166522 h 3641849"/>
                <a:gd name="connsiteX28" fmla="*/ 603746 w 1457148"/>
                <a:gd name="connsiteY28" fmla="*/ 213065 h 3641849"/>
                <a:gd name="connsiteX29" fmla="*/ 617773 w 1457148"/>
                <a:gd name="connsiteY29" fmla="*/ 242621 h 3641849"/>
                <a:gd name="connsiteX30" fmla="*/ 673020 w 1457148"/>
                <a:gd name="connsiteY30" fmla="*/ 277708 h 3641849"/>
                <a:gd name="connsiteX31" fmla="*/ 761694 w 1457148"/>
                <a:gd name="connsiteY31" fmla="*/ 303563 h 3641849"/>
                <a:gd name="connsiteX32" fmla="*/ 833740 w 1457148"/>
                <a:gd name="connsiteY32" fmla="*/ 350106 h 3641849"/>
                <a:gd name="connsiteX33" fmla="*/ 883619 w 1457148"/>
                <a:gd name="connsiteY33" fmla="*/ 401820 h 3641849"/>
                <a:gd name="connsiteX34" fmla="*/ 908558 w 1457148"/>
                <a:gd name="connsiteY34" fmla="*/ 440606 h 3641849"/>
                <a:gd name="connsiteX35" fmla="*/ 941811 w 1457148"/>
                <a:gd name="connsiteY35" fmla="*/ 466462 h 3641849"/>
                <a:gd name="connsiteX36" fmla="*/ 925183 w 1457148"/>
                <a:gd name="connsiteY36" fmla="*/ 691417 h 3641849"/>
                <a:gd name="connsiteX37" fmla="*/ 797717 w 1457148"/>
                <a:gd name="connsiteY37" fmla="*/ 771575 h 3641849"/>
                <a:gd name="connsiteX38" fmla="*/ 684105 w 1457148"/>
                <a:gd name="connsiteY38" fmla="*/ 779331 h 3641849"/>
                <a:gd name="connsiteX39" fmla="*/ 545552 w 1457148"/>
                <a:gd name="connsiteY39" fmla="*/ 758645 h 3641849"/>
                <a:gd name="connsiteX40" fmla="*/ 454108 w 1457148"/>
                <a:gd name="connsiteY40" fmla="*/ 722445 h 3641849"/>
                <a:gd name="connsiteX41" fmla="*/ 434711 w 1457148"/>
                <a:gd name="connsiteY41" fmla="*/ 750888 h 3641849"/>
                <a:gd name="connsiteX42" fmla="*/ 465353 w 1457148"/>
                <a:gd name="connsiteY42" fmla="*/ 824301 h 3641849"/>
                <a:gd name="connsiteX43" fmla="*/ 470894 w 1457148"/>
                <a:gd name="connsiteY43" fmla="*/ 951000 h 3641849"/>
                <a:gd name="connsiteX44" fmla="*/ 443024 w 1457148"/>
                <a:gd name="connsiteY44" fmla="*/ 1012043 h 3641849"/>
                <a:gd name="connsiteX45" fmla="*/ 498443 w 1457148"/>
                <a:gd name="connsiteY45" fmla="*/ 1032728 h 3641849"/>
                <a:gd name="connsiteX46" fmla="*/ 515071 w 1457148"/>
                <a:gd name="connsiteY46" fmla="*/ 1048242 h 3641849"/>
                <a:gd name="connsiteX47" fmla="*/ 540011 w 1457148"/>
                <a:gd name="connsiteY47" fmla="*/ 1074099 h 3641849"/>
                <a:gd name="connsiteX48" fmla="*/ 537240 w 1457148"/>
                <a:gd name="connsiteY48" fmla="*/ 1076685 h 3641849"/>
                <a:gd name="connsiteX49" fmla="*/ 576033 w 1457148"/>
                <a:gd name="connsiteY49" fmla="*/ 1071514 h 3641849"/>
                <a:gd name="connsiteX50" fmla="*/ 584347 w 1457148"/>
                <a:gd name="connsiteY50" fmla="*/ 1035314 h 3641849"/>
                <a:gd name="connsiteX51" fmla="*/ 545552 w 1457148"/>
                <a:gd name="connsiteY51" fmla="*/ 957743 h 3641849"/>
                <a:gd name="connsiteX52" fmla="*/ 614828 w 1457148"/>
                <a:gd name="connsiteY52" fmla="*/ 911200 h 3641849"/>
                <a:gd name="connsiteX53" fmla="*/ 682600 w 1457148"/>
                <a:gd name="connsiteY53" fmla="*/ 918934 h 3641849"/>
                <a:gd name="connsiteX54" fmla="*/ 706433 w 1457148"/>
                <a:gd name="connsiteY54" fmla="*/ 951001 h 3641849"/>
                <a:gd name="connsiteX55" fmla="*/ 862162 w 1457148"/>
                <a:gd name="connsiteY55" fmla="*/ 1007364 h 3641849"/>
                <a:gd name="connsiteX56" fmla="*/ 847754 w 1457148"/>
                <a:gd name="connsiteY56" fmla="*/ 971687 h 3641849"/>
                <a:gd name="connsiteX57" fmla="*/ 814502 w 1457148"/>
                <a:gd name="connsiteY57" fmla="*/ 932901 h 3641849"/>
                <a:gd name="connsiteX58" fmla="*/ 803418 w 1457148"/>
                <a:gd name="connsiteY58" fmla="*/ 881187 h 3641849"/>
                <a:gd name="connsiteX59" fmla="*/ 842213 w 1457148"/>
                <a:gd name="connsiteY59" fmla="*/ 832060 h 3641849"/>
                <a:gd name="connsiteX60" fmla="*/ 869923 w 1457148"/>
                <a:gd name="connsiteY60" fmla="*/ 803617 h 3641849"/>
                <a:gd name="connsiteX61" fmla="*/ 894863 w 1457148"/>
                <a:gd name="connsiteY61" fmla="*/ 767417 h 3641849"/>
                <a:gd name="connsiteX62" fmla="*/ 975223 w 1457148"/>
                <a:gd name="connsiteY62" fmla="*/ 762245 h 3641849"/>
                <a:gd name="connsiteX63" fmla="*/ 980764 w 1457148"/>
                <a:gd name="connsiteY63" fmla="*/ 741560 h 3641849"/>
                <a:gd name="connsiteX64" fmla="*/ 1005704 w 1457148"/>
                <a:gd name="connsiteY64" fmla="*/ 705360 h 3641849"/>
                <a:gd name="connsiteX65" fmla="*/ 1039508 w 1457148"/>
                <a:gd name="connsiteY65" fmla="*/ 687772 h 3641849"/>
                <a:gd name="connsiteX66" fmla="*/ 1097148 w 1457148"/>
                <a:gd name="connsiteY66" fmla="*/ 700189 h 3641849"/>
                <a:gd name="connsiteX67" fmla="*/ 1135941 w 1457148"/>
                <a:gd name="connsiteY67" fmla="*/ 720875 h 3641849"/>
                <a:gd name="connsiteX68" fmla="*/ 1183049 w 1457148"/>
                <a:gd name="connsiteY68" fmla="*/ 728632 h 3641849"/>
                <a:gd name="connsiteX69" fmla="*/ 1183049 w 1457148"/>
                <a:gd name="connsiteY69" fmla="*/ 733803 h 3641849"/>
                <a:gd name="connsiteX70" fmla="*/ 1205218 w 1457148"/>
                <a:gd name="connsiteY70" fmla="*/ 674332 h 3641849"/>
                <a:gd name="connsiteX71" fmla="*/ 1215193 w 1457148"/>
                <a:gd name="connsiteY71" fmla="*/ 640714 h 3641849"/>
                <a:gd name="connsiteX72" fmla="*/ 1221844 w 1457148"/>
                <a:gd name="connsiteY72" fmla="*/ 622618 h 3641849"/>
                <a:gd name="connsiteX73" fmla="*/ 1224781 w 1457148"/>
                <a:gd name="connsiteY73" fmla="*/ 591288 h 3641849"/>
                <a:gd name="connsiteX74" fmla="*/ 1144255 w 1457148"/>
                <a:gd name="connsiteY74" fmla="*/ 545048 h 3641849"/>
                <a:gd name="connsiteX75" fmla="*/ 1130400 w 1457148"/>
                <a:gd name="connsiteY75" fmla="*/ 472648 h 3641849"/>
                <a:gd name="connsiteX76" fmla="*/ 1130400 w 1457148"/>
                <a:gd name="connsiteY76" fmla="*/ 454548 h 3641849"/>
                <a:gd name="connsiteX77" fmla="*/ 1141483 w 1457148"/>
                <a:gd name="connsiteY77" fmla="*/ 431276 h 3641849"/>
                <a:gd name="connsiteX78" fmla="*/ 1144255 w 1457148"/>
                <a:gd name="connsiteY78" fmla="*/ 415762 h 3641849"/>
                <a:gd name="connsiteX79" fmla="*/ 1144254 w 1457148"/>
                <a:gd name="connsiteY79" fmla="*/ 358878 h 3641849"/>
                <a:gd name="connsiteX80" fmla="*/ 1122086 w 1457148"/>
                <a:gd name="connsiteY80" fmla="*/ 335607 h 3641849"/>
                <a:gd name="connsiteX81" fmla="*/ 1094376 w 1457148"/>
                <a:gd name="connsiteY81" fmla="*/ 304578 h 3641849"/>
                <a:gd name="connsiteX82" fmla="*/ 1090208 w 1457148"/>
                <a:gd name="connsiteY82" fmla="*/ 280325 h 3641849"/>
                <a:gd name="connsiteX83" fmla="*/ 1141484 w 1457148"/>
                <a:gd name="connsiteY83" fmla="*/ 258034 h 3641849"/>
                <a:gd name="connsiteX84" fmla="*/ 1195064 w 1457148"/>
                <a:gd name="connsiteY84" fmla="*/ 267906 h 3641849"/>
                <a:gd name="connsiteX85" fmla="*/ 1273848 w 1457148"/>
                <a:gd name="connsiteY85" fmla="*/ 279816 h 3641849"/>
                <a:gd name="connsiteX86" fmla="*/ 1358171 w 1457148"/>
                <a:gd name="connsiteY86" fmla="*/ 349175 h 3641849"/>
                <a:gd name="connsiteX87" fmla="*/ 1420306 w 1457148"/>
                <a:gd name="connsiteY87" fmla="*/ 425271 h 3641849"/>
                <a:gd name="connsiteX88" fmla="*/ 1319335 w 1457148"/>
                <a:gd name="connsiteY88" fmla="*/ 454265 h 3641849"/>
                <a:gd name="connsiteX89" fmla="*/ 1303801 w 1457148"/>
                <a:gd name="connsiteY89" fmla="*/ 501372 h 3641849"/>
                <a:gd name="connsiteX90" fmla="*/ 1361471 w 1457148"/>
                <a:gd name="connsiteY90" fmla="*/ 585862 h 3641849"/>
                <a:gd name="connsiteX91" fmla="*/ 1397005 w 1457148"/>
                <a:gd name="connsiteY91" fmla="*/ 591964 h 3641849"/>
                <a:gd name="connsiteX92" fmla="*/ 1449625 w 1457148"/>
                <a:gd name="connsiteY92" fmla="*/ 598304 h 3641849"/>
                <a:gd name="connsiteX93" fmla="*/ 1444662 w 1457148"/>
                <a:gd name="connsiteY93" fmla="*/ 709079 h 3641849"/>
                <a:gd name="connsiteX94" fmla="*/ 1455731 w 1457148"/>
                <a:gd name="connsiteY94" fmla="*/ 1040047 h 3641849"/>
                <a:gd name="connsiteX95" fmla="*/ 1446863 w 1457148"/>
                <a:gd name="connsiteY95" fmla="*/ 1842646 h 3641849"/>
                <a:gd name="connsiteX96" fmla="*/ 1455730 w 1457148"/>
                <a:gd name="connsiteY96" fmla="*/ 2297728 h 3641849"/>
                <a:gd name="connsiteX97" fmla="*/ 1429282 w 1457148"/>
                <a:gd name="connsiteY97" fmla="*/ 3607693 h 3641849"/>
                <a:gd name="connsiteX98" fmla="*/ 1170855 w 1457148"/>
                <a:gd name="connsiteY98" fmla="*/ 3564098 h 3641849"/>
                <a:gd name="connsiteX99" fmla="*/ 1002377 w 1457148"/>
                <a:gd name="connsiteY99" fmla="*/ 3497903 h 3641849"/>
                <a:gd name="connsiteX100" fmla="*/ 825031 w 1457148"/>
                <a:gd name="connsiteY100" fmla="*/ 3406887 h 3641849"/>
                <a:gd name="connsiteX101" fmla="*/ 726733 w 1457148"/>
                <a:gd name="connsiteY101" fmla="*/ 3326370 h 3641849"/>
                <a:gd name="connsiteX102" fmla="*/ 1020995 w 1457148"/>
                <a:gd name="connsiteY102" fmla="*/ 3018734 h 3641849"/>
                <a:gd name="connsiteX103" fmla="*/ 737241 w 1457148"/>
                <a:gd name="connsiteY103" fmla="*/ 2480910 h 3641849"/>
                <a:gd name="connsiteX104" fmla="*/ 879591 w 1457148"/>
                <a:gd name="connsiteY104" fmla="*/ 2241825 h 3641849"/>
                <a:gd name="connsiteX105" fmla="*/ 692904 w 1457148"/>
                <a:gd name="connsiteY105" fmla="*/ 1703134 h 3641849"/>
                <a:gd name="connsiteX106" fmla="*/ 444620 w 1457148"/>
                <a:gd name="connsiteY106" fmla="*/ 1471456 h 3641849"/>
                <a:gd name="connsiteX107" fmla="*/ 435753 w 1457148"/>
                <a:gd name="connsiteY107" fmla="*/ 1355617 h 3641849"/>
                <a:gd name="connsiteX0" fmla="*/ 435753 w 1457148"/>
                <a:gd name="connsiteY0" fmla="*/ 1355617 h 3641849"/>
                <a:gd name="connsiteX1" fmla="*/ 237969 w 1457148"/>
                <a:gd name="connsiteY1" fmla="*/ 1257686 h 3641849"/>
                <a:gd name="connsiteX2" fmla="*/ 215802 w 1457148"/>
                <a:gd name="connsiteY2" fmla="*/ 1128403 h 3641849"/>
                <a:gd name="connsiteX3" fmla="*/ 102190 w 1457148"/>
                <a:gd name="connsiteY3" fmla="*/ 1050829 h 3641849"/>
                <a:gd name="connsiteX4" fmla="*/ 143755 w 1457148"/>
                <a:gd name="connsiteY4" fmla="*/ 1019802 h 3641849"/>
                <a:gd name="connsiteX5" fmla="*/ 96649 w 1457148"/>
                <a:gd name="connsiteY5" fmla="*/ 993947 h 3641849"/>
                <a:gd name="connsiteX6" fmla="*/ 96648 w 1457148"/>
                <a:gd name="connsiteY6" fmla="*/ 794845 h 3641849"/>
                <a:gd name="connsiteX7" fmla="*/ 135443 w 1457148"/>
                <a:gd name="connsiteY7" fmla="*/ 779332 h 3641849"/>
                <a:gd name="connsiteX8" fmla="*/ 21830 w 1457148"/>
                <a:gd name="connsiteY8" fmla="*/ 551792 h 3641849"/>
                <a:gd name="connsiteX9" fmla="*/ 80021 w 1457148"/>
                <a:gd name="connsiteY9" fmla="*/ 458707 h 3641849"/>
                <a:gd name="connsiteX10" fmla="*/ 85563 w 1457148"/>
                <a:gd name="connsiteY10" fmla="*/ 378550 h 3641849"/>
                <a:gd name="connsiteX11" fmla="*/ 10744 w 1457148"/>
                <a:gd name="connsiteY11" fmla="*/ 319079 h 3641849"/>
                <a:gd name="connsiteX12" fmla="*/ 2432 w 1457148"/>
                <a:gd name="connsiteY12" fmla="*/ 251851 h 3641849"/>
                <a:gd name="connsiteX13" fmla="*/ 57852 w 1457148"/>
                <a:gd name="connsiteY13" fmla="*/ 158764 h 3641849"/>
                <a:gd name="connsiteX14" fmla="*/ 77250 w 1457148"/>
                <a:gd name="connsiteY14" fmla="*/ 135494 h 3641849"/>
                <a:gd name="connsiteX15" fmla="*/ 91105 w 1457148"/>
                <a:gd name="connsiteY15" fmla="*/ 117394 h 3641849"/>
                <a:gd name="connsiteX16" fmla="*/ 99418 w 1457148"/>
                <a:gd name="connsiteY16" fmla="*/ 73438 h 3641849"/>
                <a:gd name="connsiteX17" fmla="*/ 124357 w 1457148"/>
                <a:gd name="connsiteY17" fmla="*/ 101880 h 3641849"/>
                <a:gd name="connsiteX18" fmla="*/ 154839 w 1457148"/>
                <a:gd name="connsiteY18" fmla="*/ 88952 h 3641849"/>
                <a:gd name="connsiteX19" fmla="*/ 157609 w 1457148"/>
                <a:gd name="connsiteY19" fmla="*/ 63095 h 3641849"/>
                <a:gd name="connsiteX20" fmla="*/ 165923 w 1457148"/>
                <a:gd name="connsiteY20" fmla="*/ 34652 h 3641849"/>
                <a:gd name="connsiteX21" fmla="*/ 168695 w 1457148"/>
                <a:gd name="connsiteY21" fmla="*/ 3624 h 3641849"/>
                <a:gd name="connsiteX22" fmla="*/ 304475 w 1457148"/>
                <a:gd name="connsiteY22" fmla="*/ 57924 h 3641849"/>
                <a:gd name="connsiteX23" fmla="*/ 334955 w 1457148"/>
                <a:gd name="connsiteY23" fmla="*/ 161352 h 3641849"/>
                <a:gd name="connsiteX24" fmla="*/ 348811 w 1457148"/>
                <a:gd name="connsiteY24" fmla="*/ 184622 h 3641849"/>
                <a:gd name="connsiteX25" fmla="*/ 359895 w 1457148"/>
                <a:gd name="connsiteY25" fmla="*/ 187208 h 3641849"/>
                <a:gd name="connsiteX26" fmla="*/ 473507 w 1457148"/>
                <a:gd name="connsiteY26" fmla="*/ 156181 h 3641849"/>
                <a:gd name="connsiteX27" fmla="*/ 540012 w 1457148"/>
                <a:gd name="connsiteY27" fmla="*/ 166522 h 3641849"/>
                <a:gd name="connsiteX28" fmla="*/ 603746 w 1457148"/>
                <a:gd name="connsiteY28" fmla="*/ 213065 h 3641849"/>
                <a:gd name="connsiteX29" fmla="*/ 617773 w 1457148"/>
                <a:gd name="connsiteY29" fmla="*/ 242621 h 3641849"/>
                <a:gd name="connsiteX30" fmla="*/ 673020 w 1457148"/>
                <a:gd name="connsiteY30" fmla="*/ 277708 h 3641849"/>
                <a:gd name="connsiteX31" fmla="*/ 761694 w 1457148"/>
                <a:gd name="connsiteY31" fmla="*/ 303563 h 3641849"/>
                <a:gd name="connsiteX32" fmla="*/ 833740 w 1457148"/>
                <a:gd name="connsiteY32" fmla="*/ 350106 h 3641849"/>
                <a:gd name="connsiteX33" fmla="*/ 883619 w 1457148"/>
                <a:gd name="connsiteY33" fmla="*/ 401820 h 3641849"/>
                <a:gd name="connsiteX34" fmla="*/ 908558 w 1457148"/>
                <a:gd name="connsiteY34" fmla="*/ 440606 h 3641849"/>
                <a:gd name="connsiteX35" fmla="*/ 941811 w 1457148"/>
                <a:gd name="connsiteY35" fmla="*/ 466462 h 3641849"/>
                <a:gd name="connsiteX36" fmla="*/ 925183 w 1457148"/>
                <a:gd name="connsiteY36" fmla="*/ 691417 h 3641849"/>
                <a:gd name="connsiteX37" fmla="*/ 797717 w 1457148"/>
                <a:gd name="connsiteY37" fmla="*/ 771575 h 3641849"/>
                <a:gd name="connsiteX38" fmla="*/ 684105 w 1457148"/>
                <a:gd name="connsiteY38" fmla="*/ 779331 h 3641849"/>
                <a:gd name="connsiteX39" fmla="*/ 545552 w 1457148"/>
                <a:gd name="connsiteY39" fmla="*/ 758645 h 3641849"/>
                <a:gd name="connsiteX40" fmla="*/ 454108 w 1457148"/>
                <a:gd name="connsiteY40" fmla="*/ 722445 h 3641849"/>
                <a:gd name="connsiteX41" fmla="*/ 434711 w 1457148"/>
                <a:gd name="connsiteY41" fmla="*/ 750888 h 3641849"/>
                <a:gd name="connsiteX42" fmla="*/ 465353 w 1457148"/>
                <a:gd name="connsiteY42" fmla="*/ 824301 h 3641849"/>
                <a:gd name="connsiteX43" fmla="*/ 470894 w 1457148"/>
                <a:gd name="connsiteY43" fmla="*/ 951000 h 3641849"/>
                <a:gd name="connsiteX44" fmla="*/ 443024 w 1457148"/>
                <a:gd name="connsiteY44" fmla="*/ 1012043 h 3641849"/>
                <a:gd name="connsiteX45" fmla="*/ 498443 w 1457148"/>
                <a:gd name="connsiteY45" fmla="*/ 1032728 h 3641849"/>
                <a:gd name="connsiteX46" fmla="*/ 515071 w 1457148"/>
                <a:gd name="connsiteY46" fmla="*/ 1048242 h 3641849"/>
                <a:gd name="connsiteX47" fmla="*/ 540011 w 1457148"/>
                <a:gd name="connsiteY47" fmla="*/ 1074099 h 3641849"/>
                <a:gd name="connsiteX48" fmla="*/ 537240 w 1457148"/>
                <a:gd name="connsiteY48" fmla="*/ 1076685 h 3641849"/>
                <a:gd name="connsiteX49" fmla="*/ 576033 w 1457148"/>
                <a:gd name="connsiteY49" fmla="*/ 1071514 h 3641849"/>
                <a:gd name="connsiteX50" fmla="*/ 584347 w 1457148"/>
                <a:gd name="connsiteY50" fmla="*/ 1035314 h 3641849"/>
                <a:gd name="connsiteX51" fmla="*/ 545552 w 1457148"/>
                <a:gd name="connsiteY51" fmla="*/ 957743 h 3641849"/>
                <a:gd name="connsiteX52" fmla="*/ 614828 w 1457148"/>
                <a:gd name="connsiteY52" fmla="*/ 911200 h 3641849"/>
                <a:gd name="connsiteX53" fmla="*/ 682600 w 1457148"/>
                <a:gd name="connsiteY53" fmla="*/ 918934 h 3641849"/>
                <a:gd name="connsiteX54" fmla="*/ 706433 w 1457148"/>
                <a:gd name="connsiteY54" fmla="*/ 951001 h 3641849"/>
                <a:gd name="connsiteX55" fmla="*/ 862162 w 1457148"/>
                <a:gd name="connsiteY55" fmla="*/ 1007364 h 3641849"/>
                <a:gd name="connsiteX56" fmla="*/ 847754 w 1457148"/>
                <a:gd name="connsiteY56" fmla="*/ 971687 h 3641849"/>
                <a:gd name="connsiteX57" fmla="*/ 814502 w 1457148"/>
                <a:gd name="connsiteY57" fmla="*/ 932901 h 3641849"/>
                <a:gd name="connsiteX58" fmla="*/ 803418 w 1457148"/>
                <a:gd name="connsiteY58" fmla="*/ 881187 h 3641849"/>
                <a:gd name="connsiteX59" fmla="*/ 842213 w 1457148"/>
                <a:gd name="connsiteY59" fmla="*/ 832060 h 3641849"/>
                <a:gd name="connsiteX60" fmla="*/ 869923 w 1457148"/>
                <a:gd name="connsiteY60" fmla="*/ 803617 h 3641849"/>
                <a:gd name="connsiteX61" fmla="*/ 894863 w 1457148"/>
                <a:gd name="connsiteY61" fmla="*/ 767417 h 3641849"/>
                <a:gd name="connsiteX62" fmla="*/ 975223 w 1457148"/>
                <a:gd name="connsiteY62" fmla="*/ 762245 h 3641849"/>
                <a:gd name="connsiteX63" fmla="*/ 980764 w 1457148"/>
                <a:gd name="connsiteY63" fmla="*/ 741560 h 3641849"/>
                <a:gd name="connsiteX64" fmla="*/ 1005704 w 1457148"/>
                <a:gd name="connsiteY64" fmla="*/ 705360 h 3641849"/>
                <a:gd name="connsiteX65" fmla="*/ 1039508 w 1457148"/>
                <a:gd name="connsiteY65" fmla="*/ 687772 h 3641849"/>
                <a:gd name="connsiteX66" fmla="*/ 1097148 w 1457148"/>
                <a:gd name="connsiteY66" fmla="*/ 700189 h 3641849"/>
                <a:gd name="connsiteX67" fmla="*/ 1135941 w 1457148"/>
                <a:gd name="connsiteY67" fmla="*/ 720875 h 3641849"/>
                <a:gd name="connsiteX68" fmla="*/ 1183049 w 1457148"/>
                <a:gd name="connsiteY68" fmla="*/ 728632 h 3641849"/>
                <a:gd name="connsiteX69" fmla="*/ 1183049 w 1457148"/>
                <a:gd name="connsiteY69" fmla="*/ 733803 h 3641849"/>
                <a:gd name="connsiteX70" fmla="*/ 1205218 w 1457148"/>
                <a:gd name="connsiteY70" fmla="*/ 674332 h 3641849"/>
                <a:gd name="connsiteX71" fmla="*/ 1215193 w 1457148"/>
                <a:gd name="connsiteY71" fmla="*/ 640714 h 3641849"/>
                <a:gd name="connsiteX72" fmla="*/ 1221844 w 1457148"/>
                <a:gd name="connsiteY72" fmla="*/ 622618 h 3641849"/>
                <a:gd name="connsiteX73" fmla="*/ 1224781 w 1457148"/>
                <a:gd name="connsiteY73" fmla="*/ 591288 h 3641849"/>
                <a:gd name="connsiteX74" fmla="*/ 1144255 w 1457148"/>
                <a:gd name="connsiteY74" fmla="*/ 545048 h 3641849"/>
                <a:gd name="connsiteX75" fmla="*/ 1130400 w 1457148"/>
                <a:gd name="connsiteY75" fmla="*/ 472648 h 3641849"/>
                <a:gd name="connsiteX76" fmla="*/ 1130400 w 1457148"/>
                <a:gd name="connsiteY76" fmla="*/ 454548 h 3641849"/>
                <a:gd name="connsiteX77" fmla="*/ 1141483 w 1457148"/>
                <a:gd name="connsiteY77" fmla="*/ 431276 h 3641849"/>
                <a:gd name="connsiteX78" fmla="*/ 1144255 w 1457148"/>
                <a:gd name="connsiteY78" fmla="*/ 415762 h 3641849"/>
                <a:gd name="connsiteX79" fmla="*/ 1144254 w 1457148"/>
                <a:gd name="connsiteY79" fmla="*/ 358878 h 3641849"/>
                <a:gd name="connsiteX80" fmla="*/ 1122086 w 1457148"/>
                <a:gd name="connsiteY80" fmla="*/ 335607 h 3641849"/>
                <a:gd name="connsiteX81" fmla="*/ 1094376 w 1457148"/>
                <a:gd name="connsiteY81" fmla="*/ 304578 h 3641849"/>
                <a:gd name="connsiteX82" fmla="*/ 1090208 w 1457148"/>
                <a:gd name="connsiteY82" fmla="*/ 280325 h 3641849"/>
                <a:gd name="connsiteX83" fmla="*/ 1141484 w 1457148"/>
                <a:gd name="connsiteY83" fmla="*/ 258034 h 3641849"/>
                <a:gd name="connsiteX84" fmla="*/ 1195064 w 1457148"/>
                <a:gd name="connsiteY84" fmla="*/ 267906 h 3641849"/>
                <a:gd name="connsiteX85" fmla="*/ 1273848 w 1457148"/>
                <a:gd name="connsiteY85" fmla="*/ 279816 h 3641849"/>
                <a:gd name="connsiteX86" fmla="*/ 1358171 w 1457148"/>
                <a:gd name="connsiteY86" fmla="*/ 349175 h 3641849"/>
                <a:gd name="connsiteX87" fmla="*/ 1420306 w 1457148"/>
                <a:gd name="connsiteY87" fmla="*/ 425271 h 3641849"/>
                <a:gd name="connsiteX88" fmla="*/ 1319335 w 1457148"/>
                <a:gd name="connsiteY88" fmla="*/ 454265 h 3641849"/>
                <a:gd name="connsiteX89" fmla="*/ 1303801 w 1457148"/>
                <a:gd name="connsiteY89" fmla="*/ 501372 h 3641849"/>
                <a:gd name="connsiteX90" fmla="*/ 1361471 w 1457148"/>
                <a:gd name="connsiteY90" fmla="*/ 585862 h 3641849"/>
                <a:gd name="connsiteX91" fmla="*/ 1397005 w 1457148"/>
                <a:gd name="connsiteY91" fmla="*/ 591964 h 3641849"/>
                <a:gd name="connsiteX92" fmla="*/ 1449625 w 1457148"/>
                <a:gd name="connsiteY92" fmla="*/ 598304 h 3641849"/>
                <a:gd name="connsiteX93" fmla="*/ 1444662 w 1457148"/>
                <a:gd name="connsiteY93" fmla="*/ 709079 h 3641849"/>
                <a:gd name="connsiteX94" fmla="*/ 1455731 w 1457148"/>
                <a:gd name="connsiteY94" fmla="*/ 1040047 h 3641849"/>
                <a:gd name="connsiteX95" fmla="*/ 1446863 w 1457148"/>
                <a:gd name="connsiteY95" fmla="*/ 1842646 h 3641849"/>
                <a:gd name="connsiteX96" fmla="*/ 1455730 w 1457148"/>
                <a:gd name="connsiteY96" fmla="*/ 2297728 h 3641849"/>
                <a:gd name="connsiteX97" fmla="*/ 1429282 w 1457148"/>
                <a:gd name="connsiteY97" fmla="*/ 3607693 h 3641849"/>
                <a:gd name="connsiteX98" fmla="*/ 1170855 w 1457148"/>
                <a:gd name="connsiteY98" fmla="*/ 3564098 h 3641849"/>
                <a:gd name="connsiteX99" fmla="*/ 1002377 w 1457148"/>
                <a:gd name="connsiteY99" fmla="*/ 3497903 h 3641849"/>
                <a:gd name="connsiteX100" fmla="*/ 825031 w 1457148"/>
                <a:gd name="connsiteY100" fmla="*/ 3406887 h 3641849"/>
                <a:gd name="connsiteX101" fmla="*/ 726733 w 1457148"/>
                <a:gd name="connsiteY101" fmla="*/ 3326370 h 3641849"/>
                <a:gd name="connsiteX102" fmla="*/ 1020995 w 1457148"/>
                <a:gd name="connsiteY102" fmla="*/ 3018734 h 3641849"/>
                <a:gd name="connsiteX103" fmla="*/ 737241 w 1457148"/>
                <a:gd name="connsiteY103" fmla="*/ 2480910 h 3641849"/>
                <a:gd name="connsiteX104" fmla="*/ 879591 w 1457148"/>
                <a:gd name="connsiteY104" fmla="*/ 2241825 h 3641849"/>
                <a:gd name="connsiteX105" fmla="*/ 692904 w 1457148"/>
                <a:gd name="connsiteY105" fmla="*/ 1703134 h 3641849"/>
                <a:gd name="connsiteX106" fmla="*/ 444620 w 1457148"/>
                <a:gd name="connsiteY106" fmla="*/ 1471456 h 3641849"/>
                <a:gd name="connsiteX107" fmla="*/ 435753 w 1457148"/>
                <a:gd name="connsiteY107" fmla="*/ 1355617 h 3641849"/>
                <a:gd name="connsiteX0" fmla="*/ 435753 w 1457148"/>
                <a:gd name="connsiteY0" fmla="*/ 1355617 h 3641849"/>
                <a:gd name="connsiteX1" fmla="*/ 237969 w 1457148"/>
                <a:gd name="connsiteY1" fmla="*/ 1257686 h 3641849"/>
                <a:gd name="connsiteX2" fmla="*/ 168695 w 1457148"/>
                <a:gd name="connsiteY2" fmla="*/ 1094789 h 3641849"/>
                <a:gd name="connsiteX3" fmla="*/ 102190 w 1457148"/>
                <a:gd name="connsiteY3" fmla="*/ 1050829 h 3641849"/>
                <a:gd name="connsiteX4" fmla="*/ 143755 w 1457148"/>
                <a:gd name="connsiteY4" fmla="*/ 1019802 h 3641849"/>
                <a:gd name="connsiteX5" fmla="*/ 96649 w 1457148"/>
                <a:gd name="connsiteY5" fmla="*/ 993947 h 3641849"/>
                <a:gd name="connsiteX6" fmla="*/ 96648 w 1457148"/>
                <a:gd name="connsiteY6" fmla="*/ 794845 h 3641849"/>
                <a:gd name="connsiteX7" fmla="*/ 135443 w 1457148"/>
                <a:gd name="connsiteY7" fmla="*/ 779332 h 3641849"/>
                <a:gd name="connsiteX8" fmla="*/ 21830 w 1457148"/>
                <a:gd name="connsiteY8" fmla="*/ 551792 h 3641849"/>
                <a:gd name="connsiteX9" fmla="*/ 80021 w 1457148"/>
                <a:gd name="connsiteY9" fmla="*/ 458707 h 3641849"/>
                <a:gd name="connsiteX10" fmla="*/ 85563 w 1457148"/>
                <a:gd name="connsiteY10" fmla="*/ 378550 h 3641849"/>
                <a:gd name="connsiteX11" fmla="*/ 10744 w 1457148"/>
                <a:gd name="connsiteY11" fmla="*/ 319079 h 3641849"/>
                <a:gd name="connsiteX12" fmla="*/ 2432 w 1457148"/>
                <a:gd name="connsiteY12" fmla="*/ 251851 h 3641849"/>
                <a:gd name="connsiteX13" fmla="*/ 57852 w 1457148"/>
                <a:gd name="connsiteY13" fmla="*/ 158764 h 3641849"/>
                <a:gd name="connsiteX14" fmla="*/ 77250 w 1457148"/>
                <a:gd name="connsiteY14" fmla="*/ 135494 h 3641849"/>
                <a:gd name="connsiteX15" fmla="*/ 91105 w 1457148"/>
                <a:gd name="connsiteY15" fmla="*/ 117394 h 3641849"/>
                <a:gd name="connsiteX16" fmla="*/ 99418 w 1457148"/>
                <a:gd name="connsiteY16" fmla="*/ 73438 h 3641849"/>
                <a:gd name="connsiteX17" fmla="*/ 124357 w 1457148"/>
                <a:gd name="connsiteY17" fmla="*/ 101880 h 3641849"/>
                <a:gd name="connsiteX18" fmla="*/ 154839 w 1457148"/>
                <a:gd name="connsiteY18" fmla="*/ 88952 h 3641849"/>
                <a:gd name="connsiteX19" fmla="*/ 157609 w 1457148"/>
                <a:gd name="connsiteY19" fmla="*/ 63095 h 3641849"/>
                <a:gd name="connsiteX20" fmla="*/ 165923 w 1457148"/>
                <a:gd name="connsiteY20" fmla="*/ 34652 h 3641849"/>
                <a:gd name="connsiteX21" fmla="*/ 168695 w 1457148"/>
                <a:gd name="connsiteY21" fmla="*/ 3624 h 3641849"/>
                <a:gd name="connsiteX22" fmla="*/ 304475 w 1457148"/>
                <a:gd name="connsiteY22" fmla="*/ 57924 h 3641849"/>
                <a:gd name="connsiteX23" fmla="*/ 334955 w 1457148"/>
                <a:gd name="connsiteY23" fmla="*/ 161352 h 3641849"/>
                <a:gd name="connsiteX24" fmla="*/ 348811 w 1457148"/>
                <a:gd name="connsiteY24" fmla="*/ 184622 h 3641849"/>
                <a:gd name="connsiteX25" fmla="*/ 359895 w 1457148"/>
                <a:gd name="connsiteY25" fmla="*/ 187208 h 3641849"/>
                <a:gd name="connsiteX26" fmla="*/ 473507 w 1457148"/>
                <a:gd name="connsiteY26" fmla="*/ 156181 h 3641849"/>
                <a:gd name="connsiteX27" fmla="*/ 540012 w 1457148"/>
                <a:gd name="connsiteY27" fmla="*/ 166522 h 3641849"/>
                <a:gd name="connsiteX28" fmla="*/ 603746 w 1457148"/>
                <a:gd name="connsiteY28" fmla="*/ 213065 h 3641849"/>
                <a:gd name="connsiteX29" fmla="*/ 617773 w 1457148"/>
                <a:gd name="connsiteY29" fmla="*/ 242621 h 3641849"/>
                <a:gd name="connsiteX30" fmla="*/ 673020 w 1457148"/>
                <a:gd name="connsiteY30" fmla="*/ 277708 h 3641849"/>
                <a:gd name="connsiteX31" fmla="*/ 761694 w 1457148"/>
                <a:gd name="connsiteY31" fmla="*/ 303563 h 3641849"/>
                <a:gd name="connsiteX32" fmla="*/ 833740 w 1457148"/>
                <a:gd name="connsiteY32" fmla="*/ 350106 h 3641849"/>
                <a:gd name="connsiteX33" fmla="*/ 883619 w 1457148"/>
                <a:gd name="connsiteY33" fmla="*/ 401820 h 3641849"/>
                <a:gd name="connsiteX34" fmla="*/ 908558 w 1457148"/>
                <a:gd name="connsiteY34" fmla="*/ 440606 h 3641849"/>
                <a:gd name="connsiteX35" fmla="*/ 941811 w 1457148"/>
                <a:gd name="connsiteY35" fmla="*/ 466462 h 3641849"/>
                <a:gd name="connsiteX36" fmla="*/ 925183 w 1457148"/>
                <a:gd name="connsiteY36" fmla="*/ 691417 h 3641849"/>
                <a:gd name="connsiteX37" fmla="*/ 797717 w 1457148"/>
                <a:gd name="connsiteY37" fmla="*/ 771575 h 3641849"/>
                <a:gd name="connsiteX38" fmla="*/ 684105 w 1457148"/>
                <a:gd name="connsiteY38" fmla="*/ 779331 h 3641849"/>
                <a:gd name="connsiteX39" fmla="*/ 545552 w 1457148"/>
                <a:gd name="connsiteY39" fmla="*/ 758645 h 3641849"/>
                <a:gd name="connsiteX40" fmla="*/ 454108 w 1457148"/>
                <a:gd name="connsiteY40" fmla="*/ 722445 h 3641849"/>
                <a:gd name="connsiteX41" fmla="*/ 434711 w 1457148"/>
                <a:gd name="connsiteY41" fmla="*/ 750888 h 3641849"/>
                <a:gd name="connsiteX42" fmla="*/ 465353 w 1457148"/>
                <a:gd name="connsiteY42" fmla="*/ 824301 h 3641849"/>
                <a:gd name="connsiteX43" fmla="*/ 470894 w 1457148"/>
                <a:gd name="connsiteY43" fmla="*/ 951000 h 3641849"/>
                <a:gd name="connsiteX44" fmla="*/ 443024 w 1457148"/>
                <a:gd name="connsiteY44" fmla="*/ 1012043 h 3641849"/>
                <a:gd name="connsiteX45" fmla="*/ 498443 w 1457148"/>
                <a:gd name="connsiteY45" fmla="*/ 1032728 h 3641849"/>
                <a:gd name="connsiteX46" fmla="*/ 515071 w 1457148"/>
                <a:gd name="connsiteY46" fmla="*/ 1048242 h 3641849"/>
                <a:gd name="connsiteX47" fmla="*/ 540011 w 1457148"/>
                <a:gd name="connsiteY47" fmla="*/ 1074099 h 3641849"/>
                <a:gd name="connsiteX48" fmla="*/ 537240 w 1457148"/>
                <a:gd name="connsiteY48" fmla="*/ 1076685 h 3641849"/>
                <a:gd name="connsiteX49" fmla="*/ 576033 w 1457148"/>
                <a:gd name="connsiteY49" fmla="*/ 1071514 h 3641849"/>
                <a:gd name="connsiteX50" fmla="*/ 584347 w 1457148"/>
                <a:gd name="connsiteY50" fmla="*/ 1035314 h 3641849"/>
                <a:gd name="connsiteX51" fmla="*/ 545552 w 1457148"/>
                <a:gd name="connsiteY51" fmla="*/ 957743 h 3641849"/>
                <a:gd name="connsiteX52" fmla="*/ 614828 w 1457148"/>
                <a:gd name="connsiteY52" fmla="*/ 911200 h 3641849"/>
                <a:gd name="connsiteX53" fmla="*/ 682600 w 1457148"/>
                <a:gd name="connsiteY53" fmla="*/ 918934 h 3641849"/>
                <a:gd name="connsiteX54" fmla="*/ 706433 w 1457148"/>
                <a:gd name="connsiteY54" fmla="*/ 951001 h 3641849"/>
                <a:gd name="connsiteX55" fmla="*/ 862162 w 1457148"/>
                <a:gd name="connsiteY55" fmla="*/ 1007364 h 3641849"/>
                <a:gd name="connsiteX56" fmla="*/ 847754 w 1457148"/>
                <a:gd name="connsiteY56" fmla="*/ 971687 h 3641849"/>
                <a:gd name="connsiteX57" fmla="*/ 814502 w 1457148"/>
                <a:gd name="connsiteY57" fmla="*/ 932901 h 3641849"/>
                <a:gd name="connsiteX58" fmla="*/ 803418 w 1457148"/>
                <a:gd name="connsiteY58" fmla="*/ 881187 h 3641849"/>
                <a:gd name="connsiteX59" fmla="*/ 842213 w 1457148"/>
                <a:gd name="connsiteY59" fmla="*/ 832060 h 3641849"/>
                <a:gd name="connsiteX60" fmla="*/ 869923 w 1457148"/>
                <a:gd name="connsiteY60" fmla="*/ 803617 h 3641849"/>
                <a:gd name="connsiteX61" fmla="*/ 894863 w 1457148"/>
                <a:gd name="connsiteY61" fmla="*/ 767417 h 3641849"/>
                <a:gd name="connsiteX62" fmla="*/ 975223 w 1457148"/>
                <a:gd name="connsiteY62" fmla="*/ 762245 h 3641849"/>
                <a:gd name="connsiteX63" fmla="*/ 980764 w 1457148"/>
                <a:gd name="connsiteY63" fmla="*/ 741560 h 3641849"/>
                <a:gd name="connsiteX64" fmla="*/ 1005704 w 1457148"/>
                <a:gd name="connsiteY64" fmla="*/ 705360 h 3641849"/>
                <a:gd name="connsiteX65" fmla="*/ 1039508 w 1457148"/>
                <a:gd name="connsiteY65" fmla="*/ 687772 h 3641849"/>
                <a:gd name="connsiteX66" fmla="*/ 1097148 w 1457148"/>
                <a:gd name="connsiteY66" fmla="*/ 700189 h 3641849"/>
                <a:gd name="connsiteX67" fmla="*/ 1135941 w 1457148"/>
                <a:gd name="connsiteY67" fmla="*/ 720875 h 3641849"/>
                <a:gd name="connsiteX68" fmla="*/ 1183049 w 1457148"/>
                <a:gd name="connsiteY68" fmla="*/ 728632 h 3641849"/>
                <a:gd name="connsiteX69" fmla="*/ 1183049 w 1457148"/>
                <a:gd name="connsiteY69" fmla="*/ 733803 h 3641849"/>
                <a:gd name="connsiteX70" fmla="*/ 1205218 w 1457148"/>
                <a:gd name="connsiteY70" fmla="*/ 674332 h 3641849"/>
                <a:gd name="connsiteX71" fmla="*/ 1215193 w 1457148"/>
                <a:gd name="connsiteY71" fmla="*/ 640714 h 3641849"/>
                <a:gd name="connsiteX72" fmla="*/ 1221844 w 1457148"/>
                <a:gd name="connsiteY72" fmla="*/ 622618 h 3641849"/>
                <a:gd name="connsiteX73" fmla="*/ 1224781 w 1457148"/>
                <a:gd name="connsiteY73" fmla="*/ 591288 h 3641849"/>
                <a:gd name="connsiteX74" fmla="*/ 1144255 w 1457148"/>
                <a:gd name="connsiteY74" fmla="*/ 545048 h 3641849"/>
                <a:gd name="connsiteX75" fmla="*/ 1130400 w 1457148"/>
                <a:gd name="connsiteY75" fmla="*/ 472648 h 3641849"/>
                <a:gd name="connsiteX76" fmla="*/ 1130400 w 1457148"/>
                <a:gd name="connsiteY76" fmla="*/ 454548 h 3641849"/>
                <a:gd name="connsiteX77" fmla="*/ 1141483 w 1457148"/>
                <a:gd name="connsiteY77" fmla="*/ 431276 h 3641849"/>
                <a:gd name="connsiteX78" fmla="*/ 1144255 w 1457148"/>
                <a:gd name="connsiteY78" fmla="*/ 415762 h 3641849"/>
                <a:gd name="connsiteX79" fmla="*/ 1144254 w 1457148"/>
                <a:gd name="connsiteY79" fmla="*/ 358878 h 3641849"/>
                <a:gd name="connsiteX80" fmla="*/ 1122086 w 1457148"/>
                <a:gd name="connsiteY80" fmla="*/ 335607 h 3641849"/>
                <a:gd name="connsiteX81" fmla="*/ 1094376 w 1457148"/>
                <a:gd name="connsiteY81" fmla="*/ 304578 h 3641849"/>
                <a:gd name="connsiteX82" fmla="*/ 1090208 w 1457148"/>
                <a:gd name="connsiteY82" fmla="*/ 280325 h 3641849"/>
                <a:gd name="connsiteX83" fmla="*/ 1141484 w 1457148"/>
                <a:gd name="connsiteY83" fmla="*/ 258034 h 3641849"/>
                <a:gd name="connsiteX84" fmla="*/ 1195064 w 1457148"/>
                <a:gd name="connsiteY84" fmla="*/ 267906 h 3641849"/>
                <a:gd name="connsiteX85" fmla="*/ 1273848 w 1457148"/>
                <a:gd name="connsiteY85" fmla="*/ 279816 h 3641849"/>
                <a:gd name="connsiteX86" fmla="*/ 1358171 w 1457148"/>
                <a:gd name="connsiteY86" fmla="*/ 349175 h 3641849"/>
                <a:gd name="connsiteX87" fmla="*/ 1420306 w 1457148"/>
                <a:gd name="connsiteY87" fmla="*/ 425271 h 3641849"/>
                <a:gd name="connsiteX88" fmla="*/ 1319335 w 1457148"/>
                <a:gd name="connsiteY88" fmla="*/ 454265 h 3641849"/>
                <a:gd name="connsiteX89" fmla="*/ 1303801 w 1457148"/>
                <a:gd name="connsiteY89" fmla="*/ 501372 h 3641849"/>
                <a:gd name="connsiteX90" fmla="*/ 1361471 w 1457148"/>
                <a:gd name="connsiteY90" fmla="*/ 585862 h 3641849"/>
                <a:gd name="connsiteX91" fmla="*/ 1397005 w 1457148"/>
                <a:gd name="connsiteY91" fmla="*/ 591964 h 3641849"/>
                <a:gd name="connsiteX92" fmla="*/ 1449625 w 1457148"/>
                <a:gd name="connsiteY92" fmla="*/ 598304 h 3641849"/>
                <a:gd name="connsiteX93" fmla="*/ 1444662 w 1457148"/>
                <a:gd name="connsiteY93" fmla="*/ 709079 h 3641849"/>
                <a:gd name="connsiteX94" fmla="*/ 1455731 w 1457148"/>
                <a:gd name="connsiteY94" fmla="*/ 1040047 h 3641849"/>
                <a:gd name="connsiteX95" fmla="*/ 1446863 w 1457148"/>
                <a:gd name="connsiteY95" fmla="*/ 1842646 h 3641849"/>
                <a:gd name="connsiteX96" fmla="*/ 1455730 w 1457148"/>
                <a:gd name="connsiteY96" fmla="*/ 2297728 h 3641849"/>
                <a:gd name="connsiteX97" fmla="*/ 1429282 w 1457148"/>
                <a:gd name="connsiteY97" fmla="*/ 3607693 h 3641849"/>
                <a:gd name="connsiteX98" fmla="*/ 1170855 w 1457148"/>
                <a:gd name="connsiteY98" fmla="*/ 3564098 h 3641849"/>
                <a:gd name="connsiteX99" fmla="*/ 1002377 w 1457148"/>
                <a:gd name="connsiteY99" fmla="*/ 3497903 h 3641849"/>
                <a:gd name="connsiteX100" fmla="*/ 825031 w 1457148"/>
                <a:gd name="connsiteY100" fmla="*/ 3406887 h 3641849"/>
                <a:gd name="connsiteX101" fmla="*/ 726733 w 1457148"/>
                <a:gd name="connsiteY101" fmla="*/ 3326370 h 3641849"/>
                <a:gd name="connsiteX102" fmla="*/ 1020995 w 1457148"/>
                <a:gd name="connsiteY102" fmla="*/ 3018734 h 3641849"/>
                <a:gd name="connsiteX103" fmla="*/ 737241 w 1457148"/>
                <a:gd name="connsiteY103" fmla="*/ 2480910 h 3641849"/>
                <a:gd name="connsiteX104" fmla="*/ 879591 w 1457148"/>
                <a:gd name="connsiteY104" fmla="*/ 2241825 h 3641849"/>
                <a:gd name="connsiteX105" fmla="*/ 692904 w 1457148"/>
                <a:gd name="connsiteY105" fmla="*/ 1703134 h 3641849"/>
                <a:gd name="connsiteX106" fmla="*/ 444620 w 1457148"/>
                <a:gd name="connsiteY106" fmla="*/ 1471456 h 3641849"/>
                <a:gd name="connsiteX107" fmla="*/ 435753 w 1457148"/>
                <a:gd name="connsiteY107" fmla="*/ 1355617 h 3641849"/>
                <a:gd name="connsiteX0" fmla="*/ 435753 w 1457148"/>
                <a:gd name="connsiteY0" fmla="*/ 1355617 h 3641849"/>
                <a:gd name="connsiteX1" fmla="*/ 237969 w 1457148"/>
                <a:gd name="connsiteY1" fmla="*/ 1257686 h 3641849"/>
                <a:gd name="connsiteX2" fmla="*/ 116045 w 1457148"/>
                <a:gd name="connsiteY2" fmla="*/ 1156843 h 3641849"/>
                <a:gd name="connsiteX3" fmla="*/ 168695 w 1457148"/>
                <a:gd name="connsiteY3" fmla="*/ 1094789 h 3641849"/>
                <a:gd name="connsiteX4" fmla="*/ 102190 w 1457148"/>
                <a:gd name="connsiteY4" fmla="*/ 1050829 h 3641849"/>
                <a:gd name="connsiteX5" fmla="*/ 143755 w 1457148"/>
                <a:gd name="connsiteY5" fmla="*/ 1019802 h 3641849"/>
                <a:gd name="connsiteX6" fmla="*/ 96649 w 1457148"/>
                <a:gd name="connsiteY6" fmla="*/ 993947 h 3641849"/>
                <a:gd name="connsiteX7" fmla="*/ 96648 w 1457148"/>
                <a:gd name="connsiteY7" fmla="*/ 794845 h 3641849"/>
                <a:gd name="connsiteX8" fmla="*/ 135443 w 1457148"/>
                <a:gd name="connsiteY8" fmla="*/ 779332 h 3641849"/>
                <a:gd name="connsiteX9" fmla="*/ 21830 w 1457148"/>
                <a:gd name="connsiteY9" fmla="*/ 551792 h 3641849"/>
                <a:gd name="connsiteX10" fmla="*/ 80021 w 1457148"/>
                <a:gd name="connsiteY10" fmla="*/ 458707 h 3641849"/>
                <a:gd name="connsiteX11" fmla="*/ 85563 w 1457148"/>
                <a:gd name="connsiteY11" fmla="*/ 378550 h 3641849"/>
                <a:gd name="connsiteX12" fmla="*/ 10744 w 1457148"/>
                <a:gd name="connsiteY12" fmla="*/ 319079 h 3641849"/>
                <a:gd name="connsiteX13" fmla="*/ 2432 w 1457148"/>
                <a:gd name="connsiteY13" fmla="*/ 251851 h 3641849"/>
                <a:gd name="connsiteX14" fmla="*/ 57852 w 1457148"/>
                <a:gd name="connsiteY14" fmla="*/ 158764 h 3641849"/>
                <a:gd name="connsiteX15" fmla="*/ 77250 w 1457148"/>
                <a:gd name="connsiteY15" fmla="*/ 135494 h 3641849"/>
                <a:gd name="connsiteX16" fmla="*/ 91105 w 1457148"/>
                <a:gd name="connsiteY16" fmla="*/ 117394 h 3641849"/>
                <a:gd name="connsiteX17" fmla="*/ 99418 w 1457148"/>
                <a:gd name="connsiteY17" fmla="*/ 73438 h 3641849"/>
                <a:gd name="connsiteX18" fmla="*/ 124357 w 1457148"/>
                <a:gd name="connsiteY18" fmla="*/ 101880 h 3641849"/>
                <a:gd name="connsiteX19" fmla="*/ 154839 w 1457148"/>
                <a:gd name="connsiteY19" fmla="*/ 88952 h 3641849"/>
                <a:gd name="connsiteX20" fmla="*/ 157609 w 1457148"/>
                <a:gd name="connsiteY20" fmla="*/ 63095 h 3641849"/>
                <a:gd name="connsiteX21" fmla="*/ 165923 w 1457148"/>
                <a:gd name="connsiteY21" fmla="*/ 34652 h 3641849"/>
                <a:gd name="connsiteX22" fmla="*/ 168695 w 1457148"/>
                <a:gd name="connsiteY22" fmla="*/ 3624 h 3641849"/>
                <a:gd name="connsiteX23" fmla="*/ 304475 w 1457148"/>
                <a:gd name="connsiteY23" fmla="*/ 57924 h 3641849"/>
                <a:gd name="connsiteX24" fmla="*/ 334955 w 1457148"/>
                <a:gd name="connsiteY24" fmla="*/ 161352 h 3641849"/>
                <a:gd name="connsiteX25" fmla="*/ 348811 w 1457148"/>
                <a:gd name="connsiteY25" fmla="*/ 184622 h 3641849"/>
                <a:gd name="connsiteX26" fmla="*/ 359895 w 1457148"/>
                <a:gd name="connsiteY26" fmla="*/ 187208 h 3641849"/>
                <a:gd name="connsiteX27" fmla="*/ 473507 w 1457148"/>
                <a:gd name="connsiteY27" fmla="*/ 156181 h 3641849"/>
                <a:gd name="connsiteX28" fmla="*/ 540012 w 1457148"/>
                <a:gd name="connsiteY28" fmla="*/ 166522 h 3641849"/>
                <a:gd name="connsiteX29" fmla="*/ 603746 w 1457148"/>
                <a:gd name="connsiteY29" fmla="*/ 213065 h 3641849"/>
                <a:gd name="connsiteX30" fmla="*/ 617773 w 1457148"/>
                <a:gd name="connsiteY30" fmla="*/ 242621 h 3641849"/>
                <a:gd name="connsiteX31" fmla="*/ 673020 w 1457148"/>
                <a:gd name="connsiteY31" fmla="*/ 277708 h 3641849"/>
                <a:gd name="connsiteX32" fmla="*/ 761694 w 1457148"/>
                <a:gd name="connsiteY32" fmla="*/ 303563 h 3641849"/>
                <a:gd name="connsiteX33" fmla="*/ 833740 w 1457148"/>
                <a:gd name="connsiteY33" fmla="*/ 350106 h 3641849"/>
                <a:gd name="connsiteX34" fmla="*/ 883619 w 1457148"/>
                <a:gd name="connsiteY34" fmla="*/ 401820 h 3641849"/>
                <a:gd name="connsiteX35" fmla="*/ 908558 w 1457148"/>
                <a:gd name="connsiteY35" fmla="*/ 440606 h 3641849"/>
                <a:gd name="connsiteX36" fmla="*/ 941811 w 1457148"/>
                <a:gd name="connsiteY36" fmla="*/ 466462 h 3641849"/>
                <a:gd name="connsiteX37" fmla="*/ 925183 w 1457148"/>
                <a:gd name="connsiteY37" fmla="*/ 691417 h 3641849"/>
                <a:gd name="connsiteX38" fmla="*/ 797717 w 1457148"/>
                <a:gd name="connsiteY38" fmla="*/ 771575 h 3641849"/>
                <a:gd name="connsiteX39" fmla="*/ 684105 w 1457148"/>
                <a:gd name="connsiteY39" fmla="*/ 779331 h 3641849"/>
                <a:gd name="connsiteX40" fmla="*/ 545552 w 1457148"/>
                <a:gd name="connsiteY40" fmla="*/ 758645 h 3641849"/>
                <a:gd name="connsiteX41" fmla="*/ 454108 w 1457148"/>
                <a:gd name="connsiteY41" fmla="*/ 722445 h 3641849"/>
                <a:gd name="connsiteX42" fmla="*/ 434711 w 1457148"/>
                <a:gd name="connsiteY42" fmla="*/ 750888 h 3641849"/>
                <a:gd name="connsiteX43" fmla="*/ 465353 w 1457148"/>
                <a:gd name="connsiteY43" fmla="*/ 824301 h 3641849"/>
                <a:gd name="connsiteX44" fmla="*/ 470894 w 1457148"/>
                <a:gd name="connsiteY44" fmla="*/ 951000 h 3641849"/>
                <a:gd name="connsiteX45" fmla="*/ 443024 w 1457148"/>
                <a:gd name="connsiteY45" fmla="*/ 1012043 h 3641849"/>
                <a:gd name="connsiteX46" fmla="*/ 498443 w 1457148"/>
                <a:gd name="connsiteY46" fmla="*/ 1032728 h 3641849"/>
                <a:gd name="connsiteX47" fmla="*/ 515071 w 1457148"/>
                <a:gd name="connsiteY47" fmla="*/ 1048242 h 3641849"/>
                <a:gd name="connsiteX48" fmla="*/ 540011 w 1457148"/>
                <a:gd name="connsiteY48" fmla="*/ 1074099 h 3641849"/>
                <a:gd name="connsiteX49" fmla="*/ 537240 w 1457148"/>
                <a:gd name="connsiteY49" fmla="*/ 1076685 h 3641849"/>
                <a:gd name="connsiteX50" fmla="*/ 576033 w 1457148"/>
                <a:gd name="connsiteY50" fmla="*/ 1071514 h 3641849"/>
                <a:gd name="connsiteX51" fmla="*/ 584347 w 1457148"/>
                <a:gd name="connsiteY51" fmla="*/ 1035314 h 3641849"/>
                <a:gd name="connsiteX52" fmla="*/ 545552 w 1457148"/>
                <a:gd name="connsiteY52" fmla="*/ 957743 h 3641849"/>
                <a:gd name="connsiteX53" fmla="*/ 614828 w 1457148"/>
                <a:gd name="connsiteY53" fmla="*/ 911200 h 3641849"/>
                <a:gd name="connsiteX54" fmla="*/ 682600 w 1457148"/>
                <a:gd name="connsiteY54" fmla="*/ 918934 h 3641849"/>
                <a:gd name="connsiteX55" fmla="*/ 706433 w 1457148"/>
                <a:gd name="connsiteY55" fmla="*/ 951001 h 3641849"/>
                <a:gd name="connsiteX56" fmla="*/ 862162 w 1457148"/>
                <a:gd name="connsiteY56" fmla="*/ 1007364 h 3641849"/>
                <a:gd name="connsiteX57" fmla="*/ 847754 w 1457148"/>
                <a:gd name="connsiteY57" fmla="*/ 971687 h 3641849"/>
                <a:gd name="connsiteX58" fmla="*/ 814502 w 1457148"/>
                <a:gd name="connsiteY58" fmla="*/ 932901 h 3641849"/>
                <a:gd name="connsiteX59" fmla="*/ 803418 w 1457148"/>
                <a:gd name="connsiteY59" fmla="*/ 881187 h 3641849"/>
                <a:gd name="connsiteX60" fmla="*/ 842213 w 1457148"/>
                <a:gd name="connsiteY60" fmla="*/ 832060 h 3641849"/>
                <a:gd name="connsiteX61" fmla="*/ 869923 w 1457148"/>
                <a:gd name="connsiteY61" fmla="*/ 803617 h 3641849"/>
                <a:gd name="connsiteX62" fmla="*/ 894863 w 1457148"/>
                <a:gd name="connsiteY62" fmla="*/ 767417 h 3641849"/>
                <a:gd name="connsiteX63" fmla="*/ 975223 w 1457148"/>
                <a:gd name="connsiteY63" fmla="*/ 762245 h 3641849"/>
                <a:gd name="connsiteX64" fmla="*/ 980764 w 1457148"/>
                <a:gd name="connsiteY64" fmla="*/ 741560 h 3641849"/>
                <a:gd name="connsiteX65" fmla="*/ 1005704 w 1457148"/>
                <a:gd name="connsiteY65" fmla="*/ 705360 h 3641849"/>
                <a:gd name="connsiteX66" fmla="*/ 1039508 w 1457148"/>
                <a:gd name="connsiteY66" fmla="*/ 687772 h 3641849"/>
                <a:gd name="connsiteX67" fmla="*/ 1097148 w 1457148"/>
                <a:gd name="connsiteY67" fmla="*/ 700189 h 3641849"/>
                <a:gd name="connsiteX68" fmla="*/ 1135941 w 1457148"/>
                <a:gd name="connsiteY68" fmla="*/ 720875 h 3641849"/>
                <a:gd name="connsiteX69" fmla="*/ 1183049 w 1457148"/>
                <a:gd name="connsiteY69" fmla="*/ 728632 h 3641849"/>
                <a:gd name="connsiteX70" fmla="*/ 1183049 w 1457148"/>
                <a:gd name="connsiteY70" fmla="*/ 733803 h 3641849"/>
                <a:gd name="connsiteX71" fmla="*/ 1205218 w 1457148"/>
                <a:gd name="connsiteY71" fmla="*/ 674332 h 3641849"/>
                <a:gd name="connsiteX72" fmla="*/ 1215193 w 1457148"/>
                <a:gd name="connsiteY72" fmla="*/ 640714 h 3641849"/>
                <a:gd name="connsiteX73" fmla="*/ 1221844 w 1457148"/>
                <a:gd name="connsiteY73" fmla="*/ 622618 h 3641849"/>
                <a:gd name="connsiteX74" fmla="*/ 1224781 w 1457148"/>
                <a:gd name="connsiteY74" fmla="*/ 591288 h 3641849"/>
                <a:gd name="connsiteX75" fmla="*/ 1144255 w 1457148"/>
                <a:gd name="connsiteY75" fmla="*/ 545048 h 3641849"/>
                <a:gd name="connsiteX76" fmla="*/ 1130400 w 1457148"/>
                <a:gd name="connsiteY76" fmla="*/ 472648 h 3641849"/>
                <a:gd name="connsiteX77" fmla="*/ 1130400 w 1457148"/>
                <a:gd name="connsiteY77" fmla="*/ 454548 h 3641849"/>
                <a:gd name="connsiteX78" fmla="*/ 1141483 w 1457148"/>
                <a:gd name="connsiteY78" fmla="*/ 431276 h 3641849"/>
                <a:gd name="connsiteX79" fmla="*/ 1144255 w 1457148"/>
                <a:gd name="connsiteY79" fmla="*/ 415762 h 3641849"/>
                <a:gd name="connsiteX80" fmla="*/ 1144254 w 1457148"/>
                <a:gd name="connsiteY80" fmla="*/ 358878 h 3641849"/>
                <a:gd name="connsiteX81" fmla="*/ 1122086 w 1457148"/>
                <a:gd name="connsiteY81" fmla="*/ 335607 h 3641849"/>
                <a:gd name="connsiteX82" fmla="*/ 1094376 w 1457148"/>
                <a:gd name="connsiteY82" fmla="*/ 304578 h 3641849"/>
                <a:gd name="connsiteX83" fmla="*/ 1090208 w 1457148"/>
                <a:gd name="connsiteY83" fmla="*/ 280325 h 3641849"/>
                <a:gd name="connsiteX84" fmla="*/ 1141484 w 1457148"/>
                <a:gd name="connsiteY84" fmla="*/ 258034 h 3641849"/>
                <a:gd name="connsiteX85" fmla="*/ 1195064 w 1457148"/>
                <a:gd name="connsiteY85" fmla="*/ 267906 h 3641849"/>
                <a:gd name="connsiteX86" fmla="*/ 1273848 w 1457148"/>
                <a:gd name="connsiteY86" fmla="*/ 279816 h 3641849"/>
                <a:gd name="connsiteX87" fmla="*/ 1358171 w 1457148"/>
                <a:gd name="connsiteY87" fmla="*/ 349175 h 3641849"/>
                <a:gd name="connsiteX88" fmla="*/ 1420306 w 1457148"/>
                <a:gd name="connsiteY88" fmla="*/ 425271 h 3641849"/>
                <a:gd name="connsiteX89" fmla="*/ 1319335 w 1457148"/>
                <a:gd name="connsiteY89" fmla="*/ 454265 h 3641849"/>
                <a:gd name="connsiteX90" fmla="*/ 1303801 w 1457148"/>
                <a:gd name="connsiteY90" fmla="*/ 501372 h 3641849"/>
                <a:gd name="connsiteX91" fmla="*/ 1361471 w 1457148"/>
                <a:gd name="connsiteY91" fmla="*/ 585862 h 3641849"/>
                <a:gd name="connsiteX92" fmla="*/ 1397005 w 1457148"/>
                <a:gd name="connsiteY92" fmla="*/ 591964 h 3641849"/>
                <a:gd name="connsiteX93" fmla="*/ 1449625 w 1457148"/>
                <a:gd name="connsiteY93" fmla="*/ 598304 h 3641849"/>
                <a:gd name="connsiteX94" fmla="*/ 1444662 w 1457148"/>
                <a:gd name="connsiteY94" fmla="*/ 709079 h 3641849"/>
                <a:gd name="connsiteX95" fmla="*/ 1455731 w 1457148"/>
                <a:gd name="connsiteY95" fmla="*/ 1040047 h 3641849"/>
                <a:gd name="connsiteX96" fmla="*/ 1446863 w 1457148"/>
                <a:gd name="connsiteY96" fmla="*/ 1842646 h 3641849"/>
                <a:gd name="connsiteX97" fmla="*/ 1455730 w 1457148"/>
                <a:gd name="connsiteY97" fmla="*/ 2297728 h 3641849"/>
                <a:gd name="connsiteX98" fmla="*/ 1429282 w 1457148"/>
                <a:gd name="connsiteY98" fmla="*/ 3607693 h 3641849"/>
                <a:gd name="connsiteX99" fmla="*/ 1170855 w 1457148"/>
                <a:gd name="connsiteY99" fmla="*/ 3564098 h 3641849"/>
                <a:gd name="connsiteX100" fmla="*/ 1002377 w 1457148"/>
                <a:gd name="connsiteY100" fmla="*/ 3497903 h 3641849"/>
                <a:gd name="connsiteX101" fmla="*/ 825031 w 1457148"/>
                <a:gd name="connsiteY101" fmla="*/ 3406887 h 3641849"/>
                <a:gd name="connsiteX102" fmla="*/ 726733 w 1457148"/>
                <a:gd name="connsiteY102" fmla="*/ 3326370 h 3641849"/>
                <a:gd name="connsiteX103" fmla="*/ 1020995 w 1457148"/>
                <a:gd name="connsiteY103" fmla="*/ 3018734 h 3641849"/>
                <a:gd name="connsiteX104" fmla="*/ 737241 w 1457148"/>
                <a:gd name="connsiteY104" fmla="*/ 2480910 h 3641849"/>
                <a:gd name="connsiteX105" fmla="*/ 879591 w 1457148"/>
                <a:gd name="connsiteY105" fmla="*/ 2241825 h 3641849"/>
                <a:gd name="connsiteX106" fmla="*/ 692904 w 1457148"/>
                <a:gd name="connsiteY106" fmla="*/ 1703134 h 3641849"/>
                <a:gd name="connsiteX107" fmla="*/ 444620 w 1457148"/>
                <a:gd name="connsiteY107" fmla="*/ 1471456 h 3641849"/>
                <a:gd name="connsiteX108" fmla="*/ 435753 w 1457148"/>
                <a:gd name="connsiteY108" fmla="*/ 1355617 h 3641849"/>
                <a:gd name="connsiteX0" fmla="*/ 435753 w 1457148"/>
                <a:gd name="connsiteY0" fmla="*/ 1355617 h 3641849"/>
                <a:gd name="connsiteX1" fmla="*/ 237969 w 1457148"/>
                <a:gd name="connsiteY1" fmla="*/ 1257686 h 3641849"/>
                <a:gd name="connsiteX2" fmla="*/ 116045 w 1457148"/>
                <a:gd name="connsiteY2" fmla="*/ 1156843 h 3641849"/>
                <a:gd name="connsiteX3" fmla="*/ 168695 w 1457148"/>
                <a:gd name="connsiteY3" fmla="*/ 1094789 h 3641849"/>
                <a:gd name="connsiteX4" fmla="*/ 102190 w 1457148"/>
                <a:gd name="connsiteY4" fmla="*/ 1050829 h 3641849"/>
                <a:gd name="connsiteX5" fmla="*/ 143755 w 1457148"/>
                <a:gd name="connsiteY5" fmla="*/ 1019802 h 3641849"/>
                <a:gd name="connsiteX6" fmla="*/ 96649 w 1457148"/>
                <a:gd name="connsiteY6" fmla="*/ 993947 h 3641849"/>
                <a:gd name="connsiteX7" fmla="*/ 96648 w 1457148"/>
                <a:gd name="connsiteY7" fmla="*/ 794845 h 3641849"/>
                <a:gd name="connsiteX8" fmla="*/ 135443 w 1457148"/>
                <a:gd name="connsiteY8" fmla="*/ 779332 h 3641849"/>
                <a:gd name="connsiteX9" fmla="*/ 21830 w 1457148"/>
                <a:gd name="connsiteY9" fmla="*/ 551792 h 3641849"/>
                <a:gd name="connsiteX10" fmla="*/ 80021 w 1457148"/>
                <a:gd name="connsiteY10" fmla="*/ 458707 h 3641849"/>
                <a:gd name="connsiteX11" fmla="*/ 85563 w 1457148"/>
                <a:gd name="connsiteY11" fmla="*/ 378550 h 3641849"/>
                <a:gd name="connsiteX12" fmla="*/ 10744 w 1457148"/>
                <a:gd name="connsiteY12" fmla="*/ 319079 h 3641849"/>
                <a:gd name="connsiteX13" fmla="*/ 2432 w 1457148"/>
                <a:gd name="connsiteY13" fmla="*/ 251851 h 3641849"/>
                <a:gd name="connsiteX14" fmla="*/ 57852 w 1457148"/>
                <a:gd name="connsiteY14" fmla="*/ 158764 h 3641849"/>
                <a:gd name="connsiteX15" fmla="*/ 77250 w 1457148"/>
                <a:gd name="connsiteY15" fmla="*/ 135494 h 3641849"/>
                <a:gd name="connsiteX16" fmla="*/ 91105 w 1457148"/>
                <a:gd name="connsiteY16" fmla="*/ 117394 h 3641849"/>
                <a:gd name="connsiteX17" fmla="*/ 99418 w 1457148"/>
                <a:gd name="connsiteY17" fmla="*/ 73438 h 3641849"/>
                <a:gd name="connsiteX18" fmla="*/ 124357 w 1457148"/>
                <a:gd name="connsiteY18" fmla="*/ 101880 h 3641849"/>
                <a:gd name="connsiteX19" fmla="*/ 154839 w 1457148"/>
                <a:gd name="connsiteY19" fmla="*/ 88952 h 3641849"/>
                <a:gd name="connsiteX20" fmla="*/ 157609 w 1457148"/>
                <a:gd name="connsiteY20" fmla="*/ 63095 h 3641849"/>
                <a:gd name="connsiteX21" fmla="*/ 165923 w 1457148"/>
                <a:gd name="connsiteY21" fmla="*/ 34652 h 3641849"/>
                <a:gd name="connsiteX22" fmla="*/ 168695 w 1457148"/>
                <a:gd name="connsiteY22" fmla="*/ 3624 h 3641849"/>
                <a:gd name="connsiteX23" fmla="*/ 304475 w 1457148"/>
                <a:gd name="connsiteY23" fmla="*/ 57924 h 3641849"/>
                <a:gd name="connsiteX24" fmla="*/ 334955 w 1457148"/>
                <a:gd name="connsiteY24" fmla="*/ 161352 h 3641849"/>
                <a:gd name="connsiteX25" fmla="*/ 348811 w 1457148"/>
                <a:gd name="connsiteY25" fmla="*/ 184622 h 3641849"/>
                <a:gd name="connsiteX26" fmla="*/ 359895 w 1457148"/>
                <a:gd name="connsiteY26" fmla="*/ 187208 h 3641849"/>
                <a:gd name="connsiteX27" fmla="*/ 473507 w 1457148"/>
                <a:gd name="connsiteY27" fmla="*/ 156181 h 3641849"/>
                <a:gd name="connsiteX28" fmla="*/ 540012 w 1457148"/>
                <a:gd name="connsiteY28" fmla="*/ 166522 h 3641849"/>
                <a:gd name="connsiteX29" fmla="*/ 603746 w 1457148"/>
                <a:gd name="connsiteY29" fmla="*/ 213065 h 3641849"/>
                <a:gd name="connsiteX30" fmla="*/ 617773 w 1457148"/>
                <a:gd name="connsiteY30" fmla="*/ 242621 h 3641849"/>
                <a:gd name="connsiteX31" fmla="*/ 673020 w 1457148"/>
                <a:gd name="connsiteY31" fmla="*/ 277708 h 3641849"/>
                <a:gd name="connsiteX32" fmla="*/ 761694 w 1457148"/>
                <a:gd name="connsiteY32" fmla="*/ 303563 h 3641849"/>
                <a:gd name="connsiteX33" fmla="*/ 833740 w 1457148"/>
                <a:gd name="connsiteY33" fmla="*/ 350106 h 3641849"/>
                <a:gd name="connsiteX34" fmla="*/ 883619 w 1457148"/>
                <a:gd name="connsiteY34" fmla="*/ 401820 h 3641849"/>
                <a:gd name="connsiteX35" fmla="*/ 908558 w 1457148"/>
                <a:gd name="connsiteY35" fmla="*/ 440606 h 3641849"/>
                <a:gd name="connsiteX36" fmla="*/ 941811 w 1457148"/>
                <a:gd name="connsiteY36" fmla="*/ 466462 h 3641849"/>
                <a:gd name="connsiteX37" fmla="*/ 925183 w 1457148"/>
                <a:gd name="connsiteY37" fmla="*/ 691417 h 3641849"/>
                <a:gd name="connsiteX38" fmla="*/ 797717 w 1457148"/>
                <a:gd name="connsiteY38" fmla="*/ 771575 h 3641849"/>
                <a:gd name="connsiteX39" fmla="*/ 684105 w 1457148"/>
                <a:gd name="connsiteY39" fmla="*/ 779331 h 3641849"/>
                <a:gd name="connsiteX40" fmla="*/ 545552 w 1457148"/>
                <a:gd name="connsiteY40" fmla="*/ 758645 h 3641849"/>
                <a:gd name="connsiteX41" fmla="*/ 454108 w 1457148"/>
                <a:gd name="connsiteY41" fmla="*/ 722445 h 3641849"/>
                <a:gd name="connsiteX42" fmla="*/ 434711 w 1457148"/>
                <a:gd name="connsiteY42" fmla="*/ 750888 h 3641849"/>
                <a:gd name="connsiteX43" fmla="*/ 465353 w 1457148"/>
                <a:gd name="connsiteY43" fmla="*/ 824301 h 3641849"/>
                <a:gd name="connsiteX44" fmla="*/ 470894 w 1457148"/>
                <a:gd name="connsiteY44" fmla="*/ 951000 h 3641849"/>
                <a:gd name="connsiteX45" fmla="*/ 443024 w 1457148"/>
                <a:gd name="connsiteY45" fmla="*/ 1012043 h 3641849"/>
                <a:gd name="connsiteX46" fmla="*/ 498443 w 1457148"/>
                <a:gd name="connsiteY46" fmla="*/ 1032728 h 3641849"/>
                <a:gd name="connsiteX47" fmla="*/ 515071 w 1457148"/>
                <a:gd name="connsiteY47" fmla="*/ 1048242 h 3641849"/>
                <a:gd name="connsiteX48" fmla="*/ 540011 w 1457148"/>
                <a:gd name="connsiteY48" fmla="*/ 1074099 h 3641849"/>
                <a:gd name="connsiteX49" fmla="*/ 537240 w 1457148"/>
                <a:gd name="connsiteY49" fmla="*/ 1076685 h 3641849"/>
                <a:gd name="connsiteX50" fmla="*/ 576033 w 1457148"/>
                <a:gd name="connsiteY50" fmla="*/ 1071514 h 3641849"/>
                <a:gd name="connsiteX51" fmla="*/ 584347 w 1457148"/>
                <a:gd name="connsiteY51" fmla="*/ 1035314 h 3641849"/>
                <a:gd name="connsiteX52" fmla="*/ 545552 w 1457148"/>
                <a:gd name="connsiteY52" fmla="*/ 957743 h 3641849"/>
                <a:gd name="connsiteX53" fmla="*/ 614828 w 1457148"/>
                <a:gd name="connsiteY53" fmla="*/ 911200 h 3641849"/>
                <a:gd name="connsiteX54" fmla="*/ 682600 w 1457148"/>
                <a:gd name="connsiteY54" fmla="*/ 918934 h 3641849"/>
                <a:gd name="connsiteX55" fmla="*/ 706433 w 1457148"/>
                <a:gd name="connsiteY55" fmla="*/ 951001 h 3641849"/>
                <a:gd name="connsiteX56" fmla="*/ 862162 w 1457148"/>
                <a:gd name="connsiteY56" fmla="*/ 1007364 h 3641849"/>
                <a:gd name="connsiteX57" fmla="*/ 847754 w 1457148"/>
                <a:gd name="connsiteY57" fmla="*/ 971687 h 3641849"/>
                <a:gd name="connsiteX58" fmla="*/ 814502 w 1457148"/>
                <a:gd name="connsiteY58" fmla="*/ 932901 h 3641849"/>
                <a:gd name="connsiteX59" fmla="*/ 803418 w 1457148"/>
                <a:gd name="connsiteY59" fmla="*/ 881187 h 3641849"/>
                <a:gd name="connsiteX60" fmla="*/ 842213 w 1457148"/>
                <a:gd name="connsiteY60" fmla="*/ 832060 h 3641849"/>
                <a:gd name="connsiteX61" fmla="*/ 869923 w 1457148"/>
                <a:gd name="connsiteY61" fmla="*/ 803617 h 3641849"/>
                <a:gd name="connsiteX62" fmla="*/ 894863 w 1457148"/>
                <a:gd name="connsiteY62" fmla="*/ 767417 h 3641849"/>
                <a:gd name="connsiteX63" fmla="*/ 975223 w 1457148"/>
                <a:gd name="connsiteY63" fmla="*/ 762245 h 3641849"/>
                <a:gd name="connsiteX64" fmla="*/ 980764 w 1457148"/>
                <a:gd name="connsiteY64" fmla="*/ 741560 h 3641849"/>
                <a:gd name="connsiteX65" fmla="*/ 1005704 w 1457148"/>
                <a:gd name="connsiteY65" fmla="*/ 705360 h 3641849"/>
                <a:gd name="connsiteX66" fmla="*/ 1039508 w 1457148"/>
                <a:gd name="connsiteY66" fmla="*/ 687772 h 3641849"/>
                <a:gd name="connsiteX67" fmla="*/ 1097148 w 1457148"/>
                <a:gd name="connsiteY67" fmla="*/ 700189 h 3641849"/>
                <a:gd name="connsiteX68" fmla="*/ 1135941 w 1457148"/>
                <a:gd name="connsiteY68" fmla="*/ 720875 h 3641849"/>
                <a:gd name="connsiteX69" fmla="*/ 1183049 w 1457148"/>
                <a:gd name="connsiteY69" fmla="*/ 728632 h 3641849"/>
                <a:gd name="connsiteX70" fmla="*/ 1183049 w 1457148"/>
                <a:gd name="connsiteY70" fmla="*/ 733803 h 3641849"/>
                <a:gd name="connsiteX71" fmla="*/ 1205218 w 1457148"/>
                <a:gd name="connsiteY71" fmla="*/ 674332 h 3641849"/>
                <a:gd name="connsiteX72" fmla="*/ 1215193 w 1457148"/>
                <a:gd name="connsiteY72" fmla="*/ 640714 h 3641849"/>
                <a:gd name="connsiteX73" fmla="*/ 1221844 w 1457148"/>
                <a:gd name="connsiteY73" fmla="*/ 622618 h 3641849"/>
                <a:gd name="connsiteX74" fmla="*/ 1224781 w 1457148"/>
                <a:gd name="connsiteY74" fmla="*/ 591288 h 3641849"/>
                <a:gd name="connsiteX75" fmla="*/ 1144255 w 1457148"/>
                <a:gd name="connsiteY75" fmla="*/ 545048 h 3641849"/>
                <a:gd name="connsiteX76" fmla="*/ 1130400 w 1457148"/>
                <a:gd name="connsiteY76" fmla="*/ 472648 h 3641849"/>
                <a:gd name="connsiteX77" fmla="*/ 1130400 w 1457148"/>
                <a:gd name="connsiteY77" fmla="*/ 454548 h 3641849"/>
                <a:gd name="connsiteX78" fmla="*/ 1141483 w 1457148"/>
                <a:gd name="connsiteY78" fmla="*/ 431276 h 3641849"/>
                <a:gd name="connsiteX79" fmla="*/ 1144255 w 1457148"/>
                <a:gd name="connsiteY79" fmla="*/ 415762 h 3641849"/>
                <a:gd name="connsiteX80" fmla="*/ 1144254 w 1457148"/>
                <a:gd name="connsiteY80" fmla="*/ 358878 h 3641849"/>
                <a:gd name="connsiteX81" fmla="*/ 1122086 w 1457148"/>
                <a:gd name="connsiteY81" fmla="*/ 335607 h 3641849"/>
                <a:gd name="connsiteX82" fmla="*/ 1094376 w 1457148"/>
                <a:gd name="connsiteY82" fmla="*/ 304578 h 3641849"/>
                <a:gd name="connsiteX83" fmla="*/ 1090208 w 1457148"/>
                <a:gd name="connsiteY83" fmla="*/ 280325 h 3641849"/>
                <a:gd name="connsiteX84" fmla="*/ 1141484 w 1457148"/>
                <a:gd name="connsiteY84" fmla="*/ 258034 h 3641849"/>
                <a:gd name="connsiteX85" fmla="*/ 1195064 w 1457148"/>
                <a:gd name="connsiteY85" fmla="*/ 267906 h 3641849"/>
                <a:gd name="connsiteX86" fmla="*/ 1273848 w 1457148"/>
                <a:gd name="connsiteY86" fmla="*/ 279816 h 3641849"/>
                <a:gd name="connsiteX87" fmla="*/ 1358171 w 1457148"/>
                <a:gd name="connsiteY87" fmla="*/ 349175 h 3641849"/>
                <a:gd name="connsiteX88" fmla="*/ 1420306 w 1457148"/>
                <a:gd name="connsiteY88" fmla="*/ 425271 h 3641849"/>
                <a:gd name="connsiteX89" fmla="*/ 1319335 w 1457148"/>
                <a:gd name="connsiteY89" fmla="*/ 454265 h 3641849"/>
                <a:gd name="connsiteX90" fmla="*/ 1303801 w 1457148"/>
                <a:gd name="connsiteY90" fmla="*/ 501372 h 3641849"/>
                <a:gd name="connsiteX91" fmla="*/ 1361471 w 1457148"/>
                <a:gd name="connsiteY91" fmla="*/ 585862 h 3641849"/>
                <a:gd name="connsiteX92" fmla="*/ 1397005 w 1457148"/>
                <a:gd name="connsiteY92" fmla="*/ 591964 h 3641849"/>
                <a:gd name="connsiteX93" fmla="*/ 1449625 w 1457148"/>
                <a:gd name="connsiteY93" fmla="*/ 598304 h 3641849"/>
                <a:gd name="connsiteX94" fmla="*/ 1444662 w 1457148"/>
                <a:gd name="connsiteY94" fmla="*/ 709079 h 3641849"/>
                <a:gd name="connsiteX95" fmla="*/ 1455731 w 1457148"/>
                <a:gd name="connsiteY95" fmla="*/ 1040047 h 3641849"/>
                <a:gd name="connsiteX96" fmla="*/ 1446863 w 1457148"/>
                <a:gd name="connsiteY96" fmla="*/ 1842646 h 3641849"/>
                <a:gd name="connsiteX97" fmla="*/ 1455730 w 1457148"/>
                <a:gd name="connsiteY97" fmla="*/ 2297728 h 3641849"/>
                <a:gd name="connsiteX98" fmla="*/ 1429282 w 1457148"/>
                <a:gd name="connsiteY98" fmla="*/ 3607693 h 3641849"/>
                <a:gd name="connsiteX99" fmla="*/ 1170855 w 1457148"/>
                <a:gd name="connsiteY99" fmla="*/ 3564098 h 3641849"/>
                <a:gd name="connsiteX100" fmla="*/ 1002377 w 1457148"/>
                <a:gd name="connsiteY100" fmla="*/ 3497903 h 3641849"/>
                <a:gd name="connsiteX101" fmla="*/ 825031 w 1457148"/>
                <a:gd name="connsiteY101" fmla="*/ 3406887 h 3641849"/>
                <a:gd name="connsiteX102" fmla="*/ 726733 w 1457148"/>
                <a:gd name="connsiteY102" fmla="*/ 3326370 h 3641849"/>
                <a:gd name="connsiteX103" fmla="*/ 1020995 w 1457148"/>
                <a:gd name="connsiteY103" fmla="*/ 3018734 h 3641849"/>
                <a:gd name="connsiteX104" fmla="*/ 737241 w 1457148"/>
                <a:gd name="connsiteY104" fmla="*/ 2480910 h 3641849"/>
                <a:gd name="connsiteX105" fmla="*/ 879591 w 1457148"/>
                <a:gd name="connsiteY105" fmla="*/ 2241825 h 3641849"/>
                <a:gd name="connsiteX106" fmla="*/ 692904 w 1457148"/>
                <a:gd name="connsiteY106" fmla="*/ 1703134 h 3641849"/>
                <a:gd name="connsiteX107" fmla="*/ 444620 w 1457148"/>
                <a:gd name="connsiteY107" fmla="*/ 1471456 h 3641849"/>
                <a:gd name="connsiteX108" fmla="*/ 435753 w 1457148"/>
                <a:gd name="connsiteY108" fmla="*/ 1355617 h 3641849"/>
                <a:gd name="connsiteX0" fmla="*/ 435753 w 1457148"/>
                <a:gd name="connsiteY0" fmla="*/ 1355617 h 3641849"/>
                <a:gd name="connsiteX1" fmla="*/ 237969 w 1457148"/>
                <a:gd name="connsiteY1" fmla="*/ 1257686 h 3641849"/>
                <a:gd name="connsiteX2" fmla="*/ 107732 w 1457148"/>
                <a:gd name="connsiteY2" fmla="*/ 1151672 h 3641849"/>
                <a:gd name="connsiteX3" fmla="*/ 168695 w 1457148"/>
                <a:gd name="connsiteY3" fmla="*/ 1094789 h 3641849"/>
                <a:gd name="connsiteX4" fmla="*/ 102190 w 1457148"/>
                <a:gd name="connsiteY4" fmla="*/ 1050829 h 3641849"/>
                <a:gd name="connsiteX5" fmla="*/ 143755 w 1457148"/>
                <a:gd name="connsiteY5" fmla="*/ 1019802 h 3641849"/>
                <a:gd name="connsiteX6" fmla="*/ 96649 w 1457148"/>
                <a:gd name="connsiteY6" fmla="*/ 993947 h 3641849"/>
                <a:gd name="connsiteX7" fmla="*/ 96648 w 1457148"/>
                <a:gd name="connsiteY7" fmla="*/ 794845 h 3641849"/>
                <a:gd name="connsiteX8" fmla="*/ 135443 w 1457148"/>
                <a:gd name="connsiteY8" fmla="*/ 779332 h 3641849"/>
                <a:gd name="connsiteX9" fmla="*/ 21830 w 1457148"/>
                <a:gd name="connsiteY9" fmla="*/ 551792 h 3641849"/>
                <a:gd name="connsiteX10" fmla="*/ 80021 w 1457148"/>
                <a:gd name="connsiteY10" fmla="*/ 458707 h 3641849"/>
                <a:gd name="connsiteX11" fmla="*/ 85563 w 1457148"/>
                <a:gd name="connsiteY11" fmla="*/ 378550 h 3641849"/>
                <a:gd name="connsiteX12" fmla="*/ 10744 w 1457148"/>
                <a:gd name="connsiteY12" fmla="*/ 319079 h 3641849"/>
                <a:gd name="connsiteX13" fmla="*/ 2432 w 1457148"/>
                <a:gd name="connsiteY13" fmla="*/ 251851 h 3641849"/>
                <a:gd name="connsiteX14" fmla="*/ 57852 w 1457148"/>
                <a:gd name="connsiteY14" fmla="*/ 158764 h 3641849"/>
                <a:gd name="connsiteX15" fmla="*/ 77250 w 1457148"/>
                <a:gd name="connsiteY15" fmla="*/ 135494 h 3641849"/>
                <a:gd name="connsiteX16" fmla="*/ 91105 w 1457148"/>
                <a:gd name="connsiteY16" fmla="*/ 117394 h 3641849"/>
                <a:gd name="connsiteX17" fmla="*/ 99418 w 1457148"/>
                <a:gd name="connsiteY17" fmla="*/ 73438 h 3641849"/>
                <a:gd name="connsiteX18" fmla="*/ 124357 w 1457148"/>
                <a:gd name="connsiteY18" fmla="*/ 101880 h 3641849"/>
                <a:gd name="connsiteX19" fmla="*/ 154839 w 1457148"/>
                <a:gd name="connsiteY19" fmla="*/ 88952 h 3641849"/>
                <a:gd name="connsiteX20" fmla="*/ 157609 w 1457148"/>
                <a:gd name="connsiteY20" fmla="*/ 63095 h 3641849"/>
                <a:gd name="connsiteX21" fmla="*/ 165923 w 1457148"/>
                <a:gd name="connsiteY21" fmla="*/ 34652 h 3641849"/>
                <a:gd name="connsiteX22" fmla="*/ 168695 w 1457148"/>
                <a:gd name="connsiteY22" fmla="*/ 3624 h 3641849"/>
                <a:gd name="connsiteX23" fmla="*/ 304475 w 1457148"/>
                <a:gd name="connsiteY23" fmla="*/ 57924 h 3641849"/>
                <a:gd name="connsiteX24" fmla="*/ 334955 w 1457148"/>
                <a:gd name="connsiteY24" fmla="*/ 161352 h 3641849"/>
                <a:gd name="connsiteX25" fmla="*/ 348811 w 1457148"/>
                <a:gd name="connsiteY25" fmla="*/ 184622 h 3641849"/>
                <a:gd name="connsiteX26" fmla="*/ 359895 w 1457148"/>
                <a:gd name="connsiteY26" fmla="*/ 187208 h 3641849"/>
                <a:gd name="connsiteX27" fmla="*/ 473507 w 1457148"/>
                <a:gd name="connsiteY27" fmla="*/ 156181 h 3641849"/>
                <a:gd name="connsiteX28" fmla="*/ 540012 w 1457148"/>
                <a:gd name="connsiteY28" fmla="*/ 166522 h 3641849"/>
                <a:gd name="connsiteX29" fmla="*/ 603746 w 1457148"/>
                <a:gd name="connsiteY29" fmla="*/ 213065 h 3641849"/>
                <a:gd name="connsiteX30" fmla="*/ 617773 w 1457148"/>
                <a:gd name="connsiteY30" fmla="*/ 242621 h 3641849"/>
                <a:gd name="connsiteX31" fmla="*/ 673020 w 1457148"/>
                <a:gd name="connsiteY31" fmla="*/ 277708 h 3641849"/>
                <a:gd name="connsiteX32" fmla="*/ 761694 w 1457148"/>
                <a:gd name="connsiteY32" fmla="*/ 303563 h 3641849"/>
                <a:gd name="connsiteX33" fmla="*/ 833740 w 1457148"/>
                <a:gd name="connsiteY33" fmla="*/ 350106 h 3641849"/>
                <a:gd name="connsiteX34" fmla="*/ 883619 w 1457148"/>
                <a:gd name="connsiteY34" fmla="*/ 401820 h 3641849"/>
                <a:gd name="connsiteX35" fmla="*/ 908558 w 1457148"/>
                <a:gd name="connsiteY35" fmla="*/ 440606 h 3641849"/>
                <a:gd name="connsiteX36" fmla="*/ 941811 w 1457148"/>
                <a:gd name="connsiteY36" fmla="*/ 466462 h 3641849"/>
                <a:gd name="connsiteX37" fmla="*/ 925183 w 1457148"/>
                <a:gd name="connsiteY37" fmla="*/ 691417 h 3641849"/>
                <a:gd name="connsiteX38" fmla="*/ 797717 w 1457148"/>
                <a:gd name="connsiteY38" fmla="*/ 771575 h 3641849"/>
                <a:gd name="connsiteX39" fmla="*/ 684105 w 1457148"/>
                <a:gd name="connsiteY39" fmla="*/ 779331 h 3641849"/>
                <a:gd name="connsiteX40" fmla="*/ 545552 w 1457148"/>
                <a:gd name="connsiteY40" fmla="*/ 758645 h 3641849"/>
                <a:gd name="connsiteX41" fmla="*/ 454108 w 1457148"/>
                <a:gd name="connsiteY41" fmla="*/ 722445 h 3641849"/>
                <a:gd name="connsiteX42" fmla="*/ 434711 w 1457148"/>
                <a:gd name="connsiteY42" fmla="*/ 750888 h 3641849"/>
                <a:gd name="connsiteX43" fmla="*/ 465353 w 1457148"/>
                <a:gd name="connsiteY43" fmla="*/ 824301 h 3641849"/>
                <a:gd name="connsiteX44" fmla="*/ 470894 w 1457148"/>
                <a:gd name="connsiteY44" fmla="*/ 951000 h 3641849"/>
                <a:gd name="connsiteX45" fmla="*/ 443024 w 1457148"/>
                <a:gd name="connsiteY45" fmla="*/ 1012043 h 3641849"/>
                <a:gd name="connsiteX46" fmla="*/ 498443 w 1457148"/>
                <a:gd name="connsiteY46" fmla="*/ 1032728 h 3641849"/>
                <a:gd name="connsiteX47" fmla="*/ 515071 w 1457148"/>
                <a:gd name="connsiteY47" fmla="*/ 1048242 h 3641849"/>
                <a:gd name="connsiteX48" fmla="*/ 540011 w 1457148"/>
                <a:gd name="connsiteY48" fmla="*/ 1074099 h 3641849"/>
                <a:gd name="connsiteX49" fmla="*/ 537240 w 1457148"/>
                <a:gd name="connsiteY49" fmla="*/ 1076685 h 3641849"/>
                <a:gd name="connsiteX50" fmla="*/ 576033 w 1457148"/>
                <a:gd name="connsiteY50" fmla="*/ 1071514 h 3641849"/>
                <a:gd name="connsiteX51" fmla="*/ 584347 w 1457148"/>
                <a:gd name="connsiteY51" fmla="*/ 1035314 h 3641849"/>
                <a:gd name="connsiteX52" fmla="*/ 545552 w 1457148"/>
                <a:gd name="connsiteY52" fmla="*/ 957743 h 3641849"/>
                <a:gd name="connsiteX53" fmla="*/ 614828 w 1457148"/>
                <a:gd name="connsiteY53" fmla="*/ 911200 h 3641849"/>
                <a:gd name="connsiteX54" fmla="*/ 682600 w 1457148"/>
                <a:gd name="connsiteY54" fmla="*/ 918934 h 3641849"/>
                <a:gd name="connsiteX55" fmla="*/ 706433 w 1457148"/>
                <a:gd name="connsiteY55" fmla="*/ 951001 h 3641849"/>
                <a:gd name="connsiteX56" fmla="*/ 862162 w 1457148"/>
                <a:gd name="connsiteY56" fmla="*/ 1007364 h 3641849"/>
                <a:gd name="connsiteX57" fmla="*/ 847754 w 1457148"/>
                <a:gd name="connsiteY57" fmla="*/ 971687 h 3641849"/>
                <a:gd name="connsiteX58" fmla="*/ 814502 w 1457148"/>
                <a:gd name="connsiteY58" fmla="*/ 932901 h 3641849"/>
                <a:gd name="connsiteX59" fmla="*/ 803418 w 1457148"/>
                <a:gd name="connsiteY59" fmla="*/ 881187 h 3641849"/>
                <a:gd name="connsiteX60" fmla="*/ 842213 w 1457148"/>
                <a:gd name="connsiteY60" fmla="*/ 832060 h 3641849"/>
                <a:gd name="connsiteX61" fmla="*/ 869923 w 1457148"/>
                <a:gd name="connsiteY61" fmla="*/ 803617 h 3641849"/>
                <a:gd name="connsiteX62" fmla="*/ 894863 w 1457148"/>
                <a:gd name="connsiteY62" fmla="*/ 767417 h 3641849"/>
                <a:gd name="connsiteX63" fmla="*/ 975223 w 1457148"/>
                <a:gd name="connsiteY63" fmla="*/ 762245 h 3641849"/>
                <a:gd name="connsiteX64" fmla="*/ 980764 w 1457148"/>
                <a:gd name="connsiteY64" fmla="*/ 741560 h 3641849"/>
                <a:gd name="connsiteX65" fmla="*/ 1005704 w 1457148"/>
                <a:gd name="connsiteY65" fmla="*/ 705360 h 3641849"/>
                <a:gd name="connsiteX66" fmla="*/ 1039508 w 1457148"/>
                <a:gd name="connsiteY66" fmla="*/ 687772 h 3641849"/>
                <a:gd name="connsiteX67" fmla="*/ 1097148 w 1457148"/>
                <a:gd name="connsiteY67" fmla="*/ 700189 h 3641849"/>
                <a:gd name="connsiteX68" fmla="*/ 1135941 w 1457148"/>
                <a:gd name="connsiteY68" fmla="*/ 720875 h 3641849"/>
                <a:gd name="connsiteX69" fmla="*/ 1183049 w 1457148"/>
                <a:gd name="connsiteY69" fmla="*/ 728632 h 3641849"/>
                <a:gd name="connsiteX70" fmla="*/ 1183049 w 1457148"/>
                <a:gd name="connsiteY70" fmla="*/ 733803 h 3641849"/>
                <a:gd name="connsiteX71" fmla="*/ 1205218 w 1457148"/>
                <a:gd name="connsiteY71" fmla="*/ 674332 h 3641849"/>
                <a:gd name="connsiteX72" fmla="*/ 1215193 w 1457148"/>
                <a:gd name="connsiteY72" fmla="*/ 640714 h 3641849"/>
                <a:gd name="connsiteX73" fmla="*/ 1221844 w 1457148"/>
                <a:gd name="connsiteY73" fmla="*/ 622618 h 3641849"/>
                <a:gd name="connsiteX74" fmla="*/ 1224781 w 1457148"/>
                <a:gd name="connsiteY74" fmla="*/ 591288 h 3641849"/>
                <a:gd name="connsiteX75" fmla="*/ 1144255 w 1457148"/>
                <a:gd name="connsiteY75" fmla="*/ 545048 h 3641849"/>
                <a:gd name="connsiteX76" fmla="*/ 1130400 w 1457148"/>
                <a:gd name="connsiteY76" fmla="*/ 472648 h 3641849"/>
                <a:gd name="connsiteX77" fmla="*/ 1130400 w 1457148"/>
                <a:gd name="connsiteY77" fmla="*/ 454548 h 3641849"/>
                <a:gd name="connsiteX78" fmla="*/ 1141483 w 1457148"/>
                <a:gd name="connsiteY78" fmla="*/ 431276 h 3641849"/>
                <a:gd name="connsiteX79" fmla="*/ 1144255 w 1457148"/>
                <a:gd name="connsiteY79" fmla="*/ 415762 h 3641849"/>
                <a:gd name="connsiteX80" fmla="*/ 1144254 w 1457148"/>
                <a:gd name="connsiteY80" fmla="*/ 358878 h 3641849"/>
                <a:gd name="connsiteX81" fmla="*/ 1122086 w 1457148"/>
                <a:gd name="connsiteY81" fmla="*/ 335607 h 3641849"/>
                <a:gd name="connsiteX82" fmla="*/ 1094376 w 1457148"/>
                <a:gd name="connsiteY82" fmla="*/ 304578 h 3641849"/>
                <a:gd name="connsiteX83" fmla="*/ 1090208 w 1457148"/>
                <a:gd name="connsiteY83" fmla="*/ 280325 h 3641849"/>
                <a:gd name="connsiteX84" fmla="*/ 1141484 w 1457148"/>
                <a:gd name="connsiteY84" fmla="*/ 258034 h 3641849"/>
                <a:gd name="connsiteX85" fmla="*/ 1195064 w 1457148"/>
                <a:gd name="connsiteY85" fmla="*/ 267906 h 3641849"/>
                <a:gd name="connsiteX86" fmla="*/ 1273848 w 1457148"/>
                <a:gd name="connsiteY86" fmla="*/ 279816 h 3641849"/>
                <a:gd name="connsiteX87" fmla="*/ 1358171 w 1457148"/>
                <a:gd name="connsiteY87" fmla="*/ 349175 h 3641849"/>
                <a:gd name="connsiteX88" fmla="*/ 1420306 w 1457148"/>
                <a:gd name="connsiteY88" fmla="*/ 425271 h 3641849"/>
                <a:gd name="connsiteX89" fmla="*/ 1319335 w 1457148"/>
                <a:gd name="connsiteY89" fmla="*/ 454265 h 3641849"/>
                <a:gd name="connsiteX90" fmla="*/ 1303801 w 1457148"/>
                <a:gd name="connsiteY90" fmla="*/ 501372 h 3641849"/>
                <a:gd name="connsiteX91" fmla="*/ 1361471 w 1457148"/>
                <a:gd name="connsiteY91" fmla="*/ 585862 h 3641849"/>
                <a:gd name="connsiteX92" fmla="*/ 1397005 w 1457148"/>
                <a:gd name="connsiteY92" fmla="*/ 591964 h 3641849"/>
                <a:gd name="connsiteX93" fmla="*/ 1449625 w 1457148"/>
                <a:gd name="connsiteY93" fmla="*/ 598304 h 3641849"/>
                <a:gd name="connsiteX94" fmla="*/ 1444662 w 1457148"/>
                <a:gd name="connsiteY94" fmla="*/ 709079 h 3641849"/>
                <a:gd name="connsiteX95" fmla="*/ 1455731 w 1457148"/>
                <a:gd name="connsiteY95" fmla="*/ 1040047 h 3641849"/>
                <a:gd name="connsiteX96" fmla="*/ 1446863 w 1457148"/>
                <a:gd name="connsiteY96" fmla="*/ 1842646 h 3641849"/>
                <a:gd name="connsiteX97" fmla="*/ 1455730 w 1457148"/>
                <a:gd name="connsiteY97" fmla="*/ 2297728 h 3641849"/>
                <a:gd name="connsiteX98" fmla="*/ 1429282 w 1457148"/>
                <a:gd name="connsiteY98" fmla="*/ 3607693 h 3641849"/>
                <a:gd name="connsiteX99" fmla="*/ 1170855 w 1457148"/>
                <a:gd name="connsiteY99" fmla="*/ 3564098 h 3641849"/>
                <a:gd name="connsiteX100" fmla="*/ 1002377 w 1457148"/>
                <a:gd name="connsiteY100" fmla="*/ 3497903 h 3641849"/>
                <a:gd name="connsiteX101" fmla="*/ 825031 w 1457148"/>
                <a:gd name="connsiteY101" fmla="*/ 3406887 h 3641849"/>
                <a:gd name="connsiteX102" fmla="*/ 726733 w 1457148"/>
                <a:gd name="connsiteY102" fmla="*/ 3326370 h 3641849"/>
                <a:gd name="connsiteX103" fmla="*/ 1020995 w 1457148"/>
                <a:gd name="connsiteY103" fmla="*/ 3018734 h 3641849"/>
                <a:gd name="connsiteX104" fmla="*/ 737241 w 1457148"/>
                <a:gd name="connsiteY104" fmla="*/ 2480910 h 3641849"/>
                <a:gd name="connsiteX105" fmla="*/ 879591 w 1457148"/>
                <a:gd name="connsiteY105" fmla="*/ 2241825 h 3641849"/>
                <a:gd name="connsiteX106" fmla="*/ 692904 w 1457148"/>
                <a:gd name="connsiteY106" fmla="*/ 1703134 h 3641849"/>
                <a:gd name="connsiteX107" fmla="*/ 444620 w 1457148"/>
                <a:gd name="connsiteY107" fmla="*/ 1471456 h 3641849"/>
                <a:gd name="connsiteX108" fmla="*/ 435753 w 1457148"/>
                <a:gd name="connsiteY108" fmla="*/ 1355617 h 3641849"/>
                <a:gd name="connsiteX0" fmla="*/ 435753 w 1457148"/>
                <a:gd name="connsiteY0" fmla="*/ 1355617 h 3641849"/>
                <a:gd name="connsiteX1" fmla="*/ 237969 w 1457148"/>
                <a:gd name="connsiteY1" fmla="*/ 1257686 h 3641849"/>
                <a:gd name="connsiteX2" fmla="*/ 107732 w 1457148"/>
                <a:gd name="connsiteY2" fmla="*/ 1151672 h 3641849"/>
                <a:gd name="connsiteX3" fmla="*/ 168695 w 1457148"/>
                <a:gd name="connsiteY3" fmla="*/ 1089617 h 3641849"/>
                <a:gd name="connsiteX4" fmla="*/ 102190 w 1457148"/>
                <a:gd name="connsiteY4" fmla="*/ 1050829 h 3641849"/>
                <a:gd name="connsiteX5" fmla="*/ 143755 w 1457148"/>
                <a:gd name="connsiteY5" fmla="*/ 1019802 h 3641849"/>
                <a:gd name="connsiteX6" fmla="*/ 96649 w 1457148"/>
                <a:gd name="connsiteY6" fmla="*/ 993947 h 3641849"/>
                <a:gd name="connsiteX7" fmla="*/ 96648 w 1457148"/>
                <a:gd name="connsiteY7" fmla="*/ 794845 h 3641849"/>
                <a:gd name="connsiteX8" fmla="*/ 135443 w 1457148"/>
                <a:gd name="connsiteY8" fmla="*/ 779332 h 3641849"/>
                <a:gd name="connsiteX9" fmla="*/ 21830 w 1457148"/>
                <a:gd name="connsiteY9" fmla="*/ 551792 h 3641849"/>
                <a:gd name="connsiteX10" fmla="*/ 80021 w 1457148"/>
                <a:gd name="connsiteY10" fmla="*/ 458707 h 3641849"/>
                <a:gd name="connsiteX11" fmla="*/ 85563 w 1457148"/>
                <a:gd name="connsiteY11" fmla="*/ 378550 h 3641849"/>
                <a:gd name="connsiteX12" fmla="*/ 10744 w 1457148"/>
                <a:gd name="connsiteY12" fmla="*/ 319079 h 3641849"/>
                <a:gd name="connsiteX13" fmla="*/ 2432 w 1457148"/>
                <a:gd name="connsiteY13" fmla="*/ 251851 h 3641849"/>
                <a:gd name="connsiteX14" fmla="*/ 57852 w 1457148"/>
                <a:gd name="connsiteY14" fmla="*/ 158764 h 3641849"/>
                <a:gd name="connsiteX15" fmla="*/ 77250 w 1457148"/>
                <a:gd name="connsiteY15" fmla="*/ 135494 h 3641849"/>
                <a:gd name="connsiteX16" fmla="*/ 91105 w 1457148"/>
                <a:gd name="connsiteY16" fmla="*/ 117394 h 3641849"/>
                <a:gd name="connsiteX17" fmla="*/ 99418 w 1457148"/>
                <a:gd name="connsiteY17" fmla="*/ 73438 h 3641849"/>
                <a:gd name="connsiteX18" fmla="*/ 124357 w 1457148"/>
                <a:gd name="connsiteY18" fmla="*/ 101880 h 3641849"/>
                <a:gd name="connsiteX19" fmla="*/ 154839 w 1457148"/>
                <a:gd name="connsiteY19" fmla="*/ 88952 h 3641849"/>
                <a:gd name="connsiteX20" fmla="*/ 157609 w 1457148"/>
                <a:gd name="connsiteY20" fmla="*/ 63095 h 3641849"/>
                <a:gd name="connsiteX21" fmla="*/ 165923 w 1457148"/>
                <a:gd name="connsiteY21" fmla="*/ 34652 h 3641849"/>
                <a:gd name="connsiteX22" fmla="*/ 168695 w 1457148"/>
                <a:gd name="connsiteY22" fmla="*/ 3624 h 3641849"/>
                <a:gd name="connsiteX23" fmla="*/ 304475 w 1457148"/>
                <a:gd name="connsiteY23" fmla="*/ 57924 h 3641849"/>
                <a:gd name="connsiteX24" fmla="*/ 334955 w 1457148"/>
                <a:gd name="connsiteY24" fmla="*/ 161352 h 3641849"/>
                <a:gd name="connsiteX25" fmla="*/ 348811 w 1457148"/>
                <a:gd name="connsiteY25" fmla="*/ 184622 h 3641849"/>
                <a:gd name="connsiteX26" fmla="*/ 359895 w 1457148"/>
                <a:gd name="connsiteY26" fmla="*/ 187208 h 3641849"/>
                <a:gd name="connsiteX27" fmla="*/ 473507 w 1457148"/>
                <a:gd name="connsiteY27" fmla="*/ 156181 h 3641849"/>
                <a:gd name="connsiteX28" fmla="*/ 540012 w 1457148"/>
                <a:gd name="connsiteY28" fmla="*/ 166522 h 3641849"/>
                <a:gd name="connsiteX29" fmla="*/ 603746 w 1457148"/>
                <a:gd name="connsiteY29" fmla="*/ 213065 h 3641849"/>
                <a:gd name="connsiteX30" fmla="*/ 617773 w 1457148"/>
                <a:gd name="connsiteY30" fmla="*/ 242621 h 3641849"/>
                <a:gd name="connsiteX31" fmla="*/ 673020 w 1457148"/>
                <a:gd name="connsiteY31" fmla="*/ 277708 h 3641849"/>
                <a:gd name="connsiteX32" fmla="*/ 761694 w 1457148"/>
                <a:gd name="connsiteY32" fmla="*/ 303563 h 3641849"/>
                <a:gd name="connsiteX33" fmla="*/ 833740 w 1457148"/>
                <a:gd name="connsiteY33" fmla="*/ 350106 h 3641849"/>
                <a:gd name="connsiteX34" fmla="*/ 883619 w 1457148"/>
                <a:gd name="connsiteY34" fmla="*/ 401820 h 3641849"/>
                <a:gd name="connsiteX35" fmla="*/ 908558 w 1457148"/>
                <a:gd name="connsiteY35" fmla="*/ 440606 h 3641849"/>
                <a:gd name="connsiteX36" fmla="*/ 941811 w 1457148"/>
                <a:gd name="connsiteY36" fmla="*/ 466462 h 3641849"/>
                <a:gd name="connsiteX37" fmla="*/ 925183 w 1457148"/>
                <a:gd name="connsiteY37" fmla="*/ 691417 h 3641849"/>
                <a:gd name="connsiteX38" fmla="*/ 797717 w 1457148"/>
                <a:gd name="connsiteY38" fmla="*/ 771575 h 3641849"/>
                <a:gd name="connsiteX39" fmla="*/ 684105 w 1457148"/>
                <a:gd name="connsiteY39" fmla="*/ 779331 h 3641849"/>
                <a:gd name="connsiteX40" fmla="*/ 545552 w 1457148"/>
                <a:gd name="connsiteY40" fmla="*/ 758645 h 3641849"/>
                <a:gd name="connsiteX41" fmla="*/ 454108 w 1457148"/>
                <a:gd name="connsiteY41" fmla="*/ 722445 h 3641849"/>
                <a:gd name="connsiteX42" fmla="*/ 434711 w 1457148"/>
                <a:gd name="connsiteY42" fmla="*/ 750888 h 3641849"/>
                <a:gd name="connsiteX43" fmla="*/ 465353 w 1457148"/>
                <a:gd name="connsiteY43" fmla="*/ 824301 h 3641849"/>
                <a:gd name="connsiteX44" fmla="*/ 470894 w 1457148"/>
                <a:gd name="connsiteY44" fmla="*/ 951000 h 3641849"/>
                <a:gd name="connsiteX45" fmla="*/ 443024 w 1457148"/>
                <a:gd name="connsiteY45" fmla="*/ 1012043 h 3641849"/>
                <a:gd name="connsiteX46" fmla="*/ 498443 w 1457148"/>
                <a:gd name="connsiteY46" fmla="*/ 1032728 h 3641849"/>
                <a:gd name="connsiteX47" fmla="*/ 515071 w 1457148"/>
                <a:gd name="connsiteY47" fmla="*/ 1048242 h 3641849"/>
                <a:gd name="connsiteX48" fmla="*/ 540011 w 1457148"/>
                <a:gd name="connsiteY48" fmla="*/ 1074099 h 3641849"/>
                <a:gd name="connsiteX49" fmla="*/ 537240 w 1457148"/>
                <a:gd name="connsiteY49" fmla="*/ 1076685 h 3641849"/>
                <a:gd name="connsiteX50" fmla="*/ 576033 w 1457148"/>
                <a:gd name="connsiteY50" fmla="*/ 1071514 h 3641849"/>
                <a:gd name="connsiteX51" fmla="*/ 584347 w 1457148"/>
                <a:gd name="connsiteY51" fmla="*/ 1035314 h 3641849"/>
                <a:gd name="connsiteX52" fmla="*/ 545552 w 1457148"/>
                <a:gd name="connsiteY52" fmla="*/ 957743 h 3641849"/>
                <a:gd name="connsiteX53" fmla="*/ 614828 w 1457148"/>
                <a:gd name="connsiteY53" fmla="*/ 911200 h 3641849"/>
                <a:gd name="connsiteX54" fmla="*/ 682600 w 1457148"/>
                <a:gd name="connsiteY54" fmla="*/ 918934 h 3641849"/>
                <a:gd name="connsiteX55" fmla="*/ 706433 w 1457148"/>
                <a:gd name="connsiteY55" fmla="*/ 951001 h 3641849"/>
                <a:gd name="connsiteX56" fmla="*/ 862162 w 1457148"/>
                <a:gd name="connsiteY56" fmla="*/ 1007364 h 3641849"/>
                <a:gd name="connsiteX57" fmla="*/ 847754 w 1457148"/>
                <a:gd name="connsiteY57" fmla="*/ 971687 h 3641849"/>
                <a:gd name="connsiteX58" fmla="*/ 814502 w 1457148"/>
                <a:gd name="connsiteY58" fmla="*/ 932901 h 3641849"/>
                <a:gd name="connsiteX59" fmla="*/ 803418 w 1457148"/>
                <a:gd name="connsiteY59" fmla="*/ 881187 h 3641849"/>
                <a:gd name="connsiteX60" fmla="*/ 842213 w 1457148"/>
                <a:gd name="connsiteY60" fmla="*/ 832060 h 3641849"/>
                <a:gd name="connsiteX61" fmla="*/ 869923 w 1457148"/>
                <a:gd name="connsiteY61" fmla="*/ 803617 h 3641849"/>
                <a:gd name="connsiteX62" fmla="*/ 894863 w 1457148"/>
                <a:gd name="connsiteY62" fmla="*/ 767417 h 3641849"/>
                <a:gd name="connsiteX63" fmla="*/ 975223 w 1457148"/>
                <a:gd name="connsiteY63" fmla="*/ 762245 h 3641849"/>
                <a:gd name="connsiteX64" fmla="*/ 980764 w 1457148"/>
                <a:gd name="connsiteY64" fmla="*/ 741560 h 3641849"/>
                <a:gd name="connsiteX65" fmla="*/ 1005704 w 1457148"/>
                <a:gd name="connsiteY65" fmla="*/ 705360 h 3641849"/>
                <a:gd name="connsiteX66" fmla="*/ 1039508 w 1457148"/>
                <a:gd name="connsiteY66" fmla="*/ 687772 h 3641849"/>
                <a:gd name="connsiteX67" fmla="*/ 1097148 w 1457148"/>
                <a:gd name="connsiteY67" fmla="*/ 700189 h 3641849"/>
                <a:gd name="connsiteX68" fmla="*/ 1135941 w 1457148"/>
                <a:gd name="connsiteY68" fmla="*/ 720875 h 3641849"/>
                <a:gd name="connsiteX69" fmla="*/ 1183049 w 1457148"/>
                <a:gd name="connsiteY69" fmla="*/ 728632 h 3641849"/>
                <a:gd name="connsiteX70" fmla="*/ 1183049 w 1457148"/>
                <a:gd name="connsiteY70" fmla="*/ 733803 h 3641849"/>
                <a:gd name="connsiteX71" fmla="*/ 1205218 w 1457148"/>
                <a:gd name="connsiteY71" fmla="*/ 674332 h 3641849"/>
                <a:gd name="connsiteX72" fmla="*/ 1215193 w 1457148"/>
                <a:gd name="connsiteY72" fmla="*/ 640714 h 3641849"/>
                <a:gd name="connsiteX73" fmla="*/ 1221844 w 1457148"/>
                <a:gd name="connsiteY73" fmla="*/ 622618 h 3641849"/>
                <a:gd name="connsiteX74" fmla="*/ 1224781 w 1457148"/>
                <a:gd name="connsiteY74" fmla="*/ 591288 h 3641849"/>
                <a:gd name="connsiteX75" fmla="*/ 1144255 w 1457148"/>
                <a:gd name="connsiteY75" fmla="*/ 545048 h 3641849"/>
                <a:gd name="connsiteX76" fmla="*/ 1130400 w 1457148"/>
                <a:gd name="connsiteY76" fmla="*/ 472648 h 3641849"/>
                <a:gd name="connsiteX77" fmla="*/ 1130400 w 1457148"/>
                <a:gd name="connsiteY77" fmla="*/ 454548 h 3641849"/>
                <a:gd name="connsiteX78" fmla="*/ 1141483 w 1457148"/>
                <a:gd name="connsiteY78" fmla="*/ 431276 h 3641849"/>
                <a:gd name="connsiteX79" fmla="*/ 1144255 w 1457148"/>
                <a:gd name="connsiteY79" fmla="*/ 415762 h 3641849"/>
                <a:gd name="connsiteX80" fmla="*/ 1144254 w 1457148"/>
                <a:gd name="connsiteY80" fmla="*/ 358878 h 3641849"/>
                <a:gd name="connsiteX81" fmla="*/ 1122086 w 1457148"/>
                <a:gd name="connsiteY81" fmla="*/ 335607 h 3641849"/>
                <a:gd name="connsiteX82" fmla="*/ 1094376 w 1457148"/>
                <a:gd name="connsiteY82" fmla="*/ 304578 h 3641849"/>
                <a:gd name="connsiteX83" fmla="*/ 1090208 w 1457148"/>
                <a:gd name="connsiteY83" fmla="*/ 280325 h 3641849"/>
                <a:gd name="connsiteX84" fmla="*/ 1141484 w 1457148"/>
                <a:gd name="connsiteY84" fmla="*/ 258034 h 3641849"/>
                <a:gd name="connsiteX85" fmla="*/ 1195064 w 1457148"/>
                <a:gd name="connsiteY85" fmla="*/ 267906 h 3641849"/>
                <a:gd name="connsiteX86" fmla="*/ 1273848 w 1457148"/>
                <a:gd name="connsiteY86" fmla="*/ 279816 h 3641849"/>
                <a:gd name="connsiteX87" fmla="*/ 1358171 w 1457148"/>
                <a:gd name="connsiteY87" fmla="*/ 349175 h 3641849"/>
                <a:gd name="connsiteX88" fmla="*/ 1420306 w 1457148"/>
                <a:gd name="connsiteY88" fmla="*/ 425271 h 3641849"/>
                <a:gd name="connsiteX89" fmla="*/ 1319335 w 1457148"/>
                <a:gd name="connsiteY89" fmla="*/ 454265 h 3641849"/>
                <a:gd name="connsiteX90" fmla="*/ 1303801 w 1457148"/>
                <a:gd name="connsiteY90" fmla="*/ 501372 h 3641849"/>
                <a:gd name="connsiteX91" fmla="*/ 1361471 w 1457148"/>
                <a:gd name="connsiteY91" fmla="*/ 585862 h 3641849"/>
                <a:gd name="connsiteX92" fmla="*/ 1397005 w 1457148"/>
                <a:gd name="connsiteY92" fmla="*/ 591964 h 3641849"/>
                <a:gd name="connsiteX93" fmla="*/ 1449625 w 1457148"/>
                <a:gd name="connsiteY93" fmla="*/ 598304 h 3641849"/>
                <a:gd name="connsiteX94" fmla="*/ 1444662 w 1457148"/>
                <a:gd name="connsiteY94" fmla="*/ 709079 h 3641849"/>
                <a:gd name="connsiteX95" fmla="*/ 1455731 w 1457148"/>
                <a:gd name="connsiteY95" fmla="*/ 1040047 h 3641849"/>
                <a:gd name="connsiteX96" fmla="*/ 1446863 w 1457148"/>
                <a:gd name="connsiteY96" fmla="*/ 1842646 h 3641849"/>
                <a:gd name="connsiteX97" fmla="*/ 1455730 w 1457148"/>
                <a:gd name="connsiteY97" fmla="*/ 2297728 h 3641849"/>
                <a:gd name="connsiteX98" fmla="*/ 1429282 w 1457148"/>
                <a:gd name="connsiteY98" fmla="*/ 3607693 h 3641849"/>
                <a:gd name="connsiteX99" fmla="*/ 1170855 w 1457148"/>
                <a:gd name="connsiteY99" fmla="*/ 3564098 h 3641849"/>
                <a:gd name="connsiteX100" fmla="*/ 1002377 w 1457148"/>
                <a:gd name="connsiteY100" fmla="*/ 3497903 h 3641849"/>
                <a:gd name="connsiteX101" fmla="*/ 825031 w 1457148"/>
                <a:gd name="connsiteY101" fmla="*/ 3406887 h 3641849"/>
                <a:gd name="connsiteX102" fmla="*/ 726733 w 1457148"/>
                <a:gd name="connsiteY102" fmla="*/ 3326370 h 3641849"/>
                <a:gd name="connsiteX103" fmla="*/ 1020995 w 1457148"/>
                <a:gd name="connsiteY103" fmla="*/ 3018734 h 3641849"/>
                <a:gd name="connsiteX104" fmla="*/ 737241 w 1457148"/>
                <a:gd name="connsiteY104" fmla="*/ 2480910 h 3641849"/>
                <a:gd name="connsiteX105" fmla="*/ 879591 w 1457148"/>
                <a:gd name="connsiteY105" fmla="*/ 2241825 h 3641849"/>
                <a:gd name="connsiteX106" fmla="*/ 692904 w 1457148"/>
                <a:gd name="connsiteY106" fmla="*/ 1703134 h 3641849"/>
                <a:gd name="connsiteX107" fmla="*/ 444620 w 1457148"/>
                <a:gd name="connsiteY107" fmla="*/ 1471456 h 3641849"/>
                <a:gd name="connsiteX108" fmla="*/ 435753 w 1457148"/>
                <a:gd name="connsiteY108" fmla="*/ 1355617 h 3641849"/>
                <a:gd name="connsiteX0" fmla="*/ 435753 w 1457148"/>
                <a:gd name="connsiteY0" fmla="*/ 1355617 h 3641849"/>
                <a:gd name="connsiteX1" fmla="*/ 237969 w 1457148"/>
                <a:gd name="connsiteY1" fmla="*/ 1257686 h 3641849"/>
                <a:gd name="connsiteX2" fmla="*/ 107732 w 1457148"/>
                <a:gd name="connsiteY2" fmla="*/ 1151672 h 3641849"/>
                <a:gd name="connsiteX3" fmla="*/ 168695 w 1457148"/>
                <a:gd name="connsiteY3" fmla="*/ 1089617 h 3641849"/>
                <a:gd name="connsiteX4" fmla="*/ 102190 w 1457148"/>
                <a:gd name="connsiteY4" fmla="*/ 1050829 h 3641849"/>
                <a:gd name="connsiteX5" fmla="*/ 143755 w 1457148"/>
                <a:gd name="connsiteY5" fmla="*/ 1019802 h 3641849"/>
                <a:gd name="connsiteX6" fmla="*/ 96649 w 1457148"/>
                <a:gd name="connsiteY6" fmla="*/ 993947 h 3641849"/>
                <a:gd name="connsiteX7" fmla="*/ 96648 w 1457148"/>
                <a:gd name="connsiteY7" fmla="*/ 794845 h 3641849"/>
                <a:gd name="connsiteX8" fmla="*/ 135443 w 1457148"/>
                <a:gd name="connsiteY8" fmla="*/ 779332 h 3641849"/>
                <a:gd name="connsiteX9" fmla="*/ 21830 w 1457148"/>
                <a:gd name="connsiteY9" fmla="*/ 551792 h 3641849"/>
                <a:gd name="connsiteX10" fmla="*/ 80021 w 1457148"/>
                <a:gd name="connsiteY10" fmla="*/ 458707 h 3641849"/>
                <a:gd name="connsiteX11" fmla="*/ 85563 w 1457148"/>
                <a:gd name="connsiteY11" fmla="*/ 378550 h 3641849"/>
                <a:gd name="connsiteX12" fmla="*/ 10744 w 1457148"/>
                <a:gd name="connsiteY12" fmla="*/ 319079 h 3641849"/>
                <a:gd name="connsiteX13" fmla="*/ 2432 w 1457148"/>
                <a:gd name="connsiteY13" fmla="*/ 251851 h 3641849"/>
                <a:gd name="connsiteX14" fmla="*/ 57852 w 1457148"/>
                <a:gd name="connsiteY14" fmla="*/ 158764 h 3641849"/>
                <a:gd name="connsiteX15" fmla="*/ 77250 w 1457148"/>
                <a:gd name="connsiteY15" fmla="*/ 135494 h 3641849"/>
                <a:gd name="connsiteX16" fmla="*/ 91105 w 1457148"/>
                <a:gd name="connsiteY16" fmla="*/ 117394 h 3641849"/>
                <a:gd name="connsiteX17" fmla="*/ 99418 w 1457148"/>
                <a:gd name="connsiteY17" fmla="*/ 73438 h 3641849"/>
                <a:gd name="connsiteX18" fmla="*/ 124357 w 1457148"/>
                <a:gd name="connsiteY18" fmla="*/ 101880 h 3641849"/>
                <a:gd name="connsiteX19" fmla="*/ 154839 w 1457148"/>
                <a:gd name="connsiteY19" fmla="*/ 88952 h 3641849"/>
                <a:gd name="connsiteX20" fmla="*/ 157609 w 1457148"/>
                <a:gd name="connsiteY20" fmla="*/ 63095 h 3641849"/>
                <a:gd name="connsiteX21" fmla="*/ 165923 w 1457148"/>
                <a:gd name="connsiteY21" fmla="*/ 34652 h 3641849"/>
                <a:gd name="connsiteX22" fmla="*/ 168695 w 1457148"/>
                <a:gd name="connsiteY22" fmla="*/ 3624 h 3641849"/>
                <a:gd name="connsiteX23" fmla="*/ 304475 w 1457148"/>
                <a:gd name="connsiteY23" fmla="*/ 57924 h 3641849"/>
                <a:gd name="connsiteX24" fmla="*/ 334955 w 1457148"/>
                <a:gd name="connsiteY24" fmla="*/ 161352 h 3641849"/>
                <a:gd name="connsiteX25" fmla="*/ 348811 w 1457148"/>
                <a:gd name="connsiteY25" fmla="*/ 184622 h 3641849"/>
                <a:gd name="connsiteX26" fmla="*/ 359895 w 1457148"/>
                <a:gd name="connsiteY26" fmla="*/ 187208 h 3641849"/>
                <a:gd name="connsiteX27" fmla="*/ 473507 w 1457148"/>
                <a:gd name="connsiteY27" fmla="*/ 156181 h 3641849"/>
                <a:gd name="connsiteX28" fmla="*/ 540012 w 1457148"/>
                <a:gd name="connsiteY28" fmla="*/ 166522 h 3641849"/>
                <a:gd name="connsiteX29" fmla="*/ 603746 w 1457148"/>
                <a:gd name="connsiteY29" fmla="*/ 213065 h 3641849"/>
                <a:gd name="connsiteX30" fmla="*/ 617773 w 1457148"/>
                <a:gd name="connsiteY30" fmla="*/ 242621 h 3641849"/>
                <a:gd name="connsiteX31" fmla="*/ 673020 w 1457148"/>
                <a:gd name="connsiteY31" fmla="*/ 277708 h 3641849"/>
                <a:gd name="connsiteX32" fmla="*/ 761694 w 1457148"/>
                <a:gd name="connsiteY32" fmla="*/ 303563 h 3641849"/>
                <a:gd name="connsiteX33" fmla="*/ 833740 w 1457148"/>
                <a:gd name="connsiteY33" fmla="*/ 350106 h 3641849"/>
                <a:gd name="connsiteX34" fmla="*/ 883619 w 1457148"/>
                <a:gd name="connsiteY34" fmla="*/ 401820 h 3641849"/>
                <a:gd name="connsiteX35" fmla="*/ 908558 w 1457148"/>
                <a:gd name="connsiteY35" fmla="*/ 440606 h 3641849"/>
                <a:gd name="connsiteX36" fmla="*/ 941811 w 1457148"/>
                <a:gd name="connsiteY36" fmla="*/ 466462 h 3641849"/>
                <a:gd name="connsiteX37" fmla="*/ 925183 w 1457148"/>
                <a:gd name="connsiteY37" fmla="*/ 691417 h 3641849"/>
                <a:gd name="connsiteX38" fmla="*/ 797717 w 1457148"/>
                <a:gd name="connsiteY38" fmla="*/ 771575 h 3641849"/>
                <a:gd name="connsiteX39" fmla="*/ 684105 w 1457148"/>
                <a:gd name="connsiteY39" fmla="*/ 779331 h 3641849"/>
                <a:gd name="connsiteX40" fmla="*/ 545552 w 1457148"/>
                <a:gd name="connsiteY40" fmla="*/ 758645 h 3641849"/>
                <a:gd name="connsiteX41" fmla="*/ 454108 w 1457148"/>
                <a:gd name="connsiteY41" fmla="*/ 722445 h 3641849"/>
                <a:gd name="connsiteX42" fmla="*/ 434711 w 1457148"/>
                <a:gd name="connsiteY42" fmla="*/ 750888 h 3641849"/>
                <a:gd name="connsiteX43" fmla="*/ 465353 w 1457148"/>
                <a:gd name="connsiteY43" fmla="*/ 824301 h 3641849"/>
                <a:gd name="connsiteX44" fmla="*/ 470894 w 1457148"/>
                <a:gd name="connsiteY44" fmla="*/ 951000 h 3641849"/>
                <a:gd name="connsiteX45" fmla="*/ 443024 w 1457148"/>
                <a:gd name="connsiteY45" fmla="*/ 1012043 h 3641849"/>
                <a:gd name="connsiteX46" fmla="*/ 498443 w 1457148"/>
                <a:gd name="connsiteY46" fmla="*/ 1032728 h 3641849"/>
                <a:gd name="connsiteX47" fmla="*/ 515071 w 1457148"/>
                <a:gd name="connsiteY47" fmla="*/ 1048242 h 3641849"/>
                <a:gd name="connsiteX48" fmla="*/ 540011 w 1457148"/>
                <a:gd name="connsiteY48" fmla="*/ 1074099 h 3641849"/>
                <a:gd name="connsiteX49" fmla="*/ 537240 w 1457148"/>
                <a:gd name="connsiteY49" fmla="*/ 1076685 h 3641849"/>
                <a:gd name="connsiteX50" fmla="*/ 576033 w 1457148"/>
                <a:gd name="connsiteY50" fmla="*/ 1071514 h 3641849"/>
                <a:gd name="connsiteX51" fmla="*/ 584347 w 1457148"/>
                <a:gd name="connsiteY51" fmla="*/ 1035314 h 3641849"/>
                <a:gd name="connsiteX52" fmla="*/ 545552 w 1457148"/>
                <a:gd name="connsiteY52" fmla="*/ 957743 h 3641849"/>
                <a:gd name="connsiteX53" fmla="*/ 614828 w 1457148"/>
                <a:gd name="connsiteY53" fmla="*/ 911200 h 3641849"/>
                <a:gd name="connsiteX54" fmla="*/ 682600 w 1457148"/>
                <a:gd name="connsiteY54" fmla="*/ 918934 h 3641849"/>
                <a:gd name="connsiteX55" fmla="*/ 706433 w 1457148"/>
                <a:gd name="connsiteY55" fmla="*/ 951001 h 3641849"/>
                <a:gd name="connsiteX56" fmla="*/ 862162 w 1457148"/>
                <a:gd name="connsiteY56" fmla="*/ 1007364 h 3641849"/>
                <a:gd name="connsiteX57" fmla="*/ 847754 w 1457148"/>
                <a:gd name="connsiteY57" fmla="*/ 971687 h 3641849"/>
                <a:gd name="connsiteX58" fmla="*/ 814502 w 1457148"/>
                <a:gd name="connsiteY58" fmla="*/ 932901 h 3641849"/>
                <a:gd name="connsiteX59" fmla="*/ 803418 w 1457148"/>
                <a:gd name="connsiteY59" fmla="*/ 881187 h 3641849"/>
                <a:gd name="connsiteX60" fmla="*/ 842213 w 1457148"/>
                <a:gd name="connsiteY60" fmla="*/ 832060 h 3641849"/>
                <a:gd name="connsiteX61" fmla="*/ 869923 w 1457148"/>
                <a:gd name="connsiteY61" fmla="*/ 803617 h 3641849"/>
                <a:gd name="connsiteX62" fmla="*/ 894863 w 1457148"/>
                <a:gd name="connsiteY62" fmla="*/ 767417 h 3641849"/>
                <a:gd name="connsiteX63" fmla="*/ 975223 w 1457148"/>
                <a:gd name="connsiteY63" fmla="*/ 762245 h 3641849"/>
                <a:gd name="connsiteX64" fmla="*/ 980764 w 1457148"/>
                <a:gd name="connsiteY64" fmla="*/ 741560 h 3641849"/>
                <a:gd name="connsiteX65" fmla="*/ 1005704 w 1457148"/>
                <a:gd name="connsiteY65" fmla="*/ 705360 h 3641849"/>
                <a:gd name="connsiteX66" fmla="*/ 1039508 w 1457148"/>
                <a:gd name="connsiteY66" fmla="*/ 687772 h 3641849"/>
                <a:gd name="connsiteX67" fmla="*/ 1097148 w 1457148"/>
                <a:gd name="connsiteY67" fmla="*/ 700189 h 3641849"/>
                <a:gd name="connsiteX68" fmla="*/ 1135941 w 1457148"/>
                <a:gd name="connsiteY68" fmla="*/ 720875 h 3641849"/>
                <a:gd name="connsiteX69" fmla="*/ 1183049 w 1457148"/>
                <a:gd name="connsiteY69" fmla="*/ 728632 h 3641849"/>
                <a:gd name="connsiteX70" fmla="*/ 1183049 w 1457148"/>
                <a:gd name="connsiteY70" fmla="*/ 733803 h 3641849"/>
                <a:gd name="connsiteX71" fmla="*/ 1205218 w 1457148"/>
                <a:gd name="connsiteY71" fmla="*/ 674332 h 3641849"/>
                <a:gd name="connsiteX72" fmla="*/ 1215193 w 1457148"/>
                <a:gd name="connsiteY72" fmla="*/ 640714 h 3641849"/>
                <a:gd name="connsiteX73" fmla="*/ 1221844 w 1457148"/>
                <a:gd name="connsiteY73" fmla="*/ 622618 h 3641849"/>
                <a:gd name="connsiteX74" fmla="*/ 1224781 w 1457148"/>
                <a:gd name="connsiteY74" fmla="*/ 591288 h 3641849"/>
                <a:gd name="connsiteX75" fmla="*/ 1144255 w 1457148"/>
                <a:gd name="connsiteY75" fmla="*/ 545048 h 3641849"/>
                <a:gd name="connsiteX76" fmla="*/ 1130400 w 1457148"/>
                <a:gd name="connsiteY76" fmla="*/ 472648 h 3641849"/>
                <a:gd name="connsiteX77" fmla="*/ 1130400 w 1457148"/>
                <a:gd name="connsiteY77" fmla="*/ 454548 h 3641849"/>
                <a:gd name="connsiteX78" fmla="*/ 1141483 w 1457148"/>
                <a:gd name="connsiteY78" fmla="*/ 431276 h 3641849"/>
                <a:gd name="connsiteX79" fmla="*/ 1144255 w 1457148"/>
                <a:gd name="connsiteY79" fmla="*/ 415762 h 3641849"/>
                <a:gd name="connsiteX80" fmla="*/ 1144254 w 1457148"/>
                <a:gd name="connsiteY80" fmla="*/ 358878 h 3641849"/>
                <a:gd name="connsiteX81" fmla="*/ 1122086 w 1457148"/>
                <a:gd name="connsiteY81" fmla="*/ 335607 h 3641849"/>
                <a:gd name="connsiteX82" fmla="*/ 1094376 w 1457148"/>
                <a:gd name="connsiteY82" fmla="*/ 304578 h 3641849"/>
                <a:gd name="connsiteX83" fmla="*/ 1090208 w 1457148"/>
                <a:gd name="connsiteY83" fmla="*/ 280325 h 3641849"/>
                <a:gd name="connsiteX84" fmla="*/ 1141484 w 1457148"/>
                <a:gd name="connsiteY84" fmla="*/ 258034 h 3641849"/>
                <a:gd name="connsiteX85" fmla="*/ 1195064 w 1457148"/>
                <a:gd name="connsiteY85" fmla="*/ 267906 h 3641849"/>
                <a:gd name="connsiteX86" fmla="*/ 1273848 w 1457148"/>
                <a:gd name="connsiteY86" fmla="*/ 279816 h 3641849"/>
                <a:gd name="connsiteX87" fmla="*/ 1358171 w 1457148"/>
                <a:gd name="connsiteY87" fmla="*/ 349175 h 3641849"/>
                <a:gd name="connsiteX88" fmla="*/ 1420306 w 1457148"/>
                <a:gd name="connsiteY88" fmla="*/ 425271 h 3641849"/>
                <a:gd name="connsiteX89" fmla="*/ 1319335 w 1457148"/>
                <a:gd name="connsiteY89" fmla="*/ 454265 h 3641849"/>
                <a:gd name="connsiteX90" fmla="*/ 1303801 w 1457148"/>
                <a:gd name="connsiteY90" fmla="*/ 501372 h 3641849"/>
                <a:gd name="connsiteX91" fmla="*/ 1361471 w 1457148"/>
                <a:gd name="connsiteY91" fmla="*/ 585862 h 3641849"/>
                <a:gd name="connsiteX92" fmla="*/ 1397005 w 1457148"/>
                <a:gd name="connsiteY92" fmla="*/ 591964 h 3641849"/>
                <a:gd name="connsiteX93" fmla="*/ 1449625 w 1457148"/>
                <a:gd name="connsiteY93" fmla="*/ 598304 h 3641849"/>
                <a:gd name="connsiteX94" fmla="*/ 1444662 w 1457148"/>
                <a:gd name="connsiteY94" fmla="*/ 709079 h 3641849"/>
                <a:gd name="connsiteX95" fmla="*/ 1455731 w 1457148"/>
                <a:gd name="connsiteY95" fmla="*/ 1040047 h 3641849"/>
                <a:gd name="connsiteX96" fmla="*/ 1446863 w 1457148"/>
                <a:gd name="connsiteY96" fmla="*/ 1842646 h 3641849"/>
                <a:gd name="connsiteX97" fmla="*/ 1455730 w 1457148"/>
                <a:gd name="connsiteY97" fmla="*/ 2297728 h 3641849"/>
                <a:gd name="connsiteX98" fmla="*/ 1429282 w 1457148"/>
                <a:gd name="connsiteY98" fmla="*/ 3607693 h 3641849"/>
                <a:gd name="connsiteX99" fmla="*/ 1170855 w 1457148"/>
                <a:gd name="connsiteY99" fmla="*/ 3564098 h 3641849"/>
                <a:gd name="connsiteX100" fmla="*/ 1002377 w 1457148"/>
                <a:gd name="connsiteY100" fmla="*/ 3497903 h 3641849"/>
                <a:gd name="connsiteX101" fmla="*/ 825031 w 1457148"/>
                <a:gd name="connsiteY101" fmla="*/ 3406887 h 3641849"/>
                <a:gd name="connsiteX102" fmla="*/ 726733 w 1457148"/>
                <a:gd name="connsiteY102" fmla="*/ 3326370 h 3641849"/>
                <a:gd name="connsiteX103" fmla="*/ 1020995 w 1457148"/>
                <a:gd name="connsiteY103" fmla="*/ 3018734 h 3641849"/>
                <a:gd name="connsiteX104" fmla="*/ 737241 w 1457148"/>
                <a:gd name="connsiteY104" fmla="*/ 2480910 h 3641849"/>
                <a:gd name="connsiteX105" fmla="*/ 879591 w 1457148"/>
                <a:gd name="connsiteY105" fmla="*/ 2241825 h 3641849"/>
                <a:gd name="connsiteX106" fmla="*/ 692904 w 1457148"/>
                <a:gd name="connsiteY106" fmla="*/ 1703134 h 3641849"/>
                <a:gd name="connsiteX107" fmla="*/ 444620 w 1457148"/>
                <a:gd name="connsiteY107" fmla="*/ 1471456 h 3641849"/>
                <a:gd name="connsiteX108" fmla="*/ 435753 w 1457148"/>
                <a:gd name="connsiteY108" fmla="*/ 1355617 h 3641849"/>
                <a:gd name="connsiteX0" fmla="*/ 435753 w 1457148"/>
                <a:gd name="connsiteY0" fmla="*/ 1355617 h 3641849"/>
                <a:gd name="connsiteX1" fmla="*/ 237969 w 1457148"/>
                <a:gd name="connsiteY1" fmla="*/ 1257686 h 3641849"/>
                <a:gd name="connsiteX2" fmla="*/ 107732 w 1457148"/>
                <a:gd name="connsiteY2" fmla="*/ 1151672 h 3641849"/>
                <a:gd name="connsiteX3" fmla="*/ 168695 w 1457148"/>
                <a:gd name="connsiteY3" fmla="*/ 1089617 h 3641849"/>
                <a:gd name="connsiteX4" fmla="*/ 102190 w 1457148"/>
                <a:gd name="connsiteY4" fmla="*/ 1050829 h 3641849"/>
                <a:gd name="connsiteX5" fmla="*/ 143755 w 1457148"/>
                <a:gd name="connsiteY5" fmla="*/ 1019802 h 3641849"/>
                <a:gd name="connsiteX6" fmla="*/ 96649 w 1457148"/>
                <a:gd name="connsiteY6" fmla="*/ 993947 h 3641849"/>
                <a:gd name="connsiteX7" fmla="*/ 96648 w 1457148"/>
                <a:gd name="connsiteY7" fmla="*/ 794845 h 3641849"/>
                <a:gd name="connsiteX8" fmla="*/ 135443 w 1457148"/>
                <a:gd name="connsiteY8" fmla="*/ 779332 h 3641849"/>
                <a:gd name="connsiteX9" fmla="*/ 21830 w 1457148"/>
                <a:gd name="connsiteY9" fmla="*/ 551792 h 3641849"/>
                <a:gd name="connsiteX10" fmla="*/ 80021 w 1457148"/>
                <a:gd name="connsiteY10" fmla="*/ 458707 h 3641849"/>
                <a:gd name="connsiteX11" fmla="*/ 85563 w 1457148"/>
                <a:gd name="connsiteY11" fmla="*/ 378550 h 3641849"/>
                <a:gd name="connsiteX12" fmla="*/ 10744 w 1457148"/>
                <a:gd name="connsiteY12" fmla="*/ 319079 h 3641849"/>
                <a:gd name="connsiteX13" fmla="*/ 2432 w 1457148"/>
                <a:gd name="connsiteY13" fmla="*/ 251851 h 3641849"/>
                <a:gd name="connsiteX14" fmla="*/ 57852 w 1457148"/>
                <a:gd name="connsiteY14" fmla="*/ 158764 h 3641849"/>
                <a:gd name="connsiteX15" fmla="*/ 77250 w 1457148"/>
                <a:gd name="connsiteY15" fmla="*/ 135494 h 3641849"/>
                <a:gd name="connsiteX16" fmla="*/ 91105 w 1457148"/>
                <a:gd name="connsiteY16" fmla="*/ 117394 h 3641849"/>
                <a:gd name="connsiteX17" fmla="*/ 99418 w 1457148"/>
                <a:gd name="connsiteY17" fmla="*/ 73438 h 3641849"/>
                <a:gd name="connsiteX18" fmla="*/ 124357 w 1457148"/>
                <a:gd name="connsiteY18" fmla="*/ 101880 h 3641849"/>
                <a:gd name="connsiteX19" fmla="*/ 154839 w 1457148"/>
                <a:gd name="connsiteY19" fmla="*/ 88952 h 3641849"/>
                <a:gd name="connsiteX20" fmla="*/ 157609 w 1457148"/>
                <a:gd name="connsiteY20" fmla="*/ 63095 h 3641849"/>
                <a:gd name="connsiteX21" fmla="*/ 165923 w 1457148"/>
                <a:gd name="connsiteY21" fmla="*/ 34652 h 3641849"/>
                <a:gd name="connsiteX22" fmla="*/ 168695 w 1457148"/>
                <a:gd name="connsiteY22" fmla="*/ 3624 h 3641849"/>
                <a:gd name="connsiteX23" fmla="*/ 304475 w 1457148"/>
                <a:gd name="connsiteY23" fmla="*/ 57924 h 3641849"/>
                <a:gd name="connsiteX24" fmla="*/ 334955 w 1457148"/>
                <a:gd name="connsiteY24" fmla="*/ 161352 h 3641849"/>
                <a:gd name="connsiteX25" fmla="*/ 348811 w 1457148"/>
                <a:gd name="connsiteY25" fmla="*/ 184622 h 3641849"/>
                <a:gd name="connsiteX26" fmla="*/ 359895 w 1457148"/>
                <a:gd name="connsiteY26" fmla="*/ 187208 h 3641849"/>
                <a:gd name="connsiteX27" fmla="*/ 473507 w 1457148"/>
                <a:gd name="connsiteY27" fmla="*/ 156181 h 3641849"/>
                <a:gd name="connsiteX28" fmla="*/ 540012 w 1457148"/>
                <a:gd name="connsiteY28" fmla="*/ 166522 h 3641849"/>
                <a:gd name="connsiteX29" fmla="*/ 603746 w 1457148"/>
                <a:gd name="connsiteY29" fmla="*/ 213065 h 3641849"/>
                <a:gd name="connsiteX30" fmla="*/ 617773 w 1457148"/>
                <a:gd name="connsiteY30" fmla="*/ 242621 h 3641849"/>
                <a:gd name="connsiteX31" fmla="*/ 673020 w 1457148"/>
                <a:gd name="connsiteY31" fmla="*/ 277708 h 3641849"/>
                <a:gd name="connsiteX32" fmla="*/ 761694 w 1457148"/>
                <a:gd name="connsiteY32" fmla="*/ 303563 h 3641849"/>
                <a:gd name="connsiteX33" fmla="*/ 833740 w 1457148"/>
                <a:gd name="connsiteY33" fmla="*/ 350106 h 3641849"/>
                <a:gd name="connsiteX34" fmla="*/ 883619 w 1457148"/>
                <a:gd name="connsiteY34" fmla="*/ 401820 h 3641849"/>
                <a:gd name="connsiteX35" fmla="*/ 908558 w 1457148"/>
                <a:gd name="connsiteY35" fmla="*/ 440606 h 3641849"/>
                <a:gd name="connsiteX36" fmla="*/ 941811 w 1457148"/>
                <a:gd name="connsiteY36" fmla="*/ 466462 h 3641849"/>
                <a:gd name="connsiteX37" fmla="*/ 925183 w 1457148"/>
                <a:gd name="connsiteY37" fmla="*/ 691417 h 3641849"/>
                <a:gd name="connsiteX38" fmla="*/ 797717 w 1457148"/>
                <a:gd name="connsiteY38" fmla="*/ 771575 h 3641849"/>
                <a:gd name="connsiteX39" fmla="*/ 684105 w 1457148"/>
                <a:gd name="connsiteY39" fmla="*/ 779331 h 3641849"/>
                <a:gd name="connsiteX40" fmla="*/ 545552 w 1457148"/>
                <a:gd name="connsiteY40" fmla="*/ 758645 h 3641849"/>
                <a:gd name="connsiteX41" fmla="*/ 454108 w 1457148"/>
                <a:gd name="connsiteY41" fmla="*/ 722445 h 3641849"/>
                <a:gd name="connsiteX42" fmla="*/ 434711 w 1457148"/>
                <a:gd name="connsiteY42" fmla="*/ 750888 h 3641849"/>
                <a:gd name="connsiteX43" fmla="*/ 465353 w 1457148"/>
                <a:gd name="connsiteY43" fmla="*/ 824301 h 3641849"/>
                <a:gd name="connsiteX44" fmla="*/ 470894 w 1457148"/>
                <a:gd name="connsiteY44" fmla="*/ 951000 h 3641849"/>
                <a:gd name="connsiteX45" fmla="*/ 443024 w 1457148"/>
                <a:gd name="connsiteY45" fmla="*/ 1012043 h 3641849"/>
                <a:gd name="connsiteX46" fmla="*/ 498443 w 1457148"/>
                <a:gd name="connsiteY46" fmla="*/ 1032728 h 3641849"/>
                <a:gd name="connsiteX47" fmla="*/ 515071 w 1457148"/>
                <a:gd name="connsiteY47" fmla="*/ 1048242 h 3641849"/>
                <a:gd name="connsiteX48" fmla="*/ 540011 w 1457148"/>
                <a:gd name="connsiteY48" fmla="*/ 1074099 h 3641849"/>
                <a:gd name="connsiteX49" fmla="*/ 537240 w 1457148"/>
                <a:gd name="connsiteY49" fmla="*/ 1076685 h 3641849"/>
                <a:gd name="connsiteX50" fmla="*/ 576033 w 1457148"/>
                <a:gd name="connsiteY50" fmla="*/ 1071514 h 3641849"/>
                <a:gd name="connsiteX51" fmla="*/ 584347 w 1457148"/>
                <a:gd name="connsiteY51" fmla="*/ 1035314 h 3641849"/>
                <a:gd name="connsiteX52" fmla="*/ 545552 w 1457148"/>
                <a:gd name="connsiteY52" fmla="*/ 957743 h 3641849"/>
                <a:gd name="connsiteX53" fmla="*/ 614828 w 1457148"/>
                <a:gd name="connsiteY53" fmla="*/ 911200 h 3641849"/>
                <a:gd name="connsiteX54" fmla="*/ 682600 w 1457148"/>
                <a:gd name="connsiteY54" fmla="*/ 918934 h 3641849"/>
                <a:gd name="connsiteX55" fmla="*/ 706433 w 1457148"/>
                <a:gd name="connsiteY55" fmla="*/ 951001 h 3641849"/>
                <a:gd name="connsiteX56" fmla="*/ 862162 w 1457148"/>
                <a:gd name="connsiteY56" fmla="*/ 1007364 h 3641849"/>
                <a:gd name="connsiteX57" fmla="*/ 847754 w 1457148"/>
                <a:gd name="connsiteY57" fmla="*/ 971687 h 3641849"/>
                <a:gd name="connsiteX58" fmla="*/ 814502 w 1457148"/>
                <a:gd name="connsiteY58" fmla="*/ 932901 h 3641849"/>
                <a:gd name="connsiteX59" fmla="*/ 803418 w 1457148"/>
                <a:gd name="connsiteY59" fmla="*/ 881187 h 3641849"/>
                <a:gd name="connsiteX60" fmla="*/ 842213 w 1457148"/>
                <a:gd name="connsiteY60" fmla="*/ 832060 h 3641849"/>
                <a:gd name="connsiteX61" fmla="*/ 869923 w 1457148"/>
                <a:gd name="connsiteY61" fmla="*/ 803617 h 3641849"/>
                <a:gd name="connsiteX62" fmla="*/ 894863 w 1457148"/>
                <a:gd name="connsiteY62" fmla="*/ 767417 h 3641849"/>
                <a:gd name="connsiteX63" fmla="*/ 975223 w 1457148"/>
                <a:gd name="connsiteY63" fmla="*/ 762245 h 3641849"/>
                <a:gd name="connsiteX64" fmla="*/ 980764 w 1457148"/>
                <a:gd name="connsiteY64" fmla="*/ 741560 h 3641849"/>
                <a:gd name="connsiteX65" fmla="*/ 1005704 w 1457148"/>
                <a:gd name="connsiteY65" fmla="*/ 705360 h 3641849"/>
                <a:gd name="connsiteX66" fmla="*/ 1039508 w 1457148"/>
                <a:gd name="connsiteY66" fmla="*/ 687772 h 3641849"/>
                <a:gd name="connsiteX67" fmla="*/ 1097148 w 1457148"/>
                <a:gd name="connsiteY67" fmla="*/ 700189 h 3641849"/>
                <a:gd name="connsiteX68" fmla="*/ 1135941 w 1457148"/>
                <a:gd name="connsiteY68" fmla="*/ 720875 h 3641849"/>
                <a:gd name="connsiteX69" fmla="*/ 1183049 w 1457148"/>
                <a:gd name="connsiteY69" fmla="*/ 728632 h 3641849"/>
                <a:gd name="connsiteX70" fmla="*/ 1183049 w 1457148"/>
                <a:gd name="connsiteY70" fmla="*/ 733803 h 3641849"/>
                <a:gd name="connsiteX71" fmla="*/ 1205218 w 1457148"/>
                <a:gd name="connsiteY71" fmla="*/ 674332 h 3641849"/>
                <a:gd name="connsiteX72" fmla="*/ 1215193 w 1457148"/>
                <a:gd name="connsiteY72" fmla="*/ 640714 h 3641849"/>
                <a:gd name="connsiteX73" fmla="*/ 1221844 w 1457148"/>
                <a:gd name="connsiteY73" fmla="*/ 622618 h 3641849"/>
                <a:gd name="connsiteX74" fmla="*/ 1224781 w 1457148"/>
                <a:gd name="connsiteY74" fmla="*/ 591288 h 3641849"/>
                <a:gd name="connsiteX75" fmla="*/ 1144255 w 1457148"/>
                <a:gd name="connsiteY75" fmla="*/ 545048 h 3641849"/>
                <a:gd name="connsiteX76" fmla="*/ 1130400 w 1457148"/>
                <a:gd name="connsiteY76" fmla="*/ 472648 h 3641849"/>
                <a:gd name="connsiteX77" fmla="*/ 1130400 w 1457148"/>
                <a:gd name="connsiteY77" fmla="*/ 454548 h 3641849"/>
                <a:gd name="connsiteX78" fmla="*/ 1141483 w 1457148"/>
                <a:gd name="connsiteY78" fmla="*/ 431276 h 3641849"/>
                <a:gd name="connsiteX79" fmla="*/ 1144255 w 1457148"/>
                <a:gd name="connsiteY79" fmla="*/ 415762 h 3641849"/>
                <a:gd name="connsiteX80" fmla="*/ 1144254 w 1457148"/>
                <a:gd name="connsiteY80" fmla="*/ 358878 h 3641849"/>
                <a:gd name="connsiteX81" fmla="*/ 1122086 w 1457148"/>
                <a:gd name="connsiteY81" fmla="*/ 335607 h 3641849"/>
                <a:gd name="connsiteX82" fmla="*/ 1094376 w 1457148"/>
                <a:gd name="connsiteY82" fmla="*/ 304578 h 3641849"/>
                <a:gd name="connsiteX83" fmla="*/ 1090208 w 1457148"/>
                <a:gd name="connsiteY83" fmla="*/ 280325 h 3641849"/>
                <a:gd name="connsiteX84" fmla="*/ 1141484 w 1457148"/>
                <a:gd name="connsiteY84" fmla="*/ 258034 h 3641849"/>
                <a:gd name="connsiteX85" fmla="*/ 1195064 w 1457148"/>
                <a:gd name="connsiteY85" fmla="*/ 267906 h 3641849"/>
                <a:gd name="connsiteX86" fmla="*/ 1273848 w 1457148"/>
                <a:gd name="connsiteY86" fmla="*/ 279816 h 3641849"/>
                <a:gd name="connsiteX87" fmla="*/ 1358171 w 1457148"/>
                <a:gd name="connsiteY87" fmla="*/ 349175 h 3641849"/>
                <a:gd name="connsiteX88" fmla="*/ 1420306 w 1457148"/>
                <a:gd name="connsiteY88" fmla="*/ 425271 h 3641849"/>
                <a:gd name="connsiteX89" fmla="*/ 1319335 w 1457148"/>
                <a:gd name="connsiteY89" fmla="*/ 454265 h 3641849"/>
                <a:gd name="connsiteX90" fmla="*/ 1303801 w 1457148"/>
                <a:gd name="connsiteY90" fmla="*/ 501372 h 3641849"/>
                <a:gd name="connsiteX91" fmla="*/ 1361471 w 1457148"/>
                <a:gd name="connsiteY91" fmla="*/ 585862 h 3641849"/>
                <a:gd name="connsiteX92" fmla="*/ 1397005 w 1457148"/>
                <a:gd name="connsiteY92" fmla="*/ 591964 h 3641849"/>
                <a:gd name="connsiteX93" fmla="*/ 1449625 w 1457148"/>
                <a:gd name="connsiteY93" fmla="*/ 598304 h 3641849"/>
                <a:gd name="connsiteX94" fmla="*/ 1444662 w 1457148"/>
                <a:gd name="connsiteY94" fmla="*/ 709079 h 3641849"/>
                <a:gd name="connsiteX95" fmla="*/ 1455731 w 1457148"/>
                <a:gd name="connsiteY95" fmla="*/ 1040047 h 3641849"/>
                <a:gd name="connsiteX96" fmla="*/ 1446863 w 1457148"/>
                <a:gd name="connsiteY96" fmla="*/ 1842646 h 3641849"/>
                <a:gd name="connsiteX97" fmla="*/ 1455730 w 1457148"/>
                <a:gd name="connsiteY97" fmla="*/ 2297728 h 3641849"/>
                <a:gd name="connsiteX98" fmla="*/ 1429282 w 1457148"/>
                <a:gd name="connsiteY98" fmla="*/ 3607693 h 3641849"/>
                <a:gd name="connsiteX99" fmla="*/ 1170855 w 1457148"/>
                <a:gd name="connsiteY99" fmla="*/ 3564098 h 3641849"/>
                <a:gd name="connsiteX100" fmla="*/ 1002377 w 1457148"/>
                <a:gd name="connsiteY100" fmla="*/ 3497903 h 3641849"/>
                <a:gd name="connsiteX101" fmla="*/ 825031 w 1457148"/>
                <a:gd name="connsiteY101" fmla="*/ 3406887 h 3641849"/>
                <a:gd name="connsiteX102" fmla="*/ 726733 w 1457148"/>
                <a:gd name="connsiteY102" fmla="*/ 3326370 h 3641849"/>
                <a:gd name="connsiteX103" fmla="*/ 1020995 w 1457148"/>
                <a:gd name="connsiteY103" fmla="*/ 3018734 h 3641849"/>
                <a:gd name="connsiteX104" fmla="*/ 737241 w 1457148"/>
                <a:gd name="connsiteY104" fmla="*/ 2480910 h 3641849"/>
                <a:gd name="connsiteX105" fmla="*/ 879591 w 1457148"/>
                <a:gd name="connsiteY105" fmla="*/ 2241825 h 3641849"/>
                <a:gd name="connsiteX106" fmla="*/ 692904 w 1457148"/>
                <a:gd name="connsiteY106" fmla="*/ 1703134 h 3641849"/>
                <a:gd name="connsiteX107" fmla="*/ 444620 w 1457148"/>
                <a:gd name="connsiteY107" fmla="*/ 1471456 h 3641849"/>
                <a:gd name="connsiteX108" fmla="*/ 435753 w 1457148"/>
                <a:gd name="connsiteY108" fmla="*/ 1355617 h 3641849"/>
                <a:gd name="connsiteX0" fmla="*/ 435753 w 1457148"/>
                <a:gd name="connsiteY0" fmla="*/ 1355617 h 3641849"/>
                <a:gd name="connsiteX1" fmla="*/ 376521 w 1457148"/>
                <a:gd name="connsiteY1" fmla="*/ 1389556 h 3641849"/>
                <a:gd name="connsiteX2" fmla="*/ 107732 w 1457148"/>
                <a:gd name="connsiteY2" fmla="*/ 1151672 h 3641849"/>
                <a:gd name="connsiteX3" fmla="*/ 168695 w 1457148"/>
                <a:gd name="connsiteY3" fmla="*/ 1089617 h 3641849"/>
                <a:gd name="connsiteX4" fmla="*/ 102190 w 1457148"/>
                <a:gd name="connsiteY4" fmla="*/ 1050829 h 3641849"/>
                <a:gd name="connsiteX5" fmla="*/ 143755 w 1457148"/>
                <a:gd name="connsiteY5" fmla="*/ 1019802 h 3641849"/>
                <a:gd name="connsiteX6" fmla="*/ 96649 w 1457148"/>
                <a:gd name="connsiteY6" fmla="*/ 993947 h 3641849"/>
                <a:gd name="connsiteX7" fmla="*/ 96648 w 1457148"/>
                <a:gd name="connsiteY7" fmla="*/ 794845 h 3641849"/>
                <a:gd name="connsiteX8" fmla="*/ 135443 w 1457148"/>
                <a:gd name="connsiteY8" fmla="*/ 779332 h 3641849"/>
                <a:gd name="connsiteX9" fmla="*/ 21830 w 1457148"/>
                <a:gd name="connsiteY9" fmla="*/ 551792 h 3641849"/>
                <a:gd name="connsiteX10" fmla="*/ 80021 w 1457148"/>
                <a:gd name="connsiteY10" fmla="*/ 458707 h 3641849"/>
                <a:gd name="connsiteX11" fmla="*/ 85563 w 1457148"/>
                <a:gd name="connsiteY11" fmla="*/ 378550 h 3641849"/>
                <a:gd name="connsiteX12" fmla="*/ 10744 w 1457148"/>
                <a:gd name="connsiteY12" fmla="*/ 319079 h 3641849"/>
                <a:gd name="connsiteX13" fmla="*/ 2432 w 1457148"/>
                <a:gd name="connsiteY13" fmla="*/ 251851 h 3641849"/>
                <a:gd name="connsiteX14" fmla="*/ 57852 w 1457148"/>
                <a:gd name="connsiteY14" fmla="*/ 158764 h 3641849"/>
                <a:gd name="connsiteX15" fmla="*/ 77250 w 1457148"/>
                <a:gd name="connsiteY15" fmla="*/ 135494 h 3641849"/>
                <a:gd name="connsiteX16" fmla="*/ 91105 w 1457148"/>
                <a:gd name="connsiteY16" fmla="*/ 117394 h 3641849"/>
                <a:gd name="connsiteX17" fmla="*/ 99418 w 1457148"/>
                <a:gd name="connsiteY17" fmla="*/ 73438 h 3641849"/>
                <a:gd name="connsiteX18" fmla="*/ 124357 w 1457148"/>
                <a:gd name="connsiteY18" fmla="*/ 101880 h 3641849"/>
                <a:gd name="connsiteX19" fmla="*/ 154839 w 1457148"/>
                <a:gd name="connsiteY19" fmla="*/ 88952 h 3641849"/>
                <a:gd name="connsiteX20" fmla="*/ 157609 w 1457148"/>
                <a:gd name="connsiteY20" fmla="*/ 63095 h 3641849"/>
                <a:gd name="connsiteX21" fmla="*/ 165923 w 1457148"/>
                <a:gd name="connsiteY21" fmla="*/ 34652 h 3641849"/>
                <a:gd name="connsiteX22" fmla="*/ 168695 w 1457148"/>
                <a:gd name="connsiteY22" fmla="*/ 3624 h 3641849"/>
                <a:gd name="connsiteX23" fmla="*/ 304475 w 1457148"/>
                <a:gd name="connsiteY23" fmla="*/ 57924 h 3641849"/>
                <a:gd name="connsiteX24" fmla="*/ 334955 w 1457148"/>
                <a:gd name="connsiteY24" fmla="*/ 161352 h 3641849"/>
                <a:gd name="connsiteX25" fmla="*/ 348811 w 1457148"/>
                <a:gd name="connsiteY25" fmla="*/ 184622 h 3641849"/>
                <a:gd name="connsiteX26" fmla="*/ 359895 w 1457148"/>
                <a:gd name="connsiteY26" fmla="*/ 187208 h 3641849"/>
                <a:gd name="connsiteX27" fmla="*/ 473507 w 1457148"/>
                <a:gd name="connsiteY27" fmla="*/ 156181 h 3641849"/>
                <a:gd name="connsiteX28" fmla="*/ 540012 w 1457148"/>
                <a:gd name="connsiteY28" fmla="*/ 166522 h 3641849"/>
                <a:gd name="connsiteX29" fmla="*/ 603746 w 1457148"/>
                <a:gd name="connsiteY29" fmla="*/ 213065 h 3641849"/>
                <a:gd name="connsiteX30" fmla="*/ 617773 w 1457148"/>
                <a:gd name="connsiteY30" fmla="*/ 242621 h 3641849"/>
                <a:gd name="connsiteX31" fmla="*/ 673020 w 1457148"/>
                <a:gd name="connsiteY31" fmla="*/ 277708 h 3641849"/>
                <a:gd name="connsiteX32" fmla="*/ 761694 w 1457148"/>
                <a:gd name="connsiteY32" fmla="*/ 303563 h 3641849"/>
                <a:gd name="connsiteX33" fmla="*/ 833740 w 1457148"/>
                <a:gd name="connsiteY33" fmla="*/ 350106 h 3641849"/>
                <a:gd name="connsiteX34" fmla="*/ 883619 w 1457148"/>
                <a:gd name="connsiteY34" fmla="*/ 401820 h 3641849"/>
                <a:gd name="connsiteX35" fmla="*/ 908558 w 1457148"/>
                <a:gd name="connsiteY35" fmla="*/ 440606 h 3641849"/>
                <a:gd name="connsiteX36" fmla="*/ 941811 w 1457148"/>
                <a:gd name="connsiteY36" fmla="*/ 466462 h 3641849"/>
                <a:gd name="connsiteX37" fmla="*/ 925183 w 1457148"/>
                <a:gd name="connsiteY37" fmla="*/ 691417 h 3641849"/>
                <a:gd name="connsiteX38" fmla="*/ 797717 w 1457148"/>
                <a:gd name="connsiteY38" fmla="*/ 771575 h 3641849"/>
                <a:gd name="connsiteX39" fmla="*/ 684105 w 1457148"/>
                <a:gd name="connsiteY39" fmla="*/ 779331 h 3641849"/>
                <a:gd name="connsiteX40" fmla="*/ 545552 w 1457148"/>
                <a:gd name="connsiteY40" fmla="*/ 758645 h 3641849"/>
                <a:gd name="connsiteX41" fmla="*/ 454108 w 1457148"/>
                <a:gd name="connsiteY41" fmla="*/ 722445 h 3641849"/>
                <a:gd name="connsiteX42" fmla="*/ 434711 w 1457148"/>
                <a:gd name="connsiteY42" fmla="*/ 750888 h 3641849"/>
                <a:gd name="connsiteX43" fmla="*/ 465353 w 1457148"/>
                <a:gd name="connsiteY43" fmla="*/ 824301 h 3641849"/>
                <a:gd name="connsiteX44" fmla="*/ 470894 w 1457148"/>
                <a:gd name="connsiteY44" fmla="*/ 951000 h 3641849"/>
                <a:gd name="connsiteX45" fmla="*/ 443024 w 1457148"/>
                <a:gd name="connsiteY45" fmla="*/ 1012043 h 3641849"/>
                <a:gd name="connsiteX46" fmla="*/ 498443 w 1457148"/>
                <a:gd name="connsiteY46" fmla="*/ 1032728 h 3641849"/>
                <a:gd name="connsiteX47" fmla="*/ 515071 w 1457148"/>
                <a:gd name="connsiteY47" fmla="*/ 1048242 h 3641849"/>
                <a:gd name="connsiteX48" fmla="*/ 540011 w 1457148"/>
                <a:gd name="connsiteY48" fmla="*/ 1074099 h 3641849"/>
                <a:gd name="connsiteX49" fmla="*/ 537240 w 1457148"/>
                <a:gd name="connsiteY49" fmla="*/ 1076685 h 3641849"/>
                <a:gd name="connsiteX50" fmla="*/ 576033 w 1457148"/>
                <a:gd name="connsiteY50" fmla="*/ 1071514 h 3641849"/>
                <a:gd name="connsiteX51" fmla="*/ 584347 w 1457148"/>
                <a:gd name="connsiteY51" fmla="*/ 1035314 h 3641849"/>
                <a:gd name="connsiteX52" fmla="*/ 545552 w 1457148"/>
                <a:gd name="connsiteY52" fmla="*/ 957743 h 3641849"/>
                <a:gd name="connsiteX53" fmla="*/ 614828 w 1457148"/>
                <a:gd name="connsiteY53" fmla="*/ 911200 h 3641849"/>
                <a:gd name="connsiteX54" fmla="*/ 682600 w 1457148"/>
                <a:gd name="connsiteY54" fmla="*/ 918934 h 3641849"/>
                <a:gd name="connsiteX55" fmla="*/ 706433 w 1457148"/>
                <a:gd name="connsiteY55" fmla="*/ 951001 h 3641849"/>
                <a:gd name="connsiteX56" fmla="*/ 862162 w 1457148"/>
                <a:gd name="connsiteY56" fmla="*/ 1007364 h 3641849"/>
                <a:gd name="connsiteX57" fmla="*/ 847754 w 1457148"/>
                <a:gd name="connsiteY57" fmla="*/ 971687 h 3641849"/>
                <a:gd name="connsiteX58" fmla="*/ 814502 w 1457148"/>
                <a:gd name="connsiteY58" fmla="*/ 932901 h 3641849"/>
                <a:gd name="connsiteX59" fmla="*/ 803418 w 1457148"/>
                <a:gd name="connsiteY59" fmla="*/ 881187 h 3641849"/>
                <a:gd name="connsiteX60" fmla="*/ 842213 w 1457148"/>
                <a:gd name="connsiteY60" fmla="*/ 832060 h 3641849"/>
                <a:gd name="connsiteX61" fmla="*/ 869923 w 1457148"/>
                <a:gd name="connsiteY61" fmla="*/ 803617 h 3641849"/>
                <a:gd name="connsiteX62" fmla="*/ 894863 w 1457148"/>
                <a:gd name="connsiteY62" fmla="*/ 767417 h 3641849"/>
                <a:gd name="connsiteX63" fmla="*/ 975223 w 1457148"/>
                <a:gd name="connsiteY63" fmla="*/ 762245 h 3641849"/>
                <a:gd name="connsiteX64" fmla="*/ 980764 w 1457148"/>
                <a:gd name="connsiteY64" fmla="*/ 741560 h 3641849"/>
                <a:gd name="connsiteX65" fmla="*/ 1005704 w 1457148"/>
                <a:gd name="connsiteY65" fmla="*/ 705360 h 3641849"/>
                <a:gd name="connsiteX66" fmla="*/ 1039508 w 1457148"/>
                <a:gd name="connsiteY66" fmla="*/ 687772 h 3641849"/>
                <a:gd name="connsiteX67" fmla="*/ 1097148 w 1457148"/>
                <a:gd name="connsiteY67" fmla="*/ 700189 h 3641849"/>
                <a:gd name="connsiteX68" fmla="*/ 1135941 w 1457148"/>
                <a:gd name="connsiteY68" fmla="*/ 720875 h 3641849"/>
                <a:gd name="connsiteX69" fmla="*/ 1183049 w 1457148"/>
                <a:gd name="connsiteY69" fmla="*/ 728632 h 3641849"/>
                <a:gd name="connsiteX70" fmla="*/ 1183049 w 1457148"/>
                <a:gd name="connsiteY70" fmla="*/ 733803 h 3641849"/>
                <a:gd name="connsiteX71" fmla="*/ 1205218 w 1457148"/>
                <a:gd name="connsiteY71" fmla="*/ 674332 h 3641849"/>
                <a:gd name="connsiteX72" fmla="*/ 1215193 w 1457148"/>
                <a:gd name="connsiteY72" fmla="*/ 640714 h 3641849"/>
                <a:gd name="connsiteX73" fmla="*/ 1221844 w 1457148"/>
                <a:gd name="connsiteY73" fmla="*/ 622618 h 3641849"/>
                <a:gd name="connsiteX74" fmla="*/ 1224781 w 1457148"/>
                <a:gd name="connsiteY74" fmla="*/ 591288 h 3641849"/>
                <a:gd name="connsiteX75" fmla="*/ 1144255 w 1457148"/>
                <a:gd name="connsiteY75" fmla="*/ 545048 h 3641849"/>
                <a:gd name="connsiteX76" fmla="*/ 1130400 w 1457148"/>
                <a:gd name="connsiteY76" fmla="*/ 472648 h 3641849"/>
                <a:gd name="connsiteX77" fmla="*/ 1130400 w 1457148"/>
                <a:gd name="connsiteY77" fmla="*/ 454548 h 3641849"/>
                <a:gd name="connsiteX78" fmla="*/ 1141483 w 1457148"/>
                <a:gd name="connsiteY78" fmla="*/ 431276 h 3641849"/>
                <a:gd name="connsiteX79" fmla="*/ 1144255 w 1457148"/>
                <a:gd name="connsiteY79" fmla="*/ 415762 h 3641849"/>
                <a:gd name="connsiteX80" fmla="*/ 1144254 w 1457148"/>
                <a:gd name="connsiteY80" fmla="*/ 358878 h 3641849"/>
                <a:gd name="connsiteX81" fmla="*/ 1122086 w 1457148"/>
                <a:gd name="connsiteY81" fmla="*/ 335607 h 3641849"/>
                <a:gd name="connsiteX82" fmla="*/ 1094376 w 1457148"/>
                <a:gd name="connsiteY82" fmla="*/ 304578 h 3641849"/>
                <a:gd name="connsiteX83" fmla="*/ 1090208 w 1457148"/>
                <a:gd name="connsiteY83" fmla="*/ 280325 h 3641849"/>
                <a:gd name="connsiteX84" fmla="*/ 1141484 w 1457148"/>
                <a:gd name="connsiteY84" fmla="*/ 258034 h 3641849"/>
                <a:gd name="connsiteX85" fmla="*/ 1195064 w 1457148"/>
                <a:gd name="connsiteY85" fmla="*/ 267906 h 3641849"/>
                <a:gd name="connsiteX86" fmla="*/ 1273848 w 1457148"/>
                <a:gd name="connsiteY86" fmla="*/ 279816 h 3641849"/>
                <a:gd name="connsiteX87" fmla="*/ 1358171 w 1457148"/>
                <a:gd name="connsiteY87" fmla="*/ 349175 h 3641849"/>
                <a:gd name="connsiteX88" fmla="*/ 1420306 w 1457148"/>
                <a:gd name="connsiteY88" fmla="*/ 425271 h 3641849"/>
                <a:gd name="connsiteX89" fmla="*/ 1319335 w 1457148"/>
                <a:gd name="connsiteY89" fmla="*/ 454265 h 3641849"/>
                <a:gd name="connsiteX90" fmla="*/ 1303801 w 1457148"/>
                <a:gd name="connsiteY90" fmla="*/ 501372 h 3641849"/>
                <a:gd name="connsiteX91" fmla="*/ 1361471 w 1457148"/>
                <a:gd name="connsiteY91" fmla="*/ 585862 h 3641849"/>
                <a:gd name="connsiteX92" fmla="*/ 1397005 w 1457148"/>
                <a:gd name="connsiteY92" fmla="*/ 591964 h 3641849"/>
                <a:gd name="connsiteX93" fmla="*/ 1449625 w 1457148"/>
                <a:gd name="connsiteY93" fmla="*/ 598304 h 3641849"/>
                <a:gd name="connsiteX94" fmla="*/ 1444662 w 1457148"/>
                <a:gd name="connsiteY94" fmla="*/ 709079 h 3641849"/>
                <a:gd name="connsiteX95" fmla="*/ 1455731 w 1457148"/>
                <a:gd name="connsiteY95" fmla="*/ 1040047 h 3641849"/>
                <a:gd name="connsiteX96" fmla="*/ 1446863 w 1457148"/>
                <a:gd name="connsiteY96" fmla="*/ 1842646 h 3641849"/>
                <a:gd name="connsiteX97" fmla="*/ 1455730 w 1457148"/>
                <a:gd name="connsiteY97" fmla="*/ 2297728 h 3641849"/>
                <a:gd name="connsiteX98" fmla="*/ 1429282 w 1457148"/>
                <a:gd name="connsiteY98" fmla="*/ 3607693 h 3641849"/>
                <a:gd name="connsiteX99" fmla="*/ 1170855 w 1457148"/>
                <a:gd name="connsiteY99" fmla="*/ 3564098 h 3641849"/>
                <a:gd name="connsiteX100" fmla="*/ 1002377 w 1457148"/>
                <a:gd name="connsiteY100" fmla="*/ 3497903 h 3641849"/>
                <a:gd name="connsiteX101" fmla="*/ 825031 w 1457148"/>
                <a:gd name="connsiteY101" fmla="*/ 3406887 h 3641849"/>
                <a:gd name="connsiteX102" fmla="*/ 726733 w 1457148"/>
                <a:gd name="connsiteY102" fmla="*/ 3326370 h 3641849"/>
                <a:gd name="connsiteX103" fmla="*/ 1020995 w 1457148"/>
                <a:gd name="connsiteY103" fmla="*/ 3018734 h 3641849"/>
                <a:gd name="connsiteX104" fmla="*/ 737241 w 1457148"/>
                <a:gd name="connsiteY104" fmla="*/ 2480910 h 3641849"/>
                <a:gd name="connsiteX105" fmla="*/ 879591 w 1457148"/>
                <a:gd name="connsiteY105" fmla="*/ 2241825 h 3641849"/>
                <a:gd name="connsiteX106" fmla="*/ 692904 w 1457148"/>
                <a:gd name="connsiteY106" fmla="*/ 1703134 h 3641849"/>
                <a:gd name="connsiteX107" fmla="*/ 444620 w 1457148"/>
                <a:gd name="connsiteY107" fmla="*/ 1471456 h 3641849"/>
                <a:gd name="connsiteX108" fmla="*/ 435753 w 1457148"/>
                <a:gd name="connsiteY108" fmla="*/ 1355617 h 3641849"/>
                <a:gd name="connsiteX0" fmla="*/ 435753 w 1457148"/>
                <a:gd name="connsiteY0" fmla="*/ 1355617 h 3641849"/>
                <a:gd name="connsiteX1" fmla="*/ 376521 w 1457148"/>
                <a:gd name="connsiteY1" fmla="*/ 1389556 h 3641849"/>
                <a:gd name="connsiteX2" fmla="*/ 107732 w 1457148"/>
                <a:gd name="connsiteY2" fmla="*/ 1151672 h 3641849"/>
                <a:gd name="connsiteX3" fmla="*/ 168695 w 1457148"/>
                <a:gd name="connsiteY3" fmla="*/ 1089617 h 3641849"/>
                <a:gd name="connsiteX4" fmla="*/ 102190 w 1457148"/>
                <a:gd name="connsiteY4" fmla="*/ 1050829 h 3641849"/>
                <a:gd name="connsiteX5" fmla="*/ 143755 w 1457148"/>
                <a:gd name="connsiteY5" fmla="*/ 1019802 h 3641849"/>
                <a:gd name="connsiteX6" fmla="*/ 96649 w 1457148"/>
                <a:gd name="connsiteY6" fmla="*/ 993947 h 3641849"/>
                <a:gd name="connsiteX7" fmla="*/ 96648 w 1457148"/>
                <a:gd name="connsiteY7" fmla="*/ 794845 h 3641849"/>
                <a:gd name="connsiteX8" fmla="*/ 135443 w 1457148"/>
                <a:gd name="connsiteY8" fmla="*/ 779332 h 3641849"/>
                <a:gd name="connsiteX9" fmla="*/ 21830 w 1457148"/>
                <a:gd name="connsiteY9" fmla="*/ 551792 h 3641849"/>
                <a:gd name="connsiteX10" fmla="*/ 74479 w 1457148"/>
                <a:gd name="connsiteY10" fmla="*/ 466464 h 3641849"/>
                <a:gd name="connsiteX11" fmla="*/ 85563 w 1457148"/>
                <a:gd name="connsiteY11" fmla="*/ 378550 h 3641849"/>
                <a:gd name="connsiteX12" fmla="*/ 10744 w 1457148"/>
                <a:gd name="connsiteY12" fmla="*/ 319079 h 3641849"/>
                <a:gd name="connsiteX13" fmla="*/ 2432 w 1457148"/>
                <a:gd name="connsiteY13" fmla="*/ 251851 h 3641849"/>
                <a:gd name="connsiteX14" fmla="*/ 57852 w 1457148"/>
                <a:gd name="connsiteY14" fmla="*/ 158764 h 3641849"/>
                <a:gd name="connsiteX15" fmla="*/ 77250 w 1457148"/>
                <a:gd name="connsiteY15" fmla="*/ 135494 h 3641849"/>
                <a:gd name="connsiteX16" fmla="*/ 91105 w 1457148"/>
                <a:gd name="connsiteY16" fmla="*/ 117394 h 3641849"/>
                <a:gd name="connsiteX17" fmla="*/ 99418 w 1457148"/>
                <a:gd name="connsiteY17" fmla="*/ 73438 h 3641849"/>
                <a:gd name="connsiteX18" fmla="*/ 124357 w 1457148"/>
                <a:gd name="connsiteY18" fmla="*/ 101880 h 3641849"/>
                <a:gd name="connsiteX19" fmla="*/ 154839 w 1457148"/>
                <a:gd name="connsiteY19" fmla="*/ 88952 h 3641849"/>
                <a:gd name="connsiteX20" fmla="*/ 157609 w 1457148"/>
                <a:gd name="connsiteY20" fmla="*/ 63095 h 3641849"/>
                <a:gd name="connsiteX21" fmla="*/ 165923 w 1457148"/>
                <a:gd name="connsiteY21" fmla="*/ 34652 h 3641849"/>
                <a:gd name="connsiteX22" fmla="*/ 168695 w 1457148"/>
                <a:gd name="connsiteY22" fmla="*/ 3624 h 3641849"/>
                <a:gd name="connsiteX23" fmla="*/ 304475 w 1457148"/>
                <a:gd name="connsiteY23" fmla="*/ 57924 h 3641849"/>
                <a:gd name="connsiteX24" fmla="*/ 334955 w 1457148"/>
                <a:gd name="connsiteY24" fmla="*/ 161352 h 3641849"/>
                <a:gd name="connsiteX25" fmla="*/ 348811 w 1457148"/>
                <a:gd name="connsiteY25" fmla="*/ 184622 h 3641849"/>
                <a:gd name="connsiteX26" fmla="*/ 359895 w 1457148"/>
                <a:gd name="connsiteY26" fmla="*/ 187208 h 3641849"/>
                <a:gd name="connsiteX27" fmla="*/ 473507 w 1457148"/>
                <a:gd name="connsiteY27" fmla="*/ 156181 h 3641849"/>
                <a:gd name="connsiteX28" fmla="*/ 540012 w 1457148"/>
                <a:gd name="connsiteY28" fmla="*/ 166522 h 3641849"/>
                <a:gd name="connsiteX29" fmla="*/ 603746 w 1457148"/>
                <a:gd name="connsiteY29" fmla="*/ 213065 h 3641849"/>
                <a:gd name="connsiteX30" fmla="*/ 617773 w 1457148"/>
                <a:gd name="connsiteY30" fmla="*/ 242621 h 3641849"/>
                <a:gd name="connsiteX31" fmla="*/ 673020 w 1457148"/>
                <a:gd name="connsiteY31" fmla="*/ 277708 h 3641849"/>
                <a:gd name="connsiteX32" fmla="*/ 761694 w 1457148"/>
                <a:gd name="connsiteY32" fmla="*/ 303563 h 3641849"/>
                <a:gd name="connsiteX33" fmla="*/ 833740 w 1457148"/>
                <a:gd name="connsiteY33" fmla="*/ 350106 h 3641849"/>
                <a:gd name="connsiteX34" fmla="*/ 883619 w 1457148"/>
                <a:gd name="connsiteY34" fmla="*/ 401820 h 3641849"/>
                <a:gd name="connsiteX35" fmla="*/ 908558 w 1457148"/>
                <a:gd name="connsiteY35" fmla="*/ 440606 h 3641849"/>
                <a:gd name="connsiteX36" fmla="*/ 941811 w 1457148"/>
                <a:gd name="connsiteY36" fmla="*/ 466462 h 3641849"/>
                <a:gd name="connsiteX37" fmla="*/ 925183 w 1457148"/>
                <a:gd name="connsiteY37" fmla="*/ 691417 h 3641849"/>
                <a:gd name="connsiteX38" fmla="*/ 797717 w 1457148"/>
                <a:gd name="connsiteY38" fmla="*/ 771575 h 3641849"/>
                <a:gd name="connsiteX39" fmla="*/ 684105 w 1457148"/>
                <a:gd name="connsiteY39" fmla="*/ 779331 h 3641849"/>
                <a:gd name="connsiteX40" fmla="*/ 545552 w 1457148"/>
                <a:gd name="connsiteY40" fmla="*/ 758645 h 3641849"/>
                <a:gd name="connsiteX41" fmla="*/ 454108 w 1457148"/>
                <a:gd name="connsiteY41" fmla="*/ 722445 h 3641849"/>
                <a:gd name="connsiteX42" fmla="*/ 434711 w 1457148"/>
                <a:gd name="connsiteY42" fmla="*/ 750888 h 3641849"/>
                <a:gd name="connsiteX43" fmla="*/ 465353 w 1457148"/>
                <a:gd name="connsiteY43" fmla="*/ 824301 h 3641849"/>
                <a:gd name="connsiteX44" fmla="*/ 470894 w 1457148"/>
                <a:gd name="connsiteY44" fmla="*/ 951000 h 3641849"/>
                <a:gd name="connsiteX45" fmla="*/ 443024 w 1457148"/>
                <a:gd name="connsiteY45" fmla="*/ 1012043 h 3641849"/>
                <a:gd name="connsiteX46" fmla="*/ 498443 w 1457148"/>
                <a:gd name="connsiteY46" fmla="*/ 1032728 h 3641849"/>
                <a:gd name="connsiteX47" fmla="*/ 515071 w 1457148"/>
                <a:gd name="connsiteY47" fmla="*/ 1048242 h 3641849"/>
                <a:gd name="connsiteX48" fmla="*/ 540011 w 1457148"/>
                <a:gd name="connsiteY48" fmla="*/ 1074099 h 3641849"/>
                <a:gd name="connsiteX49" fmla="*/ 537240 w 1457148"/>
                <a:gd name="connsiteY49" fmla="*/ 1076685 h 3641849"/>
                <a:gd name="connsiteX50" fmla="*/ 576033 w 1457148"/>
                <a:gd name="connsiteY50" fmla="*/ 1071514 h 3641849"/>
                <a:gd name="connsiteX51" fmla="*/ 584347 w 1457148"/>
                <a:gd name="connsiteY51" fmla="*/ 1035314 h 3641849"/>
                <a:gd name="connsiteX52" fmla="*/ 545552 w 1457148"/>
                <a:gd name="connsiteY52" fmla="*/ 957743 h 3641849"/>
                <a:gd name="connsiteX53" fmla="*/ 614828 w 1457148"/>
                <a:gd name="connsiteY53" fmla="*/ 911200 h 3641849"/>
                <a:gd name="connsiteX54" fmla="*/ 682600 w 1457148"/>
                <a:gd name="connsiteY54" fmla="*/ 918934 h 3641849"/>
                <a:gd name="connsiteX55" fmla="*/ 706433 w 1457148"/>
                <a:gd name="connsiteY55" fmla="*/ 951001 h 3641849"/>
                <a:gd name="connsiteX56" fmla="*/ 862162 w 1457148"/>
                <a:gd name="connsiteY56" fmla="*/ 1007364 h 3641849"/>
                <a:gd name="connsiteX57" fmla="*/ 847754 w 1457148"/>
                <a:gd name="connsiteY57" fmla="*/ 971687 h 3641849"/>
                <a:gd name="connsiteX58" fmla="*/ 814502 w 1457148"/>
                <a:gd name="connsiteY58" fmla="*/ 932901 h 3641849"/>
                <a:gd name="connsiteX59" fmla="*/ 803418 w 1457148"/>
                <a:gd name="connsiteY59" fmla="*/ 881187 h 3641849"/>
                <a:gd name="connsiteX60" fmla="*/ 842213 w 1457148"/>
                <a:gd name="connsiteY60" fmla="*/ 832060 h 3641849"/>
                <a:gd name="connsiteX61" fmla="*/ 869923 w 1457148"/>
                <a:gd name="connsiteY61" fmla="*/ 803617 h 3641849"/>
                <a:gd name="connsiteX62" fmla="*/ 894863 w 1457148"/>
                <a:gd name="connsiteY62" fmla="*/ 767417 h 3641849"/>
                <a:gd name="connsiteX63" fmla="*/ 975223 w 1457148"/>
                <a:gd name="connsiteY63" fmla="*/ 762245 h 3641849"/>
                <a:gd name="connsiteX64" fmla="*/ 980764 w 1457148"/>
                <a:gd name="connsiteY64" fmla="*/ 741560 h 3641849"/>
                <a:gd name="connsiteX65" fmla="*/ 1005704 w 1457148"/>
                <a:gd name="connsiteY65" fmla="*/ 705360 h 3641849"/>
                <a:gd name="connsiteX66" fmla="*/ 1039508 w 1457148"/>
                <a:gd name="connsiteY66" fmla="*/ 687772 h 3641849"/>
                <a:gd name="connsiteX67" fmla="*/ 1097148 w 1457148"/>
                <a:gd name="connsiteY67" fmla="*/ 700189 h 3641849"/>
                <a:gd name="connsiteX68" fmla="*/ 1135941 w 1457148"/>
                <a:gd name="connsiteY68" fmla="*/ 720875 h 3641849"/>
                <a:gd name="connsiteX69" fmla="*/ 1183049 w 1457148"/>
                <a:gd name="connsiteY69" fmla="*/ 728632 h 3641849"/>
                <a:gd name="connsiteX70" fmla="*/ 1183049 w 1457148"/>
                <a:gd name="connsiteY70" fmla="*/ 733803 h 3641849"/>
                <a:gd name="connsiteX71" fmla="*/ 1205218 w 1457148"/>
                <a:gd name="connsiteY71" fmla="*/ 674332 h 3641849"/>
                <a:gd name="connsiteX72" fmla="*/ 1215193 w 1457148"/>
                <a:gd name="connsiteY72" fmla="*/ 640714 h 3641849"/>
                <a:gd name="connsiteX73" fmla="*/ 1221844 w 1457148"/>
                <a:gd name="connsiteY73" fmla="*/ 622618 h 3641849"/>
                <a:gd name="connsiteX74" fmla="*/ 1224781 w 1457148"/>
                <a:gd name="connsiteY74" fmla="*/ 591288 h 3641849"/>
                <a:gd name="connsiteX75" fmla="*/ 1144255 w 1457148"/>
                <a:gd name="connsiteY75" fmla="*/ 545048 h 3641849"/>
                <a:gd name="connsiteX76" fmla="*/ 1130400 w 1457148"/>
                <a:gd name="connsiteY76" fmla="*/ 472648 h 3641849"/>
                <a:gd name="connsiteX77" fmla="*/ 1130400 w 1457148"/>
                <a:gd name="connsiteY77" fmla="*/ 454548 h 3641849"/>
                <a:gd name="connsiteX78" fmla="*/ 1141483 w 1457148"/>
                <a:gd name="connsiteY78" fmla="*/ 431276 h 3641849"/>
                <a:gd name="connsiteX79" fmla="*/ 1144255 w 1457148"/>
                <a:gd name="connsiteY79" fmla="*/ 415762 h 3641849"/>
                <a:gd name="connsiteX80" fmla="*/ 1144254 w 1457148"/>
                <a:gd name="connsiteY80" fmla="*/ 358878 h 3641849"/>
                <a:gd name="connsiteX81" fmla="*/ 1122086 w 1457148"/>
                <a:gd name="connsiteY81" fmla="*/ 335607 h 3641849"/>
                <a:gd name="connsiteX82" fmla="*/ 1094376 w 1457148"/>
                <a:gd name="connsiteY82" fmla="*/ 304578 h 3641849"/>
                <a:gd name="connsiteX83" fmla="*/ 1090208 w 1457148"/>
                <a:gd name="connsiteY83" fmla="*/ 280325 h 3641849"/>
                <a:gd name="connsiteX84" fmla="*/ 1141484 w 1457148"/>
                <a:gd name="connsiteY84" fmla="*/ 258034 h 3641849"/>
                <a:gd name="connsiteX85" fmla="*/ 1195064 w 1457148"/>
                <a:gd name="connsiteY85" fmla="*/ 267906 h 3641849"/>
                <a:gd name="connsiteX86" fmla="*/ 1273848 w 1457148"/>
                <a:gd name="connsiteY86" fmla="*/ 279816 h 3641849"/>
                <a:gd name="connsiteX87" fmla="*/ 1358171 w 1457148"/>
                <a:gd name="connsiteY87" fmla="*/ 349175 h 3641849"/>
                <a:gd name="connsiteX88" fmla="*/ 1420306 w 1457148"/>
                <a:gd name="connsiteY88" fmla="*/ 425271 h 3641849"/>
                <a:gd name="connsiteX89" fmla="*/ 1319335 w 1457148"/>
                <a:gd name="connsiteY89" fmla="*/ 454265 h 3641849"/>
                <a:gd name="connsiteX90" fmla="*/ 1303801 w 1457148"/>
                <a:gd name="connsiteY90" fmla="*/ 501372 h 3641849"/>
                <a:gd name="connsiteX91" fmla="*/ 1361471 w 1457148"/>
                <a:gd name="connsiteY91" fmla="*/ 585862 h 3641849"/>
                <a:gd name="connsiteX92" fmla="*/ 1397005 w 1457148"/>
                <a:gd name="connsiteY92" fmla="*/ 591964 h 3641849"/>
                <a:gd name="connsiteX93" fmla="*/ 1449625 w 1457148"/>
                <a:gd name="connsiteY93" fmla="*/ 598304 h 3641849"/>
                <a:gd name="connsiteX94" fmla="*/ 1444662 w 1457148"/>
                <a:gd name="connsiteY94" fmla="*/ 709079 h 3641849"/>
                <a:gd name="connsiteX95" fmla="*/ 1455731 w 1457148"/>
                <a:gd name="connsiteY95" fmla="*/ 1040047 h 3641849"/>
                <a:gd name="connsiteX96" fmla="*/ 1446863 w 1457148"/>
                <a:gd name="connsiteY96" fmla="*/ 1842646 h 3641849"/>
                <a:gd name="connsiteX97" fmla="*/ 1455730 w 1457148"/>
                <a:gd name="connsiteY97" fmla="*/ 2297728 h 3641849"/>
                <a:gd name="connsiteX98" fmla="*/ 1429282 w 1457148"/>
                <a:gd name="connsiteY98" fmla="*/ 3607693 h 3641849"/>
                <a:gd name="connsiteX99" fmla="*/ 1170855 w 1457148"/>
                <a:gd name="connsiteY99" fmla="*/ 3564098 h 3641849"/>
                <a:gd name="connsiteX100" fmla="*/ 1002377 w 1457148"/>
                <a:gd name="connsiteY100" fmla="*/ 3497903 h 3641849"/>
                <a:gd name="connsiteX101" fmla="*/ 825031 w 1457148"/>
                <a:gd name="connsiteY101" fmla="*/ 3406887 h 3641849"/>
                <a:gd name="connsiteX102" fmla="*/ 726733 w 1457148"/>
                <a:gd name="connsiteY102" fmla="*/ 3326370 h 3641849"/>
                <a:gd name="connsiteX103" fmla="*/ 1020995 w 1457148"/>
                <a:gd name="connsiteY103" fmla="*/ 3018734 h 3641849"/>
                <a:gd name="connsiteX104" fmla="*/ 737241 w 1457148"/>
                <a:gd name="connsiteY104" fmla="*/ 2480910 h 3641849"/>
                <a:gd name="connsiteX105" fmla="*/ 879591 w 1457148"/>
                <a:gd name="connsiteY105" fmla="*/ 2241825 h 3641849"/>
                <a:gd name="connsiteX106" fmla="*/ 692904 w 1457148"/>
                <a:gd name="connsiteY106" fmla="*/ 1703134 h 3641849"/>
                <a:gd name="connsiteX107" fmla="*/ 444620 w 1457148"/>
                <a:gd name="connsiteY107" fmla="*/ 1471456 h 3641849"/>
                <a:gd name="connsiteX108" fmla="*/ 435753 w 1457148"/>
                <a:gd name="connsiteY108" fmla="*/ 1355617 h 3641849"/>
                <a:gd name="connsiteX0" fmla="*/ 435753 w 1457148"/>
                <a:gd name="connsiteY0" fmla="*/ 1355617 h 3641849"/>
                <a:gd name="connsiteX1" fmla="*/ 376521 w 1457148"/>
                <a:gd name="connsiteY1" fmla="*/ 1389556 h 3641849"/>
                <a:gd name="connsiteX2" fmla="*/ 107732 w 1457148"/>
                <a:gd name="connsiteY2" fmla="*/ 1151672 h 3641849"/>
                <a:gd name="connsiteX3" fmla="*/ 168695 w 1457148"/>
                <a:gd name="connsiteY3" fmla="*/ 1089617 h 3641849"/>
                <a:gd name="connsiteX4" fmla="*/ 102190 w 1457148"/>
                <a:gd name="connsiteY4" fmla="*/ 1050829 h 3641849"/>
                <a:gd name="connsiteX5" fmla="*/ 143755 w 1457148"/>
                <a:gd name="connsiteY5" fmla="*/ 1019802 h 3641849"/>
                <a:gd name="connsiteX6" fmla="*/ 96649 w 1457148"/>
                <a:gd name="connsiteY6" fmla="*/ 993947 h 3641849"/>
                <a:gd name="connsiteX7" fmla="*/ 96648 w 1457148"/>
                <a:gd name="connsiteY7" fmla="*/ 794845 h 3641849"/>
                <a:gd name="connsiteX8" fmla="*/ 135443 w 1457148"/>
                <a:gd name="connsiteY8" fmla="*/ 779332 h 3641849"/>
                <a:gd name="connsiteX9" fmla="*/ 21830 w 1457148"/>
                <a:gd name="connsiteY9" fmla="*/ 551792 h 3641849"/>
                <a:gd name="connsiteX10" fmla="*/ 74479 w 1457148"/>
                <a:gd name="connsiteY10" fmla="*/ 466464 h 3641849"/>
                <a:gd name="connsiteX11" fmla="*/ 85563 w 1457148"/>
                <a:gd name="connsiteY11" fmla="*/ 378550 h 3641849"/>
                <a:gd name="connsiteX12" fmla="*/ 10744 w 1457148"/>
                <a:gd name="connsiteY12" fmla="*/ 319079 h 3641849"/>
                <a:gd name="connsiteX13" fmla="*/ 2432 w 1457148"/>
                <a:gd name="connsiteY13" fmla="*/ 251851 h 3641849"/>
                <a:gd name="connsiteX14" fmla="*/ 57852 w 1457148"/>
                <a:gd name="connsiteY14" fmla="*/ 158764 h 3641849"/>
                <a:gd name="connsiteX15" fmla="*/ 77250 w 1457148"/>
                <a:gd name="connsiteY15" fmla="*/ 135494 h 3641849"/>
                <a:gd name="connsiteX16" fmla="*/ 91105 w 1457148"/>
                <a:gd name="connsiteY16" fmla="*/ 117394 h 3641849"/>
                <a:gd name="connsiteX17" fmla="*/ 99418 w 1457148"/>
                <a:gd name="connsiteY17" fmla="*/ 73438 h 3641849"/>
                <a:gd name="connsiteX18" fmla="*/ 124357 w 1457148"/>
                <a:gd name="connsiteY18" fmla="*/ 101880 h 3641849"/>
                <a:gd name="connsiteX19" fmla="*/ 154839 w 1457148"/>
                <a:gd name="connsiteY19" fmla="*/ 88952 h 3641849"/>
                <a:gd name="connsiteX20" fmla="*/ 157609 w 1457148"/>
                <a:gd name="connsiteY20" fmla="*/ 63095 h 3641849"/>
                <a:gd name="connsiteX21" fmla="*/ 165923 w 1457148"/>
                <a:gd name="connsiteY21" fmla="*/ 34652 h 3641849"/>
                <a:gd name="connsiteX22" fmla="*/ 168695 w 1457148"/>
                <a:gd name="connsiteY22" fmla="*/ 3624 h 3641849"/>
                <a:gd name="connsiteX23" fmla="*/ 304475 w 1457148"/>
                <a:gd name="connsiteY23" fmla="*/ 57924 h 3641849"/>
                <a:gd name="connsiteX24" fmla="*/ 334955 w 1457148"/>
                <a:gd name="connsiteY24" fmla="*/ 161352 h 3641849"/>
                <a:gd name="connsiteX25" fmla="*/ 348811 w 1457148"/>
                <a:gd name="connsiteY25" fmla="*/ 184622 h 3641849"/>
                <a:gd name="connsiteX26" fmla="*/ 359895 w 1457148"/>
                <a:gd name="connsiteY26" fmla="*/ 187208 h 3641849"/>
                <a:gd name="connsiteX27" fmla="*/ 473507 w 1457148"/>
                <a:gd name="connsiteY27" fmla="*/ 156181 h 3641849"/>
                <a:gd name="connsiteX28" fmla="*/ 540012 w 1457148"/>
                <a:gd name="connsiteY28" fmla="*/ 166522 h 3641849"/>
                <a:gd name="connsiteX29" fmla="*/ 603746 w 1457148"/>
                <a:gd name="connsiteY29" fmla="*/ 213065 h 3641849"/>
                <a:gd name="connsiteX30" fmla="*/ 617773 w 1457148"/>
                <a:gd name="connsiteY30" fmla="*/ 242621 h 3641849"/>
                <a:gd name="connsiteX31" fmla="*/ 673020 w 1457148"/>
                <a:gd name="connsiteY31" fmla="*/ 277708 h 3641849"/>
                <a:gd name="connsiteX32" fmla="*/ 761694 w 1457148"/>
                <a:gd name="connsiteY32" fmla="*/ 303563 h 3641849"/>
                <a:gd name="connsiteX33" fmla="*/ 833740 w 1457148"/>
                <a:gd name="connsiteY33" fmla="*/ 350106 h 3641849"/>
                <a:gd name="connsiteX34" fmla="*/ 883619 w 1457148"/>
                <a:gd name="connsiteY34" fmla="*/ 401820 h 3641849"/>
                <a:gd name="connsiteX35" fmla="*/ 908558 w 1457148"/>
                <a:gd name="connsiteY35" fmla="*/ 440606 h 3641849"/>
                <a:gd name="connsiteX36" fmla="*/ 941811 w 1457148"/>
                <a:gd name="connsiteY36" fmla="*/ 466462 h 3641849"/>
                <a:gd name="connsiteX37" fmla="*/ 925183 w 1457148"/>
                <a:gd name="connsiteY37" fmla="*/ 691417 h 3641849"/>
                <a:gd name="connsiteX38" fmla="*/ 797717 w 1457148"/>
                <a:gd name="connsiteY38" fmla="*/ 771575 h 3641849"/>
                <a:gd name="connsiteX39" fmla="*/ 684105 w 1457148"/>
                <a:gd name="connsiteY39" fmla="*/ 779331 h 3641849"/>
                <a:gd name="connsiteX40" fmla="*/ 545552 w 1457148"/>
                <a:gd name="connsiteY40" fmla="*/ 758645 h 3641849"/>
                <a:gd name="connsiteX41" fmla="*/ 454108 w 1457148"/>
                <a:gd name="connsiteY41" fmla="*/ 722445 h 3641849"/>
                <a:gd name="connsiteX42" fmla="*/ 434711 w 1457148"/>
                <a:gd name="connsiteY42" fmla="*/ 750888 h 3641849"/>
                <a:gd name="connsiteX43" fmla="*/ 465353 w 1457148"/>
                <a:gd name="connsiteY43" fmla="*/ 824301 h 3641849"/>
                <a:gd name="connsiteX44" fmla="*/ 470894 w 1457148"/>
                <a:gd name="connsiteY44" fmla="*/ 951000 h 3641849"/>
                <a:gd name="connsiteX45" fmla="*/ 443024 w 1457148"/>
                <a:gd name="connsiteY45" fmla="*/ 1012043 h 3641849"/>
                <a:gd name="connsiteX46" fmla="*/ 498443 w 1457148"/>
                <a:gd name="connsiteY46" fmla="*/ 1032728 h 3641849"/>
                <a:gd name="connsiteX47" fmla="*/ 515071 w 1457148"/>
                <a:gd name="connsiteY47" fmla="*/ 1048242 h 3641849"/>
                <a:gd name="connsiteX48" fmla="*/ 540011 w 1457148"/>
                <a:gd name="connsiteY48" fmla="*/ 1074099 h 3641849"/>
                <a:gd name="connsiteX49" fmla="*/ 537240 w 1457148"/>
                <a:gd name="connsiteY49" fmla="*/ 1076685 h 3641849"/>
                <a:gd name="connsiteX50" fmla="*/ 576033 w 1457148"/>
                <a:gd name="connsiteY50" fmla="*/ 1071514 h 3641849"/>
                <a:gd name="connsiteX51" fmla="*/ 584347 w 1457148"/>
                <a:gd name="connsiteY51" fmla="*/ 1035314 h 3641849"/>
                <a:gd name="connsiteX52" fmla="*/ 545552 w 1457148"/>
                <a:gd name="connsiteY52" fmla="*/ 957743 h 3641849"/>
                <a:gd name="connsiteX53" fmla="*/ 614828 w 1457148"/>
                <a:gd name="connsiteY53" fmla="*/ 911200 h 3641849"/>
                <a:gd name="connsiteX54" fmla="*/ 682600 w 1457148"/>
                <a:gd name="connsiteY54" fmla="*/ 918934 h 3641849"/>
                <a:gd name="connsiteX55" fmla="*/ 706433 w 1457148"/>
                <a:gd name="connsiteY55" fmla="*/ 951001 h 3641849"/>
                <a:gd name="connsiteX56" fmla="*/ 862162 w 1457148"/>
                <a:gd name="connsiteY56" fmla="*/ 1007364 h 3641849"/>
                <a:gd name="connsiteX57" fmla="*/ 847754 w 1457148"/>
                <a:gd name="connsiteY57" fmla="*/ 971687 h 3641849"/>
                <a:gd name="connsiteX58" fmla="*/ 814502 w 1457148"/>
                <a:gd name="connsiteY58" fmla="*/ 932901 h 3641849"/>
                <a:gd name="connsiteX59" fmla="*/ 803418 w 1457148"/>
                <a:gd name="connsiteY59" fmla="*/ 881187 h 3641849"/>
                <a:gd name="connsiteX60" fmla="*/ 842213 w 1457148"/>
                <a:gd name="connsiteY60" fmla="*/ 832060 h 3641849"/>
                <a:gd name="connsiteX61" fmla="*/ 869923 w 1457148"/>
                <a:gd name="connsiteY61" fmla="*/ 803617 h 3641849"/>
                <a:gd name="connsiteX62" fmla="*/ 894863 w 1457148"/>
                <a:gd name="connsiteY62" fmla="*/ 767417 h 3641849"/>
                <a:gd name="connsiteX63" fmla="*/ 975223 w 1457148"/>
                <a:gd name="connsiteY63" fmla="*/ 762245 h 3641849"/>
                <a:gd name="connsiteX64" fmla="*/ 980764 w 1457148"/>
                <a:gd name="connsiteY64" fmla="*/ 741560 h 3641849"/>
                <a:gd name="connsiteX65" fmla="*/ 1005704 w 1457148"/>
                <a:gd name="connsiteY65" fmla="*/ 705360 h 3641849"/>
                <a:gd name="connsiteX66" fmla="*/ 1039508 w 1457148"/>
                <a:gd name="connsiteY66" fmla="*/ 687772 h 3641849"/>
                <a:gd name="connsiteX67" fmla="*/ 1097148 w 1457148"/>
                <a:gd name="connsiteY67" fmla="*/ 700189 h 3641849"/>
                <a:gd name="connsiteX68" fmla="*/ 1135941 w 1457148"/>
                <a:gd name="connsiteY68" fmla="*/ 720875 h 3641849"/>
                <a:gd name="connsiteX69" fmla="*/ 1183049 w 1457148"/>
                <a:gd name="connsiteY69" fmla="*/ 728632 h 3641849"/>
                <a:gd name="connsiteX70" fmla="*/ 1183049 w 1457148"/>
                <a:gd name="connsiteY70" fmla="*/ 733803 h 3641849"/>
                <a:gd name="connsiteX71" fmla="*/ 1205218 w 1457148"/>
                <a:gd name="connsiteY71" fmla="*/ 674332 h 3641849"/>
                <a:gd name="connsiteX72" fmla="*/ 1215193 w 1457148"/>
                <a:gd name="connsiteY72" fmla="*/ 640714 h 3641849"/>
                <a:gd name="connsiteX73" fmla="*/ 1221844 w 1457148"/>
                <a:gd name="connsiteY73" fmla="*/ 622618 h 3641849"/>
                <a:gd name="connsiteX74" fmla="*/ 1224781 w 1457148"/>
                <a:gd name="connsiteY74" fmla="*/ 591288 h 3641849"/>
                <a:gd name="connsiteX75" fmla="*/ 1144255 w 1457148"/>
                <a:gd name="connsiteY75" fmla="*/ 545048 h 3641849"/>
                <a:gd name="connsiteX76" fmla="*/ 1130400 w 1457148"/>
                <a:gd name="connsiteY76" fmla="*/ 472648 h 3641849"/>
                <a:gd name="connsiteX77" fmla="*/ 1130400 w 1457148"/>
                <a:gd name="connsiteY77" fmla="*/ 454548 h 3641849"/>
                <a:gd name="connsiteX78" fmla="*/ 1141483 w 1457148"/>
                <a:gd name="connsiteY78" fmla="*/ 431276 h 3641849"/>
                <a:gd name="connsiteX79" fmla="*/ 1144255 w 1457148"/>
                <a:gd name="connsiteY79" fmla="*/ 415762 h 3641849"/>
                <a:gd name="connsiteX80" fmla="*/ 1144254 w 1457148"/>
                <a:gd name="connsiteY80" fmla="*/ 358878 h 3641849"/>
                <a:gd name="connsiteX81" fmla="*/ 1122086 w 1457148"/>
                <a:gd name="connsiteY81" fmla="*/ 335607 h 3641849"/>
                <a:gd name="connsiteX82" fmla="*/ 1094376 w 1457148"/>
                <a:gd name="connsiteY82" fmla="*/ 304578 h 3641849"/>
                <a:gd name="connsiteX83" fmla="*/ 1090208 w 1457148"/>
                <a:gd name="connsiteY83" fmla="*/ 280325 h 3641849"/>
                <a:gd name="connsiteX84" fmla="*/ 1141484 w 1457148"/>
                <a:gd name="connsiteY84" fmla="*/ 258034 h 3641849"/>
                <a:gd name="connsiteX85" fmla="*/ 1195064 w 1457148"/>
                <a:gd name="connsiteY85" fmla="*/ 267906 h 3641849"/>
                <a:gd name="connsiteX86" fmla="*/ 1273848 w 1457148"/>
                <a:gd name="connsiteY86" fmla="*/ 279816 h 3641849"/>
                <a:gd name="connsiteX87" fmla="*/ 1358171 w 1457148"/>
                <a:gd name="connsiteY87" fmla="*/ 349175 h 3641849"/>
                <a:gd name="connsiteX88" fmla="*/ 1420306 w 1457148"/>
                <a:gd name="connsiteY88" fmla="*/ 425271 h 3641849"/>
                <a:gd name="connsiteX89" fmla="*/ 1319335 w 1457148"/>
                <a:gd name="connsiteY89" fmla="*/ 454265 h 3641849"/>
                <a:gd name="connsiteX90" fmla="*/ 1303801 w 1457148"/>
                <a:gd name="connsiteY90" fmla="*/ 501372 h 3641849"/>
                <a:gd name="connsiteX91" fmla="*/ 1361471 w 1457148"/>
                <a:gd name="connsiteY91" fmla="*/ 585862 h 3641849"/>
                <a:gd name="connsiteX92" fmla="*/ 1397005 w 1457148"/>
                <a:gd name="connsiteY92" fmla="*/ 591964 h 3641849"/>
                <a:gd name="connsiteX93" fmla="*/ 1449625 w 1457148"/>
                <a:gd name="connsiteY93" fmla="*/ 598304 h 3641849"/>
                <a:gd name="connsiteX94" fmla="*/ 1444662 w 1457148"/>
                <a:gd name="connsiteY94" fmla="*/ 709079 h 3641849"/>
                <a:gd name="connsiteX95" fmla="*/ 1455731 w 1457148"/>
                <a:gd name="connsiteY95" fmla="*/ 1040047 h 3641849"/>
                <a:gd name="connsiteX96" fmla="*/ 1446863 w 1457148"/>
                <a:gd name="connsiteY96" fmla="*/ 1842646 h 3641849"/>
                <a:gd name="connsiteX97" fmla="*/ 1455730 w 1457148"/>
                <a:gd name="connsiteY97" fmla="*/ 2297728 h 3641849"/>
                <a:gd name="connsiteX98" fmla="*/ 1429282 w 1457148"/>
                <a:gd name="connsiteY98" fmla="*/ 3607693 h 3641849"/>
                <a:gd name="connsiteX99" fmla="*/ 1170855 w 1457148"/>
                <a:gd name="connsiteY99" fmla="*/ 3564098 h 3641849"/>
                <a:gd name="connsiteX100" fmla="*/ 1002377 w 1457148"/>
                <a:gd name="connsiteY100" fmla="*/ 3497903 h 3641849"/>
                <a:gd name="connsiteX101" fmla="*/ 825031 w 1457148"/>
                <a:gd name="connsiteY101" fmla="*/ 3406887 h 3641849"/>
                <a:gd name="connsiteX102" fmla="*/ 726733 w 1457148"/>
                <a:gd name="connsiteY102" fmla="*/ 3326370 h 3641849"/>
                <a:gd name="connsiteX103" fmla="*/ 1020995 w 1457148"/>
                <a:gd name="connsiteY103" fmla="*/ 3018734 h 3641849"/>
                <a:gd name="connsiteX104" fmla="*/ 737241 w 1457148"/>
                <a:gd name="connsiteY104" fmla="*/ 2480910 h 3641849"/>
                <a:gd name="connsiteX105" fmla="*/ 879591 w 1457148"/>
                <a:gd name="connsiteY105" fmla="*/ 2241825 h 3641849"/>
                <a:gd name="connsiteX106" fmla="*/ 692904 w 1457148"/>
                <a:gd name="connsiteY106" fmla="*/ 1703134 h 3641849"/>
                <a:gd name="connsiteX107" fmla="*/ 444620 w 1457148"/>
                <a:gd name="connsiteY107" fmla="*/ 1471456 h 3641849"/>
                <a:gd name="connsiteX108" fmla="*/ 435753 w 1457148"/>
                <a:gd name="connsiteY108" fmla="*/ 1355617 h 3641849"/>
                <a:gd name="connsiteX0" fmla="*/ 435753 w 1457148"/>
                <a:gd name="connsiteY0" fmla="*/ 1355617 h 3641849"/>
                <a:gd name="connsiteX1" fmla="*/ 376521 w 1457148"/>
                <a:gd name="connsiteY1" fmla="*/ 1389556 h 3641849"/>
                <a:gd name="connsiteX2" fmla="*/ 107732 w 1457148"/>
                <a:gd name="connsiteY2" fmla="*/ 1151672 h 3641849"/>
                <a:gd name="connsiteX3" fmla="*/ 168695 w 1457148"/>
                <a:gd name="connsiteY3" fmla="*/ 1089617 h 3641849"/>
                <a:gd name="connsiteX4" fmla="*/ 102190 w 1457148"/>
                <a:gd name="connsiteY4" fmla="*/ 1050829 h 3641849"/>
                <a:gd name="connsiteX5" fmla="*/ 143755 w 1457148"/>
                <a:gd name="connsiteY5" fmla="*/ 1019802 h 3641849"/>
                <a:gd name="connsiteX6" fmla="*/ 96649 w 1457148"/>
                <a:gd name="connsiteY6" fmla="*/ 993947 h 3641849"/>
                <a:gd name="connsiteX7" fmla="*/ 96648 w 1457148"/>
                <a:gd name="connsiteY7" fmla="*/ 794845 h 3641849"/>
                <a:gd name="connsiteX8" fmla="*/ 135443 w 1457148"/>
                <a:gd name="connsiteY8" fmla="*/ 779332 h 3641849"/>
                <a:gd name="connsiteX9" fmla="*/ 21830 w 1457148"/>
                <a:gd name="connsiteY9" fmla="*/ 551792 h 3641849"/>
                <a:gd name="connsiteX10" fmla="*/ 19059 w 1457148"/>
                <a:gd name="connsiteY10" fmla="*/ 551792 h 3641849"/>
                <a:gd name="connsiteX11" fmla="*/ 85563 w 1457148"/>
                <a:gd name="connsiteY11" fmla="*/ 378550 h 3641849"/>
                <a:gd name="connsiteX12" fmla="*/ 10744 w 1457148"/>
                <a:gd name="connsiteY12" fmla="*/ 319079 h 3641849"/>
                <a:gd name="connsiteX13" fmla="*/ 2432 w 1457148"/>
                <a:gd name="connsiteY13" fmla="*/ 251851 h 3641849"/>
                <a:gd name="connsiteX14" fmla="*/ 57852 w 1457148"/>
                <a:gd name="connsiteY14" fmla="*/ 158764 h 3641849"/>
                <a:gd name="connsiteX15" fmla="*/ 77250 w 1457148"/>
                <a:gd name="connsiteY15" fmla="*/ 135494 h 3641849"/>
                <a:gd name="connsiteX16" fmla="*/ 91105 w 1457148"/>
                <a:gd name="connsiteY16" fmla="*/ 117394 h 3641849"/>
                <a:gd name="connsiteX17" fmla="*/ 99418 w 1457148"/>
                <a:gd name="connsiteY17" fmla="*/ 73438 h 3641849"/>
                <a:gd name="connsiteX18" fmla="*/ 124357 w 1457148"/>
                <a:gd name="connsiteY18" fmla="*/ 101880 h 3641849"/>
                <a:gd name="connsiteX19" fmla="*/ 154839 w 1457148"/>
                <a:gd name="connsiteY19" fmla="*/ 88952 h 3641849"/>
                <a:gd name="connsiteX20" fmla="*/ 157609 w 1457148"/>
                <a:gd name="connsiteY20" fmla="*/ 63095 h 3641849"/>
                <a:gd name="connsiteX21" fmla="*/ 165923 w 1457148"/>
                <a:gd name="connsiteY21" fmla="*/ 34652 h 3641849"/>
                <a:gd name="connsiteX22" fmla="*/ 168695 w 1457148"/>
                <a:gd name="connsiteY22" fmla="*/ 3624 h 3641849"/>
                <a:gd name="connsiteX23" fmla="*/ 304475 w 1457148"/>
                <a:gd name="connsiteY23" fmla="*/ 57924 h 3641849"/>
                <a:gd name="connsiteX24" fmla="*/ 334955 w 1457148"/>
                <a:gd name="connsiteY24" fmla="*/ 161352 h 3641849"/>
                <a:gd name="connsiteX25" fmla="*/ 348811 w 1457148"/>
                <a:gd name="connsiteY25" fmla="*/ 184622 h 3641849"/>
                <a:gd name="connsiteX26" fmla="*/ 359895 w 1457148"/>
                <a:gd name="connsiteY26" fmla="*/ 187208 h 3641849"/>
                <a:gd name="connsiteX27" fmla="*/ 473507 w 1457148"/>
                <a:gd name="connsiteY27" fmla="*/ 156181 h 3641849"/>
                <a:gd name="connsiteX28" fmla="*/ 540012 w 1457148"/>
                <a:gd name="connsiteY28" fmla="*/ 166522 h 3641849"/>
                <a:gd name="connsiteX29" fmla="*/ 603746 w 1457148"/>
                <a:gd name="connsiteY29" fmla="*/ 213065 h 3641849"/>
                <a:gd name="connsiteX30" fmla="*/ 617773 w 1457148"/>
                <a:gd name="connsiteY30" fmla="*/ 242621 h 3641849"/>
                <a:gd name="connsiteX31" fmla="*/ 673020 w 1457148"/>
                <a:gd name="connsiteY31" fmla="*/ 277708 h 3641849"/>
                <a:gd name="connsiteX32" fmla="*/ 761694 w 1457148"/>
                <a:gd name="connsiteY32" fmla="*/ 303563 h 3641849"/>
                <a:gd name="connsiteX33" fmla="*/ 833740 w 1457148"/>
                <a:gd name="connsiteY33" fmla="*/ 350106 h 3641849"/>
                <a:gd name="connsiteX34" fmla="*/ 883619 w 1457148"/>
                <a:gd name="connsiteY34" fmla="*/ 401820 h 3641849"/>
                <a:gd name="connsiteX35" fmla="*/ 908558 w 1457148"/>
                <a:gd name="connsiteY35" fmla="*/ 440606 h 3641849"/>
                <a:gd name="connsiteX36" fmla="*/ 941811 w 1457148"/>
                <a:gd name="connsiteY36" fmla="*/ 466462 h 3641849"/>
                <a:gd name="connsiteX37" fmla="*/ 925183 w 1457148"/>
                <a:gd name="connsiteY37" fmla="*/ 691417 h 3641849"/>
                <a:gd name="connsiteX38" fmla="*/ 797717 w 1457148"/>
                <a:gd name="connsiteY38" fmla="*/ 771575 h 3641849"/>
                <a:gd name="connsiteX39" fmla="*/ 684105 w 1457148"/>
                <a:gd name="connsiteY39" fmla="*/ 779331 h 3641849"/>
                <a:gd name="connsiteX40" fmla="*/ 545552 w 1457148"/>
                <a:gd name="connsiteY40" fmla="*/ 758645 h 3641849"/>
                <a:gd name="connsiteX41" fmla="*/ 454108 w 1457148"/>
                <a:gd name="connsiteY41" fmla="*/ 722445 h 3641849"/>
                <a:gd name="connsiteX42" fmla="*/ 434711 w 1457148"/>
                <a:gd name="connsiteY42" fmla="*/ 750888 h 3641849"/>
                <a:gd name="connsiteX43" fmla="*/ 465353 w 1457148"/>
                <a:gd name="connsiteY43" fmla="*/ 824301 h 3641849"/>
                <a:gd name="connsiteX44" fmla="*/ 470894 w 1457148"/>
                <a:gd name="connsiteY44" fmla="*/ 951000 h 3641849"/>
                <a:gd name="connsiteX45" fmla="*/ 443024 w 1457148"/>
                <a:gd name="connsiteY45" fmla="*/ 1012043 h 3641849"/>
                <a:gd name="connsiteX46" fmla="*/ 498443 w 1457148"/>
                <a:gd name="connsiteY46" fmla="*/ 1032728 h 3641849"/>
                <a:gd name="connsiteX47" fmla="*/ 515071 w 1457148"/>
                <a:gd name="connsiteY47" fmla="*/ 1048242 h 3641849"/>
                <a:gd name="connsiteX48" fmla="*/ 540011 w 1457148"/>
                <a:gd name="connsiteY48" fmla="*/ 1074099 h 3641849"/>
                <a:gd name="connsiteX49" fmla="*/ 537240 w 1457148"/>
                <a:gd name="connsiteY49" fmla="*/ 1076685 h 3641849"/>
                <a:gd name="connsiteX50" fmla="*/ 576033 w 1457148"/>
                <a:gd name="connsiteY50" fmla="*/ 1071514 h 3641849"/>
                <a:gd name="connsiteX51" fmla="*/ 584347 w 1457148"/>
                <a:gd name="connsiteY51" fmla="*/ 1035314 h 3641849"/>
                <a:gd name="connsiteX52" fmla="*/ 545552 w 1457148"/>
                <a:gd name="connsiteY52" fmla="*/ 957743 h 3641849"/>
                <a:gd name="connsiteX53" fmla="*/ 614828 w 1457148"/>
                <a:gd name="connsiteY53" fmla="*/ 911200 h 3641849"/>
                <a:gd name="connsiteX54" fmla="*/ 682600 w 1457148"/>
                <a:gd name="connsiteY54" fmla="*/ 918934 h 3641849"/>
                <a:gd name="connsiteX55" fmla="*/ 706433 w 1457148"/>
                <a:gd name="connsiteY55" fmla="*/ 951001 h 3641849"/>
                <a:gd name="connsiteX56" fmla="*/ 862162 w 1457148"/>
                <a:gd name="connsiteY56" fmla="*/ 1007364 h 3641849"/>
                <a:gd name="connsiteX57" fmla="*/ 847754 w 1457148"/>
                <a:gd name="connsiteY57" fmla="*/ 971687 h 3641849"/>
                <a:gd name="connsiteX58" fmla="*/ 814502 w 1457148"/>
                <a:gd name="connsiteY58" fmla="*/ 932901 h 3641849"/>
                <a:gd name="connsiteX59" fmla="*/ 803418 w 1457148"/>
                <a:gd name="connsiteY59" fmla="*/ 881187 h 3641849"/>
                <a:gd name="connsiteX60" fmla="*/ 842213 w 1457148"/>
                <a:gd name="connsiteY60" fmla="*/ 832060 h 3641849"/>
                <a:gd name="connsiteX61" fmla="*/ 869923 w 1457148"/>
                <a:gd name="connsiteY61" fmla="*/ 803617 h 3641849"/>
                <a:gd name="connsiteX62" fmla="*/ 894863 w 1457148"/>
                <a:gd name="connsiteY62" fmla="*/ 767417 h 3641849"/>
                <a:gd name="connsiteX63" fmla="*/ 975223 w 1457148"/>
                <a:gd name="connsiteY63" fmla="*/ 762245 h 3641849"/>
                <a:gd name="connsiteX64" fmla="*/ 980764 w 1457148"/>
                <a:gd name="connsiteY64" fmla="*/ 741560 h 3641849"/>
                <a:gd name="connsiteX65" fmla="*/ 1005704 w 1457148"/>
                <a:gd name="connsiteY65" fmla="*/ 705360 h 3641849"/>
                <a:gd name="connsiteX66" fmla="*/ 1039508 w 1457148"/>
                <a:gd name="connsiteY66" fmla="*/ 687772 h 3641849"/>
                <a:gd name="connsiteX67" fmla="*/ 1097148 w 1457148"/>
                <a:gd name="connsiteY67" fmla="*/ 700189 h 3641849"/>
                <a:gd name="connsiteX68" fmla="*/ 1135941 w 1457148"/>
                <a:gd name="connsiteY68" fmla="*/ 720875 h 3641849"/>
                <a:gd name="connsiteX69" fmla="*/ 1183049 w 1457148"/>
                <a:gd name="connsiteY69" fmla="*/ 728632 h 3641849"/>
                <a:gd name="connsiteX70" fmla="*/ 1183049 w 1457148"/>
                <a:gd name="connsiteY70" fmla="*/ 733803 h 3641849"/>
                <a:gd name="connsiteX71" fmla="*/ 1205218 w 1457148"/>
                <a:gd name="connsiteY71" fmla="*/ 674332 h 3641849"/>
                <a:gd name="connsiteX72" fmla="*/ 1215193 w 1457148"/>
                <a:gd name="connsiteY72" fmla="*/ 640714 h 3641849"/>
                <a:gd name="connsiteX73" fmla="*/ 1221844 w 1457148"/>
                <a:gd name="connsiteY73" fmla="*/ 622618 h 3641849"/>
                <a:gd name="connsiteX74" fmla="*/ 1224781 w 1457148"/>
                <a:gd name="connsiteY74" fmla="*/ 591288 h 3641849"/>
                <a:gd name="connsiteX75" fmla="*/ 1144255 w 1457148"/>
                <a:gd name="connsiteY75" fmla="*/ 545048 h 3641849"/>
                <a:gd name="connsiteX76" fmla="*/ 1130400 w 1457148"/>
                <a:gd name="connsiteY76" fmla="*/ 472648 h 3641849"/>
                <a:gd name="connsiteX77" fmla="*/ 1130400 w 1457148"/>
                <a:gd name="connsiteY77" fmla="*/ 454548 h 3641849"/>
                <a:gd name="connsiteX78" fmla="*/ 1141483 w 1457148"/>
                <a:gd name="connsiteY78" fmla="*/ 431276 h 3641849"/>
                <a:gd name="connsiteX79" fmla="*/ 1144255 w 1457148"/>
                <a:gd name="connsiteY79" fmla="*/ 415762 h 3641849"/>
                <a:gd name="connsiteX80" fmla="*/ 1144254 w 1457148"/>
                <a:gd name="connsiteY80" fmla="*/ 358878 h 3641849"/>
                <a:gd name="connsiteX81" fmla="*/ 1122086 w 1457148"/>
                <a:gd name="connsiteY81" fmla="*/ 335607 h 3641849"/>
                <a:gd name="connsiteX82" fmla="*/ 1094376 w 1457148"/>
                <a:gd name="connsiteY82" fmla="*/ 304578 h 3641849"/>
                <a:gd name="connsiteX83" fmla="*/ 1090208 w 1457148"/>
                <a:gd name="connsiteY83" fmla="*/ 280325 h 3641849"/>
                <a:gd name="connsiteX84" fmla="*/ 1141484 w 1457148"/>
                <a:gd name="connsiteY84" fmla="*/ 258034 h 3641849"/>
                <a:gd name="connsiteX85" fmla="*/ 1195064 w 1457148"/>
                <a:gd name="connsiteY85" fmla="*/ 267906 h 3641849"/>
                <a:gd name="connsiteX86" fmla="*/ 1273848 w 1457148"/>
                <a:gd name="connsiteY86" fmla="*/ 279816 h 3641849"/>
                <a:gd name="connsiteX87" fmla="*/ 1358171 w 1457148"/>
                <a:gd name="connsiteY87" fmla="*/ 349175 h 3641849"/>
                <a:gd name="connsiteX88" fmla="*/ 1420306 w 1457148"/>
                <a:gd name="connsiteY88" fmla="*/ 425271 h 3641849"/>
                <a:gd name="connsiteX89" fmla="*/ 1319335 w 1457148"/>
                <a:gd name="connsiteY89" fmla="*/ 454265 h 3641849"/>
                <a:gd name="connsiteX90" fmla="*/ 1303801 w 1457148"/>
                <a:gd name="connsiteY90" fmla="*/ 501372 h 3641849"/>
                <a:gd name="connsiteX91" fmla="*/ 1361471 w 1457148"/>
                <a:gd name="connsiteY91" fmla="*/ 585862 h 3641849"/>
                <a:gd name="connsiteX92" fmla="*/ 1397005 w 1457148"/>
                <a:gd name="connsiteY92" fmla="*/ 591964 h 3641849"/>
                <a:gd name="connsiteX93" fmla="*/ 1449625 w 1457148"/>
                <a:gd name="connsiteY93" fmla="*/ 598304 h 3641849"/>
                <a:gd name="connsiteX94" fmla="*/ 1444662 w 1457148"/>
                <a:gd name="connsiteY94" fmla="*/ 709079 h 3641849"/>
                <a:gd name="connsiteX95" fmla="*/ 1455731 w 1457148"/>
                <a:gd name="connsiteY95" fmla="*/ 1040047 h 3641849"/>
                <a:gd name="connsiteX96" fmla="*/ 1446863 w 1457148"/>
                <a:gd name="connsiteY96" fmla="*/ 1842646 h 3641849"/>
                <a:gd name="connsiteX97" fmla="*/ 1455730 w 1457148"/>
                <a:gd name="connsiteY97" fmla="*/ 2297728 h 3641849"/>
                <a:gd name="connsiteX98" fmla="*/ 1429282 w 1457148"/>
                <a:gd name="connsiteY98" fmla="*/ 3607693 h 3641849"/>
                <a:gd name="connsiteX99" fmla="*/ 1170855 w 1457148"/>
                <a:gd name="connsiteY99" fmla="*/ 3564098 h 3641849"/>
                <a:gd name="connsiteX100" fmla="*/ 1002377 w 1457148"/>
                <a:gd name="connsiteY100" fmla="*/ 3497903 h 3641849"/>
                <a:gd name="connsiteX101" fmla="*/ 825031 w 1457148"/>
                <a:gd name="connsiteY101" fmla="*/ 3406887 h 3641849"/>
                <a:gd name="connsiteX102" fmla="*/ 726733 w 1457148"/>
                <a:gd name="connsiteY102" fmla="*/ 3326370 h 3641849"/>
                <a:gd name="connsiteX103" fmla="*/ 1020995 w 1457148"/>
                <a:gd name="connsiteY103" fmla="*/ 3018734 h 3641849"/>
                <a:gd name="connsiteX104" fmla="*/ 737241 w 1457148"/>
                <a:gd name="connsiteY104" fmla="*/ 2480910 h 3641849"/>
                <a:gd name="connsiteX105" fmla="*/ 879591 w 1457148"/>
                <a:gd name="connsiteY105" fmla="*/ 2241825 h 3641849"/>
                <a:gd name="connsiteX106" fmla="*/ 692904 w 1457148"/>
                <a:gd name="connsiteY106" fmla="*/ 1703134 h 3641849"/>
                <a:gd name="connsiteX107" fmla="*/ 444620 w 1457148"/>
                <a:gd name="connsiteY107" fmla="*/ 1471456 h 3641849"/>
                <a:gd name="connsiteX108" fmla="*/ 435753 w 1457148"/>
                <a:gd name="connsiteY108" fmla="*/ 1355617 h 3641849"/>
                <a:gd name="connsiteX0" fmla="*/ 435753 w 1457148"/>
                <a:gd name="connsiteY0" fmla="*/ 1355617 h 3641849"/>
                <a:gd name="connsiteX1" fmla="*/ 376521 w 1457148"/>
                <a:gd name="connsiteY1" fmla="*/ 1389556 h 3641849"/>
                <a:gd name="connsiteX2" fmla="*/ 107732 w 1457148"/>
                <a:gd name="connsiteY2" fmla="*/ 1151672 h 3641849"/>
                <a:gd name="connsiteX3" fmla="*/ 168695 w 1457148"/>
                <a:gd name="connsiteY3" fmla="*/ 1089617 h 3641849"/>
                <a:gd name="connsiteX4" fmla="*/ 102190 w 1457148"/>
                <a:gd name="connsiteY4" fmla="*/ 1050829 h 3641849"/>
                <a:gd name="connsiteX5" fmla="*/ 143755 w 1457148"/>
                <a:gd name="connsiteY5" fmla="*/ 1019802 h 3641849"/>
                <a:gd name="connsiteX6" fmla="*/ 96649 w 1457148"/>
                <a:gd name="connsiteY6" fmla="*/ 993947 h 3641849"/>
                <a:gd name="connsiteX7" fmla="*/ 96648 w 1457148"/>
                <a:gd name="connsiteY7" fmla="*/ 794845 h 3641849"/>
                <a:gd name="connsiteX8" fmla="*/ 135443 w 1457148"/>
                <a:gd name="connsiteY8" fmla="*/ 779332 h 3641849"/>
                <a:gd name="connsiteX9" fmla="*/ 21830 w 1457148"/>
                <a:gd name="connsiteY9" fmla="*/ 551792 h 3641849"/>
                <a:gd name="connsiteX10" fmla="*/ 19059 w 1457148"/>
                <a:gd name="connsiteY10" fmla="*/ 551792 h 3641849"/>
                <a:gd name="connsiteX11" fmla="*/ 68937 w 1457148"/>
                <a:gd name="connsiteY11" fmla="*/ 469048 h 3641849"/>
                <a:gd name="connsiteX12" fmla="*/ 85563 w 1457148"/>
                <a:gd name="connsiteY12" fmla="*/ 378550 h 3641849"/>
                <a:gd name="connsiteX13" fmla="*/ 10744 w 1457148"/>
                <a:gd name="connsiteY13" fmla="*/ 319079 h 3641849"/>
                <a:gd name="connsiteX14" fmla="*/ 2432 w 1457148"/>
                <a:gd name="connsiteY14" fmla="*/ 251851 h 3641849"/>
                <a:gd name="connsiteX15" fmla="*/ 57852 w 1457148"/>
                <a:gd name="connsiteY15" fmla="*/ 158764 h 3641849"/>
                <a:gd name="connsiteX16" fmla="*/ 77250 w 1457148"/>
                <a:gd name="connsiteY16" fmla="*/ 135494 h 3641849"/>
                <a:gd name="connsiteX17" fmla="*/ 91105 w 1457148"/>
                <a:gd name="connsiteY17" fmla="*/ 117394 h 3641849"/>
                <a:gd name="connsiteX18" fmla="*/ 99418 w 1457148"/>
                <a:gd name="connsiteY18" fmla="*/ 73438 h 3641849"/>
                <a:gd name="connsiteX19" fmla="*/ 124357 w 1457148"/>
                <a:gd name="connsiteY19" fmla="*/ 101880 h 3641849"/>
                <a:gd name="connsiteX20" fmla="*/ 154839 w 1457148"/>
                <a:gd name="connsiteY20" fmla="*/ 88952 h 3641849"/>
                <a:gd name="connsiteX21" fmla="*/ 157609 w 1457148"/>
                <a:gd name="connsiteY21" fmla="*/ 63095 h 3641849"/>
                <a:gd name="connsiteX22" fmla="*/ 165923 w 1457148"/>
                <a:gd name="connsiteY22" fmla="*/ 34652 h 3641849"/>
                <a:gd name="connsiteX23" fmla="*/ 168695 w 1457148"/>
                <a:gd name="connsiteY23" fmla="*/ 3624 h 3641849"/>
                <a:gd name="connsiteX24" fmla="*/ 304475 w 1457148"/>
                <a:gd name="connsiteY24" fmla="*/ 57924 h 3641849"/>
                <a:gd name="connsiteX25" fmla="*/ 334955 w 1457148"/>
                <a:gd name="connsiteY25" fmla="*/ 161352 h 3641849"/>
                <a:gd name="connsiteX26" fmla="*/ 348811 w 1457148"/>
                <a:gd name="connsiteY26" fmla="*/ 184622 h 3641849"/>
                <a:gd name="connsiteX27" fmla="*/ 359895 w 1457148"/>
                <a:gd name="connsiteY27" fmla="*/ 187208 h 3641849"/>
                <a:gd name="connsiteX28" fmla="*/ 473507 w 1457148"/>
                <a:gd name="connsiteY28" fmla="*/ 156181 h 3641849"/>
                <a:gd name="connsiteX29" fmla="*/ 540012 w 1457148"/>
                <a:gd name="connsiteY29" fmla="*/ 166522 h 3641849"/>
                <a:gd name="connsiteX30" fmla="*/ 603746 w 1457148"/>
                <a:gd name="connsiteY30" fmla="*/ 213065 h 3641849"/>
                <a:gd name="connsiteX31" fmla="*/ 617773 w 1457148"/>
                <a:gd name="connsiteY31" fmla="*/ 242621 h 3641849"/>
                <a:gd name="connsiteX32" fmla="*/ 673020 w 1457148"/>
                <a:gd name="connsiteY32" fmla="*/ 277708 h 3641849"/>
                <a:gd name="connsiteX33" fmla="*/ 761694 w 1457148"/>
                <a:gd name="connsiteY33" fmla="*/ 303563 h 3641849"/>
                <a:gd name="connsiteX34" fmla="*/ 833740 w 1457148"/>
                <a:gd name="connsiteY34" fmla="*/ 350106 h 3641849"/>
                <a:gd name="connsiteX35" fmla="*/ 883619 w 1457148"/>
                <a:gd name="connsiteY35" fmla="*/ 401820 h 3641849"/>
                <a:gd name="connsiteX36" fmla="*/ 908558 w 1457148"/>
                <a:gd name="connsiteY36" fmla="*/ 440606 h 3641849"/>
                <a:gd name="connsiteX37" fmla="*/ 941811 w 1457148"/>
                <a:gd name="connsiteY37" fmla="*/ 466462 h 3641849"/>
                <a:gd name="connsiteX38" fmla="*/ 925183 w 1457148"/>
                <a:gd name="connsiteY38" fmla="*/ 691417 h 3641849"/>
                <a:gd name="connsiteX39" fmla="*/ 797717 w 1457148"/>
                <a:gd name="connsiteY39" fmla="*/ 771575 h 3641849"/>
                <a:gd name="connsiteX40" fmla="*/ 684105 w 1457148"/>
                <a:gd name="connsiteY40" fmla="*/ 779331 h 3641849"/>
                <a:gd name="connsiteX41" fmla="*/ 545552 w 1457148"/>
                <a:gd name="connsiteY41" fmla="*/ 758645 h 3641849"/>
                <a:gd name="connsiteX42" fmla="*/ 454108 w 1457148"/>
                <a:gd name="connsiteY42" fmla="*/ 722445 h 3641849"/>
                <a:gd name="connsiteX43" fmla="*/ 434711 w 1457148"/>
                <a:gd name="connsiteY43" fmla="*/ 750888 h 3641849"/>
                <a:gd name="connsiteX44" fmla="*/ 465353 w 1457148"/>
                <a:gd name="connsiteY44" fmla="*/ 824301 h 3641849"/>
                <a:gd name="connsiteX45" fmla="*/ 470894 w 1457148"/>
                <a:gd name="connsiteY45" fmla="*/ 951000 h 3641849"/>
                <a:gd name="connsiteX46" fmla="*/ 443024 w 1457148"/>
                <a:gd name="connsiteY46" fmla="*/ 1012043 h 3641849"/>
                <a:gd name="connsiteX47" fmla="*/ 498443 w 1457148"/>
                <a:gd name="connsiteY47" fmla="*/ 1032728 h 3641849"/>
                <a:gd name="connsiteX48" fmla="*/ 515071 w 1457148"/>
                <a:gd name="connsiteY48" fmla="*/ 1048242 h 3641849"/>
                <a:gd name="connsiteX49" fmla="*/ 540011 w 1457148"/>
                <a:gd name="connsiteY49" fmla="*/ 1074099 h 3641849"/>
                <a:gd name="connsiteX50" fmla="*/ 537240 w 1457148"/>
                <a:gd name="connsiteY50" fmla="*/ 1076685 h 3641849"/>
                <a:gd name="connsiteX51" fmla="*/ 576033 w 1457148"/>
                <a:gd name="connsiteY51" fmla="*/ 1071514 h 3641849"/>
                <a:gd name="connsiteX52" fmla="*/ 584347 w 1457148"/>
                <a:gd name="connsiteY52" fmla="*/ 1035314 h 3641849"/>
                <a:gd name="connsiteX53" fmla="*/ 545552 w 1457148"/>
                <a:gd name="connsiteY53" fmla="*/ 957743 h 3641849"/>
                <a:gd name="connsiteX54" fmla="*/ 614828 w 1457148"/>
                <a:gd name="connsiteY54" fmla="*/ 911200 h 3641849"/>
                <a:gd name="connsiteX55" fmla="*/ 682600 w 1457148"/>
                <a:gd name="connsiteY55" fmla="*/ 918934 h 3641849"/>
                <a:gd name="connsiteX56" fmla="*/ 706433 w 1457148"/>
                <a:gd name="connsiteY56" fmla="*/ 951001 h 3641849"/>
                <a:gd name="connsiteX57" fmla="*/ 862162 w 1457148"/>
                <a:gd name="connsiteY57" fmla="*/ 1007364 h 3641849"/>
                <a:gd name="connsiteX58" fmla="*/ 847754 w 1457148"/>
                <a:gd name="connsiteY58" fmla="*/ 971687 h 3641849"/>
                <a:gd name="connsiteX59" fmla="*/ 814502 w 1457148"/>
                <a:gd name="connsiteY59" fmla="*/ 932901 h 3641849"/>
                <a:gd name="connsiteX60" fmla="*/ 803418 w 1457148"/>
                <a:gd name="connsiteY60" fmla="*/ 881187 h 3641849"/>
                <a:gd name="connsiteX61" fmla="*/ 842213 w 1457148"/>
                <a:gd name="connsiteY61" fmla="*/ 832060 h 3641849"/>
                <a:gd name="connsiteX62" fmla="*/ 869923 w 1457148"/>
                <a:gd name="connsiteY62" fmla="*/ 803617 h 3641849"/>
                <a:gd name="connsiteX63" fmla="*/ 894863 w 1457148"/>
                <a:gd name="connsiteY63" fmla="*/ 767417 h 3641849"/>
                <a:gd name="connsiteX64" fmla="*/ 975223 w 1457148"/>
                <a:gd name="connsiteY64" fmla="*/ 762245 h 3641849"/>
                <a:gd name="connsiteX65" fmla="*/ 980764 w 1457148"/>
                <a:gd name="connsiteY65" fmla="*/ 741560 h 3641849"/>
                <a:gd name="connsiteX66" fmla="*/ 1005704 w 1457148"/>
                <a:gd name="connsiteY66" fmla="*/ 705360 h 3641849"/>
                <a:gd name="connsiteX67" fmla="*/ 1039508 w 1457148"/>
                <a:gd name="connsiteY67" fmla="*/ 687772 h 3641849"/>
                <a:gd name="connsiteX68" fmla="*/ 1097148 w 1457148"/>
                <a:gd name="connsiteY68" fmla="*/ 700189 h 3641849"/>
                <a:gd name="connsiteX69" fmla="*/ 1135941 w 1457148"/>
                <a:gd name="connsiteY69" fmla="*/ 720875 h 3641849"/>
                <a:gd name="connsiteX70" fmla="*/ 1183049 w 1457148"/>
                <a:gd name="connsiteY70" fmla="*/ 728632 h 3641849"/>
                <a:gd name="connsiteX71" fmla="*/ 1183049 w 1457148"/>
                <a:gd name="connsiteY71" fmla="*/ 733803 h 3641849"/>
                <a:gd name="connsiteX72" fmla="*/ 1205218 w 1457148"/>
                <a:gd name="connsiteY72" fmla="*/ 674332 h 3641849"/>
                <a:gd name="connsiteX73" fmla="*/ 1215193 w 1457148"/>
                <a:gd name="connsiteY73" fmla="*/ 640714 h 3641849"/>
                <a:gd name="connsiteX74" fmla="*/ 1221844 w 1457148"/>
                <a:gd name="connsiteY74" fmla="*/ 622618 h 3641849"/>
                <a:gd name="connsiteX75" fmla="*/ 1224781 w 1457148"/>
                <a:gd name="connsiteY75" fmla="*/ 591288 h 3641849"/>
                <a:gd name="connsiteX76" fmla="*/ 1144255 w 1457148"/>
                <a:gd name="connsiteY76" fmla="*/ 545048 h 3641849"/>
                <a:gd name="connsiteX77" fmla="*/ 1130400 w 1457148"/>
                <a:gd name="connsiteY77" fmla="*/ 472648 h 3641849"/>
                <a:gd name="connsiteX78" fmla="*/ 1130400 w 1457148"/>
                <a:gd name="connsiteY78" fmla="*/ 454548 h 3641849"/>
                <a:gd name="connsiteX79" fmla="*/ 1141483 w 1457148"/>
                <a:gd name="connsiteY79" fmla="*/ 431276 h 3641849"/>
                <a:gd name="connsiteX80" fmla="*/ 1144255 w 1457148"/>
                <a:gd name="connsiteY80" fmla="*/ 415762 h 3641849"/>
                <a:gd name="connsiteX81" fmla="*/ 1144254 w 1457148"/>
                <a:gd name="connsiteY81" fmla="*/ 358878 h 3641849"/>
                <a:gd name="connsiteX82" fmla="*/ 1122086 w 1457148"/>
                <a:gd name="connsiteY82" fmla="*/ 335607 h 3641849"/>
                <a:gd name="connsiteX83" fmla="*/ 1094376 w 1457148"/>
                <a:gd name="connsiteY83" fmla="*/ 304578 h 3641849"/>
                <a:gd name="connsiteX84" fmla="*/ 1090208 w 1457148"/>
                <a:gd name="connsiteY84" fmla="*/ 280325 h 3641849"/>
                <a:gd name="connsiteX85" fmla="*/ 1141484 w 1457148"/>
                <a:gd name="connsiteY85" fmla="*/ 258034 h 3641849"/>
                <a:gd name="connsiteX86" fmla="*/ 1195064 w 1457148"/>
                <a:gd name="connsiteY86" fmla="*/ 267906 h 3641849"/>
                <a:gd name="connsiteX87" fmla="*/ 1273848 w 1457148"/>
                <a:gd name="connsiteY87" fmla="*/ 279816 h 3641849"/>
                <a:gd name="connsiteX88" fmla="*/ 1358171 w 1457148"/>
                <a:gd name="connsiteY88" fmla="*/ 349175 h 3641849"/>
                <a:gd name="connsiteX89" fmla="*/ 1420306 w 1457148"/>
                <a:gd name="connsiteY89" fmla="*/ 425271 h 3641849"/>
                <a:gd name="connsiteX90" fmla="*/ 1319335 w 1457148"/>
                <a:gd name="connsiteY90" fmla="*/ 454265 h 3641849"/>
                <a:gd name="connsiteX91" fmla="*/ 1303801 w 1457148"/>
                <a:gd name="connsiteY91" fmla="*/ 501372 h 3641849"/>
                <a:gd name="connsiteX92" fmla="*/ 1361471 w 1457148"/>
                <a:gd name="connsiteY92" fmla="*/ 585862 h 3641849"/>
                <a:gd name="connsiteX93" fmla="*/ 1397005 w 1457148"/>
                <a:gd name="connsiteY93" fmla="*/ 591964 h 3641849"/>
                <a:gd name="connsiteX94" fmla="*/ 1449625 w 1457148"/>
                <a:gd name="connsiteY94" fmla="*/ 598304 h 3641849"/>
                <a:gd name="connsiteX95" fmla="*/ 1444662 w 1457148"/>
                <a:gd name="connsiteY95" fmla="*/ 709079 h 3641849"/>
                <a:gd name="connsiteX96" fmla="*/ 1455731 w 1457148"/>
                <a:gd name="connsiteY96" fmla="*/ 1040047 h 3641849"/>
                <a:gd name="connsiteX97" fmla="*/ 1446863 w 1457148"/>
                <a:gd name="connsiteY97" fmla="*/ 1842646 h 3641849"/>
                <a:gd name="connsiteX98" fmla="*/ 1455730 w 1457148"/>
                <a:gd name="connsiteY98" fmla="*/ 2297728 h 3641849"/>
                <a:gd name="connsiteX99" fmla="*/ 1429282 w 1457148"/>
                <a:gd name="connsiteY99" fmla="*/ 3607693 h 3641849"/>
                <a:gd name="connsiteX100" fmla="*/ 1170855 w 1457148"/>
                <a:gd name="connsiteY100" fmla="*/ 3564098 h 3641849"/>
                <a:gd name="connsiteX101" fmla="*/ 1002377 w 1457148"/>
                <a:gd name="connsiteY101" fmla="*/ 3497903 h 3641849"/>
                <a:gd name="connsiteX102" fmla="*/ 825031 w 1457148"/>
                <a:gd name="connsiteY102" fmla="*/ 3406887 h 3641849"/>
                <a:gd name="connsiteX103" fmla="*/ 726733 w 1457148"/>
                <a:gd name="connsiteY103" fmla="*/ 3326370 h 3641849"/>
                <a:gd name="connsiteX104" fmla="*/ 1020995 w 1457148"/>
                <a:gd name="connsiteY104" fmla="*/ 3018734 h 3641849"/>
                <a:gd name="connsiteX105" fmla="*/ 737241 w 1457148"/>
                <a:gd name="connsiteY105" fmla="*/ 2480910 h 3641849"/>
                <a:gd name="connsiteX106" fmla="*/ 879591 w 1457148"/>
                <a:gd name="connsiteY106" fmla="*/ 2241825 h 3641849"/>
                <a:gd name="connsiteX107" fmla="*/ 692904 w 1457148"/>
                <a:gd name="connsiteY107" fmla="*/ 1703134 h 3641849"/>
                <a:gd name="connsiteX108" fmla="*/ 444620 w 1457148"/>
                <a:gd name="connsiteY108" fmla="*/ 1471456 h 3641849"/>
                <a:gd name="connsiteX109" fmla="*/ 435753 w 1457148"/>
                <a:gd name="connsiteY109" fmla="*/ 1355617 h 3641849"/>
                <a:gd name="connsiteX0" fmla="*/ 330454 w 1457148"/>
                <a:gd name="connsiteY0" fmla="*/ 1590914 h 3641849"/>
                <a:gd name="connsiteX1" fmla="*/ 376521 w 1457148"/>
                <a:gd name="connsiteY1" fmla="*/ 1389556 h 3641849"/>
                <a:gd name="connsiteX2" fmla="*/ 107732 w 1457148"/>
                <a:gd name="connsiteY2" fmla="*/ 1151672 h 3641849"/>
                <a:gd name="connsiteX3" fmla="*/ 168695 w 1457148"/>
                <a:gd name="connsiteY3" fmla="*/ 1089617 h 3641849"/>
                <a:gd name="connsiteX4" fmla="*/ 102190 w 1457148"/>
                <a:gd name="connsiteY4" fmla="*/ 1050829 h 3641849"/>
                <a:gd name="connsiteX5" fmla="*/ 143755 w 1457148"/>
                <a:gd name="connsiteY5" fmla="*/ 1019802 h 3641849"/>
                <a:gd name="connsiteX6" fmla="*/ 96649 w 1457148"/>
                <a:gd name="connsiteY6" fmla="*/ 993947 h 3641849"/>
                <a:gd name="connsiteX7" fmla="*/ 96648 w 1457148"/>
                <a:gd name="connsiteY7" fmla="*/ 794845 h 3641849"/>
                <a:gd name="connsiteX8" fmla="*/ 135443 w 1457148"/>
                <a:gd name="connsiteY8" fmla="*/ 779332 h 3641849"/>
                <a:gd name="connsiteX9" fmla="*/ 21830 w 1457148"/>
                <a:gd name="connsiteY9" fmla="*/ 551792 h 3641849"/>
                <a:gd name="connsiteX10" fmla="*/ 19059 w 1457148"/>
                <a:gd name="connsiteY10" fmla="*/ 551792 h 3641849"/>
                <a:gd name="connsiteX11" fmla="*/ 68937 w 1457148"/>
                <a:gd name="connsiteY11" fmla="*/ 469048 h 3641849"/>
                <a:gd name="connsiteX12" fmla="*/ 85563 w 1457148"/>
                <a:gd name="connsiteY12" fmla="*/ 378550 h 3641849"/>
                <a:gd name="connsiteX13" fmla="*/ 10744 w 1457148"/>
                <a:gd name="connsiteY13" fmla="*/ 319079 h 3641849"/>
                <a:gd name="connsiteX14" fmla="*/ 2432 w 1457148"/>
                <a:gd name="connsiteY14" fmla="*/ 251851 h 3641849"/>
                <a:gd name="connsiteX15" fmla="*/ 57852 w 1457148"/>
                <a:gd name="connsiteY15" fmla="*/ 158764 h 3641849"/>
                <a:gd name="connsiteX16" fmla="*/ 77250 w 1457148"/>
                <a:gd name="connsiteY16" fmla="*/ 135494 h 3641849"/>
                <a:gd name="connsiteX17" fmla="*/ 91105 w 1457148"/>
                <a:gd name="connsiteY17" fmla="*/ 117394 h 3641849"/>
                <a:gd name="connsiteX18" fmla="*/ 99418 w 1457148"/>
                <a:gd name="connsiteY18" fmla="*/ 73438 h 3641849"/>
                <a:gd name="connsiteX19" fmla="*/ 124357 w 1457148"/>
                <a:gd name="connsiteY19" fmla="*/ 101880 h 3641849"/>
                <a:gd name="connsiteX20" fmla="*/ 154839 w 1457148"/>
                <a:gd name="connsiteY20" fmla="*/ 88952 h 3641849"/>
                <a:gd name="connsiteX21" fmla="*/ 157609 w 1457148"/>
                <a:gd name="connsiteY21" fmla="*/ 63095 h 3641849"/>
                <a:gd name="connsiteX22" fmla="*/ 165923 w 1457148"/>
                <a:gd name="connsiteY22" fmla="*/ 34652 h 3641849"/>
                <a:gd name="connsiteX23" fmla="*/ 168695 w 1457148"/>
                <a:gd name="connsiteY23" fmla="*/ 3624 h 3641849"/>
                <a:gd name="connsiteX24" fmla="*/ 304475 w 1457148"/>
                <a:gd name="connsiteY24" fmla="*/ 57924 h 3641849"/>
                <a:gd name="connsiteX25" fmla="*/ 334955 w 1457148"/>
                <a:gd name="connsiteY25" fmla="*/ 161352 h 3641849"/>
                <a:gd name="connsiteX26" fmla="*/ 348811 w 1457148"/>
                <a:gd name="connsiteY26" fmla="*/ 184622 h 3641849"/>
                <a:gd name="connsiteX27" fmla="*/ 359895 w 1457148"/>
                <a:gd name="connsiteY27" fmla="*/ 187208 h 3641849"/>
                <a:gd name="connsiteX28" fmla="*/ 473507 w 1457148"/>
                <a:gd name="connsiteY28" fmla="*/ 156181 h 3641849"/>
                <a:gd name="connsiteX29" fmla="*/ 540012 w 1457148"/>
                <a:gd name="connsiteY29" fmla="*/ 166522 h 3641849"/>
                <a:gd name="connsiteX30" fmla="*/ 603746 w 1457148"/>
                <a:gd name="connsiteY30" fmla="*/ 213065 h 3641849"/>
                <a:gd name="connsiteX31" fmla="*/ 617773 w 1457148"/>
                <a:gd name="connsiteY31" fmla="*/ 242621 h 3641849"/>
                <a:gd name="connsiteX32" fmla="*/ 673020 w 1457148"/>
                <a:gd name="connsiteY32" fmla="*/ 277708 h 3641849"/>
                <a:gd name="connsiteX33" fmla="*/ 761694 w 1457148"/>
                <a:gd name="connsiteY33" fmla="*/ 303563 h 3641849"/>
                <a:gd name="connsiteX34" fmla="*/ 833740 w 1457148"/>
                <a:gd name="connsiteY34" fmla="*/ 350106 h 3641849"/>
                <a:gd name="connsiteX35" fmla="*/ 883619 w 1457148"/>
                <a:gd name="connsiteY35" fmla="*/ 401820 h 3641849"/>
                <a:gd name="connsiteX36" fmla="*/ 908558 w 1457148"/>
                <a:gd name="connsiteY36" fmla="*/ 440606 h 3641849"/>
                <a:gd name="connsiteX37" fmla="*/ 941811 w 1457148"/>
                <a:gd name="connsiteY37" fmla="*/ 466462 h 3641849"/>
                <a:gd name="connsiteX38" fmla="*/ 925183 w 1457148"/>
                <a:gd name="connsiteY38" fmla="*/ 691417 h 3641849"/>
                <a:gd name="connsiteX39" fmla="*/ 797717 w 1457148"/>
                <a:gd name="connsiteY39" fmla="*/ 771575 h 3641849"/>
                <a:gd name="connsiteX40" fmla="*/ 684105 w 1457148"/>
                <a:gd name="connsiteY40" fmla="*/ 779331 h 3641849"/>
                <a:gd name="connsiteX41" fmla="*/ 545552 w 1457148"/>
                <a:gd name="connsiteY41" fmla="*/ 758645 h 3641849"/>
                <a:gd name="connsiteX42" fmla="*/ 454108 w 1457148"/>
                <a:gd name="connsiteY42" fmla="*/ 722445 h 3641849"/>
                <a:gd name="connsiteX43" fmla="*/ 434711 w 1457148"/>
                <a:gd name="connsiteY43" fmla="*/ 750888 h 3641849"/>
                <a:gd name="connsiteX44" fmla="*/ 465353 w 1457148"/>
                <a:gd name="connsiteY44" fmla="*/ 824301 h 3641849"/>
                <a:gd name="connsiteX45" fmla="*/ 470894 w 1457148"/>
                <a:gd name="connsiteY45" fmla="*/ 951000 h 3641849"/>
                <a:gd name="connsiteX46" fmla="*/ 443024 w 1457148"/>
                <a:gd name="connsiteY46" fmla="*/ 1012043 h 3641849"/>
                <a:gd name="connsiteX47" fmla="*/ 498443 w 1457148"/>
                <a:gd name="connsiteY47" fmla="*/ 1032728 h 3641849"/>
                <a:gd name="connsiteX48" fmla="*/ 515071 w 1457148"/>
                <a:gd name="connsiteY48" fmla="*/ 1048242 h 3641849"/>
                <a:gd name="connsiteX49" fmla="*/ 540011 w 1457148"/>
                <a:gd name="connsiteY49" fmla="*/ 1074099 h 3641849"/>
                <a:gd name="connsiteX50" fmla="*/ 537240 w 1457148"/>
                <a:gd name="connsiteY50" fmla="*/ 1076685 h 3641849"/>
                <a:gd name="connsiteX51" fmla="*/ 576033 w 1457148"/>
                <a:gd name="connsiteY51" fmla="*/ 1071514 h 3641849"/>
                <a:gd name="connsiteX52" fmla="*/ 584347 w 1457148"/>
                <a:gd name="connsiteY52" fmla="*/ 1035314 h 3641849"/>
                <a:gd name="connsiteX53" fmla="*/ 545552 w 1457148"/>
                <a:gd name="connsiteY53" fmla="*/ 957743 h 3641849"/>
                <a:gd name="connsiteX54" fmla="*/ 614828 w 1457148"/>
                <a:gd name="connsiteY54" fmla="*/ 911200 h 3641849"/>
                <a:gd name="connsiteX55" fmla="*/ 682600 w 1457148"/>
                <a:gd name="connsiteY55" fmla="*/ 918934 h 3641849"/>
                <a:gd name="connsiteX56" fmla="*/ 706433 w 1457148"/>
                <a:gd name="connsiteY56" fmla="*/ 951001 h 3641849"/>
                <a:gd name="connsiteX57" fmla="*/ 862162 w 1457148"/>
                <a:gd name="connsiteY57" fmla="*/ 1007364 h 3641849"/>
                <a:gd name="connsiteX58" fmla="*/ 847754 w 1457148"/>
                <a:gd name="connsiteY58" fmla="*/ 971687 h 3641849"/>
                <a:gd name="connsiteX59" fmla="*/ 814502 w 1457148"/>
                <a:gd name="connsiteY59" fmla="*/ 932901 h 3641849"/>
                <a:gd name="connsiteX60" fmla="*/ 803418 w 1457148"/>
                <a:gd name="connsiteY60" fmla="*/ 881187 h 3641849"/>
                <a:gd name="connsiteX61" fmla="*/ 842213 w 1457148"/>
                <a:gd name="connsiteY61" fmla="*/ 832060 h 3641849"/>
                <a:gd name="connsiteX62" fmla="*/ 869923 w 1457148"/>
                <a:gd name="connsiteY62" fmla="*/ 803617 h 3641849"/>
                <a:gd name="connsiteX63" fmla="*/ 894863 w 1457148"/>
                <a:gd name="connsiteY63" fmla="*/ 767417 h 3641849"/>
                <a:gd name="connsiteX64" fmla="*/ 975223 w 1457148"/>
                <a:gd name="connsiteY64" fmla="*/ 762245 h 3641849"/>
                <a:gd name="connsiteX65" fmla="*/ 980764 w 1457148"/>
                <a:gd name="connsiteY65" fmla="*/ 741560 h 3641849"/>
                <a:gd name="connsiteX66" fmla="*/ 1005704 w 1457148"/>
                <a:gd name="connsiteY66" fmla="*/ 705360 h 3641849"/>
                <a:gd name="connsiteX67" fmla="*/ 1039508 w 1457148"/>
                <a:gd name="connsiteY67" fmla="*/ 687772 h 3641849"/>
                <a:gd name="connsiteX68" fmla="*/ 1097148 w 1457148"/>
                <a:gd name="connsiteY68" fmla="*/ 700189 h 3641849"/>
                <a:gd name="connsiteX69" fmla="*/ 1135941 w 1457148"/>
                <a:gd name="connsiteY69" fmla="*/ 720875 h 3641849"/>
                <a:gd name="connsiteX70" fmla="*/ 1183049 w 1457148"/>
                <a:gd name="connsiteY70" fmla="*/ 728632 h 3641849"/>
                <a:gd name="connsiteX71" fmla="*/ 1183049 w 1457148"/>
                <a:gd name="connsiteY71" fmla="*/ 733803 h 3641849"/>
                <a:gd name="connsiteX72" fmla="*/ 1205218 w 1457148"/>
                <a:gd name="connsiteY72" fmla="*/ 674332 h 3641849"/>
                <a:gd name="connsiteX73" fmla="*/ 1215193 w 1457148"/>
                <a:gd name="connsiteY73" fmla="*/ 640714 h 3641849"/>
                <a:gd name="connsiteX74" fmla="*/ 1221844 w 1457148"/>
                <a:gd name="connsiteY74" fmla="*/ 622618 h 3641849"/>
                <a:gd name="connsiteX75" fmla="*/ 1224781 w 1457148"/>
                <a:gd name="connsiteY75" fmla="*/ 591288 h 3641849"/>
                <a:gd name="connsiteX76" fmla="*/ 1144255 w 1457148"/>
                <a:gd name="connsiteY76" fmla="*/ 545048 h 3641849"/>
                <a:gd name="connsiteX77" fmla="*/ 1130400 w 1457148"/>
                <a:gd name="connsiteY77" fmla="*/ 472648 h 3641849"/>
                <a:gd name="connsiteX78" fmla="*/ 1130400 w 1457148"/>
                <a:gd name="connsiteY78" fmla="*/ 454548 h 3641849"/>
                <a:gd name="connsiteX79" fmla="*/ 1141483 w 1457148"/>
                <a:gd name="connsiteY79" fmla="*/ 431276 h 3641849"/>
                <a:gd name="connsiteX80" fmla="*/ 1144255 w 1457148"/>
                <a:gd name="connsiteY80" fmla="*/ 415762 h 3641849"/>
                <a:gd name="connsiteX81" fmla="*/ 1144254 w 1457148"/>
                <a:gd name="connsiteY81" fmla="*/ 358878 h 3641849"/>
                <a:gd name="connsiteX82" fmla="*/ 1122086 w 1457148"/>
                <a:gd name="connsiteY82" fmla="*/ 335607 h 3641849"/>
                <a:gd name="connsiteX83" fmla="*/ 1094376 w 1457148"/>
                <a:gd name="connsiteY83" fmla="*/ 304578 h 3641849"/>
                <a:gd name="connsiteX84" fmla="*/ 1090208 w 1457148"/>
                <a:gd name="connsiteY84" fmla="*/ 280325 h 3641849"/>
                <a:gd name="connsiteX85" fmla="*/ 1141484 w 1457148"/>
                <a:gd name="connsiteY85" fmla="*/ 258034 h 3641849"/>
                <a:gd name="connsiteX86" fmla="*/ 1195064 w 1457148"/>
                <a:gd name="connsiteY86" fmla="*/ 267906 h 3641849"/>
                <a:gd name="connsiteX87" fmla="*/ 1273848 w 1457148"/>
                <a:gd name="connsiteY87" fmla="*/ 279816 h 3641849"/>
                <a:gd name="connsiteX88" fmla="*/ 1358171 w 1457148"/>
                <a:gd name="connsiteY88" fmla="*/ 349175 h 3641849"/>
                <a:gd name="connsiteX89" fmla="*/ 1420306 w 1457148"/>
                <a:gd name="connsiteY89" fmla="*/ 425271 h 3641849"/>
                <a:gd name="connsiteX90" fmla="*/ 1319335 w 1457148"/>
                <a:gd name="connsiteY90" fmla="*/ 454265 h 3641849"/>
                <a:gd name="connsiteX91" fmla="*/ 1303801 w 1457148"/>
                <a:gd name="connsiteY91" fmla="*/ 501372 h 3641849"/>
                <a:gd name="connsiteX92" fmla="*/ 1361471 w 1457148"/>
                <a:gd name="connsiteY92" fmla="*/ 585862 h 3641849"/>
                <a:gd name="connsiteX93" fmla="*/ 1397005 w 1457148"/>
                <a:gd name="connsiteY93" fmla="*/ 591964 h 3641849"/>
                <a:gd name="connsiteX94" fmla="*/ 1449625 w 1457148"/>
                <a:gd name="connsiteY94" fmla="*/ 598304 h 3641849"/>
                <a:gd name="connsiteX95" fmla="*/ 1444662 w 1457148"/>
                <a:gd name="connsiteY95" fmla="*/ 709079 h 3641849"/>
                <a:gd name="connsiteX96" fmla="*/ 1455731 w 1457148"/>
                <a:gd name="connsiteY96" fmla="*/ 1040047 h 3641849"/>
                <a:gd name="connsiteX97" fmla="*/ 1446863 w 1457148"/>
                <a:gd name="connsiteY97" fmla="*/ 1842646 h 3641849"/>
                <a:gd name="connsiteX98" fmla="*/ 1455730 w 1457148"/>
                <a:gd name="connsiteY98" fmla="*/ 2297728 h 3641849"/>
                <a:gd name="connsiteX99" fmla="*/ 1429282 w 1457148"/>
                <a:gd name="connsiteY99" fmla="*/ 3607693 h 3641849"/>
                <a:gd name="connsiteX100" fmla="*/ 1170855 w 1457148"/>
                <a:gd name="connsiteY100" fmla="*/ 3564098 h 3641849"/>
                <a:gd name="connsiteX101" fmla="*/ 1002377 w 1457148"/>
                <a:gd name="connsiteY101" fmla="*/ 3497903 h 3641849"/>
                <a:gd name="connsiteX102" fmla="*/ 825031 w 1457148"/>
                <a:gd name="connsiteY102" fmla="*/ 3406887 h 3641849"/>
                <a:gd name="connsiteX103" fmla="*/ 726733 w 1457148"/>
                <a:gd name="connsiteY103" fmla="*/ 3326370 h 3641849"/>
                <a:gd name="connsiteX104" fmla="*/ 1020995 w 1457148"/>
                <a:gd name="connsiteY104" fmla="*/ 3018734 h 3641849"/>
                <a:gd name="connsiteX105" fmla="*/ 737241 w 1457148"/>
                <a:gd name="connsiteY105" fmla="*/ 2480910 h 3641849"/>
                <a:gd name="connsiteX106" fmla="*/ 879591 w 1457148"/>
                <a:gd name="connsiteY106" fmla="*/ 2241825 h 3641849"/>
                <a:gd name="connsiteX107" fmla="*/ 692904 w 1457148"/>
                <a:gd name="connsiteY107" fmla="*/ 1703134 h 3641849"/>
                <a:gd name="connsiteX108" fmla="*/ 444620 w 1457148"/>
                <a:gd name="connsiteY108" fmla="*/ 1471456 h 3641849"/>
                <a:gd name="connsiteX109" fmla="*/ 330454 w 1457148"/>
                <a:gd name="connsiteY109" fmla="*/ 1590914 h 3641849"/>
                <a:gd name="connsiteX0" fmla="*/ 330454 w 1457148"/>
                <a:gd name="connsiteY0" fmla="*/ 1590914 h 3641849"/>
                <a:gd name="connsiteX1" fmla="*/ 357124 w 1457148"/>
                <a:gd name="connsiteY1" fmla="*/ 1371456 h 3641849"/>
                <a:gd name="connsiteX2" fmla="*/ 107732 w 1457148"/>
                <a:gd name="connsiteY2" fmla="*/ 1151672 h 3641849"/>
                <a:gd name="connsiteX3" fmla="*/ 168695 w 1457148"/>
                <a:gd name="connsiteY3" fmla="*/ 1089617 h 3641849"/>
                <a:gd name="connsiteX4" fmla="*/ 102190 w 1457148"/>
                <a:gd name="connsiteY4" fmla="*/ 1050829 h 3641849"/>
                <a:gd name="connsiteX5" fmla="*/ 143755 w 1457148"/>
                <a:gd name="connsiteY5" fmla="*/ 1019802 h 3641849"/>
                <a:gd name="connsiteX6" fmla="*/ 96649 w 1457148"/>
                <a:gd name="connsiteY6" fmla="*/ 993947 h 3641849"/>
                <a:gd name="connsiteX7" fmla="*/ 96648 w 1457148"/>
                <a:gd name="connsiteY7" fmla="*/ 794845 h 3641849"/>
                <a:gd name="connsiteX8" fmla="*/ 135443 w 1457148"/>
                <a:gd name="connsiteY8" fmla="*/ 779332 h 3641849"/>
                <a:gd name="connsiteX9" fmla="*/ 21830 w 1457148"/>
                <a:gd name="connsiteY9" fmla="*/ 551792 h 3641849"/>
                <a:gd name="connsiteX10" fmla="*/ 19059 w 1457148"/>
                <a:gd name="connsiteY10" fmla="*/ 551792 h 3641849"/>
                <a:gd name="connsiteX11" fmla="*/ 68937 w 1457148"/>
                <a:gd name="connsiteY11" fmla="*/ 469048 h 3641849"/>
                <a:gd name="connsiteX12" fmla="*/ 85563 w 1457148"/>
                <a:gd name="connsiteY12" fmla="*/ 378550 h 3641849"/>
                <a:gd name="connsiteX13" fmla="*/ 10744 w 1457148"/>
                <a:gd name="connsiteY13" fmla="*/ 319079 h 3641849"/>
                <a:gd name="connsiteX14" fmla="*/ 2432 w 1457148"/>
                <a:gd name="connsiteY14" fmla="*/ 251851 h 3641849"/>
                <a:gd name="connsiteX15" fmla="*/ 57852 w 1457148"/>
                <a:gd name="connsiteY15" fmla="*/ 158764 h 3641849"/>
                <a:gd name="connsiteX16" fmla="*/ 77250 w 1457148"/>
                <a:gd name="connsiteY16" fmla="*/ 135494 h 3641849"/>
                <a:gd name="connsiteX17" fmla="*/ 91105 w 1457148"/>
                <a:gd name="connsiteY17" fmla="*/ 117394 h 3641849"/>
                <a:gd name="connsiteX18" fmla="*/ 99418 w 1457148"/>
                <a:gd name="connsiteY18" fmla="*/ 73438 h 3641849"/>
                <a:gd name="connsiteX19" fmla="*/ 124357 w 1457148"/>
                <a:gd name="connsiteY19" fmla="*/ 101880 h 3641849"/>
                <a:gd name="connsiteX20" fmla="*/ 154839 w 1457148"/>
                <a:gd name="connsiteY20" fmla="*/ 88952 h 3641849"/>
                <a:gd name="connsiteX21" fmla="*/ 157609 w 1457148"/>
                <a:gd name="connsiteY21" fmla="*/ 63095 h 3641849"/>
                <a:gd name="connsiteX22" fmla="*/ 165923 w 1457148"/>
                <a:gd name="connsiteY22" fmla="*/ 34652 h 3641849"/>
                <a:gd name="connsiteX23" fmla="*/ 168695 w 1457148"/>
                <a:gd name="connsiteY23" fmla="*/ 3624 h 3641849"/>
                <a:gd name="connsiteX24" fmla="*/ 304475 w 1457148"/>
                <a:gd name="connsiteY24" fmla="*/ 57924 h 3641849"/>
                <a:gd name="connsiteX25" fmla="*/ 334955 w 1457148"/>
                <a:gd name="connsiteY25" fmla="*/ 161352 h 3641849"/>
                <a:gd name="connsiteX26" fmla="*/ 348811 w 1457148"/>
                <a:gd name="connsiteY26" fmla="*/ 184622 h 3641849"/>
                <a:gd name="connsiteX27" fmla="*/ 359895 w 1457148"/>
                <a:gd name="connsiteY27" fmla="*/ 187208 h 3641849"/>
                <a:gd name="connsiteX28" fmla="*/ 473507 w 1457148"/>
                <a:gd name="connsiteY28" fmla="*/ 156181 h 3641849"/>
                <a:gd name="connsiteX29" fmla="*/ 540012 w 1457148"/>
                <a:gd name="connsiteY29" fmla="*/ 166522 h 3641849"/>
                <a:gd name="connsiteX30" fmla="*/ 603746 w 1457148"/>
                <a:gd name="connsiteY30" fmla="*/ 213065 h 3641849"/>
                <a:gd name="connsiteX31" fmla="*/ 617773 w 1457148"/>
                <a:gd name="connsiteY31" fmla="*/ 242621 h 3641849"/>
                <a:gd name="connsiteX32" fmla="*/ 673020 w 1457148"/>
                <a:gd name="connsiteY32" fmla="*/ 277708 h 3641849"/>
                <a:gd name="connsiteX33" fmla="*/ 761694 w 1457148"/>
                <a:gd name="connsiteY33" fmla="*/ 303563 h 3641849"/>
                <a:gd name="connsiteX34" fmla="*/ 833740 w 1457148"/>
                <a:gd name="connsiteY34" fmla="*/ 350106 h 3641849"/>
                <a:gd name="connsiteX35" fmla="*/ 883619 w 1457148"/>
                <a:gd name="connsiteY35" fmla="*/ 401820 h 3641849"/>
                <a:gd name="connsiteX36" fmla="*/ 908558 w 1457148"/>
                <a:gd name="connsiteY36" fmla="*/ 440606 h 3641849"/>
                <a:gd name="connsiteX37" fmla="*/ 941811 w 1457148"/>
                <a:gd name="connsiteY37" fmla="*/ 466462 h 3641849"/>
                <a:gd name="connsiteX38" fmla="*/ 925183 w 1457148"/>
                <a:gd name="connsiteY38" fmla="*/ 691417 h 3641849"/>
                <a:gd name="connsiteX39" fmla="*/ 797717 w 1457148"/>
                <a:gd name="connsiteY39" fmla="*/ 771575 h 3641849"/>
                <a:gd name="connsiteX40" fmla="*/ 684105 w 1457148"/>
                <a:gd name="connsiteY40" fmla="*/ 779331 h 3641849"/>
                <a:gd name="connsiteX41" fmla="*/ 545552 w 1457148"/>
                <a:gd name="connsiteY41" fmla="*/ 758645 h 3641849"/>
                <a:gd name="connsiteX42" fmla="*/ 454108 w 1457148"/>
                <a:gd name="connsiteY42" fmla="*/ 722445 h 3641849"/>
                <a:gd name="connsiteX43" fmla="*/ 434711 w 1457148"/>
                <a:gd name="connsiteY43" fmla="*/ 750888 h 3641849"/>
                <a:gd name="connsiteX44" fmla="*/ 465353 w 1457148"/>
                <a:gd name="connsiteY44" fmla="*/ 824301 h 3641849"/>
                <a:gd name="connsiteX45" fmla="*/ 470894 w 1457148"/>
                <a:gd name="connsiteY45" fmla="*/ 951000 h 3641849"/>
                <a:gd name="connsiteX46" fmla="*/ 443024 w 1457148"/>
                <a:gd name="connsiteY46" fmla="*/ 1012043 h 3641849"/>
                <a:gd name="connsiteX47" fmla="*/ 498443 w 1457148"/>
                <a:gd name="connsiteY47" fmla="*/ 1032728 h 3641849"/>
                <a:gd name="connsiteX48" fmla="*/ 515071 w 1457148"/>
                <a:gd name="connsiteY48" fmla="*/ 1048242 h 3641849"/>
                <a:gd name="connsiteX49" fmla="*/ 540011 w 1457148"/>
                <a:gd name="connsiteY49" fmla="*/ 1074099 h 3641849"/>
                <a:gd name="connsiteX50" fmla="*/ 537240 w 1457148"/>
                <a:gd name="connsiteY50" fmla="*/ 1076685 h 3641849"/>
                <a:gd name="connsiteX51" fmla="*/ 576033 w 1457148"/>
                <a:gd name="connsiteY51" fmla="*/ 1071514 h 3641849"/>
                <a:gd name="connsiteX52" fmla="*/ 584347 w 1457148"/>
                <a:gd name="connsiteY52" fmla="*/ 1035314 h 3641849"/>
                <a:gd name="connsiteX53" fmla="*/ 545552 w 1457148"/>
                <a:gd name="connsiteY53" fmla="*/ 957743 h 3641849"/>
                <a:gd name="connsiteX54" fmla="*/ 614828 w 1457148"/>
                <a:gd name="connsiteY54" fmla="*/ 911200 h 3641849"/>
                <a:gd name="connsiteX55" fmla="*/ 682600 w 1457148"/>
                <a:gd name="connsiteY55" fmla="*/ 918934 h 3641849"/>
                <a:gd name="connsiteX56" fmla="*/ 706433 w 1457148"/>
                <a:gd name="connsiteY56" fmla="*/ 951001 h 3641849"/>
                <a:gd name="connsiteX57" fmla="*/ 862162 w 1457148"/>
                <a:gd name="connsiteY57" fmla="*/ 1007364 h 3641849"/>
                <a:gd name="connsiteX58" fmla="*/ 847754 w 1457148"/>
                <a:gd name="connsiteY58" fmla="*/ 971687 h 3641849"/>
                <a:gd name="connsiteX59" fmla="*/ 814502 w 1457148"/>
                <a:gd name="connsiteY59" fmla="*/ 932901 h 3641849"/>
                <a:gd name="connsiteX60" fmla="*/ 803418 w 1457148"/>
                <a:gd name="connsiteY60" fmla="*/ 881187 h 3641849"/>
                <a:gd name="connsiteX61" fmla="*/ 842213 w 1457148"/>
                <a:gd name="connsiteY61" fmla="*/ 832060 h 3641849"/>
                <a:gd name="connsiteX62" fmla="*/ 869923 w 1457148"/>
                <a:gd name="connsiteY62" fmla="*/ 803617 h 3641849"/>
                <a:gd name="connsiteX63" fmla="*/ 894863 w 1457148"/>
                <a:gd name="connsiteY63" fmla="*/ 767417 h 3641849"/>
                <a:gd name="connsiteX64" fmla="*/ 975223 w 1457148"/>
                <a:gd name="connsiteY64" fmla="*/ 762245 h 3641849"/>
                <a:gd name="connsiteX65" fmla="*/ 980764 w 1457148"/>
                <a:gd name="connsiteY65" fmla="*/ 741560 h 3641849"/>
                <a:gd name="connsiteX66" fmla="*/ 1005704 w 1457148"/>
                <a:gd name="connsiteY66" fmla="*/ 705360 h 3641849"/>
                <a:gd name="connsiteX67" fmla="*/ 1039508 w 1457148"/>
                <a:gd name="connsiteY67" fmla="*/ 687772 h 3641849"/>
                <a:gd name="connsiteX68" fmla="*/ 1097148 w 1457148"/>
                <a:gd name="connsiteY68" fmla="*/ 700189 h 3641849"/>
                <a:gd name="connsiteX69" fmla="*/ 1135941 w 1457148"/>
                <a:gd name="connsiteY69" fmla="*/ 720875 h 3641849"/>
                <a:gd name="connsiteX70" fmla="*/ 1183049 w 1457148"/>
                <a:gd name="connsiteY70" fmla="*/ 728632 h 3641849"/>
                <a:gd name="connsiteX71" fmla="*/ 1183049 w 1457148"/>
                <a:gd name="connsiteY71" fmla="*/ 733803 h 3641849"/>
                <a:gd name="connsiteX72" fmla="*/ 1205218 w 1457148"/>
                <a:gd name="connsiteY72" fmla="*/ 674332 h 3641849"/>
                <a:gd name="connsiteX73" fmla="*/ 1215193 w 1457148"/>
                <a:gd name="connsiteY73" fmla="*/ 640714 h 3641849"/>
                <a:gd name="connsiteX74" fmla="*/ 1221844 w 1457148"/>
                <a:gd name="connsiteY74" fmla="*/ 622618 h 3641849"/>
                <a:gd name="connsiteX75" fmla="*/ 1224781 w 1457148"/>
                <a:gd name="connsiteY75" fmla="*/ 591288 h 3641849"/>
                <a:gd name="connsiteX76" fmla="*/ 1144255 w 1457148"/>
                <a:gd name="connsiteY76" fmla="*/ 545048 h 3641849"/>
                <a:gd name="connsiteX77" fmla="*/ 1130400 w 1457148"/>
                <a:gd name="connsiteY77" fmla="*/ 472648 h 3641849"/>
                <a:gd name="connsiteX78" fmla="*/ 1130400 w 1457148"/>
                <a:gd name="connsiteY78" fmla="*/ 454548 h 3641849"/>
                <a:gd name="connsiteX79" fmla="*/ 1141483 w 1457148"/>
                <a:gd name="connsiteY79" fmla="*/ 431276 h 3641849"/>
                <a:gd name="connsiteX80" fmla="*/ 1144255 w 1457148"/>
                <a:gd name="connsiteY80" fmla="*/ 415762 h 3641849"/>
                <a:gd name="connsiteX81" fmla="*/ 1144254 w 1457148"/>
                <a:gd name="connsiteY81" fmla="*/ 358878 h 3641849"/>
                <a:gd name="connsiteX82" fmla="*/ 1122086 w 1457148"/>
                <a:gd name="connsiteY82" fmla="*/ 335607 h 3641849"/>
                <a:gd name="connsiteX83" fmla="*/ 1094376 w 1457148"/>
                <a:gd name="connsiteY83" fmla="*/ 304578 h 3641849"/>
                <a:gd name="connsiteX84" fmla="*/ 1090208 w 1457148"/>
                <a:gd name="connsiteY84" fmla="*/ 280325 h 3641849"/>
                <a:gd name="connsiteX85" fmla="*/ 1141484 w 1457148"/>
                <a:gd name="connsiteY85" fmla="*/ 258034 h 3641849"/>
                <a:gd name="connsiteX86" fmla="*/ 1195064 w 1457148"/>
                <a:gd name="connsiteY86" fmla="*/ 267906 h 3641849"/>
                <a:gd name="connsiteX87" fmla="*/ 1273848 w 1457148"/>
                <a:gd name="connsiteY87" fmla="*/ 279816 h 3641849"/>
                <a:gd name="connsiteX88" fmla="*/ 1358171 w 1457148"/>
                <a:gd name="connsiteY88" fmla="*/ 349175 h 3641849"/>
                <a:gd name="connsiteX89" fmla="*/ 1420306 w 1457148"/>
                <a:gd name="connsiteY89" fmla="*/ 425271 h 3641849"/>
                <a:gd name="connsiteX90" fmla="*/ 1319335 w 1457148"/>
                <a:gd name="connsiteY90" fmla="*/ 454265 h 3641849"/>
                <a:gd name="connsiteX91" fmla="*/ 1303801 w 1457148"/>
                <a:gd name="connsiteY91" fmla="*/ 501372 h 3641849"/>
                <a:gd name="connsiteX92" fmla="*/ 1361471 w 1457148"/>
                <a:gd name="connsiteY92" fmla="*/ 585862 h 3641849"/>
                <a:gd name="connsiteX93" fmla="*/ 1397005 w 1457148"/>
                <a:gd name="connsiteY93" fmla="*/ 591964 h 3641849"/>
                <a:gd name="connsiteX94" fmla="*/ 1449625 w 1457148"/>
                <a:gd name="connsiteY94" fmla="*/ 598304 h 3641849"/>
                <a:gd name="connsiteX95" fmla="*/ 1444662 w 1457148"/>
                <a:gd name="connsiteY95" fmla="*/ 709079 h 3641849"/>
                <a:gd name="connsiteX96" fmla="*/ 1455731 w 1457148"/>
                <a:gd name="connsiteY96" fmla="*/ 1040047 h 3641849"/>
                <a:gd name="connsiteX97" fmla="*/ 1446863 w 1457148"/>
                <a:gd name="connsiteY97" fmla="*/ 1842646 h 3641849"/>
                <a:gd name="connsiteX98" fmla="*/ 1455730 w 1457148"/>
                <a:gd name="connsiteY98" fmla="*/ 2297728 h 3641849"/>
                <a:gd name="connsiteX99" fmla="*/ 1429282 w 1457148"/>
                <a:gd name="connsiteY99" fmla="*/ 3607693 h 3641849"/>
                <a:gd name="connsiteX100" fmla="*/ 1170855 w 1457148"/>
                <a:gd name="connsiteY100" fmla="*/ 3564098 h 3641849"/>
                <a:gd name="connsiteX101" fmla="*/ 1002377 w 1457148"/>
                <a:gd name="connsiteY101" fmla="*/ 3497903 h 3641849"/>
                <a:gd name="connsiteX102" fmla="*/ 825031 w 1457148"/>
                <a:gd name="connsiteY102" fmla="*/ 3406887 h 3641849"/>
                <a:gd name="connsiteX103" fmla="*/ 726733 w 1457148"/>
                <a:gd name="connsiteY103" fmla="*/ 3326370 h 3641849"/>
                <a:gd name="connsiteX104" fmla="*/ 1020995 w 1457148"/>
                <a:gd name="connsiteY104" fmla="*/ 3018734 h 3641849"/>
                <a:gd name="connsiteX105" fmla="*/ 737241 w 1457148"/>
                <a:gd name="connsiteY105" fmla="*/ 2480910 h 3641849"/>
                <a:gd name="connsiteX106" fmla="*/ 879591 w 1457148"/>
                <a:gd name="connsiteY106" fmla="*/ 2241825 h 3641849"/>
                <a:gd name="connsiteX107" fmla="*/ 692904 w 1457148"/>
                <a:gd name="connsiteY107" fmla="*/ 1703134 h 3641849"/>
                <a:gd name="connsiteX108" fmla="*/ 444620 w 1457148"/>
                <a:gd name="connsiteY108" fmla="*/ 1471456 h 3641849"/>
                <a:gd name="connsiteX109" fmla="*/ 330454 w 1457148"/>
                <a:gd name="connsiteY109" fmla="*/ 1590914 h 3641849"/>
                <a:gd name="connsiteX0" fmla="*/ 330454 w 1457148"/>
                <a:gd name="connsiteY0" fmla="*/ 1590914 h 3641849"/>
                <a:gd name="connsiteX1" fmla="*/ 357124 w 1457148"/>
                <a:gd name="connsiteY1" fmla="*/ 1371456 h 3641849"/>
                <a:gd name="connsiteX2" fmla="*/ 107732 w 1457148"/>
                <a:gd name="connsiteY2" fmla="*/ 1151672 h 3641849"/>
                <a:gd name="connsiteX3" fmla="*/ 168695 w 1457148"/>
                <a:gd name="connsiteY3" fmla="*/ 1089617 h 3641849"/>
                <a:gd name="connsiteX4" fmla="*/ 102190 w 1457148"/>
                <a:gd name="connsiteY4" fmla="*/ 1050829 h 3641849"/>
                <a:gd name="connsiteX5" fmla="*/ 143755 w 1457148"/>
                <a:gd name="connsiteY5" fmla="*/ 1019802 h 3641849"/>
                <a:gd name="connsiteX6" fmla="*/ 96649 w 1457148"/>
                <a:gd name="connsiteY6" fmla="*/ 993947 h 3641849"/>
                <a:gd name="connsiteX7" fmla="*/ 96648 w 1457148"/>
                <a:gd name="connsiteY7" fmla="*/ 794845 h 3641849"/>
                <a:gd name="connsiteX8" fmla="*/ 135443 w 1457148"/>
                <a:gd name="connsiteY8" fmla="*/ 779332 h 3641849"/>
                <a:gd name="connsiteX9" fmla="*/ 21830 w 1457148"/>
                <a:gd name="connsiteY9" fmla="*/ 551792 h 3641849"/>
                <a:gd name="connsiteX10" fmla="*/ 19059 w 1457148"/>
                <a:gd name="connsiteY10" fmla="*/ 551792 h 3641849"/>
                <a:gd name="connsiteX11" fmla="*/ 68937 w 1457148"/>
                <a:gd name="connsiteY11" fmla="*/ 469048 h 3641849"/>
                <a:gd name="connsiteX12" fmla="*/ 85563 w 1457148"/>
                <a:gd name="connsiteY12" fmla="*/ 378550 h 3641849"/>
                <a:gd name="connsiteX13" fmla="*/ 10744 w 1457148"/>
                <a:gd name="connsiteY13" fmla="*/ 319079 h 3641849"/>
                <a:gd name="connsiteX14" fmla="*/ 2432 w 1457148"/>
                <a:gd name="connsiteY14" fmla="*/ 251851 h 3641849"/>
                <a:gd name="connsiteX15" fmla="*/ 57852 w 1457148"/>
                <a:gd name="connsiteY15" fmla="*/ 158764 h 3641849"/>
                <a:gd name="connsiteX16" fmla="*/ 77250 w 1457148"/>
                <a:gd name="connsiteY16" fmla="*/ 135494 h 3641849"/>
                <a:gd name="connsiteX17" fmla="*/ 91105 w 1457148"/>
                <a:gd name="connsiteY17" fmla="*/ 117394 h 3641849"/>
                <a:gd name="connsiteX18" fmla="*/ 99418 w 1457148"/>
                <a:gd name="connsiteY18" fmla="*/ 73438 h 3641849"/>
                <a:gd name="connsiteX19" fmla="*/ 124357 w 1457148"/>
                <a:gd name="connsiteY19" fmla="*/ 101880 h 3641849"/>
                <a:gd name="connsiteX20" fmla="*/ 154839 w 1457148"/>
                <a:gd name="connsiteY20" fmla="*/ 88952 h 3641849"/>
                <a:gd name="connsiteX21" fmla="*/ 157609 w 1457148"/>
                <a:gd name="connsiteY21" fmla="*/ 63095 h 3641849"/>
                <a:gd name="connsiteX22" fmla="*/ 165923 w 1457148"/>
                <a:gd name="connsiteY22" fmla="*/ 34652 h 3641849"/>
                <a:gd name="connsiteX23" fmla="*/ 168695 w 1457148"/>
                <a:gd name="connsiteY23" fmla="*/ 3624 h 3641849"/>
                <a:gd name="connsiteX24" fmla="*/ 304475 w 1457148"/>
                <a:gd name="connsiteY24" fmla="*/ 57924 h 3641849"/>
                <a:gd name="connsiteX25" fmla="*/ 334955 w 1457148"/>
                <a:gd name="connsiteY25" fmla="*/ 161352 h 3641849"/>
                <a:gd name="connsiteX26" fmla="*/ 348811 w 1457148"/>
                <a:gd name="connsiteY26" fmla="*/ 184622 h 3641849"/>
                <a:gd name="connsiteX27" fmla="*/ 359895 w 1457148"/>
                <a:gd name="connsiteY27" fmla="*/ 187208 h 3641849"/>
                <a:gd name="connsiteX28" fmla="*/ 473507 w 1457148"/>
                <a:gd name="connsiteY28" fmla="*/ 156181 h 3641849"/>
                <a:gd name="connsiteX29" fmla="*/ 540012 w 1457148"/>
                <a:gd name="connsiteY29" fmla="*/ 166522 h 3641849"/>
                <a:gd name="connsiteX30" fmla="*/ 603746 w 1457148"/>
                <a:gd name="connsiteY30" fmla="*/ 213065 h 3641849"/>
                <a:gd name="connsiteX31" fmla="*/ 617773 w 1457148"/>
                <a:gd name="connsiteY31" fmla="*/ 242621 h 3641849"/>
                <a:gd name="connsiteX32" fmla="*/ 673020 w 1457148"/>
                <a:gd name="connsiteY32" fmla="*/ 277708 h 3641849"/>
                <a:gd name="connsiteX33" fmla="*/ 761694 w 1457148"/>
                <a:gd name="connsiteY33" fmla="*/ 303563 h 3641849"/>
                <a:gd name="connsiteX34" fmla="*/ 833740 w 1457148"/>
                <a:gd name="connsiteY34" fmla="*/ 350106 h 3641849"/>
                <a:gd name="connsiteX35" fmla="*/ 883619 w 1457148"/>
                <a:gd name="connsiteY35" fmla="*/ 401820 h 3641849"/>
                <a:gd name="connsiteX36" fmla="*/ 908558 w 1457148"/>
                <a:gd name="connsiteY36" fmla="*/ 440606 h 3641849"/>
                <a:gd name="connsiteX37" fmla="*/ 941811 w 1457148"/>
                <a:gd name="connsiteY37" fmla="*/ 466462 h 3641849"/>
                <a:gd name="connsiteX38" fmla="*/ 925183 w 1457148"/>
                <a:gd name="connsiteY38" fmla="*/ 691417 h 3641849"/>
                <a:gd name="connsiteX39" fmla="*/ 797717 w 1457148"/>
                <a:gd name="connsiteY39" fmla="*/ 771575 h 3641849"/>
                <a:gd name="connsiteX40" fmla="*/ 684105 w 1457148"/>
                <a:gd name="connsiteY40" fmla="*/ 779331 h 3641849"/>
                <a:gd name="connsiteX41" fmla="*/ 545552 w 1457148"/>
                <a:gd name="connsiteY41" fmla="*/ 758645 h 3641849"/>
                <a:gd name="connsiteX42" fmla="*/ 454108 w 1457148"/>
                <a:gd name="connsiteY42" fmla="*/ 722445 h 3641849"/>
                <a:gd name="connsiteX43" fmla="*/ 434711 w 1457148"/>
                <a:gd name="connsiteY43" fmla="*/ 750888 h 3641849"/>
                <a:gd name="connsiteX44" fmla="*/ 465353 w 1457148"/>
                <a:gd name="connsiteY44" fmla="*/ 824301 h 3641849"/>
                <a:gd name="connsiteX45" fmla="*/ 470894 w 1457148"/>
                <a:gd name="connsiteY45" fmla="*/ 951000 h 3641849"/>
                <a:gd name="connsiteX46" fmla="*/ 443024 w 1457148"/>
                <a:gd name="connsiteY46" fmla="*/ 1012043 h 3641849"/>
                <a:gd name="connsiteX47" fmla="*/ 498443 w 1457148"/>
                <a:gd name="connsiteY47" fmla="*/ 1032728 h 3641849"/>
                <a:gd name="connsiteX48" fmla="*/ 515071 w 1457148"/>
                <a:gd name="connsiteY48" fmla="*/ 1048242 h 3641849"/>
                <a:gd name="connsiteX49" fmla="*/ 540011 w 1457148"/>
                <a:gd name="connsiteY49" fmla="*/ 1074099 h 3641849"/>
                <a:gd name="connsiteX50" fmla="*/ 537240 w 1457148"/>
                <a:gd name="connsiteY50" fmla="*/ 1076685 h 3641849"/>
                <a:gd name="connsiteX51" fmla="*/ 576033 w 1457148"/>
                <a:gd name="connsiteY51" fmla="*/ 1071514 h 3641849"/>
                <a:gd name="connsiteX52" fmla="*/ 584347 w 1457148"/>
                <a:gd name="connsiteY52" fmla="*/ 1035314 h 3641849"/>
                <a:gd name="connsiteX53" fmla="*/ 545552 w 1457148"/>
                <a:gd name="connsiteY53" fmla="*/ 957743 h 3641849"/>
                <a:gd name="connsiteX54" fmla="*/ 614828 w 1457148"/>
                <a:gd name="connsiteY54" fmla="*/ 911200 h 3641849"/>
                <a:gd name="connsiteX55" fmla="*/ 682600 w 1457148"/>
                <a:gd name="connsiteY55" fmla="*/ 918934 h 3641849"/>
                <a:gd name="connsiteX56" fmla="*/ 706433 w 1457148"/>
                <a:gd name="connsiteY56" fmla="*/ 951001 h 3641849"/>
                <a:gd name="connsiteX57" fmla="*/ 862162 w 1457148"/>
                <a:gd name="connsiteY57" fmla="*/ 1007364 h 3641849"/>
                <a:gd name="connsiteX58" fmla="*/ 847754 w 1457148"/>
                <a:gd name="connsiteY58" fmla="*/ 971687 h 3641849"/>
                <a:gd name="connsiteX59" fmla="*/ 814502 w 1457148"/>
                <a:gd name="connsiteY59" fmla="*/ 932901 h 3641849"/>
                <a:gd name="connsiteX60" fmla="*/ 803418 w 1457148"/>
                <a:gd name="connsiteY60" fmla="*/ 881187 h 3641849"/>
                <a:gd name="connsiteX61" fmla="*/ 842213 w 1457148"/>
                <a:gd name="connsiteY61" fmla="*/ 832060 h 3641849"/>
                <a:gd name="connsiteX62" fmla="*/ 869923 w 1457148"/>
                <a:gd name="connsiteY62" fmla="*/ 803617 h 3641849"/>
                <a:gd name="connsiteX63" fmla="*/ 894863 w 1457148"/>
                <a:gd name="connsiteY63" fmla="*/ 767417 h 3641849"/>
                <a:gd name="connsiteX64" fmla="*/ 975223 w 1457148"/>
                <a:gd name="connsiteY64" fmla="*/ 762245 h 3641849"/>
                <a:gd name="connsiteX65" fmla="*/ 980764 w 1457148"/>
                <a:gd name="connsiteY65" fmla="*/ 741560 h 3641849"/>
                <a:gd name="connsiteX66" fmla="*/ 1005704 w 1457148"/>
                <a:gd name="connsiteY66" fmla="*/ 705360 h 3641849"/>
                <a:gd name="connsiteX67" fmla="*/ 1039508 w 1457148"/>
                <a:gd name="connsiteY67" fmla="*/ 687772 h 3641849"/>
                <a:gd name="connsiteX68" fmla="*/ 1097148 w 1457148"/>
                <a:gd name="connsiteY68" fmla="*/ 700189 h 3641849"/>
                <a:gd name="connsiteX69" fmla="*/ 1135941 w 1457148"/>
                <a:gd name="connsiteY69" fmla="*/ 720875 h 3641849"/>
                <a:gd name="connsiteX70" fmla="*/ 1183049 w 1457148"/>
                <a:gd name="connsiteY70" fmla="*/ 728632 h 3641849"/>
                <a:gd name="connsiteX71" fmla="*/ 1183049 w 1457148"/>
                <a:gd name="connsiteY71" fmla="*/ 733803 h 3641849"/>
                <a:gd name="connsiteX72" fmla="*/ 1205218 w 1457148"/>
                <a:gd name="connsiteY72" fmla="*/ 674332 h 3641849"/>
                <a:gd name="connsiteX73" fmla="*/ 1215193 w 1457148"/>
                <a:gd name="connsiteY73" fmla="*/ 640714 h 3641849"/>
                <a:gd name="connsiteX74" fmla="*/ 1221844 w 1457148"/>
                <a:gd name="connsiteY74" fmla="*/ 622618 h 3641849"/>
                <a:gd name="connsiteX75" fmla="*/ 1224781 w 1457148"/>
                <a:gd name="connsiteY75" fmla="*/ 591288 h 3641849"/>
                <a:gd name="connsiteX76" fmla="*/ 1144255 w 1457148"/>
                <a:gd name="connsiteY76" fmla="*/ 545048 h 3641849"/>
                <a:gd name="connsiteX77" fmla="*/ 1130400 w 1457148"/>
                <a:gd name="connsiteY77" fmla="*/ 472648 h 3641849"/>
                <a:gd name="connsiteX78" fmla="*/ 1130400 w 1457148"/>
                <a:gd name="connsiteY78" fmla="*/ 454548 h 3641849"/>
                <a:gd name="connsiteX79" fmla="*/ 1141483 w 1457148"/>
                <a:gd name="connsiteY79" fmla="*/ 431276 h 3641849"/>
                <a:gd name="connsiteX80" fmla="*/ 1144255 w 1457148"/>
                <a:gd name="connsiteY80" fmla="*/ 415762 h 3641849"/>
                <a:gd name="connsiteX81" fmla="*/ 1144254 w 1457148"/>
                <a:gd name="connsiteY81" fmla="*/ 358878 h 3641849"/>
                <a:gd name="connsiteX82" fmla="*/ 1122086 w 1457148"/>
                <a:gd name="connsiteY82" fmla="*/ 335607 h 3641849"/>
                <a:gd name="connsiteX83" fmla="*/ 1094376 w 1457148"/>
                <a:gd name="connsiteY83" fmla="*/ 304578 h 3641849"/>
                <a:gd name="connsiteX84" fmla="*/ 1090208 w 1457148"/>
                <a:gd name="connsiteY84" fmla="*/ 280325 h 3641849"/>
                <a:gd name="connsiteX85" fmla="*/ 1141484 w 1457148"/>
                <a:gd name="connsiteY85" fmla="*/ 258034 h 3641849"/>
                <a:gd name="connsiteX86" fmla="*/ 1195064 w 1457148"/>
                <a:gd name="connsiteY86" fmla="*/ 267906 h 3641849"/>
                <a:gd name="connsiteX87" fmla="*/ 1273848 w 1457148"/>
                <a:gd name="connsiteY87" fmla="*/ 279816 h 3641849"/>
                <a:gd name="connsiteX88" fmla="*/ 1358171 w 1457148"/>
                <a:gd name="connsiteY88" fmla="*/ 349175 h 3641849"/>
                <a:gd name="connsiteX89" fmla="*/ 1420306 w 1457148"/>
                <a:gd name="connsiteY89" fmla="*/ 425271 h 3641849"/>
                <a:gd name="connsiteX90" fmla="*/ 1319335 w 1457148"/>
                <a:gd name="connsiteY90" fmla="*/ 454265 h 3641849"/>
                <a:gd name="connsiteX91" fmla="*/ 1303801 w 1457148"/>
                <a:gd name="connsiteY91" fmla="*/ 501372 h 3641849"/>
                <a:gd name="connsiteX92" fmla="*/ 1361471 w 1457148"/>
                <a:gd name="connsiteY92" fmla="*/ 585862 h 3641849"/>
                <a:gd name="connsiteX93" fmla="*/ 1397005 w 1457148"/>
                <a:gd name="connsiteY93" fmla="*/ 591964 h 3641849"/>
                <a:gd name="connsiteX94" fmla="*/ 1449625 w 1457148"/>
                <a:gd name="connsiteY94" fmla="*/ 598304 h 3641849"/>
                <a:gd name="connsiteX95" fmla="*/ 1444662 w 1457148"/>
                <a:gd name="connsiteY95" fmla="*/ 709079 h 3641849"/>
                <a:gd name="connsiteX96" fmla="*/ 1455731 w 1457148"/>
                <a:gd name="connsiteY96" fmla="*/ 1040047 h 3641849"/>
                <a:gd name="connsiteX97" fmla="*/ 1446863 w 1457148"/>
                <a:gd name="connsiteY97" fmla="*/ 1842646 h 3641849"/>
                <a:gd name="connsiteX98" fmla="*/ 1455730 w 1457148"/>
                <a:gd name="connsiteY98" fmla="*/ 2297728 h 3641849"/>
                <a:gd name="connsiteX99" fmla="*/ 1429282 w 1457148"/>
                <a:gd name="connsiteY99" fmla="*/ 3607693 h 3641849"/>
                <a:gd name="connsiteX100" fmla="*/ 1170855 w 1457148"/>
                <a:gd name="connsiteY100" fmla="*/ 3564098 h 3641849"/>
                <a:gd name="connsiteX101" fmla="*/ 1002377 w 1457148"/>
                <a:gd name="connsiteY101" fmla="*/ 3497903 h 3641849"/>
                <a:gd name="connsiteX102" fmla="*/ 825031 w 1457148"/>
                <a:gd name="connsiteY102" fmla="*/ 3406887 h 3641849"/>
                <a:gd name="connsiteX103" fmla="*/ 726733 w 1457148"/>
                <a:gd name="connsiteY103" fmla="*/ 3326370 h 3641849"/>
                <a:gd name="connsiteX104" fmla="*/ 1020995 w 1457148"/>
                <a:gd name="connsiteY104" fmla="*/ 3018734 h 3641849"/>
                <a:gd name="connsiteX105" fmla="*/ 737241 w 1457148"/>
                <a:gd name="connsiteY105" fmla="*/ 2480910 h 3641849"/>
                <a:gd name="connsiteX106" fmla="*/ 879591 w 1457148"/>
                <a:gd name="connsiteY106" fmla="*/ 2241825 h 3641849"/>
                <a:gd name="connsiteX107" fmla="*/ 692904 w 1457148"/>
                <a:gd name="connsiteY107" fmla="*/ 1703134 h 3641849"/>
                <a:gd name="connsiteX108" fmla="*/ 444620 w 1457148"/>
                <a:gd name="connsiteY108" fmla="*/ 1471456 h 3641849"/>
                <a:gd name="connsiteX109" fmla="*/ 330454 w 1457148"/>
                <a:gd name="connsiteY109" fmla="*/ 1590914 h 3641849"/>
                <a:gd name="connsiteX0" fmla="*/ 330454 w 1457148"/>
                <a:gd name="connsiteY0" fmla="*/ 1590914 h 3641849"/>
                <a:gd name="connsiteX1" fmla="*/ 357124 w 1457148"/>
                <a:gd name="connsiteY1" fmla="*/ 1371456 h 3641849"/>
                <a:gd name="connsiteX2" fmla="*/ 251825 w 1457148"/>
                <a:gd name="connsiteY2" fmla="*/ 1283542 h 3641849"/>
                <a:gd name="connsiteX3" fmla="*/ 107732 w 1457148"/>
                <a:gd name="connsiteY3" fmla="*/ 1151672 h 3641849"/>
                <a:gd name="connsiteX4" fmla="*/ 168695 w 1457148"/>
                <a:gd name="connsiteY4" fmla="*/ 1089617 h 3641849"/>
                <a:gd name="connsiteX5" fmla="*/ 102190 w 1457148"/>
                <a:gd name="connsiteY5" fmla="*/ 1050829 h 3641849"/>
                <a:gd name="connsiteX6" fmla="*/ 143755 w 1457148"/>
                <a:gd name="connsiteY6" fmla="*/ 1019802 h 3641849"/>
                <a:gd name="connsiteX7" fmla="*/ 96649 w 1457148"/>
                <a:gd name="connsiteY7" fmla="*/ 993947 h 3641849"/>
                <a:gd name="connsiteX8" fmla="*/ 96648 w 1457148"/>
                <a:gd name="connsiteY8" fmla="*/ 794845 h 3641849"/>
                <a:gd name="connsiteX9" fmla="*/ 135443 w 1457148"/>
                <a:gd name="connsiteY9" fmla="*/ 779332 h 3641849"/>
                <a:gd name="connsiteX10" fmla="*/ 21830 w 1457148"/>
                <a:gd name="connsiteY10" fmla="*/ 551792 h 3641849"/>
                <a:gd name="connsiteX11" fmla="*/ 19059 w 1457148"/>
                <a:gd name="connsiteY11" fmla="*/ 551792 h 3641849"/>
                <a:gd name="connsiteX12" fmla="*/ 68937 w 1457148"/>
                <a:gd name="connsiteY12" fmla="*/ 469048 h 3641849"/>
                <a:gd name="connsiteX13" fmla="*/ 85563 w 1457148"/>
                <a:gd name="connsiteY13" fmla="*/ 378550 h 3641849"/>
                <a:gd name="connsiteX14" fmla="*/ 10744 w 1457148"/>
                <a:gd name="connsiteY14" fmla="*/ 319079 h 3641849"/>
                <a:gd name="connsiteX15" fmla="*/ 2432 w 1457148"/>
                <a:gd name="connsiteY15" fmla="*/ 251851 h 3641849"/>
                <a:gd name="connsiteX16" fmla="*/ 57852 w 1457148"/>
                <a:gd name="connsiteY16" fmla="*/ 158764 h 3641849"/>
                <a:gd name="connsiteX17" fmla="*/ 77250 w 1457148"/>
                <a:gd name="connsiteY17" fmla="*/ 135494 h 3641849"/>
                <a:gd name="connsiteX18" fmla="*/ 91105 w 1457148"/>
                <a:gd name="connsiteY18" fmla="*/ 117394 h 3641849"/>
                <a:gd name="connsiteX19" fmla="*/ 99418 w 1457148"/>
                <a:gd name="connsiteY19" fmla="*/ 73438 h 3641849"/>
                <a:gd name="connsiteX20" fmla="*/ 124357 w 1457148"/>
                <a:gd name="connsiteY20" fmla="*/ 101880 h 3641849"/>
                <a:gd name="connsiteX21" fmla="*/ 154839 w 1457148"/>
                <a:gd name="connsiteY21" fmla="*/ 88952 h 3641849"/>
                <a:gd name="connsiteX22" fmla="*/ 157609 w 1457148"/>
                <a:gd name="connsiteY22" fmla="*/ 63095 h 3641849"/>
                <a:gd name="connsiteX23" fmla="*/ 165923 w 1457148"/>
                <a:gd name="connsiteY23" fmla="*/ 34652 h 3641849"/>
                <a:gd name="connsiteX24" fmla="*/ 168695 w 1457148"/>
                <a:gd name="connsiteY24" fmla="*/ 3624 h 3641849"/>
                <a:gd name="connsiteX25" fmla="*/ 304475 w 1457148"/>
                <a:gd name="connsiteY25" fmla="*/ 57924 h 3641849"/>
                <a:gd name="connsiteX26" fmla="*/ 334955 w 1457148"/>
                <a:gd name="connsiteY26" fmla="*/ 161352 h 3641849"/>
                <a:gd name="connsiteX27" fmla="*/ 348811 w 1457148"/>
                <a:gd name="connsiteY27" fmla="*/ 184622 h 3641849"/>
                <a:gd name="connsiteX28" fmla="*/ 359895 w 1457148"/>
                <a:gd name="connsiteY28" fmla="*/ 187208 h 3641849"/>
                <a:gd name="connsiteX29" fmla="*/ 473507 w 1457148"/>
                <a:gd name="connsiteY29" fmla="*/ 156181 h 3641849"/>
                <a:gd name="connsiteX30" fmla="*/ 540012 w 1457148"/>
                <a:gd name="connsiteY30" fmla="*/ 166522 h 3641849"/>
                <a:gd name="connsiteX31" fmla="*/ 603746 w 1457148"/>
                <a:gd name="connsiteY31" fmla="*/ 213065 h 3641849"/>
                <a:gd name="connsiteX32" fmla="*/ 617773 w 1457148"/>
                <a:gd name="connsiteY32" fmla="*/ 242621 h 3641849"/>
                <a:gd name="connsiteX33" fmla="*/ 673020 w 1457148"/>
                <a:gd name="connsiteY33" fmla="*/ 277708 h 3641849"/>
                <a:gd name="connsiteX34" fmla="*/ 761694 w 1457148"/>
                <a:gd name="connsiteY34" fmla="*/ 303563 h 3641849"/>
                <a:gd name="connsiteX35" fmla="*/ 833740 w 1457148"/>
                <a:gd name="connsiteY35" fmla="*/ 350106 h 3641849"/>
                <a:gd name="connsiteX36" fmla="*/ 883619 w 1457148"/>
                <a:gd name="connsiteY36" fmla="*/ 401820 h 3641849"/>
                <a:gd name="connsiteX37" fmla="*/ 908558 w 1457148"/>
                <a:gd name="connsiteY37" fmla="*/ 440606 h 3641849"/>
                <a:gd name="connsiteX38" fmla="*/ 941811 w 1457148"/>
                <a:gd name="connsiteY38" fmla="*/ 466462 h 3641849"/>
                <a:gd name="connsiteX39" fmla="*/ 925183 w 1457148"/>
                <a:gd name="connsiteY39" fmla="*/ 691417 h 3641849"/>
                <a:gd name="connsiteX40" fmla="*/ 797717 w 1457148"/>
                <a:gd name="connsiteY40" fmla="*/ 771575 h 3641849"/>
                <a:gd name="connsiteX41" fmla="*/ 684105 w 1457148"/>
                <a:gd name="connsiteY41" fmla="*/ 779331 h 3641849"/>
                <a:gd name="connsiteX42" fmla="*/ 545552 w 1457148"/>
                <a:gd name="connsiteY42" fmla="*/ 758645 h 3641849"/>
                <a:gd name="connsiteX43" fmla="*/ 454108 w 1457148"/>
                <a:gd name="connsiteY43" fmla="*/ 722445 h 3641849"/>
                <a:gd name="connsiteX44" fmla="*/ 434711 w 1457148"/>
                <a:gd name="connsiteY44" fmla="*/ 750888 h 3641849"/>
                <a:gd name="connsiteX45" fmla="*/ 465353 w 1457148"/>
                <a:gd name="connsiteY45" fmla="*/ 824301 h 3641849"/>
                <a:gd name="connsiteX46" fmla="*/ 470894 w 1457148"/>
                <a:gd name="connsiteY46" fmla="*/ 951000 h 3641849"/>
                <a:gd name="connsiteX47" fmla="*/ 443024 w 1457148"/>
                <a:gd name="connsiteY47" fmla="*/ 1012043 h 3641849"/>
                <a:gd name="connsiteX48" fmla="*/ 498443 w 1457148"/>
                <a:gd name="connsiteY48" fmla="*/ 1032728 h 3641849"/>
                <a:gd name="connsiteX49" fmla="*/ 515071 w 1457148"/>
                <a:gd name="connsiteY49" fmla="*/ 1048242 h 3641849"/>
                <a:gd name="connsiteX50" fmla="*/ 540011 w 1457148"/>
                <a:gd name="connsiteY50" fmla="*/ 1074099 h 3641849"/>
                <a:gd name="connsiteX51" fmla="*/ 537240 w 1457148"/>
                <a:gd name="connsiteY51" fmla="*/ 1076685 h 3641849"/>
                <a:gd name="connsiteX52" fmla="*/ 576033 w 1457148"/>
                <a:gd name="connsiteY52" fmla="*/ 1071514 h 3641849"/>
                <a:gd name="connsiteX53" fmla="*/ 584347 w 1457148"/>
                <a:gd name="connsiteY53" fmla="*/ 1035314 h 3641849"/>
                <a:gd name="connsiteX54" fmla="*/ 545552 w 1457148"/>
                <a:gd name="connsiteY54" fmla="*/ 957743 h 3641849"/>
                <a:gd name="connsiteX55" fmla="*/ 614828 w 1457148"/>
                <a:gd name="connsiteY55" fmla="*/ 911200 h 3641849"/>
                <a:gd name="connsiteX56" fmla="*/ 682600 w 1457148"/>
                <a:gd name="connsiteY56" fmla="*/ 918934 h 3641849"/>
                <a:gd name="connsiteX57" fmla="*/ 706433 w 1457148"/>
                <a:gd name="connsiteY57" fmla="*/ 951001 h 3641849"/>
                <a:gd name="connsiteX58" fmla="*/ 862162 w 1457148"/>
                <a:gd name="connsiteY58" fmla="*/ 1007364 h 3641849"/>
                <a:gd name="connsiteX59" fmla="*/ 847754 w 1457148"/>
                <a:gd name="connsiteY59" fmla="*/ 971687 h 3641849"/>
                <a:gd name="connsiteX60" fmla="*/ 814502 w 1457148"/>
                <a:gd name="connsiteY60" fmla="*/ 932901 h 3641849"/>
                <a:gd name="connsiteX61" fmla="*/ 803418 w 1457148"/>
                <a:gd name="connsiteY61" fmla="*/ 881187 h 3641849"/>
                <a:gd name="connsiteX62" fmla="*/ 842213 w 1457148"/>
                <a:gd name="connsiteY62" fmla="*/ 832060 h 3641849"/>
                <a:gd name="connsiteX63" fmla="*/ 869923 w 1457148"/>
                <a:gd name="connsiteY63" fmla="*/ 803617 h 3641849"/>
                <a:gd name="connsiteX64" fmla="*/ 894863 w 1457148"/>
                <a:gd name="connsiteY64" fmla="*/ 767417 h 3641849"/>
                <a:gd name="connsiteX65" fmla="*/ 975223 w 1457148"/>
                <a:gd name="connsiteY65" fmla="*/ 762245 h 3641849"/>
                <a:gd name="connsiteX66" fmla="*/ 980764 w 1457148"/>
                <a:gd name="connsiteY66" fmla="*/ 741560 h 3641849"/>
                <a:gd name="connsiteX67" fmla="*/ 1005704 w 1457148"/>
                <a:gd name="connsiteY67" fmla="*/ 705360 h 3641849"/>
                <a:gd name="connsiteX68" fmla="*/ 1039508 w 1457148"/>
                <a:gd name="connsiteY68" fmla="*/ 687772 h 3641849"/>
                <a:gd name="connsiteX69" fmla="*/ 1097148 w 1457148"/>
                <a:gd name="connsiteY69" fmla="*/ 700189 h 3641849"/>
                <a:gd name="connsiteX70" fmla="*/ 1135941 w 1457148"/>
                <a:gd name="connsiteY70" fmla="*/ 720875 h 3641849"/>
                <a:gd name="connsiteX71" fmla="*/ 1183049 w 1457148"/>
                <a:gd name="connsiteY71" fmla="*/ 728632 h 3641849"/>
                <a:gd name="connsiteX72" fmla="*/ 1183049 w 1457148"/>
                <a:gd name="connsiteY72" fmla="*/ 733803 h 3641849"/>
                <a:gd name="connsiteX73" fmla="*/ 1205218 w 1457148"/>
                <a:gd name="connsiteY73" fmla="*/ 674332 h 3641849"/>
                <a:gd name="connsiteX74" fmla="*/ 1215193 w 1457148"/>
                <a:gd name="connsiteY74" fmla="*/ 640714 h 3641849"/>
                <a:gd name="connsiteX75" fmla="*/ 1221844 w 1457148"/>
                <a:gd name="connsiteY75" fmla="*/ 622618 h 3641849"/>
                <a:gd name="connsiteX76" fmla="*/ 1224781 w 1457148"/>
                <a:gd name="connsiteY76" fmla="*/ 591288 h 3641849"/>
                <a:gd name="connsiteX77" fmla="*/ 1144255 w 1457148"/>
                <a:gd name="connsiteY77" fmla="*/ 545048 h 3641849"/>
                <a:gd name="connsiteX78" fmla="*/ 1130400 w 1457148"/>
                <a:gd name="connsiteY78" fmla="*/ 472648 h 3641849"/>
                <a:gd name="connsiteX79" fmla="*/ 1130400 w 1457148"/>
                <a:gd name="connsiteY79" fmla="*/ 454548 h 3641849"/>
                <a:gd name="connsiteX80" fmla="*/ 1141483 w 1457148"/>
                <a:gd name="connsiteY80" fmla="*/ 431276 h 3641849"/>
                <a:gd name="connsiteX81" fmla="*/ 1144255 w 1457148"/>
                <a:gd name="connsiteY81" fmla="*/ 415762 h 3641849"/>
                <a:gd name="connsiteX82" fmla="*/ 1144254 w 1457148"/>
                <a:gd name="connsiteY82" fmla="*/ 358878 h 3641849"/>
                <a:gd name="connsiteX83" fmla="*/ 1122086 w 1457148"/>
                <a:gd name="connsiteY83" fmla="*/ 335607 h 3641849"/>
                <a:gd name="connsiteX84" fmla="*/ 1094376 w 1457148"/>
                <a:gd name="connsiteY84" fmla="*/ 304578 h 3641849"/>
                <a:gd name="connsiteX85" fmla="*/ 1090208 w 1457148"/>
                <a:gd name="connsiteY85" fmla="*/ 280325 h 3641849"/>
                <a:gd name="connsiteX86" fmla="*/ 1141484 w 1457148"/>
                <a:gd name="connsiteY86" fmla="*/ 258034 h 3641849"/>
                <a:gd name="connsiteX87" fmla="*/ 1195064 w 1457148"/>
                <a:gd name="connsiteY87" fmla="*/ 267906 h 3641849"/>
                <a:gd name="connsiteX88" fmla="*/ 1273848 w 1457148"/>
                <a:gd name="connsiteY88" fmla="*/ 279816 h 3641849"/>
                <a:gd name="connsiteX89" fmla="*/ 1358171 w 1457148"/>
                <a:gd name="connsiteY89" fmla="*/ 349175 h 3641849"/>
                <a:gd name="connsiteX90" fmla="*/ 1420306 w 1457148"/>
                <a:gd name="connsiteY90" fmla="*/ 425271 h 3641849"/>
                <a:gd name="connsiteX91" fmla="*/ 1319335 w 1457148"/>
                <a:gd name="connsiteY91" fmla="*/ 454265 h 3641849"/>
                <a:gd name="connsiteX92" fmla="*/ 1303801 w 1457148"/>
                <a:gd name="connsiteY92" fmla="*/ 501372 h 3641849"/>
                <a:gd name="connsiteX93" fmla="*/ 1361471 w 1457148"/>
                <a:gd name="connsiteY93" fmla="*/ 585862 h 3641849"/>
                <a:gd name="connsiteX94" fmla="*/ 1397005 w 1457148"/>
                <a:gd name="connsiteY94" fmla="*/ 591964 h 3641849"/>
                <a:gd name="connsiteX95" fmla="*/ 1449625 w 1457148"/>
                <a:gd name="connsiteY95" fmla="*/ 598304 h 3641849"/>
                <a:gd name="connsiteX96" fmla="*/ 1444662 w 1457148"/>
                <a:gd name="connsiteY96" fmla="*/ 709079 h 3641849"/>
                <a:gd name="connsiteX97" fmla="*/ 1455731 w 1457148"/>
                <a:gd name="connsiteY97" fmla="*/ 1040047 h 3641849"/>
                <a:gd name="connsiteX98" fmla="*/ 1446863 w 1457148"/>
                <a:gd name="connsiteY98" fmla="*/ 1842646 h 3641849"/>
                <a:gd name="connsiteX99" fmla="*/ 1455730 w 1457148"/>
                <a:gd name="connsiteY99" fmla="*/ 2297728 h 3641849"/>
                <a:gd name="connsiteX100" fmla="*/ 1429282 w 1457148"/>
                <a:gd name="connsiteY100" fmla="*/ 3607693 h 3641849"/>
                <a:gd name="connsiteX101" fmla="*/ 1170855 w 1457148"/>
                <a:gd name="connsiteY101" fmla="*/ 3564098 h 3641849"/>
                <a:gd name="connsiteX102" fmla="*/ 1002377 w 1457148"/>
                <a:gd name="connsiteY102" fmla="*/ 3497903 h 3641849"/>
                <a:gd name="connsiteX103" fmla="*/ 825031 w 1457148"/>
                <a:gd name="connsiteY103" fmla="*/ 3406887 h 3641849"/>
                <a:gd name="connsiteX104" fmla="*/ 726733 w 1457148"/>
                <a:gd name="connsiteY104" fmla="*/ 3326370 h 3641849"/>
                <a:gd name="connsiteX105" fmla="*/ 1020995 w 1457148"/>
                <a:gd name="connsiteY105" fmla="*/ 3018734 h 3641849"/>
                <a:gd name="connsiteX106" fmla="*/ 737241 w 1457148"/>
                <a:gd name="connsiteY106" fmla="*/ 2480910 h 3641849"/>
                <a:gd name="connsiteX107" fmla="*/ 879591 w 1457148"/>
                <a:gd name="connsiteY107" fmla="*/ 2241825 h 3641849"/>
                <a:gd name="connsiteX108" fmla="*/ 692904 w 1457148"/>
                <a:gd name="connsiteY108" fmla="*/ 1703134 h 3641849"/>
                <a:gd name="connsiteX109" fmla="*/ 444620 w 1457148"/>
                <a:gd name="connsiteY109" fmla="*/ 1471456 h 3641849"/>
                <a:gd name="connsiteX110" fmla="*/ 330454 w 1457148"/>
                <a:gd name="connsiteY110" fmla="*/ 1590914 h 3641849"/>
                <a:gd name="connsiteX0" fmla="*/ 330454 w 1457148"/>
                <a:gd name="connsiteY0" fmla="*/ 1590914 h 3641849"/>
                <a:gd name="connsiteX1" fmla="*/ 357124 w 1457148"/>
                <a:gd name="connsiteY1" fmla="*/ 1371456 h 3641849"/>
                <a:gd name="connsiteX2" fmla="*/ 251825 w 1457148"/>
                <a:gd name="connsiteY2" fmla="*/ 1283542 h 3641849"/>
                <a:gd name="connsiteX3" fmla="*/ 107732 w 1457148"/>
                <a:gd name="connsiteY3" fmla="*/ 1151672 h 3641849"/>
                <a:gd name="connsiteX4" fmla="*/ 168695 w 1457148"/>
                <a:gd name="connsiteY4" fmla="*/ 1089617 h 3641849"/>
                <a:gd name="connsiteX5" fmla="*/ 102190 w 1457148"/>
                <a:gd name="connsiteY5" fmla="*/ 1050829 h 3641849"/>
                <a:gd name="connsiteX6" fmla="*/ 143755 w 1457148"/>
                <a:gd name="connsiteY6" fmla="*/ 1019802 h 3641849"/>
                <a:gd name="connsiteX7" fmla="*/ 96649 w 1457148"/>
                <a:gd name="connsiteY7" fmla="*/ 993947 h 3641849"/>
                <a:gd name="connsiteX8" fmla="*/ 96648 w 1457148"/>
                <a:gd name="connsiteY8" fmla="*/ 794845 h 3641849"/>
                <a:gd name="connsiteX9" fmla="*/ 135443 w 1457148"/>
                <a:gd name="connsiteY9" fmla="*/ 779332 h 3641849"/>
                <a:gd name="connsiteX10" fmla="*/ 21830 w 1457148"/>
                <a:gd name="connsiteY10" fmla="*/ 551792 h 3641849"/>
                <a:gd name="connsiteX11" fmla="*/ 19059 w 1457148"/>
                <a:gd name="connsiteY11" fmla="*/ 551792 h 3641849"/>
                <a:gd name="connsiteX12" fmla="*/ 68937 w 1457148"/>
                <a:gd name="connsiteY12" fmla="*/ 469048 h 3641849"/>
                <a:gd name="connsiteX13" fmla="*/ 85563 w 1457148"/>
                <a:gd name="connsiteY13" fmla="*/ 378550 h 3641849"/>
                <a:gd name="connsiteX14" fmla="*/ 10744 w 1457148"/>
                <a:gd name="connsiteY14" fmla="*/ 319079 h 3641849"/>
                <a:gd name="connsiteX15" fmla="*/ 2432 w 1457148"/>
                <a:gd name="connsiteY15" fmla="*/ 251851 h 3641849"/>
                <a:gd name="connsiteX16" fmla="*/ 57852 w 1457148"/>
                <a:gd name="connsiteY16" fmla="*/ 158764 h 3641849"/>
                <a:gd name="connsiteX17" fmla="*/ 77250 w 1457148"/>
                <a:gd name="connsiteY17" fmla="*/ 135494 h 3641849"/>
                <a:gd name="connsiteX18" fmla="*/ 91105 w 1457148"/>
                <a:gd name="connsiteY18" fmla="*/ 117394 h 3641849"/>
                <a:gd name="connsiteX19" fmla="*/ 99418 w 1457148"/>
                <a:gd name="connsiteY19" fmla="*/ 73438 h 3641849"/>
                <a:gd name="connsiteX20" fmla="*/ 124357 w 1457148"/>
                <a:gd name="connsiteY20" fmla="*/ 101880 h 3641849"/>
                <a:gd name="connsiteX21" fmla="*/ 154839 w 1457148"/>
                <a:gd name="connsiteY21" fmla="*/ 88952 h 3641849"/>
                <a:gd name="connsiteX22" fmla="*/ 157609 w 1457148"/>
                <a:gd name="connsiteY22" fmla="*/ 63095 h 3641849"/>
                <a:gd name="connsiteX23" fmla="*/ 165923 w 1457148"/>
                <a:gd name="connsiteY23" fmla="*/ 34652 h 3641849"/>
                <a:gd name="connsiteX24" fmla="*/ 168695 w 1457148"/>
                <a:gd name="connsiteY24" fmla="*/ 3624 h 3641849"/>
                <a:gd name="connsiteX25" fmla="*/ 304475 w 1457148"/>
                <a:gd name="connsiteY25" fmla="*/ 57924 h 3641849"/>
                <a:gd name="connsiteX26" fmla="*/ 334955 w 1457148"/>
                <a:gd name="connsiteY26" fmla="*/ 161352 h 3641849"/>
                <a:gd name="connsiteX27" fmla="*/ 348811 w 1457148"/>
                <a:gd name="connsiteY27" fmla="*/ 184622 h 3641849"/>
                <a:gd name="connsiteX28" fmla="*/ 359895 w 1457148"/>
                <a:gd name="connsiteY28" fmla="*/ 187208 h 3641849"/>
                <a:gd name="connsiteX29" fmla="*/ 473507 w 1457148"/>
                <a:gd name="connsiteY29" fmla="*/ 156181 h 3641849"/>
                <a:gd name="connsiteX30" fmla="*/ 540012 w 1457148"/>
                <a:gd name="connsiteY30" fmla="*/ 166522 h 3641849"/>
                <a:gd name="connsiteX31" fmla="*/ 603746 w 1457148"/>
                <a:gd name="connsiteY31" fmla="*/ 213065 h 3641849"/>
                <a:gd name="connsiteX32" fmla="*/ 617773 w 1457148"/>
                <a:gd name="connsiteY32" fmla="*/ 242621 h 3641849"/>
                <a:gd name="connsiteX33" fmla="*/ 673020 w 1457148"/>
                <a:gd name="connsiteY33" fmla="*/ 277708 h 3641849"/>
                <a:gd name="connsiteX34" fmla="*/ 761694 w 1457148"/>
                <a:gd name="connsiteY34" fmla="*/ 303563 h 3641849"/>
                <a:gd name="connsiteX35" fmla="*/ 833740 w 1457148"/>
                <a:gd name="connsiteY35" fmla="*/ 350106 h 3641849"/>
                <a:gd name="connsiteX36" fmla="*/ 883619 w 1457148"/>
                <a:gd name="connsiteY36" fmla="*/ 401820 h 3641849"/>
                <a:gd name="connsiteX37" fmla="*/ 908558 w 1457148"/>
                <a:gd name="connsiteY37" fmla="*/ 440606 h 3641849"/>
                <a:gd name="connsiteX38" fmla="*/ 941811 w 1457148"/>
                <a:gd name="connsiteY38" fmla="*/ 466462 h 3641849"/>
                <a:gd name="connsiteX39" fmla="*/ 925183 w 1457148"/>
                <a:gd name="connsiteY39" fmla="*/ 691417 h 3641849"/>
                <a:gd name="connsiteX40" fmla="*/ 797717 w 1457148"/>
                <a:gd name="connsiteY40" fmla="*/ 771575 h 3641849"/>
                <a:gd name="connsiteX41" fmla="*/ 684105 w 1457148"/>
                <a:gd name="connsiteY41" fmla="*/ 779331 h 3641849"/>
                <a:gd name="connsiteX42" fmla="*/ 545552 w 1457148"/>
                <a:gd name="connsiteY42" fmla="*/ 758645 h 3641849"/>
                <a:gd name="connsiteX43" fmla="*/ 454108 w 1457148"/>
                <a:gd name="connsiteY43" fmla="*/ 722445 h 3641849"/>
                <a:gd name="connsiteX44" fmla="*/ 434711 w 1457148"/>
                <a:gd name="connsiteY44" fmla="*/ 750888 h 3641849"/>
                <a:gd name="connsiteX45" fmla="*/ 465353 w 1457148"/>
                <a:gd name="connsiteY45" fmla="*/ 824301 h 3641849"/>
                <a:gd name="connsiteX46" fmla="*/ 470894 w 1457148"/>
                <a:gd name="connsiteY46" fmla="*/ 951000 h 3641849"/>
                <a:gd name="connsiteX47" fmla="*/ 443024 w 1457148"/>
                <a:gd name="connsiteY47" fmla="*/ 1012043 h 3641849"/>
                <a:gd name="connsiteX48" fmla="*/ 498443 w 1457148"/>
                <a:gd name="connsiteY48" fmla="*/ 1032728 h 3641849"/>
                <a:gd name="connsiteX49" fmla="*/ 515071 w 1457148"/>
                <a:gd name="connsiteY49" fmla="*/ 1048242 h 3641849"/>
                <a:gd name="connsiteX50" fmla="*/ 540011 w 1457148"/>
                <a:gd name="connsiteY50" fmla="*/ 1074099 h 3641849"/>
                <a:gd name="connsiteX51" fmla="*/ 537240 w 1457148"/>
                <a:gd name="connsiteY51" fmla="*/ 1076685 h 3641849"/>
                <a:gd name="connsiteX52" fmla="*/ 576033 w 1457148"/>
                <a:gd name="connsiteY52" fmla="*/ 1071514 h 3641849"/>
                <a:gd name="connsiteX53" fmla="*/ 584347 w 1457148"/>
                <a:gd name="connsiteY53" fmla="*/ 1035314 h 3641849"/>
                <a:gd name="connsiteX54" fmla="*/ 545552 w 1457148"/>
                <a:gd name="connsiteY54" fmla="*/ 957743 h 3641849"/>
                <a:gd name="connsiteX55" fmla="*/ 614828 w 1457148"/>
                <a:gd name="connsiteY55" fmla="*/ 911200 h 3641849"/>
                <a:gd name="connsiteX56" fmla="*/ 682600 w 1457148"/>
                <a:gd name="connsiteY56" fmla="*/ 918934 h 3641849"/>
                <a:gd name="connsiteX57" fmla="*/ 706433 w 1457148"/>
                <a:gd name="connsiteY57" fmla="*/ 951001 h 3641849"/>
                <a:gd name="connsiteX58" fmla="*/ 862162 w 1457148"/>
                <a:gd name="connsiteY58" fmla="*/ 1007364 h 3641849"/>
                <a:gd name="connsiteX59" fmla="*/ 847754 w 1457148"/>
                <a:gd name="connsiteY59" fmla="*/ 971687 h 3641849"/>
                <a:gd name="connsiteX60" fmla="*/ 814502 w 1457148"/>
                <a:gd name="connsiteY60" fmla="*/ 932901 h 3641849"/>
                <a:gd name="connsiteX61" fmla="*/ 803418 w 1457148"/>
                <a:gd name="connsiteY61" fmla="*/ 881187 h 3641849"/>
                <a:gd name="connsiteX62" fmla="*/ 842213 w 1457148"/>
                <a:gd name="connsiteY62" fmla="*/ 832060 h 3641849"/>
                <a:gd name="connsiteX63" fmla="*/ 869923 w 1457148"/>
                <a:gd name="connsiteY63" fmla="*/ 803617 h 3641849"/>
                <a:gd name="connsiteX64" fmla="*/ 894863 w 1457148"/>
                <a:gd name="connsiteY64" fmla="*/ 767417 h 3641849"/>
                <a:gd name="connsiteX65" fmla="*/ 975223 w 1457148"/>
                <a:gd name="connsiteY65" fmla="*/ 762245 h 3641849"/>
                <a:gd name="connsiteX66" fmla="*/ 980764 w 1457148"/>
                <a:gd name="connsiteY66" fmla="*/ 741560 h 3641849"/>
                <a:gd name="connsiteX67" fmla="*/ 1005704 w 1457148"/>
                <a:gd name="connsiteY67" fmla="*/ 705360 h 3641849"/>
                <a:gd name="connsiteX68" fmla="*/ 1039508 w 1457148"/>
                <a:gd name="connsiteY68" fmla="*/ 687772 h 3641849"/>
                <a:gd name="connsiteX69" fmla="*/ 1097148 w 1457148"/>
                <a:gd name="connsiteY69" fmla="*/ 700189 h 3641849"/>
                <a:gd name="connsiteX70" fmla="*/ 1135941 w 1457148"/>
                <a:gd name="connsiteY70" fmla="*/ 720875 h 3641849"/>
                <a:gd name="connsiteX71" fmla="*/ 1183049 w 1457148"/>
                <a:gd name="connsiteY71" fmla="*/ 728632 h 3641849"/>
                <a:gd name="connsiteX72" fmla="*/ 1183049 w 1457148"/>
                <a:gd name="connsiteY72" fmla="*/ 733803 h 3641849"/>
                <a:gd name="connsiteX73" fmla="*/ 1205218 w 1457148"/>
                <a:gd name="connsiteY73" fmla="*/ 674332 h 3641849"/>
                <a:gd name="connsiteX74" fmla="*/ 1215193 w 1457148"/>
                <a:gd name="connsiteY74" fmla="*/ 640714 h 3641849"/>
                <a:gd name="connsiteX75" fmla="*/ 1221844 w 1457148"/>
                <a:gd name="connsiteY75" fmla="*/ 622618 h 3641849"/>
                <a:gd name="connsiteX76" fmla="*/ 1224781 w 1457148"/>
                <a:gd name="connsiteY76" fmla="*/ 591288 h 3641849"/>
                <a:gd name="connsiteX77" fmla="*/ 1144255 w 1457148"/>
                <a:gd name="connsiteY77" fmla="*/ 545048 h 3641849"/>
                <a:gd name="connsiteX78" fmla="*/ 1130400 w 1457148"/>
                <a:gd name="connsiteY78" fmla="*/ 472648 h 3641849"/>
                <a:gd name="connsiteX79" fmla="*/ 1130400 w 1457148"/>
                <a:gd name="connsiteY79" fmla="*/ 454548 h 3641849"/>
                <a:gd name="connsiteX80" fmla="*/ 1141483 w 1457148"/>
                <a:gd name="connsiteY80" fmla="*/ 431276 h 3641849"/>
                <a:gd name="connsiteX81" fmla="*/ 1144255 w 1457148"/>
                <a:gd name="connsiteY81" fmla="*/ 415762 h 3641849"/>
                <a:gd name="connsiteX82" fmla="*/ 1144254 w 1457148"/>
                <a:gd name="connsiteY82" fmla="*/ 358878 h 3641849"/>
                <a:gd name="connsiteX83" fmla="*/ 1122086 w 1457148"/>
                <a:gd name="connsiteY83" fmla="*/ 335607 h 3641849"/>
                <a:gd name="connsiteX84" fmla="*/ 1094376 w 1457148"/>
                <a:gd name="connsiteY84" fmla="*/ 304578 h 3641849"/>
                <a:gd name="connsiteX85" fmla="*/ 1090208 w 1457148"/>
                <a:gd name="connsiteY85" fmla="*/ 280325 h 3641849"/>
                <a:gd name="connsiteX86" fmla="*/ 1141484 w 1457148"/>
                <a:gd name="connsiteY86" fmla="*/ 258034 h 3641849"/>
                <a:gd name="connsiteX87" fmla="*/ 1195064 w 1457148"/>
                <a:gd name="connsiteY87" fmla="*/ 267906 h 3641849"/>
                <a:gd name="connsiteX88" fmla="*/ 1273848 w 1457148"/>
                <a:gd name="connsiteY88" fmla="*/ 279816 h 3641849"/>
                <a:gd name="connsiteX89" fmla="*/ 1358171 w 1457148"/>
                <a:gd name="connsiteY89" fmla="*/ 349175 h 3641849"/>
                <a:gd name="connsiteX90" fmla="*/ 1420306 w 1457148"/>
                <a:gd name="connsiteY90" fmla="*/ 425271 h 3641849"/>
                <a:gd name="connsiteX91" fmla="*/ 1319335 w 1457148"/>
                <a:gd name="connsiteY91" fmla="*/ 454265 h 3641849"/>
                <a:gd name="connsiteX92" fmla="*/ 1303801 w 1457148"/>
                <a:gd name="connsiteY92" fmla="*/ 501372 h 3641849"/>
                <a:gd name="connsiteX93" fmla="*/ 1361471 w 1457148"/>
                <a:gd name="connsiteY93" fmla="*/ 585862 h 3641849"/>
                <a:gd name="connsiteX94" fmla="*/ 1397005 w 1457148"/>
                <a:gd name="connsiteY94" fmla="*/ 591964 h 3641849"/>
                <a:gd name="connsiteX95" fmla="*/ 1449625 w 1457148"/>
                <a:gd name="connsiteY95" fmla="*/ 598304 h 3641849"/>
                <a:gd name="connsiteX96" fmla="*/ 1444662 w 1457148"/>
                <a:gd name="connsiteY96" fmla="*/ 709079 h 3641849"/>
                <a:gd name="connsiteX97" fmla="*/ 1455731 w 1457148"/>
                <a:gd name="connsiteY97" fmla="*/ 1040047 h 3641849"/>
                <a:gd name="connsiteX98" fmla="*/ 1446863 w 1457148"/>
                <a:gd name="connsiteY98" fmla="*/ 1842646 h 3641849"/>
                <a:gd name="connsiteX99" fmla="*/ 1455730 w 1457148"/>
                <a:gd name="connsiteY99" fmla="*/ 2297728 h 3641849"/>
                <a:gd name="connsiteX100" fmla="*/ 1429282 w 1457148"/>
                <a:gd name="connsiteY100" fmla="*/ 3607693 h 3641849"/>
                <a:gd name="connsiteX101" fmla="*/ 1170855 w 1457148"/>
                <a:gd name="connsiteY101" fmla="*/ 3564098 h 3641849"/>
                <a:gd name="connsiteX102" fmla="*/ 1002377 w 1457148"/>
                <a:gd name="connsiteY102" fmla="*/ 3497903 h 3641849"/>
                <a:gd name="connsiteX103" fmla="*/ 825031 w 1457148"/>
                <a:gd name="connsiteY103" fmla="*/ 3406887 h 3641849"/>
                <a:gd name="connsiteX104" fmla="*/ 726733 w 1457148"/>
                <a:gd name="connsiteY104" fmla="*/ 3326370 h 3641849"/>
                <a:gd name="connsiteX105" fmla="*/ 1020995 w 1457148"/>
                <a:gd name="connsiteY105" fmla="*/ 3018734 h 3641849"/>
                <a:gd name="connsiteX106" fmla="*/ 737241 w 1457148"/>
                <a:gd name="connsiteY106" fmla="*/ 2480910 h 3641849"/>
                <a:gd name="connsiteX107" fmla="*/ 879591 w 1457148"/>
                <a:gd name="connsiteY107" fmla="*/ 2241825 h 3641849"/>
                <a:gd name="connsiteX108" fmla="*/ 692904 w 1457148"/>
                <a:gd name="connsiteY108" fmla="*/ 1703134 h 3641849"/>
                <a:gd name="connsiteX109" fmla="*/ 444620 w 1457148"/>
                <a:gd name="connsiteY109" fmla="*/ 1471456 h 3641849"/>
                <a:gd name="connsiteX110" fmla="*/ 330454 w 1457148"/>
                <a:gd name="connsiteY110" fmla="*/ 1590914 h 3641849"/>
                <a:gd name="connsiteX0" fmla="*/ 330454 w 1457148"/>
                <a:gd name="connsiteY0" fmla="*/ 1590914 h 3641849"/>
                <a:gd name="connsiteX1" fmla="*/ 357124 w 1457148"/>
                <a:gd name="connsiteY1" fmla="*/ 1371456 h 3641849"/>
                <a:gd name="connsiteX2" fmla="*/ 290620 w 1457148"/>
                <a:gd name="connsiteY2" fmla="*/ 1322328 h 3641849"/>
                <a:gd name="connsiteX3" fmla="*/ 107732 w 1457148"/>
                <a:gd name="connsiteY3" fmla="*/ 1151672 h 3641849"/>
                <a:gd name="connsiteX4" fmla="*/ 168695 w 1457148"/>
                <a:gd name="connsiteY4" fmla="*/ 1089617 h 3641849"/>
                <a:gd name="connsiteX5" fmla="*/ 102190 w 1457148"/>
                <a:gd name="connsiteY5" fmla="*/ 1050829 h 3641849"/>
                <a:gd name="connsiteX6" fmla="*/ 143755 w 1457148"/>
                <a:gd name="connsiteY6" fmla="*/ 1019802 h 3641849"/>
                <a:gd name="connsiteX7" fmla="*/ 96649 w 1457148"/>
                <a:gd name="connsiteY7" fmla="*/ 993947 h 3641849"/>
                <a:gd name="connsiteX8" fmla="*/ 96648 w 1457148"/>
                <a:gd name="connsiteY8" fmla="*/ 794845 h 3641849"/>
                <a:gd name="connsiteX9" fmla="*/ 135443 w 1457148"/>
                <a:gd name="connsiteY9" fmla="*/ 779332 h 3641849"/>
                <a:gd name="connsiteX10" fmla="*/ 21830 w 1457148"/>
                <a:gd name="connsiteY10" fmla="*/ 551792 h 3641849"/>
                <a:gd name="connsiteX11" fmla="*/ 19059 w 1457148"/>
                <a:gd name="connsiteY11" fmla="*/ 551792 h 3641849"/>
                <a:gd name="connsiteX12" fmla="*/ 68937 w 1457148"/>
                <a:gd name="connsiteY12" fmla="*/ 469048 h 3641849"/>
                <a:gd name="connsiteX13" fmla="*/ 85563 w 1457148"/>
                <a:gd name="connsiteY13" fmla="*/ 378550 h 3641849"/>
                <a:gd name="connsiteX14" fmla="*/ 10744 w 1457148"/>
                <a:gd name="connsiteY14" fmla="*/ 319079 h 3641849"/>
                <a:gd name="connsiteX15" fmla="*/ 2432 w 1457148"/>
                <a:gd name="connsiteY15" fmla="*/ 251851 h 3641849"/>
                <a:gd name="connsiteX16" fmla="*/ 57852 w 1457148"/>
                <a:gd name="connsiteY16" fmla="*/ 158764 h 3641849"/>
                <a:gd name="connsiteX17" fmla="*/ 77250 w 1457148"/>
                <a:gd name="connsiteY17" fmla="*/ 135494 h 3641849"/>
                <a:gd name="connsiteX18" fmla="*/ 91105 w 1457148"/>
                <a:gd name="connsiteY18" fmla="*/ 117394 h 3641849"/>
                <a:gd name="connsiteX19" fmla="*/ 99418 w 1457148"/>
                <a:gd name="connsiteY19" fmla="*/ 73438 h 3641849"/>
                <a:gd name="connsiteX20" fmla="*/ 124357 w 1457148"/>
                <a:gd name="connsiteY20" fmla="*/ 101880 h 3641849"/>
                <a:gd name="connsiteX21" fmla="*/ 154839 w 1457148"/>
                <a:gd name="connsiteY21" fmla="*/ 88952 h 3641849"/>
                <a:gd name="connsiteX22" fmla="*/ 157609 w 1457148"/>
                <a:gd name="connsiteY22" fmla="*/ 63095 h 3641849"/>
                <a:gd name="connsiteX23" fmla="*/ 165923 w 1457148"/>
                <a:gd name="connsiteY23" fmla="*/ 34652 h 3641849"/>
                <a:gd name="connsiteX24" fmla="*/ 168695 w 1457148"/>
                <a:gd name="connsiteY24" fmla="*/ 3624 h 3641849"/>
                <a:gd name="connsiteX25" fmla="*/ 304475 w 1457148"/>
                <a:gd name="connsiteY25" fmla="*/ 57924 h 3641849"/>
                <a:gd name="connsiteX26" fmla="*/ 334955 w 1457148"/>
                <a:gd name="connsiteY26" fmla="*/ 161352 h 3641849"/>
                <a:gd name="connsiteX27" fmla="*/ 348811 w 1457148"/>
                <a:gd name="connsiteY27" fmla="*/ 184622 h 3641849"/>
                <a:gd name="connsiteX28" fmla="*/ 359895 w 1457148"/>
                <a:gd name="connsiteY28" fmla="*/ 187208 h 3641849"/>
                <a:gd name="connsiteX29" fmla="*/ 473507 w 1457148"/>
                <a:gd name="connsiteY29" fmla="*/ 156181 h 3641849"/>
                <a:gd name="connsiteX30" fmla="*/ 540012 w 1457148"/>
                <a:gd name="connsiteY30" fmla="*/ 166522 h 3641849"/>
                <a:gd name="connsiteX31" fmla="*/ 603746 w 1457148"/>
                <a:gd name="connsiteY31" fmla="*/ 213065 h 3641849"/>
                <a:gd name="connsiteX32" fmla="*/ 617773 w 1457148"/>
                <a:gd name="connsiteY32" fmla="*/ 242621 h 3641849"/>
                <a:gd name="connsiteX33" fmla="*/ 673020 w 1457148"/>
                <a:gd name="connsiteY33" fmla="*/ 277708 h 3641849"/>
                <a:gd name="connsiteX34" fmla="*/ 761694 w 1457148"/>
                <a:gd name="connsiteY34" fmla="*/ 303563 h 3641849"/>
                <a:gd name="connsiteX35" fmla="*/ 833740 w 1457148"/>
                <a:gd name="connsiteY35" fmla="*/ 350106 h 3641849"/>
                <a:gd name="connsiteX36" fmla="*/ 883619 w 1457148"/>
                <a:gd name="connsiteY36" fmla="*/ 401820 h 3641849"/>
                <a:gd name="connsiteX37" fmla="*/ 908558 w 1457148"/>
                <a:gd name="connsiteY37" fmla="*/ 440606 h 3641849"/>
                <a:gd name="connsiteX38" fmla="*/ 941811 w 1457148"/>
                <a:gd name="connsiteY38" fmla="*/ 466462 h 3641849"/>
                <a:gd name="connsiteX39" fmla="*/ 925183 w 1457148"/>
                <a:gd name="connsiteY39" fmla="*/ 691417 h 3641849"/>
                <a:gd name="connsiteX40" fmla="*/ 797717 w 1457148"/>
                <a:gd name="connsiteY40" fmla="*/ 771575 h 3641849"/>
                <a:gd name="connsiteX41" fmla="*/ 684105 w 1457148"/>
                <a:gd name="connsiteY41" fmla="*/ 779331 h 3641849"/>
                <a:gd name="connsiteX42" fmla="*/ 545552 w 1457148"/>
                <a:gd name="connsiteY42" fmla="*/ 758645 h 3641849"/>
                <a:gd name="connsiteX43" fmla="*/ 454108 w 1457148"/>
                <a:gd name="connsiteY43" fmla="*/ 722445 h 3641849"/>
                <a:gd name="connsiteX44" fmla="*/ 434711 w 1457148"/>
                <a:gd name="connsiteY44" fmla="*/ 750888 h 3641849"/>
                <a:gd name="connsiteX45" fmla="*/ 465353 w 1457148"/>
                <a:gd name="connsiteY45" fmla="*/ 824301 h 3641849"/>
                <a:gd name="connsiteX46" fmla="*/ 470894 w 1457148"/>
                <a:gd name="connsiteY46" fmla="*/ 951000 h 3641849"/>
                <a:gd name="connsiteX47" fmla="*/ 443024 w 1457148"/>
                <a:gd name="connsiteY47" fmla="*/ 1012043 h 3641849"/>
                <a:gd name="connsiteX48" fmla="*/ 498443 w 1457148"/>
                <a:gd name="connsiteY48" fmla="*/ 1032728 h 3641849"/>
                <a:gd name="connsiteX49" fmla="*/ 515071 w 1457148"/>
                <a:gd name="connsiteY49" fmla="*/ 1048242 h 3641849"/>
                <a:gd name="connsiteX50" fmla="*/ 540011 w 1457148"/>
                <a:gd name="connsiteY50" fmla="*/ 1074099 h 3641849"/>
                <a:gd name="connsiteX51" fmla="*/ 537240 w 1457148"/>
                <a:gd name="connsiteY51" fmla="*/ 1076685 h 3641849"/>
                <a:gd name="connsiteX52" fmla="*/ 576033 w 1457148"/>
                <a:gd name="connsiteY52" fmla="*/ 1071514 h 3641849"/>
                <a:gd name="connsiteX53" fmla="*/ 584347 w 1457148"/>
                <a:gd name="connsiteY53" fmla="*/ 1035314 h 3641849"/>
                <a:gd name="connsiteX54" fmla="*/ 545552 w 1457148"/>
                <a:gd name="connsiteY54" fmla="*/ 957743 h 3641849"/>
                <a:gd name="connsiteX55" fmla="*/ 614828 w 1457148"/>
                <a:gd name="connsiteY55" fmla="*/ 911200 h 3641849"/>
                <a:gd name="connsiteX56" fmla="*/ 682600 w 1457148"/>
                <a:gd name="connsiteY56" fmla="*/ 918934 h 3641849"/>
                <a:gd name="connsiteX57" fmla="*/ 706433 w 1457148"/>
                <a:gd name="connsiteY57" fmla="*/ 951001 h 3641849"/>
                <a:gd name="connsiteX58" fmla="*/ 862162 w 1457148"/>
                <a:gd name="connsiteY58" fmla="*/ 1007364 h 3641849"/>
                <a:gd name="connsiteX59" fmla="*/ 847754 w 1457148"/>
                <a:gd name="connsiteY59" fmla="*/ 971687 h 3641849"/>
                <a:gd name="connsiteX60" fmla="*/ 814502 w 1457148"/>
                <a:gd name="connsiteY60" fmla="*/ 932901 h 3641849"/>
                <a:gd name="connsiteX61" fmla="*/ 803418 w 1457148"/>
                <a:gd name="connsiteY61" fmla="*/ 881187 h 3641849"/>
                <a:gd name="connsiteX62" fmla="*/ 842213 w 1457148"/>
                <a:gd name="connsiteY62" fmla="*/ 832060 h 3641849"/>
                <a:gd name="connsiteX63" fmla="*/ 869923 w 1457148"/>
                <a:gd name="connsiteY63" fmla="*/ 803617 h 3641849"/>
                <a:gd name="connsiteX64" fmla="*/ 894863 w 1457148"/>
                <a:gd name="connsiteY64" fmla="*/ 767417 h 3641849"/>
                <a:gd name="connsiteX65" fmla="*/ 975223 w 1457148"/>
                <a:gd name="connsiteY65" fmla="*/ 762245 h 3641849"/>
                <a:gd name="connsiteX66" fmla="*/ 980764 w 1457148"/>
                <a:gd name="connsiteY66" fmla="*/ 741560 h 3641849"/>
                <a:gd name="connsiteX67" fmla="*/ 1005704 w 1457148"/>
                <a:gd name="connsiteY67" fmla="*/ 705360 h 3641849"/>
                <a:gd name="connsiteX68" fmla="*/ 1039508 w 1457148"/>
                <a:gd name="connsiteY68" fmla="*/ 687772 h 3641849"/>
                <a:gd name="connsiteX69" fmla="*/ 1097148 w 1457148"/>
                <a:gd name="connsiteY69" fmla="*/ 700189 h 3641849"/>
                <a:gd name="connsiteX70" fmla="*/ 1135941 w 1457148"/>
                <a:gd name="connsiteY70" fmla="*/ 720875 h 3641849"/>
                <a:gd name="connsiteX71" fmla="*/ 1183049 w 1457148"/>
                <a:gd name="connsiteY71" fmla="*/ 728632 h 3641849"/>
                <a:gd name="connsiteX72" fmla="*/ 1183049 w 1457148"/>
                <a:gd name="connsiteY72" fmla="*/ 733803 h 3641849"/>
                <a:gd name="connsiteX73" fmla="*/ 1205218 w 1457148"/>
                <a:gd name="connsiteY73" fmla="*/ 674332 h 3641849"/>
                <a:gd name="connsiteX74" fmla="*/ 1215193 w 1457148"/>
                <a:gd name="connsiteY74" fmla="*/ 640714 h 3641849"/>
                <a:gd name="connsiteX75" fmla="*/ 1221844 w 1457148"/>
                <a:gd name="connsiteY75" fmla="*/ 622618 h 3641849"/>
                <a:gd name="connsiteX76" fmla="*/ 1224781 w 1457148"/>
                <a:gd name="connsiteY76" fmla="*/ 591288 h 3641849"/>
                <a:gd name="connsiteX77" fmla="*/ 1144255 w 1457148"/>
                <a:gd name="connsiteY77" fmla="*/ 545048 h 3641849"/>
                <a:gd name="connsiteX78" fmla="*/ 1130400 w 1457148"/>
                <a:gd name="connsiteY78" fmla="*/ 472648 h 3641849"/>
                <a:gd name="connsiteX79" fmla="*/ 1130400 w 1457148"/>
                <a:gd name="connsiteY79" fmla="*/ 454548 h 3641849"/>
                <a:gd name="connsiteX80" fmla="*/ 1141483 w 1457148"/>
                <a:gd name="connsiteY80" fmla="*/ 431276 h 3641849"/>
                <a:gd name="connsiteX81" fmla="*/ 1144255 w 1457148"/>
                <a:gd name="connsiteY81" fmla="*/ 415762 h 3641849"/>
                <a:gd name="connsiteX82" fmla="*/ 1144254 w 1457148"/>
                <a:gd name="connsiteY82" fmla="*/ 358878 h 3641849"/>
                <a:gd name="connsiteX83" fmla="*/ 1122086 w 1457148"/>
                <a:gd name="connsiteY83" fmla="*/ 335607 h 3641849"/>
                <a:gd name="connsiteX84" fmla="*/ 1094376 w 1457148"/>
                <a:gd name="connsiteY84" fmla="*/ 304578 h 3641849"/>
                <a:gd name="connsiteX85" fmla="*/ 1090208 w 1457148"/>
                <a:gd name="connsiteY85" fmla="*/ 280325 h 3641849"/>
                <a:gd name="connsiteX86" fmla="*/ 1141484 w 1457148"/>
                <a:gd name="connsiteY86" fmla="*/ 258034 h 3641849"/>
                <a:gd name="connsiteX87" fmla="*/ 1195064 w 1457148"/>
                <a:gd name="connsiteY87" fmla="*/ 267906 h 3641849"/>
                <a:gd name="connsiteX88" fmla="*/ 1273848 w 1457148"/>
                <a:gd name="connsiteY88" fmla="*/ 279816 h 3641849"/>
                <a:gd name="connsiteX89" fmla="*/ 1358171 w 1457148"/>
                <a:gd name="connsiteY89" fmla="*/ 349175 h 3641849"/>
                <a:gd name="connsiteX90" fmla="*/ 1420306 w 1457148"/>
                <a:gd name="connsiteY90" fmla="*/ 425271 h 3641849"/>
                <a:gd name="connsiteX91" fmla="*/ 1319335 w 1457148"/>
                <a:gd name="connsiteY91" fmla="*/ 454265 h 3641849"/>
                <a:gd name="connsiteX92" fmla="*/ 1303801 w 1457148"/>
                <a:gd name="connsiteY92" fmla="*/ 501372 h 3641849"/>
                <a:gd name="connsiteX93" fmla="*/ 1361471 w 1457148"/>
                <a:gd name="connsiteY93" fmla="*/ 585862 h 3641849"/>
                <a:gd name="connsiteX94" fmla="*/ 1397005 w 1457148"/>
                <a:gd name="connsiteY94" fmla="*/ 591964 h 3641849"/>
                <a:gd name="connsiteX95" fmla="*/ 1449625 w 1457148"/>
                <a:gd name="connsiteY95" fmla="*/ 598304 h 3641849"/>
                <a:gd name="connsiteX96" fmla="*/ 1444662 w 1457148"/>
                <a:gd name="connsiteY96" fmla="*/ 709079 h 3641849"/>
                <a:gd name="connsiteX97" fmla="*/ 1455731 w 1457148"/>
                <a:gd name="connsiteY97" fmla="*/ 1040047 h 3641849"/>
                <a:gd name="connsiteX98" fmla="*/ 1446863 w 1457148"/>
                <a:gd name="connsiteY98" fmla="*/ 1842646 h 3641849"/>
                <a:gd name="connsiteX99" fmla="*/ 1455730 w 1457148"/>
                <a:gd name="connsiteY99" fmla="*/ 2297728 h 3641849"/>
                <a:gd name="connsiteX100" fmla="*/ 1429282 w 1457148"/>
                <a:gd name="connsiteY100" fmla="*/ 3607693 h 3641849"/>
                <a:gd name="connsiteX101" fmla="*/ 1170855 w 1457148"/>
                <a:gd name="connsiteY101" fmla="*/ 3564098 h 3641849"/>
                <a:gd name="connsiteX102" fmla="*/ 1002377 w 1457148"/>
                <a:gd name="connsiteY102" fmla="*/ 3497903 h 3641849"/>
                <a:gd name="connsiteX103" fmla="*/ 825031 w 1457148"/>
                <a:gd name="connsiteY103" fmla="*/ 3406887 h 3641849"/>
                <a:gd name="connsiteX104" fmla="*/ 726733 w 1457148"/>
                <a:gd name="connsiteY104" fmla="*/ 3326370 h 3641849"/>
                <a:gd name="connsiteX105" fmla="*/ 1020995 w 1457148"/>
                <a:gd name="connsiteY105" fmla="*/ 3018734 h 3641849"/>
                <a:gd name="connsiteX106" fmla="*/ 737241 w 1457148"/>
                <a:gd name="connsiteY106" fmla="*/ 2480910 h 3641849"/>
                <a:gd name="connsiteX107" fmla="*/ 879591 w 1457148"/>
                <a:gd name="connsiteY107" fmla="*/ 2241825 h 3641849"/>
                <a:gd name="connsiteX108" fmla="*/ 692904 w 1457148"/>
                <a:gd name="connsiteY108" fmla="*/ 1703134 h 3641849"/>
                <a:gd name="connsiteX109" fmla="*/ 444620 w 1457148"/>
                <a:gd name="connsiteY109" fmla="*/ 1471456 h 3641849"/>
                <a:gd name="connsiteX110" fmla="*/ 330454 w 1457148"/>
                <a:gd name="connsiteY110" fmla="*/ 1590914 h 3641849"/>
                <a:gd name="connsiteX0" fmla="*/ 330454 w 1457148"/>
                <a:gd name="connsiteY0" fmla="*/ 1590914 h 3641849"/>
                <a:gd name="connsiteX1" fmla="*/ 357124 w 1457148"/>
                <a:gd name="connsiteY1" fmla="*/ 1371456 h 3641849"/>
                <a:gd name="connsiteX2" fmla="*/ 249054 w 1457148"/>
                <a:gd name="connsiteY2" fmla="*/ 1410241 h 3641849"/>
                <a:gd name="connsiteX3" fmla="*/ 290620 w 1457148"/>
                <a:gd name="connsiteY3" fmla="*/ 1322328 h 3641849"/>
                <a:gd name="connsiteX4" fmla="*/ 107732 w 1457148"/>
                <a:gd name="connsiteY4" fmla="*/ 1151672 h 3641849"/>
                <a:gd name="connsiteX5" fmla="*/ 168695 w 1457148"/>
                <a:gd name="connsiteY5" fmla="*/ 1089617 h 3641849"/>
                <a:gd name="connsiteX6" fmla="*/ 102190 w 1457148"/>
                <a:gd name="connsiteY6" fmla="*/ 1050829 h 3641849"/>
                <a:gd name="connsiteX7" fmla="*/ 143755 w 1457148"/>
                <a:gd name="connsiteY7" fmla="*/ 1019802 h 3641849"/>
                <a:gd name="connsiteX8" fmla="*/ 96649 w 1457148"/>
                <a:gd name="connsiteY8" fmla="*/ 993947 h 3641849"/>
                <a:gd name="connsiteX9" fmla="*/ 96648 w 1457148"/>
                <a:gd name="connsiteY9" fmla="*/ 794845 h 3641849"/>
                <a:gd name="connsiteX10" fmla="*/ 135443 w 1457148"/>
                <a:gd name="connsiteY10" fmla="*/ 779332 h 3641849"/>
                <a:gd name="connsiteX11" fmla="*/ 21830 w 1457148"/>
                <a:gd name="connsiteY11" fmla="*/ 551792 h 3641849"/>
                <a:gd name="connsiteX12" fmla="*/ 19059 w 1457148"/>
                <a:gd name="connsiteY12" fmla="*/ 551792 h 3641849"/>
                <a:gd name="connsiteX13" fmla="*/ 68937 w 1457148"/>
                <a:gd name="connsiteY13" fmla="*/ 469048 h 3641849"/>
                <a:gd name="connsiteX14" fmla="*/ 85563 w 1457148"/>
                <a:gd name="connsiteY14" fmla="*/ 378550 h 3641849"/>
                <a:gd name="connsiteX15" fmla="*/ 10744 w 1457148"/>
                <a:gd name="connsiteY15" fmla="*/ 319079 h 3641849"/>
                <a:gd name="connsiteX16" fmla="*/ 2432 w 1457148"/>
                <a:gd name="connsiteY16" fmla="*/ 251851 h 3641849"/>
                <a:gd name="connsiteX17" fmla="*/ 57852 w 1457148"/>
                <a:gd name="connsiteY17" fmla="*/ 158764 h 3641849"/>
                <a:gd name="connsiteX18" fmla="*/ 77250 w 1457148"/>
                <a:gd name="connsiteY18" fmla="*/ 135494 h 3641849"/>
                <a:gd name="connsiteX19" fmla="*/ 91105 w 1457148"/>
                <a:gd name="connsiteY19" fmla="*/ 117394 h 3641849"/>
                <a:gd name="connsiteX20" fmla="*/ 99418 w 1457148"/>
                <a:gd name="connsiteY20" fmla="*/ 73438 h 3641849"/>
                <a:gd name="connsiteX21" fmla="*/ 124357 w 1457148"/>
                <a:gd name="connsiteY21" fmla="*/ 101880 h 3641849"/>
                <a:gd name="connsiteX22" fmla="*/ 154839 w 1457148"/>
                <a:gd name="connsiteY22" fmla="*/ 88952 h 3641849"/>
                <a:gd name="connsiteX23" fmla="*/ 157609 w 1457148"/>
                <a:gd name="connsiteY23" fmla="*/ 63095 h 3641849"/>
                <a:gd name="connsiteX24" fmla="*/ 165923 w 1457148"/>
                <a:gd name="connsiteY24" fmla="*/ 34652 h 3641849"/>
                <a:gd name="connsiteX25" fmla="*/ 168695 w 1457148"/>
                <a:gd name="connsiteY25" fmla="*/ 3624 h 3641849"/>
                <a:gd name="connsiteX26" fmla="*/ 304475 w 1457148"/>
                <a:gd name="connsiteY26" fmla="*/ 57924 h 3641849"/>
                <a:gd name="connsiteX27" fmla="*/ 334955 w 1457148"/>
                <a:gd name="connsiteY27" fmla="*/ 161352 h 3641849"/>
                <a:gd name="connsiteX28" fmla="*/ 348811 w 1457148"/>
                <a:gd name="connsiteY28" fmla="*/ 184622 h 3641849"/>
                <a:gd name="connsiteX29" fmla="*/ 359895 w 1457148"/>
                <a:gd name="connsiteY29" fmla="*/ 187208 h 3641849"/>
                <a:gd name="connsiteX30" fmla="*/ 473507 w 1457148"/>
                <a:gd name="connsiteY30" fmla="*/ 156181 h 3641849"/>
                <a:gd name="connsiteX31" fmla="*/ 540012 w 1457148"/>
                <a:gd name="connsiteY31" fmla="*/ 166522 h 3641849"/>
                <a:gd name="connsiteX32" fmla="*/ 603746 w 1457148"/>
                <a:gd name="connsiteY32" fmla="*/ 213065 h 3641849"/>
                <a:gd name="connsiteX33" fmla="*/ 617773 w 1457148"/>
                <a:gd name="connsiteY33" fmla="*/ 242621 h 3641849"/>
                <a:gd name="connsiteX34" fmla="*/ 673020 w 1457148"/>
                <a:gd name="connsiteY34" fmla="*/ 277708 h 3641849"/>
                <a:gd name="connsiteX35" fmla="*/ 761694 w 1457148"/>
                <a:gd name="connsiteY35" fmla="*/ 303563 h 3641849"/>
                <a:gd name="connsiteX36" fmla="*/ 833740 w 1457148"/>
                <a:gd name="connsiteY36" fmla="*/ 350106 h 3641849"/>
                <a:gd name="connsiteX37" fmla="*/ 883619 w 1457148"/>
                <a:gd name="connsiteY37" fmla="*/ 401820 h 3641849"/>
                <a:gd name="connsiteX38" fmla="*/ 908558 w 1457148"/>
                <a:gd name="connsiteY38" fmla="*/ 440606 h 3641849"/>
                <a:gd name="connsiteX39" fmla="*/ 941811 w 1457148"/>
                <a:gd name="connsiteY39" fmla="*/ 466462 h 3641849"/>
                <a:gd name="connsiteX40" fmla="*/ 925183 w 1457148"/>
                <a:gd name="connsiteY40" fmla="*/ 691417 h 3641849"/>
                <a:gd name="connsiteX41" fmla="*/ 797717 w 1457148"/>
                <a:gd name="connsiteY41" fmla="*/ 771575 h 3641849"/>
                <a:gd name="connsiteX42" fmla="*/ 684105 w 1457148"/>
                <a:gd name="connsiteY42" fmla="*/ 779331 h 3641849"/>
                <a:gd name="connsiteX43" fmla="*/ 545552 w 1457148"/>
                <a:gd name="connsiteY43" fmla="*/ 758645 h 3641849"/>
                <a:gd name="connsiteX44" fmla="*/ 454108 w 1457148"/>
                <a:gd name="connsiteY44" fmla="*/ 722445 h 3641849"/>
                <a:gd name="connsiteX45" fmla="*/ 434711 w 1457148"/>
                <a:gd name="connsiteY45" fmla="*/ 750888 h 3641849"/>
                <a:gd name="connsiteX46" fmla="*/ 465353 w 1457148"/>
                <a:gd name="connsiteY46" fmla="*/ 824301 h 3641849"/>
                <a:gd name="connsiteX47" fmla="*/ 470894 w 1457148"/>
                <a:gd name="connsiteY47" fmla="*/ 951000 h 3641849"/>
                <a:gd name="connsiteX48" fmla="*/ 443024 w 1457148"/>
                <a:gd name="connsiteY48" fmla="*/ 1012043 h 3641849"/>
                <a:gd name="connsiteX49" fmla="*/ 498443 w 1457148"/>
                <a:gd name="connsiteY49" fmla="*/ 1032728 h 3641849"/>
                <a:gd name="connsiteX50" fmla="*/ 515071 w 1457148"/>
                <a:gd name="connsiteY50" fmla="*/ 1048242 h 3641849"/>
                <a:gd name="connsiteX51" fmla="*/ 540011 w 1457148"/>
                <a:gd name="connsiteY51" fmla="*/ 1074099 h 3641849"/>
                <a:gd name="connsiteX52" fmla="*/ 537240 w 1457148"/>
                <a:gd name="connsiteY52" fmla="*/ 1076685 h 3641849"/>
                <a:gd name="connsiteX53" fmla="*/ 576033 w 1457148"/>
                <a:gd name="connsiteY53" fmla="*/ 1071514 h 3641849"/>
                <a:gd name="connsiteX54" fmla="*/ 584347 w 1457148"/>
                <a:gd name="connsiteY54" fmla="*/ 1035314 h 3641849"/>
                <a:gd name="connsiteX55" fmla="*/ 545552 w 1457148"/>
                <a:gd name="connsiteY55" fmla="*/ 957743 h 3641849"/>
                <a:gd name="connsiteX56" fmla="*/ 614828 w 1457148"/>
                <a:gd name="connsiteY56" fmla="*/ 911200 h 3641849"/>
                <a:gd name="connsiteX57" fmla="*/ 682600 w 1457148"/>
                <a:gd name="connsiteY57" fmla="*/ 918934 h 3641849"/>
                <a:gd name="connsiteX58" fmla="*/ 706433 w 1457148"/>
                <a:gd name="connsiteY58" fmla="*/ 951001 h 3641849"/>
                <a:gd name="connsiteX59" fmla="*/ 862162 w 1457148"/>
                <a:gd name="connsiteY59" fmla="*/ 1007364 h 3641849"/>
                <a:gd name="connsiteX60" fmla="*/ 847754 w 1457148"/>
                <a:gd name="connsiteY60" fmla="*/ 971687 h 3641849"/>
                <a:gd name="connsiteX61" fmla="*/ 814502 w 1457148"/>
                <a:gd name="connsiteY61" fmla="*/ 932901 h 3641849"/>
                <a:gd name="connsiteX62" fmla="*/ 803418 w 1457148"/>
                <a:gd name="connsiteY62" fmla="*/ 881187 h 3641849"/>
                <a:gd name="connsiteX63" fmla="*/ 842213 w 1457148"/>
                <a:gd name="connsiteY63" fmla="*/ 832060 h 3641849"/>
                <a:gd name="connsiteX64" fmla="*/ 869923 w 1457148"/>
                <a:gd name="connsiteY64" fmla="*/ 803617 h 3641849"/>
                <a:gd name="connsiteX65" fmla="*/ 894863 w 1457148"/>
                <a:gd name="connsiteY65" fmla="*/ 767417 h 3641849"/>
                <a:gd name="connsiteX66" fmla="*/ 975223 w 1457148"/>
                <a:gd name="connsiteY66" fmla="*/ 762245 h 3641849"/>
                <a:gd name="connsiteX67" fmla="*/ 980764 w 1457148"/>
                <a:gd name="connsiteY67" fmla="*/ 741560 h 3641849"/>
                <a:gd name="connsiteX68" fmla="*/ 1005704 w 1457148"/>
                <a:gd name="connsiteY68" fmla="*/ 705360 h 3641849"/>
                <a:gd name="connsiteX69" fmla="*/ 1039508 w 1457148"/>
                <a:gd name="connsiteY69" fmla="*/ 687772 h 3641849"/>
                <a:gd name="connsiteX70" fmla="*/ 1097148 w 1457148"/>
                <a:gd name="connsiteY70" fmla="*/ 700189 h 3641849"/>
                <a:gd name="connsiteX71" fmla="*/ 1135941 w 1457148"/>
                <a:gd name="connsiteY71" fmla="*/ 720875 h 3641849"/>
                <a:gd name="connsiteX72" fmla="*/ 1183049 w 1457148"/>
                <a:gd name="connsiteY72" fmla="*/ 728632 h 3641849"/>
                <a:gd name="connsiteX73" fmla="*/ 1183049 w 1457148"/>
                <a:gd name="connsiteY73" fmla="*/ 733803 h 3641849"/>
                <a:gd name="connsiteX74" fmla="*/ 1205218 w 1457148"/>
                <a:gd name="connsiteY74" fmla="*/ 674332 h 3641849"/>
                <a:gd name="connsiteX75" fmla="*/ 1215193 w 1457148"/>
                <a:gd name="connsiteY75" fmla="*/ 640714 h 3641849"/>
                <a:gd name="connsiteX76" fmla="*/ 1221844 w 1457148"/>
                <a:gd name="connsiteY76" fmla="*/ 622618 h 3641849"/>
                <a:gd name="connsiteX77" fmla="*/ 1224781 w 1457148"/>
                <a:gd name="connsiteY77" fmla="*/ 591288 h 3641849"/>
                <a:gd name="connsiteX78" fmla="*/ 1144255 w 1457148"/>
                <a:gd name="connsiteY78" fmla="*/ 545048 h 3641849"/>
                <a:gd name="connsiteX79" fmla="*/ 1130400 w 1457148"/>
                <a:gd name="connsiteY79" fmla="*/ 472648 h 3641849"/>
                <a:gd name="connsiteX80" fmla="*/ 1130400 w 1457148"/>
                <a:gd name="connsiteY80" fmla="*/ 454548 h 3641849"/>
                <a:gd name="connsiteX81" fmla="*/ 1141483 w 1457148"/>
                <a:gd name="connsiteY81" fmla="*/ 431276 h 3641849"/>
                <a:gd name="connsiteX82" fmla="*/ 1144255 w 1457148"/>
                <a:gd name="connsiteY82" fmla="*/ 415762 h 3641849"/>
                <a:gd name="connsiteX83" fmla="*/ 1144254 w 1457148"/>
                <a:gd name="connsiteY83" fmla="*/ 358878 h 3641849"/>
                <a:gd name="connsiteX84" fmla="*/ 1122086 w 1457148"/>
                <a:gd name="connsiteY84" fmla="*/ 335607 h 3641849"/>
                <a:gd name="connsiteX85" fmla="*/ 1094376 w 1457148"/>
                <a:gd name="connsiteY85" fmla="*/ 304578 h 3641849"/>
                <a:gd name="connsiteX86" fmla="*/ 1090208 w 1457148"/>
                <a:gd name="connsiteY86" fmla="*/ 280325 h 3641849"/>
                <a:gd name="connsiteX87" fmla="*/ 1141484 w 1457148"/>
                <a:gd name="connsiteY87" fmla="*/ 258034 h 3641849"/>
                <a:gd name="connsiteX88" fmla="*/ 1195064 w 1457148"/>
                <a:gd name="connsiteY88" fmla="*/ 267906 h 3641849"/>
                <a:gd name="connsiteX89" fmla="*/ 1273848 w 1457148"/>
                <a:gd name="connsiteY89" fmla="*/ 279816 h 3641849"/>
                <a:gd name="connsiteX90" fmla="*/ 1358171 w 1457148"/>
                <a:gd name="connsiteY90" fmla="*/ 349175 h 3641849"/>
                <a:gd name="connsiteX91" fmla="*/ 1420306 w 1457148"/>
                <a:gd name="connsiteY91" fmla="*/ 425271 h 3641849"/>
                <a:gd name="connsiteX92" fmla="*/ 1319335 w 1457148"/>
                <a:gd name="connsiteY92" fmla="*/ 454265 h 3641849"/>
                <a:gd name="connsiteX93" fmla="*/ 1303801 w 1457148"/>
                <a:gd name="connsiteY93" fmla="*/ 501372 h 3641849"/>
                <a:gd name="connsiteX94" fmla="*/ 1361471 w 1457148"/>
                <a:gd name="connsiteY94" fmla="*/ 585862 h 3641849"/>
                <a:gd name="connsiteX95" fmla="*/ 1397005 w 1457148"/>
                <a:gd name="connsiteY95" fmla="*/ 591964 h 3641849"/>
                <a:gd name="connsiteX96" fmla="*/ 1449625 w 1457148"/>
                <a:gd name="connsiteY96" fmla="*/ 598304 h 3641849"/>
                <a:gd name="connsiteX97" fmla="*/ 1444662 w 1457148"/>
                <a:gd name="connsiteY97" fmla="*/ 709079 h 3641849"/>
                <a:gd name="connsiteX98" fmla="*/ 1455731 w 1457148"/>
                <a:gd name="connsiteY98" fmla="*/ 1040047 h 3641849"/>
                <a:gd name="connsiteX99" fmla="*/ 1446863 w 1457148"/>
                <a:gd name="connsiteY99" fmla="*/ 1842646 h 3641849"/>
                <a:gd name="connsiteX100" fmla="*/ 1455730 w 1457148"/>
                <a:gd name="connsiteY100" fmla="*/ 2297728 h 3641849"/>
                <a:gd name="connsiteX101" fmla="*/ 1429282 w 1457148"/>
                <a:gd name="connsiteY101" fmla="*/ 3607693 h 3641849"/>
                <a:gd name="connsiteX102" fmla="*/ 1170855 w 1457148"/>
                <a:gd name="connsiteY102" fmla="*/ 3564098 h 3641849"/>
                <a:gd name="connsiteX103" fmla="*/ 1002377 w 1457148"/>
                <a:gd name="connsiteY103" fmla="*/ 3497903 h 3641849"/>
                <a:gd name="connsiteX104" fmla="*/ 825031 w 1457148"/>
                <a:gd name="connsiteY104" fmla="*/ 3406887 h 3641849"/>
                <a:gd name="connsiteX105" fmla="*/ 726733 w 1457148"/>
                <a:gd name="connsiteY105" fmla="*/ 3326370 h 3641849"/>
                <a:gd name="connsiteX106" fmla="*/ 1020995 w 1457148"/>
                <a:gd name="connsiteY106" fmla="*/ 3018734 h 3641849"/>
                <a:gd name="connsiteX107" fmla="*/ 737241 w 1457148"/>
                <a:gd name="connsiteY107" fmla="*/ 2480910 h 3641849"/>
                <a:gd name="connsiteX108" fmla="*/ 879591 w 1457148"/>
                <a:gd name="connsiteY108" fmla="*/ 2241825 h 3641849"/>
                <a:gd name="connsiteX109" fmla="*/ 692904 w 1457148"/>
                <a:gd name="connsiteY109" fmla="*/ 1703134 h 3641849"/>
                <a:gd name="connsiteX110" fmla="*/ 444620 w 1457148"/>
                <a:gd name="connsiteY110" fmla="*/ 1471456 h 3641849"/>
                <a:gd name="connsiteX111" fmla="*/ 330454 w 1457148"/>
                <a:gd name="connsiteY111" fmla="*/ 1590914 h 3641849"/>
                <a:gd name="connsiteX0" fmla="*/ 330454 w 1457148"/>
                <a:gd name="connsiteY0" fmla="*/ 1590914 h 3641849"/>
                <a:gd name="connsiteX1" fmla="*/ 357124 w 1457148"/>
                <a:gd name="connsiteY1" fmla="*/ 1371456 h 3641849"/>
                <a:gd name="connsiteX2" fmla="*/ 249054 w 1457148"/>
                <a:gd name="connsiteY2" fmla="*/ 1410241 h 3641849"/>
                <a:gd name="connsiteX3" fmla="*/ 260139 w 1457148"/>
                <a:gd name="connsiteY3" fmla="*/ 1299057 h 3641849"/>
                <a:gd name="connsiteX4" fmla="*/ 107732 w 1457148"/>
                <a:gd name="connsiteY4" fmla="*/ 1151672 h 3641849"/>
                <a:gd name="connsiteX5" fmla="*/ 168695 w 1457148"/>
                <a:gd name="connsiteY5" fmla="*/ 1089617 h 3641849"/>
                <a:gd name="connsiteX6" fmla="*/ 102190 w 1457148"/>
                <a:gd name="connsiteY6" fmla="*/ 1050829 h 3641849"/>
                <a:gd name="connsiteX7" fmla="*/ 143755 w 1457148"/>
                <a:gd name="connsiteY7" fmla="*/ 1019802 h 3641849"/>
                <a:gd name="connsiteX8" fmla="*/ 96649 w 1457148"/>
                <a:gd name="connsiteY8" fmla="*/ 993947 h 3641849"/>
                <a:gd name="connsiteX9" fmla="*/ 96648 w 1457148"/>
                <a:gd name="connsiteY9" fmla="*/ 794845 h 3641849"/>
                <a:gd name="connsiteX10" fmla="*/ 135443 w 1457148"/>
                <a:gd name="connsiteY10" fmla="*/ 779332 h 3641849"/>
                <a:gd name="connsiteX11" fmla="*/ 21830 w 1457148"/>
                <a:gd name="connsiteY11" fmla="*/ 551792 h 3641849"/>
                <a:gd name="connsiteX12" fmla="*/ 19059 w 1457148"/>
                <a:gd name="connsiteY12" fmla="*/ 551792 h 3641849"/>
                <a:gd name="connsiteX13" fmla="*/ 68937 w 1457148"/>
                <a:gd name="connsiteY13" fmla="*/ 469048 h 3641849"/>
                <a:gd name="connsiteX14" fmla="*/ 85563 w 1457148"/>
                <a:gd name="connsiteY14" fmla="*/ 378550 h 3641849"/>
                <a:gd name="connsiteX15" fmla="*/ 10744 w 1457148"/>
                <a:gd name="connsiteY15" fmla="*/ 319079 h 3641849"/>
                <a:gd name="connsiteX16" fmla="*/ 2432 w 1457148"/>
                <a:gd name="connsiteY16" fmla="*/ 251851 h 3641849"/>
                <a:gd name="connsiteX17" fmla="*/ 57852 w 1457148"/>
                <a:gd name="connsiteY17" fmla="*/ 158764 h 3641849"/>
                <a:gd name="connsiteX18" fmla="*/ 77250 w 1457148"/>
                <a:gd name="connsiteY18" fmla="*/ 135494 h 3641849"/>
                <a:gd name="connsiteX19" fmla="*/ 91105 w 1457148"/>
                <a:gd name="connsiteY19" fmla="*/ 117394 h 3641849"/>
                <a:gd name="connsiteX20" fmla="*/ 99418 w 1457148"/>
                <a:gd name="connsiteY20" fmla="*/ 73438 h 3641849"/>
                <a:gd name="connsiteX21" fmla="*/ 124357 w 1457148"/>
                <a:gd name="connsiteY21" fmla="*/ 101880 h 3641849"/>
                <a:gd name="connsiteX22" fmla="*/ 154839 w 1457148"/>
                <a:gd name="connsiteY22" fmla="*/ 88952 h 3641849"/>
                <a:gd name="connsiteX23" fmla="*/ 157609 w 1457148"/>
                <a:gd name="connsiteY23" fmla="*/ 63095 h 3641849"/>
                <a:gd name="connsiteX24" fmla="*/ 165923 w 1457148"/>
                <a:gd name="connsiteY24" fmla="*/ 34652 h 3641849"/>
                <a:gd name="connsiteX25" fmla="*/ 168695 w 1457148"/>
                <a:gd name="connsiteY25" fmla="*/ 3624 h 3641849"/>
                <a:gd name="connsiteX26" fmla="*/ 304475 w 1457148"/>
                <a:gd name="connsiteY26" fmla="*/ 57924 h 3641849"/>
                <a:gd name="connsiteX27" fmla="*/ 334955 w 1457148"/>
                <a:gd name="connsiteY27" fmla="*/ 161352 h 3641849"/>
                <a:gd name="connsiteX28" fmla="*/ 348811 w 1457148"/>
                <a:gd name="connsiteY28" fmla="*/ 184622 h 3641849"/>
                <a:gd name="connsiteX29" fmla="*/ 359895 w 1457148"/>
                <a:gd name="connsiteY29" fmla="*/ 187208 h 3641849"/>
                <a:gd name="connsiteX30" fmla="*/ 473507 w 1457148"/>
                <a:gd name="connsiteY30" fmla="*/ 156181 h 3641849"/>
                <a:gd name="connsiteX31" fmla="*/ 540012 w 1457148"/>
                <a:gd name="connsiteY31" fmla="*/ 166522 h 3641849"/>
                <a:gd name="connsiteX32" fmla="*/ 603746 w 1457148"/>
                <a:gd name="connsiteY32" fmla="*/ 213065 h 3641849"/>
                <a:gd name="connsiteX33" fmla="*/ 617773 w 1457148"/>
                <a:gd name="connsiteY33" fmla="*/ 242621 h 3641849"/>
                <a:gd name="connsiteX34" fmla="*/ 673020 w 1457148"/>
                <a:gd name="connsiteY34" fmla="*/ 277708 h 3641849"/>
                <a:gd name="connsiteX35" fmla="*/ 761694 w 1457148"/>
                <a:gd name="connsiteY35" fmla="*/ 303563 h 3641849"/>
                <a:gd name="connsiteX36" fmla="*/ 833740 w 1457148"/>
                <a:gd name="connsiteY36" fmla="*/ 350106 h 3641849"/>
                <a:gd name="connsiteX37" fmla="*/ 883619 w 1457148"/>
                <a:gd name="connsiteY37" fmla="*/ 401820 h 3641849"/>
                <a:gd name="connsiteX38" fmla="*/ 908558 w 1457148"/>
                <a:gd name="connsiteY38" fmla="*/ 440606 h 3641849"/>
                <a:gd name="connsiteX39" fmla="*/ 941811 w 1457148"/>
                <a:gd name="connsiteY39" fmla="*/ 466462 h 3641849"/>
                <a:gd name="connsiteX40" fmla="*/ 925183 w 1457148"/>
                <a:gd name="connsiteY40" fmla="*/ 691417 h 3641849"/>
                <a:gd name="connsiteX41" fmla="*/ 797717 w 1457148"/>
                <a:gd name="connsiteY41" fmla="*/ 771575 h 3641849"/>
                <a:gd name="connsiteX42" fmla="*/ 684105 w 1457148"/>
                <a:gd name="connsiteY42" fmla="*/ 779331 h 3641849"/>
                <a:gd name="connsiteX43" fmla="*/ 545552 w 1457148"/>
                <a:gd name="connsiteY43" fmla="*/ 758645 h 3641849"/>
                <a:gd name="connsiteX44" fmla="*/ 454108 w 1457148"/>
                <a:gd name="connsiteY44" fmla="*/ 722445 h 3641849"/>
                <a:gd name="connsiteX45" fmla="*/ 434711 w 1457148"/>
                <a:gd name="connsiteY45" fmla="*/ 750888 h 3641849"/>
                <a:gd name="connsiteX46" fmla="*/ 465353 w 1457148"/>
                <a:gd name="connsiteY46" fmla="*/ 824301 h 3641849"/>
                <a:gd name="connsiteX47" fmla="*/ 470894 w 1457148"/>
                <a:gd name="connsiteY47" fmla="*/ 951000 h 3641849"/>
                <a:gd name="connsiteX48" fmla="*/ 443024 w 1457148"/>
                <a:gd name="connsiteY48" fmla="*/ 1012043 h 3641849"/>
                <a:gd name="connsiteX49" fmla="*/ 498443 w 1457148"/>
                <a:gd name="connsiteY49" fmla="*/ 1032728 h 3641849"/>
                <a:gd name="connsiteX50" fmla="*/ 515071 w 1457148"/>
                <a:gd name="connsiteY50" fmla="*/ 1048242 h 3641849"/>
                <a:gd name="connsiteX51" fmla="*/ 540011 w 1457148"/>
                <a:gd name="connsiteY51" fmla="*/ 1074099 h 3641849"/>
                <a:gd name="connsiteX52" fmla="*/ 537240 w 1457148"/>
                <a:gd name="connsiteY52" fmla="*/ 1076685 h 3641849"/>
                <a:gd name="connsiteX53" fmla="*/ 576033 w 1457148"/>
                <a:gd name="connsiteY53" fmla="*/ 1071514 h 3641849"/>
                <a:gd name="connsiteX54" fmla="*/ 584347 w 1457148"/>
                <a:gd name="connsiteY54" fmla="*/ 1035314 h 3641849"/>
                <a:gd name="connsiteX55" fmla="*/ 545552 w 1457148"/>
                <a:gd name="connsiteY55" fmla="*/ 957743 h 3641849"/>
                <a:gd name="connsiteX56" fmla="*/ 614828 w 1457148"/>
                <a:gd name="connsiteY56" fmla="*/ 911200 h 3641849"/>
                <a:gd name="connsiteX57" fmla="*/ 682600 w 1457148"/>
                <a:gd name="connsiteY57" fmla="*/ 918934 h 3641849"/>
                <a:gd name="connsiteX58" fmla="*/ 706433 w 1457148"/>
                <a:gd name="connsiteY58" fmla="*/ 951001 h 3641849"/>
                <a:gd name="connsiteX59" fmla="*/ 862162 w 1457148"/>
                <a:gd name="connsiteY59" fmla="*/ 1007364 h 3641849"/>
                <a:gd name="connsiteX60" fmla="*/ 847754 w 1457148"/>
                <a:gd name="connsiteY60" fmla="*/ 971687 h 3641849"/>
                <a:gd name="connsiteX61" fmla="*/ 814502 w 1457148"/>
                <a:gd name="connsiteY61" fmla="*/ 932901 h 3641849"/>
                <a:gd name="connsiteX62" fmla="*/ 803418 w 1457148"/>
                <a:gd name="connsiteY62" fmla="*/ 881187 h 3641849"/>
                <a:gd name="connsiteX63" fmla="*/ 842213 w 1457148"/>
                <a:gd name="connsiteY63" fmla="*/ 832060 h 3641849"/>
                <a:gd name="connsiteX64" fmla="*/ 869923 w 1457148"/>
                <a:gd name="connsiteY64" fmla="*/ 803617 h 3641849"/>
                <a:gd name="connsiteX65" fmla="*/ 894863 w 1457148"/>
                <a:gd name="connsiteY65" fmla="*/ 767417 h 3641849"/>
                <a:gd name="connsiteX66" fmla="*/ 975223 w 1457148"/>
                <a:gd name="connsiteY66" fmla="*/ 762245 h 3641849"/>
                <a:gd name="connsiteX67" fmla="*/ 980764 w 1457148"/>
                <a:gd name="connsiteY67" fmla="*/ 741560 h 3641849"/>
                <a:gd name="connsiteX68" fmla="*/ 1005704 w 1457148"/>
                <a:gd name="connsiteY68" fmla="*/ 705360 h 3641849"/>
                <a:gd name="connsiteX69" fmla="*/ 1039508 w 1457148"/>
                <a:gd name="connsiteY69" fmla="*/ 687772 h 3641849"/>
                <a:gd name="connsiteX70" fmla="*/ 1097148 w 1457148"/>
                <a:gd name="connsiteY70" fmla="*/ 700189 h 3641849"/>
                <a:gd name="connsiteX71" fmla="*/ 1135941 w 1457148"/>
                <a:gd name="connsiteY71" fmla="*/ 720875 h 3641849"/>
                <a:gd name="connsiteX72" fmla="*/ 1183049 w 1457148"/>
                <a:gd name="connsiteY72" fmla="*/ 728632 h 3641849"/>
                <a:gd name="connsiteX73" fmla="*/ 1183049 w 1457148"/>
                <a:gd name="connsiteY73" fmla="*/ 733803 h 3641849"/>
                <a:gd name="connsiteX74" fmla="*/ 1205218 w 1457148"/>
                <a:gd name="connsiteY74" fmla="*/ 674332 h 3641849"/>
                <a:gd name="connsiteX75" fmla="*/ 1215193 w 1457148"/>
                <a:gd name="connsiteY75" fmla="*/ 640714 h 3641849"/>
                <a:gd name="connsiteX76" fmla="*/ 1221844 w 1457148"/>
                <a:gd name="connsiteY76" fmla="*/ 622618 h 3641849"/>
                <a:gd name="connsiteX77" fmla="*/ 1224781 w 1457148"/>
                <a:gd name="connsiteY77" fmla="*/ 591288 h 3641849"/>
                <a:gd name="connsiteX78" fmla="*/ 1144255 w 1457148"/>
                <a:gd name="connsiteY78" fmla="*/ 545048 h 3641849"/>
                <a:gd name="connsiteX79" fmla="*/ 1130400 w 1457148"/>
                <a:gd name="connsiteY79" fmla="*/ 472648 h 3641849"/>
                <a:gd name="connsiteX80" fmla="*/ 1130400 w 1457148"/>
                <a:gd name="connsiteY80" fmla="*/ 454548 h 3641849"/>
                <a:gd name="connsiteX81" fmla="*/ 1141483 w 1457148"/>
                <a:gd name="connsiteY81" fmla="*/ 431276 h 3641849"/>
                <a:gd name="connsiteX82" fmla="*/ 1144255 w 1457148"/>
                <a:gd name="connsiteY82" fmla="*/ 415762 h 3641849"/>
                <a:gd name="connsiteX83" fmla="*/ 1144254 w 1457148"/>
                <a:gd name="connsiteY83" fmla="*/ 358878 h 3641849"/>
                <a:gd name="connsiteX84" fmla="*/ 1122086 w 1457148"/>
                <a:gd name="connsiteY84" fmla="*/ 335607 h 3641849"/>
                <a:gd name="connsiteX85" fmla="*/ 1094376 w 1457148"/>
                <a:gd name="connsiteY85" fmla="*/ 304578 h 3641849"/>
                <a:gd name="connsiteX86" fmla="*/ 1090208 w 1457148"/>
                <a:gd name="connsiteY86" fmla="*/ 280325 h 3641849"/>
                <a:gd name="connsiteX87" fmla="*/ 1141484 w 1457148"/>
                <a:gd name="connsiteY87" fmla="*/ 258034 h 3641849"/>
                <a:gd name="connsiteX88" fmla="*/ 1195064 w 1457148"/>
                <a:gd name="connsiteY88" fmla="*/ 267906 h 3641849"/>
                <a:gd name="connsiteX89" fmla="*/ 1273848 w 1457148"/>
                <a:gd name="connsiteY89" fmla="*/ 279816 h 3641849"/>
                <a:gd name="connsiteX90" fmla="*/ 1358171 w 1457148"/>
                <a:gd name="connsiteY90" fmla="*/ 349175 h 3641849"/>
                <a:gd name="connsiteX91" fmla="*/ 1420306 w 1457148"/>
                <a:gd name="connsiteY91" fmla="*/ 425271 h 3641849"/>
                <a:gd name="connsiteX92" fmla="*/ 1319335 w 1457148"/>
                <a:gd name="connsiteY92" fmla="*/ 454265 h 3641849"/>
                <a:gd name="connsiteX93" fmla="*/ 1303801 w 1457148"/>
                <a:gd name="connsiteY93" fmla="*/ 501372 h 3641849"/>
                <a:gd name="connsiteX94" fmla="*/ 1361471 w 1457148"/>
                <a:gd name="connsiteY94" fmla="*/ 585862 h 3641849"/>
                <a:gd name="connsiteX95" fmla="*/ 1397005 w 1457148"/>
                <a:gd name="connsiteY95" fmla="*/ 591964 h 3641849"/>
                <a:gd name="connsiteX96" fmla="*/ 1449625 w 1457148"/>
                <a:gd name="connsiteY96" fmla="*/ 598304 h 3641849"/>
                <a:gd name="connsiteX97" fmla="*/ 1444662 w 1457148"/>
                <a:gd name="connsiteY97" fmla="*/ 709079 h 3641849"/>
                <a:gd name="connsiteX98" fmla="*/ 1455731 w 1457148"/>
                <a:gd name="connsiteY98" fmla="*/ 1040047 h 3641849"/>
                <a:gd name="connsiteX99" fmla="*/ 1446863 w 1457148"/>
                <a:gd name="connsiteY99" fmla="*/ 1842646 h 3641849"/>
                <a:gd name="connsiteX100" fmla="*/ 1455730 w 1457148"/>
                <a:gd name="connsiteY100" fmla="*/ 2297728 h 3641849"/>
                <a:gd name="connsiteX101" fmla="*/ 1429282 w 1457148"/>
                <a:gd name="connsiteY101" fmla="*/ 3607693 h 3641849"/>
                <a:gd name="connsiteX102" fmla="*/ 1170855 w 1457148"/>
                <a:gd name="connsiteY102" fmla="*/ 3564098 h 3641849"/>
                <a:gd name="connsiteX103" fmla="*/ 1002377 w 1457148"/>
                <a:gd name="connsiteY103" fmla="*/ 3497903 h 3641849"/>
                <a:gd name="connsiteX104" fmla="*/ 825031 w 1457148"/>
                <a:gd name="connsiteY104" fmla="*/ 3406887 h 3641849"/>
                <a:gd name="connsiteX105" fmla="*/ 726733 w 1457148"/>
                <a:gd name="connsiteY105" fmla="*/ 3326370 h 3641849"/>
                <a:gd name="connsiteX106" fmla="*/ 1020995 w 1457148"/>
                <a:gd name="connsiteY106" fmla="*/ 3018734 h 3641849"/>
                <a:gd name="connsiteX107" fmla="*/ 737241 w 1457148"/>
                <a:gd name="connsiteY107" fmla="*/ 2480910 h 3641849"/>
                <a:gd name="connsiteX108" fmla="*/ 879591 w 1457148"/>
                <a:gd name="connsiteY108" fmla="*/ 2241825 h 3641849"/>
                <a:gd name="connsiteX109" fmla="*/ 692904 w 1457148"/>
                <a:gd name="connsiteY109" fmla="*/ 1703134 h 3641849"/>
                <a:gd name="connsiteX110" fmla="*/ 444620 w 1457148"/>
                <a:gd name="connsiteY110" fmla="*/ 1471456 h 3641849"/>
                <a:gd name="connsiteX111" fmla="*/ 330454 w 1457148"/>
                <a:gd name="connsiteY111" fmla="*/ 1590914 h 3641849"/>
                <a:gd name="connsiteX0" fmla="*/ 330454 w 1457148"/>
                <a:gd name="connsiteY0" fmla="*/ 1590914 h 3641849"/>
                <a:gd name="connsiteX1" fmla="*/ 357124 w 1457148"/>
                <a:gd name="connsiteY1" fmla="*/ 1371456 h 3641849"/>
                <a:gd name="connsiteX2" fmla="*/ 116045 w 1457148"/>
                <a:gd name="connsiteY2" fmla="*/ 1472298 h 3641849"/>
                <a:gd name="connsiteX3" fmla="*/ 260139 w 1457148"/>
                <a:gd name="connsiteY3" fmla="*/ 1299057 h 3641849"/>
                <a:gd name="connsiteX4" fmla="*/ 107732 w 1457148"/>
                <a:gd name="connsiteY4" fmla="*/ 1151672 h 3641849"/>
                <a:gd name="connsiteX5" fmla="*/ 168695 w 1457148"/>
                <a:gd name="connsiteY5" fmla="*/ 1089617 h 3641849"/>
                <a:gd name="connsiteX6" fmla="*/ 102190 w 1457148"/>
                <a:gd name="connsiteY6" fmla="*/ 1050829 h 3641849"/>
                <a:gd name="connsiteX7" fmla="*/ 143755 w 1457148"/>
                <a:gd name="connsiteY7" fmla="*/ 1019802 h 3641849"/>
                <a:gd name="connsiteX8" fmla="*/ 96649 w 1457148"/>
                <a:gd name="connsiteY8" fmla="*/ 993947 h 3641849"/>
                <a:gd name="connsiteX9" fmla="*/ 96648 w 1457148"/>
                <a:gd name="connsiteY9" fmla="*/ 794845 h 3641849"/>
                <a:gd name="connsiteX10" fmla="*/ 135443 w 1457148"/>
                <a:gd name="connsiteY10" fmla="*/ 779332 h 3641849"/>
                <a:gd name="connsiteX11" fmla="*/ 21830 w 1457148"/>
                <a:gd name="connsiteY11" fmla="*/ 551792 h 3641849"/>
                <a:gd name="connsiteX12" fmla="*/ 19059 w 1457148"/>
                <a:gd name="connsiteY12" fmla="*/ 551792 h 3641849"/>
                <a:gd name="connsiteX13" fmla="*/ 68937 w 1457148"/>
                <a:gd name="connsiteY13" fmla="*/ 469048 h 3641849"/>
                <a:gd name="connsiteX14" fmla="*/ 85563 w 1457148"/>
                <a:gd name="connsiteY14" fmla="*/ 378550 h 3641849"/>
                <a:gd name="connsiteX15" fmla="*/ 10744 w 1457148"/>
                <a:gd name="connsiteY15" fmla="*/ 319079 h 3641849"/>
                <a:gd name="connsiteX16" fmla="*/ 2432 w 1457148"/>
                <a:gd name="connsiteY16" fmla="*/ 251851 h 3641849"/>
                <a:gd name="connsiteX17" fmla="*/ 57852 w 1457148"/>
                <a:gd name="connsiteY17" fmla="*/ 158764 h 3641849"/>
                <a:gd name="connsiteX18" fmla="*/ 77250 w 1457148"/>
                <a:gd name="connsiteY18" fmla="*/ 135494 h 3641849"/>
                <a:gd name="connsiteX19" fmla="*/ 91105 w 1457148"/>
                <a:gd name="connsiteY19" fmla="*/ 117394 h 3641849"/>
                <a:gd name="connsiteX20" fmla="*/ 99418 w 1457148"/>
                <a:gd name="connsiteY20" fmla="*/ 73438 h 3641849"/>
                <a:gd name="connsiteX21" fmla="*/ 124357 w 1457148"/>
                <a:gd name="connsiteY21" fmla="*/ 101880 h 3641849"/>
                <a:gd name="connsiteX22" fmla="*/ 154839 w 1457148"/>
                <a:gd name="connsiteY22" fmla="*/ 88952 h 3641849"/>
                <a:gd name="connsiteX23" fmla="*/ 157609 w 1457148"/>
                <a:gd name="connsiteY23" fmla="*/ 63095 h 3641849"/>
                <a:gd name="connsiteX24" fmla="*/ 165923 w 1457148"/>
                <a:gd name="connsiteY24" fmla="*/ 34652 h 3641849"/>
                <a:gd name="connsiteX25" fmla="*/ 168695 w 1457148"/>
                <a:gd name="connsiteY25" fmla="*/ 3624 h 3641849"/>
                <a:gd name="connsiteX26" fmla="*/ 304475 w 1457148"/>
                <a:gd name="connsiteY26" fmla="*/ 57924 h 3641849"/>
                <a:gd name="connsiteX27" fmla="*/ 334955 w 1457148"/>
                <a:gd name="connsiteY27" fmla="*/ 161352 h 3641849"/>
                <a:gd name="connsiteX28" fmla="*/ 348811 w 1457148"/>
                <a:gd name="connsiteY28" fmla="*/ 184622 h 3641849"/>
                <a:gd name="connsiteX29" fmla="*/ 359895 w 1457148"/>
                <a:gd name="connsiteY29" fmla="*/ 187208 h 3641849"/>
                <a:gd name="connsiteX30" fmla="*/ 473507 w 1457148"/>
                <a:gd name="connsiteY30" fmla="*/ 156181 h 3641849"/>
                <a:gd name="connsiteX31" fmla="*/ 540012 w 1457148"/>
                <a:gd name="connsiteY31" fmla="*/ 166522 h 3641849"/>
                <a:gd name="connsiteX32" fmla="*/ 603746 w 1457148"/>
                <a:gd name="connsiteY32" fmla="*/ 213065 h 3641849"/>
                <a:gd name="connsiteX33" fmla="*/ 617773 w 1457148"/>
                <a:gd name="connsiteY33" fmla="*/ 242621 h 3641849"/>
                <a:gd name="connsiteX34" fmla="*/ 673020 w 1457148"/>
                <a:gd name="connsiteY34" fmla="*/ 277708 h 3641849"/>
                <a:gd name="connsiteX35" fmla="*/ 761694 w 1457148"/>
                <a:gd name="connsiteY35" fmla="*/ 303563 h 3641849"/>
                <a:gd name="connsiteX36" fmla="*/ 833740 w 1457148"/>
                <a:gd name="connsiteY36" fmla="*/ 350106 h 3641849"/>
                <a:gd name="connsiteX37" fmla="*/ 883619 w 1457148"/>
                <a:gd name="connsiteY37" fmla="*/ 401820 h 3641849"/>
                <a:gd name="connsiteX38" fmla="*/ 908558 w 1457148"/>
                <a:gd name="connsiteY38" fmla="*/ 440606 h 3641849"/>
                <a:gd name="connsiteX39" fmla="*/ 941811 w 1457148"/>
                <a:gd name="connsiteY39" fmla="*/ 466462 h 3641849"/>
                <a:gd name="connsiteX40" fmla="*/ 925183 w 1457148"/>
                <a:gd name="connsiteY40" fmla="*/ 691417 h 3641849"/>
                <a:gd name="connsiteX41" fmla="*/ 797717 w 1457148"/>
                <a:gd name="connsiteY41" fmla="*/ 771575 h 3641849"/>
                <a:gd name="connsiteX42" fmla="*/ 684105 w 1457148"/>
                <a:gd name="connsiteY42" fmla="*/ 779331 h 3641849"/>
                <a:gd name="connsiteX43" fmla="*/ 545552 w 1457148"/>
                <a:gd name="connsiteY43" fmla="*/ 758645 h 3641849"/>
                <a:gd name="connsiteX44" fmla="*/ 454108 w 1457148"/>
                <a:gd name="connsiteY44" fmla="*/ 722445 h 3641849"/>
                <a:gd name="connsiteX45" fmla="*/ 434711 w 1457148"/>
                <a:gd name="connsiteY45" fmla="*/ 750888 h 3641849"/>
                <a:gd name="connsiteX46" fmla="*/ 465353 w 1457148"/>
                <a:gd name="connsiteY46" fmla="*/ 824301 h 3641849"/>
                <a:gd name="connsiteX47" fmla="*/ 470894 w 1457148"/>
                <a:gd name="connsiteY47" fmla="*/ 951000 h 3641849"/>
                <a:gd name="connsiteX48" fmla="*/ 443024 w 1457148"/>
                <a:gd name="connsiteY48" fmla="*/ 1012043 h 3641849"/>
                <a:gd name="connsiteX49" fmla="*/ 498443 w 1457148"/>
                <a:gd name="connsiteY49" fmla="*/ 1032728 h 3641849"/>
                <a:gd name="connsiteX50" fmla="*/ 515071 w 1457148"/>
                <a:gd name="connsiteY50" fmla="*/ 1048242 h 3641849"/>
                <a:gd name="connsiteX51" fmla="*/ 540011 w 1457148"/>
                <a:gd name="connsiteY51" fmla="*/ 1074099 h 3641849"/>
                <a:gd name="connsiteX52" fmla="*/ 537240 w 1457148"/>
                <a:gd name="connsiteY52" fmla="*/ 1076685 h 3641849"/>
                <a:gd name="connsiteX53" fmla="*/ 576033 w 1457148"/>
                <a:gd name="connsiteY53" fmla="*/ 1071514 h 3641849"/>
                <a:gd name="connsiteX54" fmla="*/ 584347 w 1457148"/>
                <a:gd name="connsiteY54" fmla="*/ 1035314 h 3641849"/>
                <a:gd name="connsiteX55" fmla="*/ 545552 w 1457148"/>
                <a:gd name="connsiteY55" fmla="*/ 957743 h 3641849"/>
                <a:gd name="connsiteX56" fmla="*/ 614828 w 1457148"/>
                <a:gd name="connsiteY56" fmla="*/ 911200 h 3641849"/>
                <a:gd name="connsiteX57" fmla="*/ 682600 w 1457148"/>
                <a:gd name="connsiteY57" fmla="*/ 918934 h 3641849"/>
                <a:gd name="connsiteX58" fmla="*/ 706433 w 1457148"/>
                <a:gd name="connsiteY58" fmla="*/ 951001 h 3641849"/>
                <a:gd name="connsiteX59" fmla="*/ 862162 w 1457148"/>
                <a:gd name="connsiteY59" fmla="*/ 1007364 h 3641849"/>
                <a:gd name="connsiteX60" fmla="*/ 847754 w 1457148"/>
                <a:gd name="connsiteY60" fmla="*/ 971687 h 3641849"/>
                <a:gd name="connsiteX61" fmla="*/ 814502 w 1457148"/>
                <a:gd name="connsiteY61" fmla="*/ 932901 h 3641849"/>
                <a:gd name="connsiteX62" fmla="*/ 803418 w 1457148"/>
                <a:gd name="connsiteY62" fmla="*/ 881187 h 3641849"/>
                <a:gd name="connsiteX63" fmla="*/ 842213 w 1457148"/>
                <a:gd name="connsiteY63" fmla="*/ 832060 h 3641849"/>
                <a:gd name="connsiteX64" fmla="*/ 869923 w 1457148"/>
                <a:gd name="connsiteY64" fmla="*/ 803617 h 3641849"/>
                <a:gd name="connsiteX65" fmla="*/ 894863 w 1457148"/>
                <a:gd name="connsiteY65" fmla="*/ 767417 h 3641849"/>
                <a:gd name="connsiteX66" fmla="*/ 975223 w 1457148"/>
                <a:gd name="connsiteY66" fmla="*/ 762245 h 3641849"/>
                <a:gd name="connsiteX67" fmla="*/ 980764 w 1457148"/>
                <a:gd name="connsiteY67" fmla="*/ 741560 h 3641849"/>
                <a:gd name="connsiteX68" fmla="*/ 1005704 w 1457148"/>
                <a:gd name="connsiteY68" fmla="*/ 705360 h 3641849"/>
                <a:gd name="connsiteX69" fmla="*/ 1039508 w 1457148"/>
                <a:gd name="connsiteY69" fmla="*/ 687772 h 3641849"/>
                <a:gd name="connsiteX70" fmla="*/ 1097148 w 1457148"/>
                <a:gd name="connsiteY70" fmla="*/ 700189 h 3641849"/>
                <a:gd name="connsiteX71" fmla="*/ 1135941 w 1457148"/>
                <a:gd name="connsiteY71" fmla="*/ 720875 h 3641849"/>
                <a:gd name="connsiteX72" fmla="*/ 1183049 w 1457148"/>
                <a:gd name="connsiteY72" fmla="*/ 728632 h 3641849"/>
                <a:gd name="connsiteX73" fmla="*/ 1183049 w 1457148"/>
                <a:gd name="connsiteY73" fmla="*/ 733803 h 3641849"/>
                <a:gd name="connsiteX74" fmla="*/ 1205218 w 1457148"/>
                <a:gd name="connsiteY74" fmla="*/ 674332 h 3641849"/>
                <a:gd name="connsiteX75" fmla="*/ 1215193 w 1457148"/>
                <a:gd name="connsiteY75" fmla="*/ 640714 h 3641849"/>
                <a:gd name="connsiteX76" fmla="*/ 1221844 w 1457148"/>
                <a:gd name="connsiteY76" fmla="*/ 622618 h 3641849"/>
                <a:gd name="connsiteX77" fmla="*/ 1224781 w 1457148"/>
                <a:gd name="connsiteY77" fmla="*/ 591288 h 3641849"/>
                <a:gd name="connsiteX78" fmla="*/ 1144255 w 1457148"/>
                <a:gd name="connsiteY78" fmla="*/ 545048 h 3641849"/>
                <a:gd name="connsiteX79" fmla="*/ 1130400 w 1457148"/>
                <a:gd name="connsiteY79" fmla="*/ 472648 h 3641849"/>
                <a:gd name="connsiteX80" fmla="*/ 1130400 w 1457148"/>
                <a:gd name="connsiteY80" fmla="*/ 454548 h 3641849"/>
                <a:gd name="connsiteX81" fmla="*/ 1141483 w 1457148"/>
                <a:gd name="connsiteY81" fmla="*/ 431276 h 3641849"/>
                <a:gd name="connsiteX82" fmla="*/ 1144255 w 1457148"/>
                <a:gd name="connsiteY82" fmla="*/ 415762 h 3641849"/>
                <a:gd name="connsiteX83" fmla="*/ 1144254 w 1457148"/>
                <a:gd name="connsiteY83" fmla="*/ 358878 h 3641849"/>
                <a:gd name="connsiteX84" fmla="*/ 1122086 w 1457148"/>
                <a:gd name="connsiteY84" fmla="*/ 335607 h 3641849"/>
                <a:gd name="connsiteX85" fmla="*/ 1094376 w 1457148"/>
                <a:gd name="connsiteY85" fmla="*/ 304578 h 3641849"/>
                <a:gd name="connsiteX86" fmla="*/ 1090208 w 1457148"/>
                <a:gd name="connsiteY86" fmla="*/ 280325 h 3641849"/>
                <a:gd name="connsiteX87" fmla="*/ 1141484 w 1457148"/>
                <a:gd name="connsiteY87" fmla="*/ 258034 h 3641849"/>
                <a:gd name="connsiteX88" fmla="*/ 1195064 w 1457148"/>
                <a:gd name="connsiteY88" fmla="*/ 267906 h 3641849"/>
                <a:gd name="connsiteX89" fmla="*/ 1273848 w 1457148"/>
                <a:gd name="connsiteY89" fmla="*/ 279816 h 3641849"/>
                <a:gd name="connsiteX90" fmla="*/ 1358171 w 1457148"/>
                <a:gd name="connsiteY90" fmla="*/ 349175 h 3641849"/>
                <a:gd name="connsiteX91" fmla="*/ 1420306 w 1457148"/>
                <a:gd name="connsiteY91" fmla="*/ 425271 h 3641849"/>
                <a:gd name="connsiteX92" fmla="*/ 1319335 w 1457148"/>
                <a:gd name="connsiteY92" fmla="*/ 454265 h 3641849"/>
                <a:gd name="connsiteX93" fmla="*/ 1303801 w 1457148"/>
                <a:gd name="connsiteY93" fmla="*/ 501372 h 3641849"/>
                <a:gd name="connsiteX94" fmla="*/ 1361471 w 1457148"/>
                <a:gd name="connsiteY94" fmla="*/ 585862 h 3641849"/>
                <a:gd name="connsiteX95" fmla="*/ 1397005 w 1457148"/>
                <a:gd name="connsiteY95" fmla="*/ 591964 h 3641849"/>
                <a:gd name="connsiteX96" fmla="*/ 1449625 w 1457148"/>
                <a:gd name="connsiteY96" fmla="*/ 598304 h 3641849"/>
                <a:gd name="connsiteX97" fmla="*/ 1444662 w 1457148"/>
                <a:gd name="connsiteY97" fmla="*/ 709079 h 3641849"/>
                <a:gd name="connsiteX98" fmla="*/ 1455731 w 1457148"/>
                <a:gd name="connsiteY98" fmla="*/ 1040047 h 3641849"/>
                <a:gd name="connsiteX99" fmla="*/ 1446863 w 1457148"/>
                <a:gd name="connsiteY99" fmla="*/ 1842646 h 3641849"/>
                <a:gd name="connsiteX100" fmla="*/ 1455730 w 1457148"/>
                <a:gd name="connsiteY100" fmla="*/ 2297728 h 3641849"/>
                <a:gd name="connsiteX101" fmla="*/ 1429282 w 1457148"/>
                <a:gd name="connsiteY101" fmla="*/ 3607693 h 3641849"/>
                <a:gd name="connsiteX102" fmla="*/ 1170855 w 1457148"/>
                <a:gd name="connsiteY102" fmla="*/ 3564098 h 3641849"/>
                <a:gd name="connsiteX103" fmla="*/ 1002377 w 1457148"/>
                <a:gd name="connsiteY103" fmla="*/ 3497903 h 3641849"/>
                <a:gd name="connsiteX104" fmla="*/ 825031 w 1457148"/>
                <a:gd name="connsiteY104" fmla="*/ 3406887 h 3641849"/>
                <a:gd name="connsiteX105" fmla="*/ 726733 w 1457148"/>
                <a:gd name="connsiteY105" fmla="*/ 3326370 h 3641849"/>
                <a:gd name="connsiteX106" fmla="*/ 1020995 w 1457148"/>
                <a:gd name="connsiteY106" fmla="*/ 3018734 h 3641849"/>
                <a:gd name="connsiteX107" fmla="*/ 737241 w 1457148"/>
                <a:gd name="connsiteY107" fmla="*/ 2480910 h 3641849"/>
                <a:gd name="connsiteX108" fmla="*/ 879591 w 1457148"/>
                <a:gd name="connsiteY108" fmla="*/ 2241825 h 3641849"/>
                <a:gd name="connsiteX109" fmla="*/ 692904 w 1457148"/>
                <a:gd name="connsiteY109" fmla="*/ 1703134 h 3641849"/>
                <a:gd name="connsiteX110" fmla="*/ 444620 w 1457148"/>
                <a:gd name="connsiteY110" fmla="*/ 1471456 h 3641849"/>
                <a:gd name="connsiteX111" fmla="*/ 330454 w 1457148"/>
                <a:gd name="connsiteY111" fmla="*/ 1590914 h 3641849"/>
                <a:gd name="connsiteX0" fmla="*/ 330454 w 1457148"/>
                <a:gd name="connsiteY0" fmla="*/ 1590914 h 3641849"/>
                <a:gd name="connsiteX1" fmla="*/ 357124 w 1457148"/>
                <a:gd name="connsiteY1" fmla="*/ 1371456 h 3641849"/>
                <a:gd name="connsiteX2" fmla="*/ 82793 w 1457148"/>
                <a:gd name="connsiteY2" fmla="*/ 1495570 h 3641849"/>
                <a:gd name="connsiteX3" fmla="*/ 260139 w 1457148"/>
                <a:gd name="connsiteY3" fmla="*/ 1299057 h 3641849"/>
                <a:gd name="connsiteX4" fmla="*/ 107732 w 1457148"/>
                <a:gd name="connsiteY4" fmla="*/ 1151672 h 3641849"/>
                <a:gd name="connsiteX5" fmla="*/ 168695 w 1457148"/>
                <a:gd name="connsiteY5" fmla="*/ 1089617 h 3641849"/>
                <a:gd name="connsiteX6" fmla="*/ 102190 w 1457148"/>
                <a:gd name="connsiteY6" fmla="*/ 1050829 h 3641849"/>
                <a:gd name="connsiteX7" fmla="*/ 143755 w 1457148"/>
                <a:gd name="connsiteY7" fmla="*/ 1019802 h 3641849"/>
                <a:gd name="connsiteX8" fmla="*/ 96649 w 1457148"/>
                <a:gd name="connsiteY8" fmla="*/ 993947 h 3641849"/>
                <a:gd name="connsiteX9" fmla="*/ 96648 w 1457148"/>
                <a:gd name="connsiteY9" fmla="*/ 794845 h 3641849"/>
                <a:gd name="connsiteX10" fmla="*/ 135443 w 1457148"/>
                <a:gd name="connsiteY10" fmla="*/ 779332 h 3641849"/>
                <a:gd name="connsiteX11" fmla="*/ 21830 w 1457148"/>
                <a:gd name="connsiteY11" fmla="*/ 551792 h 3641849"/>
                <a:gd name="connsiteX12" fmla="*/ 19059 w 1457148"/>
                <a:gd name="connsiteY12" fmla="*/ 551792 h 3641849"/>
                <a:gd name="connsiteX13" fmla="*/ 68937 w 1457148"/>
                <a:gd name="connsiteY13" fmla="*/ 469048 h 3641849"/>
                <a:gd name="connsiteX14" fmla="*/ 85563 w 1457148"/>
                <a:gd name="connsiteY14" fmla="*/ 378550 h 3641849"/>
                <a:gd name="connsiteX15" fmla="*/ 10744 w 1457148"/>
                <a:gd name="connsiteY15" fmla="*/ 319079 h 3641849"/>
                <a:gd name="connsiteX16" fmla="*/ 2432 w 1457148"/>
                <a:gd name="connsiteY16" fmla="*/ 251851 h 3641849"/>
                <a:gd name="connsiteX17" fmla="*/ 57852 w 1457148"/>
                <a:gd name="connsiteY17" fmla="*/ 158764 h 3641849"/>
                <a:gd name="connsiteX18" fmla="*/ 77250 w 1457148"/>
                <a:gd name="connsiteY18" fmla="*/ 135494 h 3641849"/>
                <a:gd name="connsiteX19" fmla="*/ 91105 w 1457148"/>
                <a:gd name="connsiteY19" fmla="*/ 117394 h 3641849"/>
                <a:gd name="connsiteX20" fmla="*/ 99418 w 1457148"/>
                <a:gd name="connsiteY20" fmla="*/ 73438 h 3641849"/>
                <a:gd name="connsiteX21" fmla="*/ 124357 w 1457148"/>
                <a:gd name="connsiteY21" fmla="*/ 101880 h 3641849"/>
                <a:gd name="connsiteX22" fmla="*/ 154839 w 1457148"/>
                <a:gd name="connsiteY22" fmla="*/ 88952 h 3641849"/>
                <a:gd name="connsiteX23" fmla="*/ 157609 w 1457148"/>
                <a:gd name="connsiteY23" fmla="*/ 63095 h 3641849"/>
                <a:gd name="connsiteX24" fmla="*/ 165923 w 1457148"/>
                <a:gd name="connsiteY24" fmla="*/ 34652 h 3641849"/>
                <a:gd name="connsiteX25" fmla="*/ 168695 w 1457148"/>
                <a:gd name="connsiteY25" fmla="*/ 3624 h 3641849"/>
                <a:gd name="connsiteX26" fmla="*/ 304475 w 1457148"/>
                <a:gd name="connsiteY26" fmla="*/ 57924 h 3641849"/>
                <a:gd name="connsiteX27" fmla="*/ 334955 w 1457148"/>
                <a:gd name="connsiteY27" fmla="*/ 161352 h 3641849"/>
                <a:gd name="connsiteX28" fmla="*/ 348811 w 1457148"/>
                <a:gd name="connsiteY28" fmla="*/ 184622 h 3641849"/>
                <a:gd name="connsiteX29" fmla="*/ 359895 w 1457148"/>
                <a:gd name="connsiteY29" fmla="*/ 187208 h 3641849"/>
                <a:gd name="connsiteX30" fmla="*/ 473507 w 1457148"/>
                <a:gd name="connsiteY30" fmla="*/ 156181 h 3641849"/>
                <a:gd name="connsiteX31" fmla="*/ 540012 w 1457148"/>
                <a:gd name="connsiteY31" fmla="*/ 166522 h 3641849"/>
                <a:gd name="connsiteX32" fmla="*/ 603746 w 1457148"/>
                <a:gd name="connsiteY32" fmla="*/ 213065 h 3641849"/>
                <a:gd name="connsiteX33" fmla="*/ 617773 w 1457148"/>
                <a:gd name="connsiteY33" fmla="*/ 242621 h 3641849"/>
                <a:gd name="connsiteX34" fmla="*/ 673020 w 1457148"/>
                <a:gd name="connsiteY34" fmla="*/ 277708 h 3641849"/>
                <a:gd name="connsiteX35" fmla="*/ 761694 w 1457148"/>
                <a:gd name="connsiteY35" fmla="*/ 303563 h 3641849"/>
                <a:gd name="connsiteX36" fmla="*/ 833740 w 1457148"/>
                <a:gd name="connsiteY36" fmla="*/ 350106 h 3641849"/>
                <a:gd name="connsiteX37" fmla="*/ 883619 w 1457148"/>
                <a:gd name="connsiteY37" fmla="*/ 401820 h 3641849"/>
                <a:gd name="connsiteX38" fmla="*/ 908558 w 1457148"/>
                <a:gd name="connsiteY38" fmla="*/ 440606 h 3641849"/>
                <a:gd name="connsiteX39" fmla="*/ 941811 w 1457148"/>
                <a:gd name="connsiteY39" fmla="*/ 466462 h 3641849"/>
                <a:gd name="connsiteX40" fmla="*/ 925183 w 1457148"/>
                <a:gd name="connsiteY40" fmla="*/ 691417 h 3641849"/>
                <a:gd name="connsiteX41" fmla="*/ 797717 w 1457148"/>
                <a:gd name="connsiteY41" fmla="*/ 771575 h 3641849"/>
                <a:gd name="connsiteX42" fmla="*/ 684105 w 1457148"/>
                <a:gd name="connsiteY42" fmla="*/ 779331 h 3641849"/>
                <a:gd name="connsiteX43" fmla="*/ 545552 w 1457148"/>
                <a:gd name="connsiteY43" fmla="*/ 758645 h 3641849"/>
                <a:gd name="connsiteX44" fmla="*/ 454108 w 1457148"/>
                <a:gd name="connsiteY44" fmla="*/ 722445 h 3641849"/>
                <a:gd name="connsiteX45" fmla="*/ 434711 w 1457148"/>
                <a:gd name="connsiteY45" fmla="*/ 750888 h 3641849"/>
                <a:gd name="connsiteX46" fmla="*/ 465353 w 1457148"/>
                <a:gd name="connsiteY46" fmla="*/ 824301 h 3641849"/>
                <a:gd name="connsiteX47" fmla="*/ 470894 w 1457148"/>
                <a:gd name="connsiteY47" fmla="*/ 951000 h 3641849"/>
                <a:gd name="connsiteX48" fmla="*/ 443024 w 1457148"/>
                <a:gd name="connsiteY48" fmla="*/ 1012043 h 3641849"/>
                <a:gd name="connsiteX49" fmla="*/ 498443 w 1457148"/>
                <a:gd name="connsiteY49" fmla="*/ 1032728 h 3641849"/>
                <a:gd name="connsiteX50" fmla="*/ 515071 w 1457148"/>
                <a:gd name="connsiteY50" fmla="*/ 1048242 h 3641849"/>
                <a:gd name="connsiteX51" fmla="*/ 540011 w 1457148"/>
                <a:gd name="connsiteY51" fmla="*/ 1074099 h 3641849"/>
                <a:gd name="connsiteX52" fmla="*/ 537240 w 1457148"/>
                <a:gd name="connsiteY52" fmla="*/ 1076685 h 3641849"/>
                <a:gd name="connsiteX53" fmla="*/ 576033 w 1457148"/>
                <a:gd name="connsiteY53" fmla="*/ 1071514 h 3641849"/>
                <a:gd name="connsiteX54" fmla="*/ 584347 w 1457148"/>
                <a:gd name="connsiteY54" fmla="*/ 1035314 h 3641849"/>
                <a:gd name="connsiteX55" fmla="*/ 545552 w 1457148"/>
                <a:gd name="connsiteY55" fmla="*/ 957743 h 3641849"/>
                <a:gd name="connsiteX56" fmla="*/ 614828 w 1457148"/>
                <a:gd name="connsiteY56" fmla="*/ 911200 h 3641849"/>
                <a:gd name="connsiteX57" fmla="*/ 682600 w 1457148"/>
                <a:gd name="connsiteY57" fmla="*/ 918934 h 3641849"/>
                <a:gd name="connsiteX58" fmla="*/ 706433 w 1457148"/>
                <a:gd name="connsiteY58" fmla="*/ 951001 h 3641849"/>
                <a:gd name="connsiteX59" fmla="*/ 862162 w 1457148"/>
                <a:gd name="connsiteY59" fmla="*/ 1007364 h 3641849"/>
                <a:gd name="connsiteX60" fmla="*/ 847754 w 1457148"/>
                <a:gd name="connsiteY60" fmla="*/ 971687 h 3641849"/>
                <a:gd name="connsiteX61" fmla="*/ 814502 w 1457148"/>
                <a:gd name="connsiteY61" fmla="*/ 932901 h 3641849"/>
                <a:gd name="connsiteX62" fmla="*/ 803418 w 1457148"/>
                <a:gd name="connsiteY62" fmla="*/ 881187 h 3641849"/>
                <a:gd name="connsiteX63" fmla="*/ 842213 w 1457148"/>
                <a:gd name="connsiteY63" fmla="*/ 832060 h 3641849"/>
                <a:gd name="connsiteX64" fmla="*/ 869923 w 1457148"/>
                <a:gd name="connsiteY64" fmla="*/ 803617 h 3641849"/>
                <a:gd name="connsiteX65" fmla="*/ 894863 w 1457148"/>
                <a:gd name="connsiteY65" fmla="*/ 767417 h 3641849"/>
                <a:gd name="connsiteX66" fmla="*/ 975223 w 1457148"/>
                <a:gd name="connsiteY66" fmla="*/ 762245 h 3641849"/>
                <a:gd name="connsiteX67" fmla="*/ 980764 w 1457148"/>
                <a:gd name="connsiteY67" fmla="*/ 741560 h 3641849"/>
                <a:gd name="connsiteX68" fmla="*/ 1005704 w 1457148"/>
                <a:gd name="connsiteY68" fmla="*/ 705360 h 3641849"/>
                <a:gd name="connsiteX69" fmla="*/ 1039508 w 1457148"/>
                <a:gd name="connsiteY69" fmla="*/ 687772 h 3641849"/>
                <a:gd name="connsiteX70" fmla="*/ 1097148 w 1457148"/>
                <a:gd name="connsiteY70" fmla="*/ 700189 h 3641849"/>
                <a:gd name="connsiteX71" fmla="*/ 1135941 w 1457148"/>
                <a:gd name="connsiteY71" fmla="*/ 720875 h 3641849"/>
                <a:gd name="connsiteX72" fmla="*/ 1183049 w 1457148"/>
                <a:gd name="connsiteY72" fmla="*/ 728632 h 3641849"/>
                <a:gd name="connsiteX73" fmla="*/ 1183049 w 1457148"/>
                <a:gd name="connsiteY73" fmla="*/ 733803 h 3641849"/>
                <a:gd name="connsiteX74" fmla="*/ 1205218 w 1457148"/>
                <a:gd name="connsiteY74" fmla="*/ 674332 h 3641849"/>
                <a:gd name="connsiteX75" fmla="*/ 1215193 w 1457148"/>
                <a:gd name="connsiteY75" fmla="*/ 640714 h 3641849"/>
                <a:gd name="connsiteX76" fmla="*/ 1221844 w 1457148"/>
                <a:gd name="connsiteY76" fmla="*/ 622618 h 3641849"/>
                <a:gd name="connsiteX77" fmla="*/ 1224781 w 1457148"/>
                <a:gd name="connsiteY77" fmla="*/ 591288 h 3641849"/>
                <a:gd name="connsiteX78" fmla="*/ 1144255 w 1457148"/>
                <a:gd name="connsiteY78" fmla="*/ 545048 h 3641849"/>
                <a:gd name="connsiteX79" fmla="*/ 1130400 w 1457148"/>
                <a:gd name="connsiteY79" fmla="*/ 472648 h 3641849"/>
                <a:gd name="connsiteX80" fmla="*/ 1130400 w 1457148"/>
                <a:gd name="connsiteY80" fmla="*/ 454548 h 3641849"/>
                <a:gd name="connsiteX81" fmla="*/ 1141483 w 1457148"/>
                <a:gd name="connsiteY81" fmla="*/ 431276 h 3641849"/>
                <a:gd name="connsiteX82" fmla="*/ 1144255 w 1457148"/>
                <a:gd name="connsiteY82" fmla="*/ 415762 h 3641849"/>
                <a:gd name="connsiteX83" fmla="*/ 1144254 w 1457148"/>
                <a:gd name="connsiteY83" fmla="*/ 358878 h 3641849"/>
                <a:gd name="connsiteX84" fmla="*/ 1122086 w 1457148"/>
                <a:gd name="connsiteY84" fmla="*/ 335607 h 3641849"/>
                <a:gd name="connsiteX85" fmla="*/ 1094376 w 1457148"/>
                <a:gd name="connsiteY85" fmla="*/ 304578 h 3641849"/>
                <a:gd name="connsiteX86" fmla="*/ 1090208 w 1457148"/>
                <a:gd name="connsiteY86" fmla="*/ 280325 h 3641849"/>
                <a:gd name="connsiteX87" fmla="*/ 1141484 w 1457148"/>
                <a:gd name="connsiteY87" fmla="*/ 258034 h 3641849"/>
                <a:gd name="connsiteX88" fmla="*/ 1195064 w 1457148"/>
                <a:gd name="connsiteY88" fmla="*/ 267906 h 3641849"/>
                <a:gd name="connsiteX89" fmla="*/ 1273848 w 1457148"/>
                <a:gd name="connsiteY89" fmla="*/ 279816 h 3641849"/>
                <a:gd name="connsiteX90" fmla="*/ 1358171 w 1457148"/>
                <a:gd name="connsiteY90" fmla="*/ 349175 h 3641849"/>
                <a:gd name="connsiteX91" fmla="*/ 1420306 w 1457148"/>
                <a:gd name="connsiteY91" fmla="*/ 425271 h 3641849"/>
                <a:gd name="connsiteX92" fmla="*/ 1319335 w 1457148"/>
                <a:gd name="connsiteY92" fmla="*/ 454265 h 3641849"/>
                <a:gd name="connsiteX93" fmla="*/ 1303801 w 1457148"/>
                <a:gd name="connsiteY93" fmla="*/ 501372 h 3641849"/>
                <a:gd name="connsiteX94" fmla="*/ 1361471 w 1457148"/>
                <a:gd name="connsiteY94" fmla="*/ 585862 h 3641849"/>
                <a:gd name="connsiteX95" fmla="*/ 1397005 w 1457148"/>
                <a:gd name="connsiteY95" fmla="*/ 591964 h 3641849"/>
                <a:gd name="connsiteX96" fmla="*/ 1449625 w 1457148"/>
                <a:gd name="connsiteY96" fmla="*/ 598304 h 3641849"/>
                <a:gd name="connsiteX97" fmla="*/ 1444662 w 1457148"/>
                <a:gd name="connsiteY97" fmla="*/ 709079 h 3641849"/>
                <a:gd name="connsiteX98" fmla="*/ 1455731 w 1457148"/>
                <a:gd name="connsiteY98" fmla="*/ 1040047 h 3641849"/>
                <a:gd name="connsiteX99" fmla="*/ 1446863 w 1457148"/>
                <a:gd name="connsiteY99" fmla="*/ 1842646 h 3641849"/>
                <a:gd name="connsiteX100" fmla="*/ 1455730 w 1457148"/>
                <a:gd name="connsiteY100" fmla="*/ 2297728 h 3641849"/>
                <a:gd name="connsiteX101" fmla="*/ 1429282 w 1457148"/>
                <a:gd name="connsiteY101" fmla="*/ 3607693 h 3641849"/>
                <a:gd name="connsiteX102" fmla="*/ 1170855 w 1457148"/>
                <a:gd name="connsiteY102" fmla="*/ 3564098 h 3641849"/>
                <a:gd name="connsiteX103" fmla="*/ 1002377 w 1457148"/>
                <a:gd name="connsiteY103" fmla="*/ 3497903 h 3641849"/>
                <a:gd name="connsiteX104" fmla="*/ 825031 w 1457148"/>
                <a:gd name="connsiteY104" fmla="*/ 3406887 h 3641849"/>
                <a:gd name="connsiteX105" fmla="*/ 726733 w 1457148"/>
                <a:gd name="connsiteY105" fmla="*/ 3326370 h 3641849"/>
                <a:gd name="connsiteX106" fmla="*/ 1020995 w 1457148"/>
                <a:gd name="connsiteY106" fmla="*/ 3018734 h 3641849"/>
                <a:gd name="connsiteX107" fmla="*/ 737241 w 1457148"/>
                <a:gd name="connsiteY107" fmla="*/ 2480910 h 3641849"/>
                <a:gd name="connsiteX108" fmla="*/ 879591 w 1457148"/>
                <a:gd name="connsiteY108" fmla="*/ 2241825 h 3641849"/>
                <a:gd name="connsiteX109" fmla="*/ 692904 w 1457148"/>
                <a:gd name="connsiteY109" fmla="*/ 1703134 h 3641849"/>
                <a:gd name="connsiteX110" fmla="*/ 444620 w 1457148"/>
                <a:gd name="connsiteY110" fmla="*/ 1471456 h 3641849"/>
                <a:gd name="connsiteX111" fmla="*/ 330454 w 1457148"/>
                <a:gd name="connsiteY111" fmla="*/ 1590914 h 3641849"/>
                <a:gd name="connsiteX0" fmla="*/ 330454 w 1457148"/>
                <a:gd name="connsiteY0" fmla="*/ 1590914 h 3641849"/>
                <a:gd name="connsiteX1" fmla="*/ 260139 w 1457148"/>
                <a:gd name="connsiteY1" fmla="*/ 1531770 h 3641849"/>
                <a:gd name="connsiteX2" fmla="*/ 82793 w 1457148"/>
                <a:gd name="connsiteY2" fmla="*/ 1495570 h 3641849"/>
                <a:gd name="connsiteX3" fmla="*/ 260139 w 1457148"/>
                <a:gd name="connsiteY3" fmla="*/ 1299057 h 3641849"/>
                <a:gd name="connsiteX4" fmla="*/ 107732 w 1457148"/>
                <a:gd name="connsiteY4" fmla="*/ 1151672 h 3641849"/>
                <a:gd name="connsiteX5" fmla="*/ 168695 w 1457148"/>
                <a:gd name="connsiteY5" fmla="*/ 1089617 h 3641849"/>
                <a:gd name="connsiteX6" fmla="*/ 102190 w 1457148"/>
                <a:gd name="connsiteY6" fmla="*/ 1050829 h 3641849"/>
                <a:gd name="connsiteX7" fmla="*/ 143755 w 1457148"/>
                <a:gd name="connsiteY7" fmla="*/ 1019802 h 3641849"/>
                <a:gd name="connsiteX8" fmla="*/ 96649 w 1457148"/>
                <a:gd name="connsiteY8" fmla="*/ 993947 h 3641849"/>
                <a:gd name="connsiteX9" fmla="*/ 96648 w 1457148"/>
                <a:gd name="connsiteY9" fmla="*/ 794845 h 3641849"/>
                <a:gd name="connsiteX10" fmla="*/ 135443 w 1457148"/>
                <a:gd name="connsiteY10" fmla="*/ 779332 h 3641849"/>
                <a:gd name="connsiteX11" fmla="*/ 21830 w 1457148"/>
                <a:gd name="connsiteY11" fmla="*/ 551792 h 3641849"/>
                <a:gd name="connsiteX12" fmla="*/ 19059 w 1457148"/>
                <a:gd name="connsiteY12" fmla="*/ 551792 h 3641849"/>
                <a:gd name="connsiteX13" fmla="*/ 68937 w 1457148"/>
                <a:gd name="connsiteY13" fmla="*/ 469048 h 3641849"/>
                <a:gd name="connsiteX14" fmla="*/ 85563 w 1457148"/>
                <a:gd name="connsiteY14" fmla="*/ 378550 h 3641849"/>
                <a:gd name="connsiteX15" fmla="*/ 10744 w 1457148"/>
                <a:gd name="connsiteY15" fmla="*/ 319079 h 3641849"/>
                <a:gd name="connsiteX16" fmla="*/ 2432 w 1457148"/>
                <a:gd name="connsiteY16" fmla="*/ 251851 h 3641849"/>
                <a:gd name="connsiteX17" fmla="*/ 57852 w 1457148"/>
                <a:gd name="connsiteY17" fmla="*/ 158764 h 3641849"/>
                <a:gd name="connsiteX18" fmla="*/ 77250 w 1457148"/>
                <a:gd name="connsiteY18" fmla="*/ 135494 h 3641849"/>
                <a:gd name="connsiteX19" fmla="*/ 91105 w 1457148"/>
                <a:gd name="connsiteY19" fmla="*/ 117394 h 3641849"/>
                <a:gd name="connsiteX20" fmla="*/ 99418 w 1457148"/>
                <a:gd name="connsiteY20" fmla="*/ 73438 h 3641849"/>
                <a:gd name="connsiteX21" fmla="*/ 124357 w 1457148"/>
                <a:gd name="connsiteY21" fmla="*/ 101880 h 3641849"/>
                <a:gd name="connsiteX22" fmla="*/ 154839 w 1457148"/>
                <a:gd name="connsiteY22" fmla="*/ 88952 h 3641849"/>
                <a:gd name="connsiteX23" fmla="*/ 157609 w 1457148"/>
                <a:gd name="connsiteY23" fmla="*/ 63095 h 3641849"/>
                <a:gd name="connsiteX24" fmla="*/ 165923 w 1457148"/>
                <a:gd name="connsiteY24" fmla="*/ 34652 h 3641849"/>
                <a:gd name="connsiteX25" fmla="*/ 168695 w 1457148"/>
                <a:gd name="connsiteY25" fmla="*/ 3624 h 3641849"/>
                <a:gd name="connsiteX26" fmla="*/ 304475 w 1457148"/>
                <a:gd name="connsiteY26" fmla="*/ 57924 h 3641849"/>
                <a:gd name="connsiteX27" fmla="*/ 334955 w 1457148"/>
                <a:gd name="connsiteY27" fmla="*/ 161352 h 3641849"/>
                <a:gd name="connsiteX28" fmla="*/ 348811 w 1457148"/>
                <a:gd name="connsiteY28" fmla="*/ 184622 h 3641849"/>
                <a:gd name="connsiteX29" fmla="*/ 359895 w 1457148"/>
                <a:gd name="connsiteY29" fmla="*/ 187208 h 3641849"/>
                <a:gd name="connsiteX30" fmla="*/ 473507 w 1457148"/>
                <a:gd name="connsiteY30" fmla="*/ 156181 h 3641849"/>
                <a:gd name="connsiteX31" fmla="*/ 540012 w 1457148"/>
                <a:gd name="connsiteY31" fmla="*/ 166522 h 3641849"/>
                <a:gd name="connsiteX32" fmla="*/ 603746 w 1457148"/>
                <a:gd name="connsiteY32" fmla="*/ 213065 h 3641849"/>
                <a:gd name="connsiteX33" fmla="*/ 617773 w 1457148"/>
                <a:gd name="connsiteY33" fmla="*/ 242621 h 3641849"/>
                <a:gd name="connsiteX34" fmla="*/ 673020 w 1457148"/>
                <a:gd name="connsiteY34" fmla="*/ 277708 h 3641849"/>
                <a:gd name="connsiteX35" fmla="*/ 761694 w 1457148"/>
                <a:gd name="connsiteY35" fmla="*/ 303563 h 3641849"/>
                <a:gd name="connsiteX36" fmla="*/ 833740 w 1457148"/>
                <a:gd name="connsiteY36" fmla="*/ 350106 h 3641849"/>
                <a:gd name="connsiteX37" fmla="*/ 883619 w 1457148"/>
                <a:gd name="connsiteY37" fmla="*/ 401820 h 3641849"/>
                <a:gd name="connsiteX38" fmla="*/ 908558 w 1457148"/>
                <a:gd name="connsiteY38" fmla="*/ 440606 h 3641849"/>
                <a:gd name="connsiteX39" fmla="*/ 941811 w 1457148"/>
                <a:gd name="connsiteY39" fmla="*/ 466462 h 3641849"/>
                <a:gd name="connsiteX40" fmla="*/ 925183 w 1457148"/>
                <a:gd name="connsiteY40" fmla="*/ 691417 h 3641849"/>
                <a:gd name="connsiteX41" fmla="*/ 797717 w 1457148"/>
                <a:gd name="connsiteY41" fmla="*/ 771575 h 3641849"/>
                <a:gd name="connsiteX42" fmla="*/ 684105 w 1457148"/>
                <a:gd name="connsiteY42" fmla="*/ 779331 h 3641849"/>
                <a:gd name="connsiteX43" fmla="*/ 545552 w 1457148"/>
                <a:gd name="connsiteY43" fmla="*/ 758645 h 3641849"/>
                <a:gd name="connsiteX44" fmla="*/ 454108 w 1457148"/>
                <a:gd name="connsiteY44" fmla="*/ 722445 h 3641849"/>
                <a:gd name="connsiteX45" fmla="*/ 434711 w 1457148"/>
                <a:gd name="connsiteY45" fmla="*/ 750888 h 3641849"/>
                <a:gd name="connsiteX46" fmla="*/ 465353 w 1457148"/>
                <a:gd name="connsiteY46" fmla="*/ 824301 h 3641849"/>
                <a:gd name="connsiteX47" fmla="*/ 470894 w 1457148"/>
                <a:gd name="connsiteY47" fmla="*/ 951000 h 3641849"/>
                <a:gd name="connsiteX48" fmla="*/ 443024 w 1457148"/>
                <a:gd name="connsiteY48" fmla="*/ 1012043 h 3641849"/>
                <a:gd name="connsiteX49" fmla="*/ 498443 w 1457148"/>
                <a:gd name="connsiteY49" fmla="*/ 1032728 h 3641849"/>
                <a:gd name="connsiteX50" fmla="*/ 515071 w 1457148"/>
                <a:gd name="connsiteY50" fmla="*/ 1048242 h 3641849"/>
                <a:gd name="connsiteX51" fmla="*/ 540011 w 1457148"/>
                <a:gd name="connsiteY51" fmla="*/ 1074099 h 3641849"/>
                <a:gd name="connsiteX52" fmla="*/ 537240 w 1457148"/>
                <a:gd name="connsiteY52" fmla="*/ 1076685 h 3641849"/>
                <a:gd name="connsiteX53" fmla="*/ 576033 w 1457148"/>
                <a:gd name="connsiteY53" fmla="*/ 1071514 h 3641849"/>
                <a:gd name="connsiteX54" fmla="*/ 584347 w 1457148"/>
                <a:gd name="connsiteY54" fmla="*/ 1035314 h 3641849"/>
                <a:gd name="connsiteX55" fmla="*/ 545552 w 1457148"/>
                <a:gd name="connsiteY55" fmla="*/ 957743 h 3641849"/>
                <a:gd name="connsiteX56" fmla="*/ 614828 w 1457148"/>
                <a:gd name="connsiteY56" fmla="*/ 911200 h 3641849"/>
                <a:gd name="connsiteX57" fmla="*/ 682600 w 1457148"/>
                <a:gd name="connsiteY57" fmla="*/ 918934 h 3641849"/>
                <a:gd name="connsiteX58" fmla="*/ 706433 w 1457148"/>
                <a:gd name="connsiteY58" fmla="*/ 951001 h 3641849"/>
                <a:gd name="connsiteX59" fmla="*/ 862162 w 1457148"/>
                <a:gd name="connsiteY59" fmla="*/ 1007364 h 3641849"/>
                <a:gd name="connsiteX60" fmla="*/ 847754 w 1457148"/>
                <a:gd name="connsiteY60" fmla="*/ 971687 h 3641849"/>
                <a:gd name="connsiteX61" fmla="*/ 814502 w 1457148"/>
                <a:gd name="connsiteY61" fmla="*/ 932901 h 3641849"/>
                <a:gd name="connsiteX62" fmla="*/ 803418 w 1457148"/>
                <a:gd name="connsiteY62" fmla="*/ 881187 h 3641849"/>
                <a:gd name="connsiteX63" fmla="*/ 842213 w 1457148"/>
                <a:gd name="connsiteY63" fmla="*/ 832060 h 3641849"/>
                <a:gd name="connsiteX64" fmla="*/ 869923 w 1457148"/>
                <a:gd name="connsiteY64" fmla="*/ 803617 h 3641849"/>
                <a:gd name="connsiteX65" fmla="*/ 894863 w 1457148"/>
                <a:gd name="connsiteY65" fmla="*/ 767417 h 3641849"/>
                <a:gd name="connsiteX66" fmla="*/ 975223 w 1457148"/>
                <a:gd name="connsiteY66" fmla="*/ 762245 h 3641849"/>
                <a:gd name="connsiteX67" fmla="*/ 980764 w 1457148"/>
                <a:gd name="connsiteY67" fmla="*/ 741560 h 3641849"/>
                <a:gd name="connsiteX68" fmla="*/ 1005704 w 1457148"/>
                <a:gd name="connsiteY68" fmla="*/ 705360 h 3641849"/>
                <a:gd name="connsiteX69" fmla="*/ 1039508 w 1457148"/>
                <a:gd name="connsiteY69" fmla="*/ 687772 h 3641849"/>
                <a:gd name="connsiteX70" fmla="*/ 1097148 w 1457148"/>
                <a:gd name="connsiteY70" fmla="*/ 700189 h 3641849"/>
                <a:gd name="connsiteX71" fmla="*/ 1135941 w 1457148"/>
                <a:gd name="connsiteY71" fmla="*/ 720875 h 3641849"/>
                <a:gd name="connsiteX72" fmla="*/ 1183049 w 1457148"/>
                <a:gd name="connsiteY72" fmla="*/ 728632 h 3641849"/>
                <a:gd name="connsiteX73" fmla="*/ 1183049 w 1457148"/>
                <a:gd name="connsiteY73" fmla="*/ 733803 h 3641849"/>
                <a:gd name="connsiteX74" fmla="*/ 1205218 w 1457148"/>
                <a:gd name="connsiteY74" fmla="*/ 674332 h 3641849"/>
                <a:gd name="connsiteX75" fmla="*/ 1215193 w 1457148"/>
                <a:gd name="connsiteY75" fmla="*/ 640714 h 3641849"/>
                <a:gd name="connsiteX76" fmla="*/ 1221844 w 1457148"/>
                <a:gd name="connsiteY76" fmla="*/ 622618 h 3641849"/>
                <a:gd name="connsiteX77" fmla="*/ 1224781 w 1457148"/>
                <a:gd name="connsiteY77" fmla="*/ 591288 h 3641849"/>
                <a:gd name="connsiteX78" fmla="*/ 1144255 w 1457148"/>
                <a:gd name="connsiteY78" fmla="*/ 545048 h 3641849"/>
                <a:gd name="connsiteX79" fmla="*/ 1130400 w 1457148"/>
                <a:gd name="connsiteY79" fmla="*/ 472648 h 3641849"/>
                <a:gd name="connsiteX80" fmla="*/ 1130400 w 1457148"/>
                <a:gd name="connsiteY80" fmla="*/ 454548 h 3641849"/>
                <a:gd name="connsiteX81" fmla="*/ 1141483 w 1457148"/>
                <a:gd name="connsiteY81" fmla="*/ 431276 h 3641849"/>
                <a:gd name="connsiteX82" fmla="*/ 1144255 w 1457148"/>
                <a:gd name="connsiteY82" fmla="*/ 415762 h 3641849"/>
                <a:gd name="connsiteX83" fmla="*/ 1144254 w 1457148"/>
                <a:gd name="connsiteY83" fmla="*/ 358878 h 3641849"/>
                <a:gd name="connsiteX84" fmla="*/ 1122086 w 1457148"/>
                <a:gd name="connsiteY84" fmla="*/ 335607 h 3641849"/>
                <a:gd name="connsiteX85" fmla="*/ 1094376 w 1457148"/>
                <a:gd name="connsiteY85" fmla="*/ 304578 h 3641849"/>
                <a:gd name="connsiteX86" fmla="*/ 1090208 w 1457148"/>
                <a:gd name="connsiteY86" fmla="*/ 280325 h 3641849"/>
                <a:gd name="connsiteX87" fmla="*/ 1141484 w 1457148"/>
                <a:gd name="connsiteY87" fmla="*/ 258034 h 3641849"/>
                <a:gd name="connsiteX88" fmla="*/ 1195064 w 1457148"/>
                <a:gd name="connsiteY88" fmla="*/ 267906 h 3641849"/>
                <a:gd name="connsiteX89" fmla="*/ 1273848 w 1457148"/>
                <a:gd name="connsiteY89" fmla="*/ 279816 h 3641849"/>
                <a:gd name="connsiteX90" fmla="*/ 1358171 w 1457148"/>
                <a:gd name="connsiteY90" fmla="*/ 349175 h 3641849"/>
                <a:gd name="connsiteX91" fmla="*/ 1420306 w 1457148"/>
                <a:gd name="connsiteY91" fmla="*/ 425271 h 3641849"/>
                <a:gd name="connsiteX92" fmla="*/ 1319335 w 1457148"/>
                <a:gd name="connsiteY92" fmla="*/ 454265 h 3641849"/>
                <a:gd name="connsiteX93" fmla="*/ 1303801 w 1457148"/>
                <a:gd name="connsiteY93" fmla="*/ 501372 h 3641849"/>
                <a:gd name="connsiteX94" fmla="*/ 1361471 w 1457148"/>
                <a:gd name="connsiteY94" fmla="*/ 585862 h 3641849"/>
                <a:gd name="connsiteX95" fmla="*/ 1397005 w 1457148"/>
                <a:gd name="connsiteY95" fmla="*/ 591964 h 3641849"/>
                <a:gd name="connsiteX96" fmla="*/ 1449625 w 1457148"/>
                <a:gd name="connsiteY96" fmla="*/ 598304 h 3641849"/>
                <a:gd name="connsiteX97" fmla="*/ 1444662 w 1457148"/>
                <a:gd name="connsiteY97" fmla="*/ 709079 h 3641849"/>
                <a:gd name="connsiteX98" fmla="*/ 1455731 w 1457148"/>
                <a:gd name="connsiteY98" fmla="*/ 1040047 h 3641849"/>
                <a:gd name="connsiteX99" fmla="*/ 1446863 w 1457148"/>
                <a:gd name="connsiteY99" fmla="*/ 1842646 h 3641849"/>
                <a:gd name="connsiteX100" fmla="*/ 1455730 w 1457148"/>
                <a:gd name="connsiteY100" fmla="*/ 2297728 h 3641849"/>
                <a:gd name="connsiteX101" fmla="*/ 1429282 w 1457148"/>
                <a:gd name="connsiteY101" fmla="*/ 3607693 h 3641849"/>
                <a:gd name="connsiteX102" fmla="*/ 1170855 w 1457148"/>
                <a:gd name="connsiteY102" fmla="*/ 3564098 h 3641849"/>
                <a:gd name="connsiteX103" fmla="*/ 1002377 w 1457148"/>
                <a:gd name="connsiteY103" fmla="*/ 3497903 h 3641849"/>
                <a:gd name="connsiteX104" fmla="*/ 825031 w 1457148"/>
                <a:gd name="connsiteY104" fmla="*/ 3406887 h 3641849"/>
                <a:gd name="connsiteX105" fmla="*/ 726733 w 1457148"/>
                <a:gd name="connsiteY105" fmla="*/ 3326370 h 3641849"/>
                <a:gd name="connsiteX106" fmla="*/ 1020995 w 1457148"/>
                <a:gd name="connsiteY106" fmla="*/ 3018734 h 3641849"/>
                <a:gd name="connsiteX107" fmla="*/ 737241 w 1457148"/>
                <a:gd name="connsiteY107" fmla="*/ 2480910 h 3641849"/>
                <a:gd name="connsiteX108" fmla="*/ 879591 w 1457148"/>
                <a:gd name="connsiteY108" fmla="*/ 2241825 h 3641849"/>
                <a:gd name="connsiteX109" fmla="*/ 692904 w 1457148"/>
                <a:gd name="connsiteY109" fmla="*/ 1703134 h 3641849"/>
                <a:gd name="connsiteX110" fmla="*/ 444620 w 1457148"/>
                <a:gd name="connsiteY110" fmla="*/ 1471456 h 3641849"/>
                <a:gd name="connsiteX111" fmla="*/ 330454 w 1457148"/>
                <a:gd name="connsiteY111" fmla="*/ 1590914 h 3641849"/>
                <a:gd name="connsiteX0" fmla="*/ 330454 w 1457148"/>
                <a:gd name="connsiteY0" fmla="*/ 1590914 h 3641849"/>
                <a:gd name="connsiteX1" fmla="*/ 260139 w 1457148"/>
                <a:gd name="connsiteY1" fmla="*/ 1531770 h 3641849"/>
                <a:gd name="connsiteX2" fmla="*/ 143755 w 1457148"/>
                <a:gd name="connsiteY2" fmla="*/ 1485227 h 3641849"/>
                <a:gd name="connsiteX3" fmla="*/ 82793 w 1457148"/>
                <a:gd name="connsiteY3" fmla="*/ 1495570 h 3641849"/>
                <a:gd name="connsiteX4" fmla="*/ 260139 w 1457148"/>
                <a:gd name="connsiteY4" fmla="*/ 1299057 h 3641849"/>
                <a:gd name="connsiteX5" fmla="*/ 107732 w 1457148"/>
                <a:gd name="connsiteY5" fmla="*/ 1151672 h 3641849"/>
                <a:gd name="connsiteX6" fmla="*/ 168695 w 1457148"/>
                <a:gd name="connsiteY6" fmla="*/ 1089617 h 3641849"/>
                <a:gd name="connsiteX7" fmla="*/ 102190 w 1457148"/>
                <a:gd name="connsiteY7" fmla="*/ 1050829 h 3641849"/>
                <a:gd name="connsiteX8" fmla="*/ 143755 w 1457148"/>
                <a:gd name="connsiteY8" fmla="*/ 1019802 h 3641849"/>
                <a:gd name="connsiteX9" fmla="*/ 96649 w 1457148"/>
                <a:gd name="connsiteY9" fmla="*/ 993947 h 3641849"/>
                <a:gd name="connsiteX10" fmla="*/ 96648 w 1457148"/>
                <a:gd name="connsiteY10" fmla="*/ 794845 h 3641849"/>
                <a:gd name="connsiteX11" fmla="*/ 135443 w 1457148"/>
                <a:gd name="connsiteY11" fmla="*/ 779332 h 3641849"/>
                <a:gd name="connsiteX12" fmla="*/ 21830 w 1457148"/>
                <a:gd name="connsiteY12" fmla="*/ 551792 h 3641849"/>
                <a:gd name="connsiteX13" fmla="*/ 19059 w 1457148"/>
                <a:gd name="connsiteY13" fmla="*/ 551792 h 3641849"/>
                <a:gd name="connsiteX14" fmla="*/ 68937 w 1457148"/>
                <a:gd name="connsiteY14" fmla="*/ 469048 h 3641849"/>
                <a:gd name="connsiteX15" fmla="*/ 85563 w 1457148"/>
                <a:gd name="connsiteY15" fmla="*/ 378550 h 3641849"/>
                <a:gd name="connsiteX16" fmla="*/ 10744 w 1457148"/>
                <a:gd name="connsiteY16" fmla="*/ 319079 h 3641849"/>
                <a:gd name="connsiteX17" fmla="*/ 2432 w 1457148"/>
                <a:gd name="connsiteY17" fmla="*/ 251851 h 3641849"/>
                <a:gd name="connsiteX18" fmla="*/ 57852 w 1457148"/>
                <a:gd name="connsiteY18" fmla="*/ 158764 h 3641849"/>
                <a:gd name="connsiteX19" fmla="*/ 77250 w 1457148"/>
                <a:gd name="connsiteY19" fmla="*/ 135494 h 3641849"/>
                <a:gd name="connsiteX20" fmla="*/ 91105 w 1457148"/>
                <a:gd name="connsiteY20" fmla="*/ 117394 h 3641849"/>
                <a:gd name="connsiteX21" fmla="*/ 99418 w 1457148"/>
                <a:gd name="connsiteY21" fmla="*/ 73438 h 3641849"/>
                <a:gd name="connsiteX22" fmla="*/ 124357 w 1457148"/>
                <a:gd name="connsiteY22" fmla="*/ 101880 h 3641849"/>
                <a:gd name="connsiteX23" fmla="*/ 154839 w 1457148"/>
                <a:gd name="connsiteY23" fmla="*/ 88952 h 3641849"/>
                <a:gd name="connsiteX24" fmla="*/ 157609 w 1457148"/>
                <a:gd name="connsiteY24" fmla="*/ 63095 h 3641849"/>
                <a:gd name="connsiteX25" fmla="*/ 165923 w 1457148"/>
                <a:gd name="connsiteY25" fmla="*/ 34652 h 3641849"/>
                <a:gd name="connsiteX26" fmla="*/ 168695 w 1457148"/>
                <a:gd name="connsiteY26" fmla="*/ 3624 h 3641849"/>
                <a:gd name="connsiteX27" fmla="*/ 304475 w 1457148"/>
                <a:gd name="connsiteY27" fmla="*/ 57924 h 3641849"/>
                <a:gd name="connsiteX28" fmla="*/ 334955 w 1457148"/>
                <a:gd name="connsiteY28" fmla="*/ 161352 h 3641849"/>
                <a:gd name="connsiteX29" fmla="*/ 348811 w 1457148"/>
                <a:gd name="connsiteY29" fmla="*/ 184622 h 3641849"/>
                <a:gd name="connsiteX30" fmla="*/ 359895 w 1457148"/>
                <a:gd name="connsiteY30" fmla="*/ 187208 h 3641849"/>
                <a:gd name="connsiteX31" fmla="*/ 473507 w 1457148"/>
                <a:gd name="connsiteY31" fmla="*/ 156181 h 3641849"/>
                <a:gd name="connsiteX32" fmla="*/ 540012 w 1457148"/>
                <a:gd name="connsiteY32" fmla="*/ 166522 h 3641849"/>
                <a:gd name="connsiteX33" fmla="*/ 603746 w 1457148"/>
                <a:gd name="connsiteY33" fmla="*/ 213065 h 3641849"/>
                <a:gd name="connsiteX34" fmla="*/ 617773 w 1457148"/>
                <a:gd name="connsiteY34" fmla="*/ 242621 h 3641849"/>
                <a:gd name="connsiteX35" fmla="*/ 673020 w 1457148"/>
                <a:gd name="connsiteY35" fmla="*/ 277708 h 3641849"/>
                <a:gd name="connsiteX36" fmla="*/ 761694 w 1457148"/>
                <a:gd name="connsiteY36" fmla="*/ 303563 h 3641849"/>
                <a:gd name="connsiteX37" fmla="*/ 833740 w 1457148"/>
                <a:gd name="connsiteY37" fmla="*/ 350106 h 3641849"/>
                <a:gd name="connsiteX38" fmla="*/ 883619 w 1457148"/>
                <a:gd name="connsiteY38" fmla="*/ 401820 h 3641849"/>
                <a:gd name="connsiteX39" fmla="*/ 908558 w 1457148"/>
                <a:gd name="connsiteY39" fmla="*/ 440606 h 3641849"/>
                <a:gd name="connsiteX40" fmla="*/ 941811 w 1457148"/>
                <a:gd name="connsiteY40" fmla="*/ 466462 h 3641849"/>
                <a:gd name="connsiteX41" fmla="*/ 925183 w 1457148"/>
                <a:gd name="connsiteY41" fmla="*/ 691417 h 3641849"/>
                <a:gd name="connsiteX42" fmla="*/ 797717 w 1457148"/>
                <a:gd name="connsiteY42" fmla="*/ 771575 h 3641849"/>
                <a:gd name="connsiteX43" fmla="*/ 684105 w 1457148"/>
                <a:gd name="connsiteY43" fmla="*/ 779331 h 3641849"/>
                <a:gd name="connsiteX44" fmla="*/ 545552 w 1457148"/>
                <a:gd name="connsiteY44" fmla="*/ 758645 h 3641849"/>
                <a:gd name="connsiteX45" fmla="*/ 454108 w 1457148"/>
                <a:gd name="connsiteY45" fmla="*/ 722445 h 3641849"/>
                <a:gd name="connsiteX46" fmla="*/ 434711 w 1457148"/>
                <a:gd name="connsiteY46" fmla="*/ 750888 h 3641849"/>
                <a:gd name="connsiteX47" fmla="*/ 465353 w 1457148"/>
                <a:gd name="connsiteY47" fmla="*/ 824301 h 3641849"/>
                <a:gd name="connsiteX48" fmla="*/ 470894 w 1457148"/>
                <a:gd name="connsiteY48" fmla="*/ 951000 h 3641849"/>
                <a:gd name="connsiteX49" fmla="*/ 443024 w 1457148"/>
                <a:gd name="connsiteY49" fmla="*/ 1012043 h 3641849"/>
                <a:gd name="connsiteX50" fmla="*/ 498443 w 1457148"/>
                <a:gd name="connsiteY50" fmla="*/ 1032728 h 3641849"/>
                <a:gd name="connsiteX51" fmla="*/ 515071 w 1457148"/>
                <a:gd name="connsiteY51" fmla="*/ 1048242 h 3641849"/>
                <a:gd name="connsiteX52" fmla="*/ 540011 w 1457148"/>
                <a:gd name="connsiteY52" fmla="*/ 1074099 h 3641849"/>
                <a:gd name="connsiteX53" fmla="*/ 537240 w 1457148"/>
                <a:gd name="connsiteY53" fmla="*/ 1076685 h 3641849"/>
                <a:gd name="connsiteX54" fmla="*/ 576033 w 1457148"/>
                <a:gd name="connsiteY54" fmla="*/ 1071514 h 3641849"/>
                <a:gd name="connsiteX55" fmla="*/ 584347 w 1457148"/>
                <a:gd name="connsiteY55" fmla="*/ 1035314 h 3641849"/>
                <a:gd name="connsiteX56" fmla="*/ 545552 w 1457148"/>
                <a:gd name="connsiteY56" fmla="*/ 957743 h 3641849"/>
                <a:gd name="connsiteX57" fmla="*/ 614828 w 1457148"/>
                <a:gd name="connsiteY57" fmla="*/ 911200 h 3641849"/>
                <a:gd name="connsiteX58" fmla="*/ 682600 w 1457148"/>
                <a:gd name="connsiteY58" fmla="*/ 918934 h 3641849"/>
                <a:gd name="connsiteX59" fmla="*/ 706433 w 1457148"/>
                <a:gd name="connsiteY59" fmla="*/ 951001 h 3641849"/>
                <a:gd name="connsiteX60" fmla="*/ 862162 w 1457148"/>
                <a:gd name="connsiteY60" fmla="*/ 1007364 h 3641849"/>
                <a:gd name="connsiteX61" fmla="*/ 847754 w 1457148"/>
                <a:gd name="connsiteY61" fmla="*/ 971687 h 3641849"/>
                <a:gd name="connsiteX62" fmla="*/ 814502 w 1457148"/>
                <a:gd name="connsiteY62" fmla="*/ 932901 h 3641849"/>
                <a:gd name="connsiteX63" fmla="*/ 803418 w 1457148"/>
                <a:gd name="connsiteY63" fmla="*/ 881187 h 3641849"/>
                <a:gd name="connsiteX64" fmla="*/ 842213 w 1457148"/>
                <a:gd name="connsiteY64" fmla="*/ 832060 h 3641849"/>
                <a:gd name="connsiteX65" fmla="*/ 869923 w 1457148"/>
                <a:gd name="connsiteY65" fmla="*/ 803617 h 3641849"/>
                <a:gd name="connsiteX66" fmla="*/ 894863 w 1457148"/>
                <a:gd name="connsiteY66" fmla="*/ 767417 h 3641849"/>
                <a:gd name="connsiteX67" fmla="*/ 975223 w 1457148"/>
                <a:gd name="connsiteY67" fmla="*/ 762245 h 3641849"/>
                <a:gd name="connsiteX68" fmla="*/ 980764 w 1457148"/>
                <a:gd name="connsiteY68" fmla="*/ 741560 h 3641849"/>
                <a:gd name="connsiteX69" fmla="*/ 1005704 w 1457148"/>
                <a:gd name="connsiteY69" fmla="*/ 705360 h 3641849"/>
                <a:gd name="connsiteX70" fmla="*/ 1039508 w 1457148"/>
                <a:gd name="connsiteY70" fmla="*/ 687772 h 3641849"/>
                <a:gd name="connsiteX71" fmla="*/ 1097148 w 1457148"/>
                <a:gd name="connsiteY71" fmla="*/ 700189 h 3641849"/>
                <a:gd name="connsiteX72" fmla="*/ 1135941 w 1457148"/>
                <a:gd name="connsiteY72" fmla="*/ 720875 h 3641849"/>
                <a:gd name="connsiteX73" fmla="*/ 1183049 w 1457148"/>
                <a:gd name="connsiteY73" fmla="*/ 728632 h 3641849"/>
                <a:gd name="connsiteX74" fmla="*/ 1183049 w 1457148"/>
                <a:gd name="connsiteY74" fmla="*/ 733803 h 3641849"/>
                <a:gd name="connsiteX75" fmla="*/ 1205218 w 1457148"/>
                <a:gd name="connsiteY75" fmla="*/ 674332 h 3641849"/>
                <a:gd name="connsiteX76" fmla="*/ 1215193 w 1457148"/>
                <a:gd name="connsiteY76" fmla="*/ 640714 h 3641849"/>
                <a:gd name="connsiteX77" fmla="*/ 1221844 w 1457148"/>
                <a:gd name="connsiteY77" fmla="*/ 622618 h 3641849"/>
                <a:gd name="connsiteX78" fmla="*/ 1224781 w 1457148"/>
                <a:gd name="connsiteY78" fmla="*/ 591288 h 3641849"/>
                <a:gd name="connsiteX79" fmla="*/ 1144255 w 1457148"/>
                <a:gd name="connsiteY79" fmla="*/ 545048 h 3641849"/>
                <a:gd name="connsiteX80" fmla="*/ 1130400 w 1457148"/>
                <a:gd name="connsiteY80" fmla="*/ 472648 h 3641849"/>
                <a:gd name="connsiteX81" fmla="*/ 1130400 w 1457148"/>
                <a:gd name="connsiteY81" fmla="*/ 454548 h 3641849"/>
                <a:gd name="connsiteX82" fmla="*/ 1141483 w 1457148"/>
                <a:gd name="connsiteY82" fmla="*/ 431276 h 3641849"/>
                <a:gd name="connsiteX83" fmla="*/ 1144255 w 1457148"/>
                <a:gd name="connsiteY83" fmla="*/ 415762 h 3641849"/>
                <a:gd name="connsiteX84" fmla="*/ 1144254 w 1457148"/>
                <a:gd name="connsiteY84" fmla="*/ 358878 h 3641849"/>
                <a:gd name="connsiteX85" fmla="*/ 1122086 w 1457148"/>
                <a:gd name="connsiteY85" fmla="*/ 335607 h 3641849"/>
                <a:gd name="connsiteX86" fmla="*/ 1094376 w 1457148"/>
                <a:gd name="connsiteY86" fmla="*/ 304578 h 3641849"/>
                <a:gd name="connsiteX87" fmla="*/ 1090208 w 1457148"/>
                <a:gd name="connsiteY87" fmla="*/ 280325 h 3641849"/>
                <a:gd name="connsiteX88" fmla="*/ 1141484 w 1457148"/>
                <a:gd name="connsiteY88" fmla="*/ 258034 h 3641849"/>
                <a:gd name="connsiteX89" fmla="*/ 1195064 w 1457148"/>
                <a:gd name="connsiteY89" fmla="*/ 267906 h 3641849"/>
                <a:gd name="connsiteX90" fmla="*/ 1273848 w 1457148"/>
                <a:gd name="connsiteY90" fmla="*/ 279816 h 3641849"/>
                <a:gd name="connsiteX91" fmla="*/ 1358171 w 1457148"/>
                <a:gd name="connsiteY91" fmla="*/ 349175 h 3641849"/>
                <a:gd name="connsiteX92" fmla="*/ 1420306 w 1457148"/>
                <a:gd name="connsiteY92" fmla="*/ 425271 h 3641849"/>
                <a:gd name="connsiteX93" fmla="*/ 1319335 w 1457148"/>
                <a:gd name="connsiteY93" fmla="*/ 454265 h 3641849"/>
                <a:gd name="connsiteX94" fmla="*/ 1303801 w 1457148"/>
                <a:gd name="connsiteY94" fmla="*/ 501372 h 3641849"/>
                <a:gd name="connsiteX95" fmla="*/ 1361471 w 1457148"/>
                <a:gd name="connsiteY95" fmla="*/ 585862 h 3641849"/>
                <a:gd name="connsiteX96" fmla="*/ 1397005 w 1457148"/>
                <a:gd name="connsiteY96" fmla="*/ 591964 h 3641849"/>
                <a:gd name="connsiteX97" fmla="*/ 1449625 w 1457148"/>
                <a:gd name="connsiteY97" fmla="*/ 598304 h 3641849"/>
                <a:gd name="connsiteX98" fmla="*/ 1444662 w 1457148"/>
                <a:gd name="connsiteY98" fmla="*/ 709079 h 3641849"/>
                <a:gd name="connsiteX99" fmla="*/ 1455731 w 1457148"/>
                <a:gd name="connsiteY99" fmla="*/ 1040047 h 3641849"/>
                <a:gd name="connsiteX100" fmla="*/ 1446863 w 1457148"/>
                <a:gd name="connsiteY100" fmla="*/ 1842646 h 3641849"/>
                <a:gd name="connsiteX101" fmla="*/ 1455730 w 1457148"/>
                <a:gd name="connsiteY101" fmla="*/ 2297728 h 3641849"/>
                <a:gd name="connsiteX102" fmla="*/ 1429282 w 1457148"/>
                <a:gd name="connsiteY102" fmla="*/ 3607693 h 3641849"/>
                <a:gd name="connsiteX103" fmla="*/ 1170855 w 1457148"/>
                <a:gd name="connsiteY103" fmla="*/ 3564098 h 3641849"/>
                <a:gd name="connsiteX104" fmla="*/ 1002377 w 1457148"/>
                <a:gd name="connsiteY104" fmla="*/ 3497903 h 3641849"/>
                <a:gd name="connsiteX105" fmla="*/ 825031 w 1457148"/>
                <a:gd name="connsiteY105" fmla="*/ 3406887 h 3641849"/>
                <a:gd name="connsiteX106" fmla="*/ 726733 w 1457148"/>
                <a:gd name="connsiteY106" fmla="*/ 3326370 h 3641849"/>
                <a:gd name="connsiteX107" fmla="*/ 1020995 w 1457148"/>
                <a:gd name="connsiteY107" fmla="*/ 3018734 h 3641849"/>
                <a:gd name="connsiteX108" fmla="*/ 737241 w 1457148"/>
                <a:gd name="connsiteY108" fmla="*/ 2480910 h 3641849"/>
                <a:gd name="connsiteX109" fmla="*/ 879591 w 1457148"/>
                <a:gd name="connsiteY109" fmla="*/ 2241825 h 3641849"/>
                <a:gd name="connsiteX110" fmla="*/ 692904 w 1457148"/>
                <a:gd name="connsiteY110" fmla="*/ 1703134 h 3641849"/>
                <a:gd name="connsiteX111" fmla="*/ 444620 w 1457148"/>
                <a:gd name="connsiteY111" fmla="*/ 1471456 h 3641849"/>
                <a:gd name="connsiteX112" fmla="*/ 330454 w 1457148"/>
                <a:gd name="connsiteY112" fmla="*/ 1590914 h 3641849"/>
                <a:gd name="connsiteX0" fmla="*/ 330454 w 1457148"/>
                <a:gd name="connsiteY0" fmla="*/ 1590914 h 3641849"/>
                <a:gd name="connsiteX1" fmla="*/ 260139 w 1457148"/>
                <a:gd name="connsiteY1" fmla="*/ 1531770 h 3641849"/>
                <a:gd name="connsiteX2" fmla="*/ 143755 w 1457148"/>
                <a:gd name="connsiteY2" fmla="*/ 1485227 h 3641849"/>
                <a:gd name="connsiteX3" fmla="*/ 82793 w 1457148"/>
                <a:gd name="connsiteY3" fmla="*/ 1495570 h 3641849"/>
                <a:gd name="connsiteX4" fmla="*/ 260139 w 1457148"/>
                <a:gd name="connsiteY4" fmla="*/ 1299057 h 3641849"/>
                <a:gd name="connsiteX5" fmla="*/ 107732 w 1457148"/>
                <a:gd name="connsiteY5" fmla="*/ 1151672 h 3641849"/>
                <a:gd name="connsiteX6" fmla="*/ 168695 w 1457148"/>
                <a:gd name="connsiteY6" fmla="*/ 1089617 h 3641849"/>
                <a:gd name="connsiteX7" fmla="*/ 102190 w 1457148"/>
                <a:gd name="connsiteY7" fmla="*/ 1050829 h 3641849"/>
                <a:gd name="connsiteX8" fmla="*/ 143755 w 1457148"/>
                <a:gd name="connsiteY8" fmla="*/ 1019802 h 3641849"/>
                <a:gd name="connsiteX9" fmla="*/ 96649 w 1457148"/>
                <a:gd name="connsiteY9" fmla="*/ 993947 h 3641849"/>
                <a:gd name="connsiteX10" fmla="*/ 96648 w 1457148"/>
                <a:gd name="connsiteY10" fmla="*/ 794845 h 3641849"/>
                <a:gd name="connsiteX11" fmla="*/ 135443 w 1457148"/>
                <a:gd name="connsiteY11" fmla="*/ 779332 h 3641849"/>
                <a:gd name="connsiteX12" fmla="*/ 21830 w 1457148"/>
                <a:gd name="connsiteY12" fmla="*/ 551792 h 3641849"/>
                <a:gd name="connsiteX13" fmla="*/ 19059 w 1457148"/>
                <a:gd name="connsiteY13" fmla="*/ 551792 h 3641849"/>
                <a:gd name="connsiteX14" fmla="*/ 68937 w 1457148"/>
                <a:gd name="connsiteY14" fmla="*/ 469048 h 3641849"/>
                <a:gd name="connsiteX15" fmla="*/ 85563 w 1457148"/>
                <a:gd name="connsiteY15" fmla="*/ 378550 h 3641849"/>
                <a:gd name="connsiteX16" fmla="*/ 10744 w 1457148"/>
                <a:gd name="connsiteY16" fmla="*/ 319079 h 3641849"/>
                <a:gd name="connsiteX17" fmla="*/ 2432 w 1457148"/>
                <a:gd name="connsiteY17" fmla="*/ 251851 h 3641849"/>
                <a:gd name="connsiteX18" fmla="*/ 57852 w 1457148"/>
                <a:gd name="connsiteY18" fmla="*/ 158764 h 3641849"/>
                <a:gd name="connsiteX19" fmla="*/ 77250 w 1457148"/>
                <a:gd name="connsiteY19" fmla="*/ 135494 h 3641849"/>
                <a:gd name="connsiteX20" fmla="*/ 91105 w 1457148"/>
                <a:gd name="connsiteY20" fmla="*/ 117394 h 3641849"/>
                <a:gd name="connsiteX21" fmla="*/ 99418 w 1457148"/>
                <a:gd name="connsiteY21" fmla="*/ 73438 h 3641849"/>
                <a:gd name="connsiteX22" fmla="*/ 124357 w 1457148"/>
                <a:gd name="connsiteY22" fmla="*/ 101880 h 3641849"/>
                <a:gd name="connsiteX23" fmla="*/ 154839 w 1457148"/>
                <a:gd name="connsiteY23" fmla="*/ 88952 h 3641849"/>
                <a:gd name="connsiteX24" fmla="*/ 157609 w 1457148"/>
                <a:gd name="connsiteY24" fmla="*/ 63095 h 3641849"/>
                <a:gd name="connsiteX25" fmla="*/ 165923 w 1457148"/>
                <a:gd name="connsiteY25" fmla="*/ 34652 h 3641849"/>
                <a:gd name="connsiteX26" fmla="*/ 168695 w 1457148"/>
                <a:gd name="connsiteY26" fmla="*/ 3624 h 3641849"/>
                <a:gd name="connsiteX27" fmla="*/ 304475 w 1457148"/>
                <a:gd name="connsiteY27" fmla="*/ 57924 h 3641849"/>
                <a:gd name="connsiteX28" fmla="*/ 334955 w 1457148"/>
                <a:gd name="connsiteY28" fmla="*/ 161352 h 3641849"/>
                <a:gd name="connsiteX29" fmla="*/ 348811 w 1457148"/>
                <a:gd name="connsiteY29" fmla="*/ 184622 h 3641849"/>
                <a:gd name="connsiteX30" fmla="*/ 359895 w 1457148"/>
                <a:gd name="connsiteY30" fmla="*/ 187208 h 3641849"/>
                <a:gd name="connsiteX31" fmla="*/ 473507 w 1457148"/>
                <a:gd name="connsiteY31" fmla="*/ 156181 h 3641849"/>
                <a:gd name="connsiteX32" fmla="*/ 540012 w 1457148"/>
                <a:gd name="connsiteY32" fmla="*/ 166522 h 3641849"/>
                <a:gd name="connsiteX33" fmla="*/ 603746 w 1457148"/>
                <a:gd name="connsiteY33" fmla="*/ 213065 h 3641849"/>
                <a:gd name="connsiteX34" fmla="*/ 617773 w 1457148"/>
                <a:gd name="connsiteY34" fmla="*/ 242621 h 3641849"/>
                <a:gd name="connsiteX35" fmla="*/ 673020 w 1457148"/>
                <a:gd name="connsiteY35" fmla="*/ 277708 h 3641849"/>
                <a:gd name="connsiteX36" fmla="*/ 761694 w 1457148"/>
                <a:gd name="connsiteY36" fmla="*/ 303563 h 3641849"/>
                <a:gd name="connsiteX37" fmla="*/ 833740 w 1457148"/>
                <a:gd name="connsiteY37" fmla="*/ 350106 h 3641849"/>
                <a:gd name="connsiteX38" fmla="*/ 883619 w 1457148"/>
                <a:gd name="connsiteY38" fmla="*/ 401820 h 3641849"/>
                <a:gd name="connsiteX39" fmla="*/ 908558 w 1457148"/>
                <a:gd name="connsiteY39" fmla="*/ 440606 h 3641849"/>
                <a:gd name="connsiteX40" fmla="*/ 941811 w 1457148"/>
                <a:gd name="connsiteY40" fmla="*/ 466462 h 3641849"/>
                <a:gd name="connsiteX41" fmla="*/ 925183 w 1457148"/>
                <a:gd name="connsiteY41" fmla="*/ 691417 h 3641849"/>
                <a:gd name="connsiteX42" fmla="*/ 797717 w 1457148"/>
                <a:gd name="connsiteY42" fmla="*/ 771575 h 3641849"/>
                <a:gd name="connsiteX43" fmla="*/ 684105 w 1457148"/>
                <a:gd name="connsiteY43" fmla="*/ 779331 h 3641849"/>
                <a:gd name="connsiteX44" fmla="*/ 545552 w 1457148"/>
                <a:gd name="connsiteY44" fmla="*/ 758645 h 3641849"/>
                <a:gd name="connsiteX45" fmla="*/ 454108 w 1457148"/>
                <a:gd name="connsiteY45" fmla="*/ 722445 h 3641849"/>
                <a:gd name="connsiteX46" fmla="*/ 434711 w 1457148"/>
                <a:gd name="connsiteY46" fmla="*/ 750888 h 3641849"/>
                <a:gd name="connsiteX47" fmla="*/ 465353 w 1457148"/>
                <a:gd name="connsiteY47" fmla="*/ 824301 h 3641849"/>
                <a:gd name="connsiteX48" fmla="*/ 470894 w 1457148"/>
                <a:gd name="connsiteY48" fmla="*/ 951000 h 3641849"/>
                <a:gd name="connsiteX49" fmla="*/ 443024 w 1457148"/>
                <a:gd name="connsiteY49" fmla="*/ 1012043 h 3641849"/>
                <a:gd name="connsiteX50" fmla="*/ 498443 w 1457148"/>
                <a:gd name="connsiteY50" fmla="*/ 1032728 h 3641849"/>
                <a:gd name="connsiteX51" fmla="*/ 515071 w 1457148"/>
                <a:gd name="connsiteY51" fmla="*/ 1048242 h 3641849"/>
                <a:gd name="connsiteX52" fmla="*/ 540011 w 1457148"/>
                <a:gd name="connsiteY52" fmla="*/ 1074099 h 3641849"/>
                <a:gd name="connsiteX53" fmla="*/ 537240 w 1457148"/>
                <a:gd name="connsiteY53" fmla="*/ 1076685 h 3641849"/>
                <a:gd name="connsiteX54" fmla="*/ 576033 w 1457148"/>
                <a:gd name="connsiteY54" fmla="*/ 1071514 h 3641849"/>
                <a:gd name="connsiteX55" fmla="*/ 584347 w 1457148"/>
                <a:gd name="connsiteY55" fmla="*/ 1035314 h 3641849"/>
                <a:gd name="connsiteX56" fmla="*/ 545552 w 1457148"/>
                <a:gd name="connsiteY56" fmla="*/ 957743 h 3641849"/>
                <a:gd name="connsiteX57" fmla="*/ 614828 w 1457148"/>
                <a:gd name="connsiteY57" fmla="*/ 911200 h 3641849"/>
                <a:gd name="connsiteX58" fmla="*/ 682600 w 1457148"/>
                <a:gd name="connsiteY58" fmla="*/ 918934 h 3641849"/>
                <a:gd name="connsiteX59" fmla="*/ 706433 w 1457148"/>
                <a:gd name="connsiteY59" fmla="*/ 951001 h 3641849"/>
                <a:gd name="connsiteX60" fmla="*/ 862162 w 1457148"/>
                <a:gd name="connsiteY60" fmla="*/ 1007364 h 3641849"/>
                <a:gd name="connsiteX61" fmla="*/ 847754 w 1457148"/>
                <a:gd name="connsiteY61" fmla="*/ 971687 h 3641849"/>
                <a:gd name="connsiteX62" fmla="*/ 814502 w 1457148"/>
                <a:gd name="connsiteY62" fmla="*/ 932901 h 3641849"/>
                <a:gd name="connsiteX63" fmla="*/ 803418 w 1457148"/>
                <a:gd name="connsiteY63" fmla="*/ 881187 h 3641849"/>
                <a:gd name="connsiteX64" fmla="*/ 842213 w 1457148"/>
                <a:gd name="connsiteY64" fmla="*/ 832060 h 3641849"/>
                <a:gd name="connsiteX65" fmla="*/ 869923 w 1457148"/>
                <a:gd name="connsiteY65" fmla="*/ 803617 h 3641849"/>
                <a:gd name="connsiteX66" fmla="*/ 894863 w 1457148"/>
                <a:gd name="connsiteY66" fmla="*/ 767417 h 3641849"/>
                <a:gd name="connsiteX67" fmla="*/ 975223 w 1457148"/>
                <a:gd name="connsiteY67" fmla="*/ 762245 h 3641849"/>
                <a:gd name="connsiteX68" fmla="*/ 980764 w 1457148"/>
                <a:gd name="connsiteY68" fmla="*/ 741560 h 3641849"/>
                <a:gd name="connsiteX69" fmla="*/ 1005704 w 1457148"/>
                <a:gd name="connsiteY69" fmla="*/ 705360 h 3641849"/>
                <a:gd name="connsiteX70" fmla="*/ 1039508 w 1457148"/>
                <a:gd name="connsiteY70" fmla="*/ 687772 h 3641849"/>
                <a:gd name="connsiteX71" fmla="*/ 1097148 w 1457148"/>
                <a:gd name="connsiteY71" fmla="*/ 700189 h 3641849"/>
                <a:gd name="connsiteX72" fmla="*/ 1135941 w 1457148"/>
                <a:gd name="connsiteY72" fmla="*/ 720875 h 3641849"/>
                <a:gd name="connsiteX73" fmla="*/ 1183049 w 1457148"/>
                <a:gd name="connsiteY73" fmla="*/ 728632 h 3641849"/>
                <a:gd name="connsiteX74" fmla="*/ 1183049 w 1457148"/>
                <a:gd name="connsiteY74" fmla="*/ 733803 h 3641849"/>
                <a:gd name="connsiteX75" fmla="*/ 1205218 w 1457148"/>
                <a:gd name="connsiteY75" fmla="*/ 674332 h 3641849"/>
                <a:gd name="connsiteX76" fmla="*/ 1215193 w 1457148"/>
                <a:gd name="connsiteY76" fmla="*/ 640714 h 3641849"/>
                <a:gd name="connsiteX77" fmla="*/ 1221844 w 1457148"/>
                <a:gd name="connsiteY77" fmla="*/ 622618 h 3641849"/>
                <a:gd name="connsiteX78" fmla="*/ 1224781 w 1457148"/>
                <a:gd name="connsiteY78" fmla="*/ 591288 h 3641849"/>
                <a:gd name="connsiteX79" fmla="*/ 1144255 w 1457148"/>
                <a:gd name="connsiteY79" fmla="*/ 545048 h 3641849"/>
                <a:gd name="connsiteX80" fmla="*/ 1130400 w 1457148"/>
                <a:gd name="connsiteY80" fmla="*/ 472648 h 3641849"/>
                <a:gd name="connsiteX81" fmla="*/ 1130400 w 1457148"/>
                <a:gd name="connsiteY81" fmla="*/ 454548 h 3641849"/>
                <a:gd name="connsiteX82" fmla="*/ 1141483 w 1457148"/>
                <a:gd name="connsiteY82" fmla="*/ 431276 h 3641849"/>
                <a:gd name="connsiteX83" fmla="*/ 1144255 w 1457148"/>
                <a:gd name="connsiteY83" fmla="*/ 415762 h 3641849"/>
                <a:gd name="connsiteX84" fmla="*/ 1144254 w 1457148"/>
                <a:gd name="connsiteY84" fmla="*/ 358878 h 3641849"/>
                <a:gd name="connsiteX85" fmla="*/ 1122086 w 1457148"/>
                <a:gd name="connsiteY85" fmla="*/ 335607 h 3641849"/>
                <a:gd name="connsiteX86" fmla="*/ 1094376 w 1457148"/>
                <a:gd name="connsiteY86" fmla="*/ 304578 h 3641849"/>
                <a:gd name="connsiteX87" fmla="*/ 1090208 w 1457148"/>
                <a:gd name="connsiteY87" fmla="*/ 280325 h 3641849"/>
                <a:gd name="connsiteX88" fmla="*/ 1141484 w 1457148"/>
                <a:gd name="connsiteY88" fmla="*/ 258034 h 3641849"/>
                <a:gd name="connsiteX89" fmla="*/ 1195064 w 1457148"/>
                <a:gd name="connsiteY89" fmla="*/ 267906 h 3641849"/>
                <a:gd name="connsiteX90" fmla="*/ 1273848 w 1457148"/>
                <a:gd name="connsiteY90" fmla="*/ 279816 h 3641849"/>
                <a:gd name="connsiteX91" fmla="*/ 1358171 w 1457148"/>
                <a:gd name="connsiteY91" fmla="*/ 349175 h 3641849"/>
                <a:gd name="connsiteX92" fmla="*/ 1420306 w 1457148"/>
                <a:gd name="connsiteY92" fmla="*/ 425271 h 3641849"/>
                <a:gd name="connsiteX93" fmla="*/ 1319335 w 1457148"/>
                <a:gd name="connsiteY93" fmla="*/ 454265 h 3641849"/>
                <a:gd name="connsiteX94" fmla="*/ 1303801 w 1457148"/>
                <a:gd name="connsiteY94" fmla="*/ 501372 h 3641849"/>
                <a:gd name="connsiteX95" fmla="*/ 1361471 w 1457148"/>
                <a:gd name="connsiteY95" fmla="*/ 585862 h 3641849"/>
                <a:gd name="connsiteX96" fmla="*/ 1397005 w 1457148"/>
                <a:gd name="connsiteY96" fmla="*/ 591964 h 3641849"/>
                <a:gd name="connsiteX97" fmla="*/ 1449625 w 1457148"/>
                <a:gd name="connsiteY97" fmla="*/ 598304 h 3641849"/>
                <a:gd name="connsiteX98" fmla="*/ 1444662 w 1457148"/>
                <a:gd name="connsiteY98" fmla="*/ 709079 h 3641849"/>
                <a:gd name="connsiteX99" fmla="*/ 1455731 w 1457148"/>
                <a:gd name="connsiteY99" fmla="*/ 1040047 h 3641849"/>
                <a:gd name="connsiteX100" fmla="*/ 1446863 w 1457148"/>
                <a:gd name="connsiteY100" fmla="*/ 1842646 h 3641849"/>
                <a:gd name="connsiteX101" fmla="*/ 1455730 w 1457148"/>
                <a:gd name="connsiteY101" fmla="*/ 2297728 h 3641849"/>
                <a:gd name="connsiteX102" fmla="*/ 1429282 w 1457148"/>
                <a:gd name="connsiteY102" fmla="*/ 3607693 h 3641849"/>
                <a:gd name="connsiteX103" fmla="*/ 1170855 w 1457148"/>
                <a:gd name="connsiteY103" fmla="*/ 3564098 h 3641849"/>
                <a:gd name="connsiteX104" fmla="*/ 1002377 w 1457148"/>
                <a:gd name="connsiteY104" fmla="*/ 3497903 h 3641849"/>
                <a:gd name="connsiteX105" fmla="*/ 825031 w 1457148"/>
                <a:gd name="connsiteY105" fmla="*/ 3406887 h 3641849"/>
                <a:gd name="connsiteX106" fmla="*/ 726733 w 1457148"/>
                <a:gd name="connsiteY106" fmla="*/ 3326370 h 3641849"/>
                <a:gd name="connsiteX107" fmla="*/ 1020995 w 1457148"/>
                <a:gd name="connsiteY107" fmla="*/ 3018734 h 3641849"/>
                <a:gd name="connsiteX108" fmla="*/ 737241 w 1457148"/>
                <a:gd name="connsiteY108" fmla="*/ 2480910 h 3641849"/>
                <a:gd name="connsiteX109" fmla="*/ 879591 w 1457148"/>
                <a:gd name="connsiteY109" fmla="*/ 2241825 h 3641849"/>
                <a:gd name="connsiteX110" fmla="*/ 692904 w 1457148"/>
                <a:gd name="connsiteY110" fmla="*/ 1703134 h 3641849"/>
                <a:gd name="connsiteX111" fmla="*/ 444620 w 1457148"/>
                <a:gd name="connsiteY111" fmla="*/ 1471456 h 3641849"/>
                <a:gd name="connsiteX112" fmla="*/ 330454 w 1457148"/>
                <a:gd name="connsiteY112" fmla="*/ 1590914 h 3641849"/>
                <a:gd name="connsiteX0" fmla="*/ 330454 w 1457148"/>
                <a:gd name="connsiteY0" fmla="*/ 1590914 h 3641849"/>
                <a:gd name="connsiteX1" fmla="*/ 249054 w 1457148"/>
                <a:gd name="connsiteY1" fmla="*/ 1557627 h 3641849"/>
                <a:gd name="connsiteX2" fmla="*/ 143755 w 1457148"/>
                <a:gd name="connsiteY2" fmla="*/ 1485227 h 3641849"/>
                <a:gd name="connsiteX3" fmla="*/ 82793 w 1457148"/>
                <a:gd name="connsiteY3" fmla="*/ 1495570 h 3641849"/>
                <a:gd name="connsiteX4" fmla="*/ 260139 w 1457148"/>
                <a:gd name="connsiteY4" fmla="*/ 1299057 h 3641849"/>
                <a:gd name="connsiteX5" fmla="*/ 107732 w 1457148"/>
                <a:gd name="connsiteY5" fmla="*/ 1151672 h 3641849"/>
                <a:gd name="connsiteX6" fmla="*/ 168695 w 1457148"/>
                <a:gd name="connsiteY6" fmla="*/ 1089617 h 3641849"/>
                <a:gd name="connsiteX7" fmla="*/ 102190 w 1457148"/>
                <a:gd name="connsiteY7" fmla="*/ 1050829 h 3641849"/>
                <a:gd name="connsiteX8" fmla="*/ 143755 w 1457148"/>
                <a:gd name="connsiteY8" fmla="*/ 1019802 h 3641849"/>
                <a:gd name="connsiteX9" fmla="*/ 96649 w 1457148"/>
                <a:gd name="connsiteY9" fmla="*/ 993947 h 3641849"/>
                <a:gd name="connsiteX10" fmla="*/ 96648 w 1457148"/>
                <a:gd name="connsiteY10" fmla="*/ 794845 h 3641849"/>
                <a:gd name="connsiteX11" fmla="*/ 135443 w 1457148"/>
                <a:gd name="connsiteY11" fmla="*/ 779332 h 3641849"/>
                <a:gd name="connsiteX12" fmla="*/ 21830 w 1457148"/>
                <a:gd name="connsiteY12" fmla="*/ 551792 h 3641849"/>
                <a:gd name="connsiteX13" fmla="*/ 19059 w 1457148"/>
                <a:gd name="connsiteY13" fmla="*/ 551792 h 3641849"/>
                <a:gd name="connsiteX14" fmla="*/ 68937 w 1457148"/>
                <a:gd name="connsiteY14" fmla="*/ 469048 h 3641849"/>
                <a:gd name="connsiteX15" fmla="*/ 85563 w 1457148"/>
                <a:gd name="connsiteY15" fmla="*/ 378550 h 3641849"/>
                <a:gd name="connsiteX16" fmla="*/ 10744 w 1457148"/>
                <a:gd name="connsiteY16" fmla="*/ 319079 h 3641849"/>
                <a:gd name="connsiteX17" fmla="*/ 2432 w 1457148"/>
                <a:gd name="connsiteY17" fmla="*/ 251851 h 3641849"/>
                <a:gd name="connsiteX18" fmla="*/ 57852 w 1457148"/>
                <a:gd name="connsiteY18" fmla="*/ 158764 h 3641849"/>
                <a:gd name="connsiteX19" fmla="*/ 77250 w 1457148"/>
                <a:gd name="connsiteY19" fmla="*/ 135494 h 3641849"/>
                <a:gd name="connsiteX20" fmla="*/ 91105 w 1457148"/>
                <a:gd name="connsiteY20" fmla="*/ 117394 h 3641849"/>
                <a:gd name="connsiteX21" fmla="*/ 99418 w 1457148"/>
                <a:gd name="connsiteY21" fmla="*/ 73438 h 3641849"/>
                <a:gd name="connsiteX22" fmla="*/ 124357 w 1457148"/>
                <a:gd name="connsiteY22" fmla="*/ 101880 h 3641849"/>
                <a:gd name="connsiteX23" fmla="*/ 154839 w 1457148"/>
                <a:gd name="connsiteY23" fmla="*/ 88952 h 3641849"/>
                <a:gd name="connsiteX24" fmla="*/ 157609 w 1457148"/>
                <a:gd name="connsiteY24" fmla="*/ 63095 h 3641849"/>
                <a:gd name="connsiteX25" fmla="*/ 165923 w 1457148"/>
                <a:gd name="connsiteY25" fmla="*/ 34652 h 3641849"/>
                <a:gd name="connsiteX26" fmla="*/ 168695 w 1457148"/>
                <a:gd name="connsiteY26" fmla="*/ 3624 h 3641849"/>
                <a:gd name="connsiteX27" fmla="*/ 304475 w 1457148"/>
                <a:gd name="connsiteY27" fmla="*/ 57924 h 3641849"/>
                <a:gd name="connsiteX28" fmla="*/ 334955 w 1457148"/>
                <a:gd name="connsiteY28" fmla="*/ 161352 h 3641849"/>
                <a:gd name="connsiteX29" fmla="*/ 348811 w 1457148"/>
                <a:gd name="connsiteY29" fmla="*/ 184622 h 3641849"/>
                <a:gd name="connsiteX30" fmla="*/ 359895 w 1457148"/>
                <a:gd name="connsiteY30" fmla="*/ 187208 h 3641849"/>
                <a:gd name="connsiteX31" fmla="*/ 473507 w 1457148"/>
                <a:gd name="connsiteY31" fmla="*/ 156181 h 3641849"/>
                <a:gd name="connsiteX32" fmla="*/ 540012 w 1457148"/>
                <a:gd name="connsiteY32" fmla="*/ 166522 h 3641849"/>
                <a:gd name="connsiteX33" fmla="*/ 603746 w 1457148"/>
                <a:gd name="connsiteY33" fmla="*/ 213065 h 3641849"/>
                <a:gd name="connsiteX34" fmla="*/ 617773 w 1457148"/>
                <a:gd name="connsiteY34" fmla="*/ 242621 h 3641849"/>
                <a:gd name="connsiteX35" fmla="*/ 673020 w 1457148"/>
                <a:gd name="connsiteY35" fmla="*/ 277708 h 3641849"/>
                <a:gd name="connsiteX36" fmla="*/ 761694 w 1457148"/>
                <a:gd name="connsiteY36" fmla="*/ 303563 h 3641849"/>
                <a:gd name="connsiteX37" fmla="*/ 833740 w 1457148"/>
                <a:gd name="connsiteY37" fmla="*/ 350106 h 3641849"/>
                <a:gd name="connsiteX38" fmla="*/ 883619 w 1457148"/>
                <a:gd name="connsiteY38" fmla="*/ 401820 h 3641849"/>
                <a:gd name="connsiteX39" fmla="*/ 908558 w 1457148"/>
                <a:gd name="connsiteY39" fmla="*/ 440606 h 3641849"/>
                <a:gd name="connsiteX40" fmla="*/ 941811 w 1457148"/>
                <a:gd name="connsiteY40" fmla="*/ 466462 h 3641849"/>
                <a:gd name="connsiteX41" fmla="*/ 925183 w 1457148"/>
                <a:gd name="connsiteY41" fmla="*/ 691417 h 3641849"/>
                <a:gd name="connsiteX42" fmla="*/ 797717 w 1457148"/>
                <a:gd name="connsiteY42" fmla="*/ 771575 h 3641849"/>
                <a:gd name="connsiteX43" fmla="*/ 684105 w 1457148"/>
                <a:gd name="connsiteY43" fmla="*/ 779331 h 3641849"/>
                <a:gd name="connsiteX44" fmla="*/ 545552 w 1457148"/>
                <a:gd name="connsiteY44" fmla="*/ 758645 h 3641849"/>
                <a:gd name="connsiteX45" fmla="*/ 454108 w 1457148"/>
                <a:gd name="connsiteY45" fmla="*/ 722445 h 3641849"/>
                <a:gd name="connsiteX46" fmla="*/ 434711 w 1457148"/>
                <a:gd name="connsiteY46" fmla="*/ 750888 h 3641849"/>
                <a:gd name="connsiteX47" fmla="*/ 465353 w 1457148"/>
                <a:gd name="connsiteY47" fmla="*/ 824301 h 3641849"/>
                <a:gd name="connsiteX48" fmla="*/ 470894 w 1457148"/>
                <a:gd name="connsiteY48" fmla="*/ 951000 h 3641849"/>
                <a:gd name="connsiteX49" fmla="*/ 443024 w 1457148"/>
                <a:gd name="connsiteY49" fmla="*/ 1012043 h 3641849"/>
                <a:gd name="connsiteX50" fmla="*/ 498443 w 1457148"/>
                <a:gd name="connsiteY50" fmla="*/ 1032728 h 3641849"/>
                <a:gd name="connsiteX51" fmla="*/ 515071 w 1457148"/>
                <a:gd name="connsiteY51" fmla="*/ 1048242 h 3641849"/>
                <a:gd name="connsiteX52" fmla="*/ 540011 w 1457148"/>
                <a:gd name="connsiteY52" fmla="*/ 1074099 h 3641849"/>
                <a:gd name="connsiteX53" fmla="*/ 537240 w 1457148"/>
                <a:gd name="connsiteY53" fmla="*/ 1076685 h 3641849"/>
                <a:gd name="connsiteX54" fmla="*/ 576033 w 1457148"/>
                <a:gd name="connsiteY54" fmla="*/ 1071514 h 3641849"/>
                <a:gd name="connsiteX55" fmla="*/ 584347 w 1457148"/>
                <a:gd name="connsiteY55" fmla="*/ 1035314 h 3641849"/>
                <a:gd name="connsiteX56" fmla="*/ 545552 w 1457148"/>
                <a:gd name="connsiteY56" fmla="*/ 957743 h 3641849"/>
                <a:gd name="connsiteX57" fmla="*/ 614828 w 1457148"/>
                <a:gd name="connsiteY57" fmla="*/ 911200 h 3641849"/>
                <a:gd name="connsiteX58" fmla="*/ 682600 w 1457148"/>
                <a:gd name="connsiteY58" fmla="*/ 918934 h 3641849"/>
                <a:gd name="connsiteX59" fmla="*/ 706433 w 1457148"/>
                <a:gd name="connsiteY59" fmla="*/ 951001 h 3641849"/>
                <a:gd name="connsiteX60" fmla="*/ 862162 w 1457148"/>
                <a:gd name="connsiteY60" fmla="*/ 1007364 h 3641849"/>
                <a:gd name="connsiteX61" fmla="*/ 847754 w 1457148"/>
                <a:gd name="connsiteY61" fmla="*/ 971687 h 3641849"/>
                <a:gd name="connsiteX62" fmla="*/ 814502 w 1457148"/>
                <a:gd name="connsiteY62" fmla="*/ 932901 h 3641849"/>
                <a:gd name="connsiteX63" fmla="*/ 803418 w 1457148"/>
                <a:gd name="connsiteY63" fmla="*/ 881187 h 3641849"/>
                <a:gd name="connsiteX64" fmla="*/ 842213 w 1457148"/>
                <a:gd name="connsiteY64" fmla="*/ 832060 h 3641849"/>
                <a:gd name="connsiteX65" fmla="*/ 869923 w 1457148"/>
                <a:gd name="connsiteY65" fmla="*/ 803617 h 3641849"/>
                <a:gd name="connsiteX66" fmla="*/ 894863 w 1457148"/>
                <a:gd name="connsiteY66" fmla="*/ 767417 h 3641849"/>
                <a:gd name="connsiteX67" fmla="*/ 975223 w 1457148"/>
                <a:gd name="connsiteY67" fmla="*/ 762245 h 3641849"/>
                <a:gd name="connsiteX68" fmla="*/ 980764 w 1457148"/>
                <a:gd name="connsiteY68" fmla="*/ 741560 h 3641849"/>
                <a:gd name="connsiteX69" fmla="*/ 1005704 w 1457148"/>
                <a:gd name="connsiteY69" fmla="*/ 705360 h 3641849"/>
                <a:gd name="connsiteX70" fmla="*/ 1039508 w 1457148"/>
                <a:gd name="connsiteY70" fmla="*/ 687772 h 3641849"/>
                <a:gd name="connsiteX71" fmla="*/ 1097148 w 1457148"/>
                <a:gd name="connsiteY71" fmla="*/ 700189 h 3641849"/>
                <a:gd name="connsiteX72" fmla="*/ 1135941 w 1457148"/>
                <a:gd name="connsiteY72" fmla="*/ 720875 h 3641849"/>
                <a:gd name="connsiteX73" fmla="*/ 1183049 w 1457148"/>
                <a:gd name="connsiteY73" fmla="*/ 728632 h 3641849"/>
                <a:gd name="connsiteX74" fmla="*/ 1183049 w 1457148"/>
                <a:gd name="connsiteY74" fmla="*/ 733803 h 3641849"/>
                <a:gd name="connsiteX75" fmla="*/ 1205218 w 1457148"/>
                <a:gd name="connsiteY75" fmla="*/ 674332 h 3641849"/>
                <a:gd name="connsiteX76" fmla="*/ 1215193 w 1457148"/>
                <a:gd name="connsiteY76" fmla="*/ 640714 h 3641849"/>
                <a:gd name="connsiteX77" fmla="*/ 1221844 w 1457148"/>
                <a:gd name="connsiteY77" fmla="*/ 622618 h 3641849"/>
                <a:gd name="connsiteX78" fmla="*/ 1224781 w 1457148"/>
                <a:gd name="connsiteY78" fmla="*/ 591288 h 3641849"/>
                <a:gd name="connsiteX79" fmla="*/ 1144255 w 1457148"/>
                <a:gd name="connsiteY79" fmla="*/ 545048 h 3641849"/>
                <a:gd name="connsiteX80" fmla="*/ 1130400 w 1457148"/>
                <a:gd name="connsiteY80" fmla="*/ 472648 h 3641849"/>
                <a:gd name="connsiteX81" fmla="*/ 1130400 w 1457148"/>
                <a:gd name="connsiteY81" fmla="*/ 454548 h 3641849"/>
                <a:gd name="connsiteX82" fmla="*/ 1141483 w 1457148"/>
                <a:gd name="connsiteY82" fmla="*/ 431276 h 3641849"/>
                <a:gd name="connsiteX83" fmla="*/ 1144255 w 1457148"/>
                <a:gd name="connsiteY83" fmla="*/ 415762 h 3641849"/>
                <a:gd name="connsiteX84" fmla="*/ 1144254 w 1457148"/>
                <a:gd name="connsiteY84" fmla="*/ 358878 h 3641849"/>
                <a:gd name="connsiteX85" fmla="*/ 1122086 w 1457148"/>
                <a:gd name="connsiteY85" fmla="*/ 335607 h 3641849"/>
                <a:gd name="connsiteX86" fmla="*/ 1094376 w 1457148"/>
                <a:gd name="connsiteY86" fmla="*/ 304578 h 3641849"/>
                <a:gd name="connsiteX87" fmla="*/ 1090208 w 1457148"/>
                <a:gd name="connsiteY87" fmla="*/ 280325 h 3641849"/>
                <a:gd name="connsiteX88" fmla="*/ 1141484 w 1457148"/>
                <a:gd name="connsiteY88" fmla="*/ 258034 h 3641849"/>
                <a:gd name="connsiteX89" fmla="*/ 1195064 w 1457148"/>
                <a:gd name="connsiteY89" fmla="*/ 267906 h 3641849"/>
                <a:gd name="connsiteX90" fmla="*/ 1273848 w 1457148"/>
                <a:gd name="connsiteY90" fmla="*/ 279816 h 3641849"/>
                <a:gd name="connsiteX91" fmla="*/ 1358171 w 1457148"/>
                <a:gd name="connsiteY91" fmla="*/ 349175 h 3641849"/>
                <a:gd name="connsiteX92" fmla="*/ 1420306 w 1457148"/>
                <a:gd name="connsiteY92" fmla="*/ 425271 h 3641849"/>
                <a:gd name="connsiteX93" fmla="*/ 1319335 w 1457148"/>
                <a:gd name="connsiteY93" fmla="*/ 454265 h 3641849"/>
                <a:gd name="connsiteX94" fmla="*/ 1303801 w 1457148"/>
                <a:gd name="connsiteY94" fmla="*/ 501372 h 3641849"/>
                <a:gd name="connsiteX95" fmla="*/ 1361471 w 1457148"/>
                <a:gd name="connsiteY95" fmla="*/ 585862 h 3641849"/>
                <a:gd name="connsiteX96" fmla="*/ 1397005 w 1457148"/>
                <a:gd name="connsiteY96" fmla="*/ 591964 h 3641849"/>
                <a:gd name="connsiteX97" fmla="*/ 1449625 w 1457148"/>
                <a:gd name="connsiteY97" fmla="*/ 598304 h 3641849"/>
                <a:gd name="connsiteX98" fmla="*/ 1444662 w 1457148"/>
                <a:gd name="connsiteY98" fmla="*/ 709079 h 3641849"/>
                <a:gd name="connsiteX99" fmla="*/ 1455731 w 1457148"/>
                <a:gd name="connsiteY99" fmla="*/ 1040047 h 3641849"/>
                <a:gd name="connsiteX100" fmla="*/ 1446863 w 1457148"/>
                <a:gd name="connsiteY100" fmla="*/ 1842646 h 3641849"/>
                <a:gd name="connsiteX101" fmla="*/ 1455730 w 1457148"/>
                <a:gd name="connsiteY101" fmla="*/ 2297728 h 3641849"/>
                <a:gd name="connsiteX102" fmla="*/ 1429282 w 1457148"/>
                <a:gd name="connsiteY102" fmla="*/ 3607693 h 3641849"/>
                <a:gd name="connsiteX103" fmla="*/ 1170855 w 1457148"/>
                <a:gd name="connsiteY103" fmla="*/ 3564098 h 3641849"/>
                <a:gd name="connsiteX104" fmla="*/ 1002377 w 1457148"/>
                <a:gd name="connsiteY104" fmla="*/ 3497903 h 3641849"/>
                <a:gd name="connsiteX105" fmla="*/ 825031 w 1457148"/>
                <a:gd name="connsiteY105" fmla="*/ 3406887 h 3641849"/>
                <a:gd name="connsiteX106" fmla="*/ 726733 w 1457148"/>
                <a:gd name="connsiteY106" fmla="*/ 3326370 h 3641849"/>
                <a:gd name="connsiteX107" fmla="*/ 1020995 w 1457148"/>
                <a:gd name="connsiteY107" fmla="*/ 3018734 h 3641849"/>
                <a:gd name="connsiteX108" fmla="*/ 737241 w 1457148"/>
                <a:gd name="connsiteY108" fmla="*/ 2480910 h 3641849"/>
                <a:gd name="connsiteX109" fmla="*/ 879591 w 1457148"/>
                <a:gd name="connsiteY109" fmla="*/ 2241825 h 3641849"/>
                <a:gd name="connsiteX110" fmla="*/ 692904 w 1457148"/>
                <a:gd name="connsiteY110" fmla="*/ 1703134 h 3641849"/>
                <a:gd name="connsiteX111" fmla="*/ 444620 w 1457148"/>
                <a:gd name="connsiteY111" fmla="*/ 1471456 h 3641849"/>
                <a:gd name="connsiteX112" fmla="*/ 330454 w 1457148"/>
                <a:gd name="connsiteY112" fmla="*/ 1590914 h 3641849"/>
                <a:gd name="connsiteX0" fmla="*/ 330454 w 1457148"/>
                <a:gd name="connsiteY0" fmla="*/ 1590914 h 3641849"/>
                <a:gd name="connsiteX1" fmla="*/ 249054 w 1457148"/>
                <a:gd name="connsiteY1" fmla="*/ 1557627 h 3641849"/>
                <a:gd name="connsiteX2" fmla="*/ 188091 w 1457148"/>
                <a:gd name="connsiteY2" fmla="*/ 1508498 h 3641849"/>
                <a:gd name="connsiteX3" fmla="*/ 143755 w 1457148"/>
                <a:gd name="connsiteY3" fmla="*/ 1485227 h 3641849"/>
                <a:gd name="connsiteX4" fmla="*/ 82793 w 1457148"/>
                <a:gd name="connsiteY4" fmla="*/ 1495570 h 3641849"/>
                <a:gd name="connsiteX5" fmla="*/ 260139 w 1457148"/>
                <a:gd name="connsiteY5" fmla="*/ 1299057 h 3641849"/>
                <a:gd name="connsiteX6" fmla="*/ 107732 w 1457148"/>
                <a:gd name="connsiteY6" fmla="*/ 1151672 h 3641849"/>
                <a:gd name="connsiteX7" fmla="*/ 168695 w 1457148"/>
                <a:gd name="connsiteY7" fmla="*/ 1089617 h 3641849"/>
                <a:gd name="connsiteX8" fmla="*/ 102190 w 1457148"/>
                <a:gd name="connsiteY8" fmla="*/ 1050829 h 3641849"/>
                <a:gd name="connsiteX9" fmla="*/ 143755 w 1457148"/>
                <a:gd name="connsiteY9" fmla="*/ 1019802 h 3641849"/>
                <a:gd name="connsiteX10" fmla="*/ 96649 w 1457148"/>
                <a:gd name="connsiteY10" fmla="*/ 993947 h 3641849"/>
                <a:gd name="connsiteX11" fmla="*/ 96648 w 1457148"/>
                <a:gd name="connsiteY11" fmla="*/ 794845 h 3641849"/>
                <a:gd name="connsiteX12" fmla="*/ 135443 w 1457148"/>
                <a:gd name="connsiteY12" fmla="*/ 779332 h 3641849"/>
                <a:gd name="connsiteX13" fmla="*/ 21830 w 1457148"/>
                <a:gd name="connsiteY13" fmla="*/ 551792 h 3641849"/>
                <a:gd name="connsiteX14" fmla="*/ 19059 w 1457148"/>
                <a:gd name="connsiteY14" fmla="*/ 551792 h 3641849"/>
                <a:gd name="connsiteX15" fmla="*/ 68937 w 1457148"/>
                <a:gd name="connsiteY15" fmla="*/ 469048 h 3641849"/>
                <a:gd name="connsiteX16" fmla="*/ 85563 w 1457148"/>
                <a:gd name="connsiteY16" fmla="*/ 378550 h 3641849"/>
                <a:gd name="connsiteX17" fmla="*/ 10744 w 1457148"/>
                <a:gd name="connsiteY17" fmla="*/ 319079 h 3641849"/>
                <a:gd name="connsiteX18" fmla="*/ 2432 w 1457148"/>
                <a:gd name="connsiteY18" fmla="*/ 251851 h 3641849"/>
                <a:gd name="connsiteX19" fmla="*/ 57852 w 1457148"/>
                <a:gd name="connsiteY19" fmla="*/ 158764 h 3641849"/>
                <a:gd name="connsiteX20" fmla="*/ 77250 w 1457148"/>
                <a:gd name="connsiteY20" fmla="*/ 135494 h 3641849"/>
                <a:gd name="connsiteX21" fmla="*/ 91105 w 1457148"/>
                <a:gd name="connsiteY21" fmla="*/ 117394 h 3641849"/>
                <a:gd name="connsiteX22" fmla="*/ 99418 w 1457148"/>
                <a:gd name="connsiteY22" fmla="*/ 73438 h 3641849"/>
                <a:gd name="connsiteX23" fmla="*/ 124357 w 1457148"/>
                <a:gd name="connsiteY23" fmla="*/ 101880 h 3641849"/>
                <a:gd name="connsiteX24" fmla="*/ 154839 w 1457148"/>
                <a:gd name="connsiteY24" fmla="*/ 88952 h 3641849"/>
                <a:gd name="connsiteX25" fmla="*/ 157609 w 1457148"/>
                <a:gd name="connsiteY25" fmla="*/ 63095 h 3641849"/>
                <a:gd name="connsiteX26" fmla="*/ 165923 w 1457148"/>
                <a:gd name="connsiteY26" fmla="*/ 34652 h 3641849"/>
                <a:gd name="connsiteX27" fmla="*/ 168695 w 1457148"/>
                <a:gd name="connsiteY27" fmla="*/ 3624 h 3641849"/>
                <a:gd name="connsiteX28" fmla="*/ 304475 w 1457148"/>
                <a:gd name="connsiteY28" fmla="*/ 57924 h 3641849"/>
                <a:gd name="connsiteX29" fmla="*/ 334955 w 1457148"/>
                <a:gd name="connsiteY29" fmla="*/ 161352 h 3641849"/>
                <a:gd name="connsiteX30" fmla="*/ 348811 w 1457148"/>
                <a:gd name="connsiteY30" fmla="*/ 184622 h 3641849"/>
                <a:gd name="connsiteX31" fmla="*/ 359895 w 1457148"/>
                <a:gd name="connsiteY31" fmla="*/ 187208 h 3641849"/>
                <a:gd name="connsiteX32" fmla="*/ 473507 w 1457148"/>
                <a:gd name="connsiteY32" fmla="*/ 156181 h 3641849"/>
                <a:gd name="connsiteX33" fmla="*/ 540012 w 1457148"/>
                <a:gd name="connsiteY33" fmla="*/ 166522 h 3641849"/>
                <a:gd name="connsiteX34" fmla="*/ 603746 w 1457148"/>
                <a:gd name="connsiteY34" fmla="*/ 213065 h 3641849"/>
                <a:gd name="connsiteX35" fmla="*/ 617773 w 1457148"/>
                <a:gd name="connsiteY35" fmla="*/ 242621 h 3641849"/>
                <a:gd name="connsiteX36" fmla="*/ 673020 w 1457148"/>
                <a:gd name="connsiteY36" fmla="*/ 277708 h 3641849"/>
                <a:gd name="connsiteX37" fmla="*/ 761694 w 1457148"/>
                <a:gd name="connsiteY37" fmla="*/ 303563 h 3641849"/>
                <a:gd name="connsiteX38" fmla="*/ 833740 w 1457148"/>
                <a:gd name="connsiteY38" fmla="*/ 350106 h 3641849"/>
                <a:gd name="connsiteX39" fmla="*/ 883619 w 1457148"/>
                <a:gd name="connsiteY39" fmla="*/ 401820 h 3641849"/>
                <a:gd name="connsiteX40" fmla="*/ 908558 w 1457148"/>
                <a:gd name="connsiteY40" fmla="*/ 440606 h 3641849"/>
                <a:gd name="connsiteX41" fmla="*/ 941811 w 1457148"/>
                <a:gd name="connsiteY41" fmla="*/ 466462 h 3641849"/>
                <a:gd name="connsiteX42" fmla="*/ 925183 w 1457148"/>
                <a:gd name="connsiteY42" fmla="*/ 691417 h 3641849"/>
                <a:gd name="connsiteX43" fmla="*/ 797717 w 1457148"/>
                <a:gd name="connsiteY43" fmla="*/ 771575 h 3641849"/>
                <a:gd name="connsiteX44" fmla="*/ 684105 w 1457148"/>
                <a:gd name="connsiteY44" fmla="*/ 779331 h 3641849"/>
                <a:gd name="connsiteX45" fmla="*/ 545552 w 1457148"/>
                <a:gd name="connsiteY45" fmla="*/ 758645 h 3641849"/>
                <a:gd name="connsiteX46" fmla="*/ 454108 w 1457148"/>
                <a:gd name="connsiteY46" fmla="*/ 722445 h 3641849"/>
                <a:gd name="connsiteX47" fmla="*/ 434711 w 1457148"/>
                <a:gd name="connsiteY47" fmla="*/ 750888 h 3641849"/>
                <a:gd name="connsiteX48" fmla="*/ 465353 w 1457148"/>
                <a:gd name="connsiteY48" fmla="*/ 824301 h 3641849"/>
                <a:gd name="connsiteX49" fmla="*/ 470894 w 1457148"/>
                <a:gd name="connsiteY49" fmla="*/ 951000 h 3641849"/>
                <a:gd name="connsiteX50" fmla="*/ 443024 w 1457148"/>
                <a:gd name="connsiteY50" fmla="*/ 1012043 h 3641849"/>
                <a:gd name="connsiteX51" fmla="*/ 498443 w 1457148"/>
                <a:gd name="connsiteY51" fmla="*/ 1032728 h 3641849"/>
                <a:gd name="connsiteX52" fmla="*/ 515071 w 1457148"/>
                <a:gd name="connsiteY52" fmla="*/ 1048242 h 3641849"/>
                <a:gd name="connsiteX53" fmla="*/ 540011 w 1457148"/>
                <a:gd name="connsiteY53" fmla="*/ 1074099 h 3641849"/>
                <a:gd name="connsiteX54" fmla="*/ 537240 w 1457148"/>
                <a:gd name="connsiteY54" fmla="*/ 1076685 h 3641849"/>
                <a:gd name="connsiteX55" fmla="*/ 576033 w 1457148"/>
                <a:gd name="connsiteY55" fmla="*/ 1071514 h 3641849"/>
                <a:gd name="connsiteX56" fmla="*/ 584347 w 1457148"/>
                <a:gd name="connsiteY56" fmla="*/ 1035314 h 3641849"/>
                <a:gd name="connsiteX57" fmla="*/ 545552 w 1457148"/>
                <a:gd name="connsiteY57" fmla="*/ 957743 h 3641849"/>
                <a:gd name="connsiteX58" fmla="*/ 614828 w 1457148"/>
                <a:gd name="connsiteY58" fmla="*/ 911200 h 3641849"/>
                <a:gd name="connsiteX59" fmla="*/ 682600 w 1457148"/>
                <a:gd name="connsiteY59" fmla="*/ 918934 h 3641849"/>
                <a:gd name="connsiteX60" fmla="*/ 706433 w 1457148"/>
                <a:gd name="connsiteY60" fmla="*/ 951001 h 3641849"/>
                <a:gd name="connsiteX61" fmla="*/ 862162 w 1457148"/>
                <a:gd name="connsiteY61" fmla="*/ 1007364 h 3641849"/>
                <a:gd name="connsiteX62" fmla="*/ 847754 w 1457148"/>
                <a:gd name="connsiteY62" fmla="*/ 971687 h 3641849"/>
                <a:gd name="connsiteX63" fmla="*/ 814502 w 1457148"/>
                <a:gd name="connsiteY63" fmla="*/ 932901 h 3641849"/>
                <a:gd name="connsiteX64" fmla="*/ 803418 w 1457148"/>
                <a:gd name="connsiteY64" fmla="*/ 881187 h 3641849"/>
                <a:gd name="connsiteX65" fmla="*/ 842213 w 1457148"/>
                <a:gd name="connsiteY65" fmla="*/ 832060 h 3641849"/>
                <a:gd name="connsiteX66" fmla="*/ 869923 w 1457148"/>
                <a:gd name="connsiteY66" fmla="*/ 803617 h 3641849"/>
                <a:gd name="connsiteX67" fmla="*/ 894863 w 1457148"/>
                <a:gd name="connsiteY67" fmla="*/ 767417 h 3641849"/>
                <a:gd name="connsiteX68" fmla="*/ 975223 w 1457148"/>
                <a:gd name="connsiteY68" fmla="*/ 762245 h 3641849"/>
                <a:gd name="connsiteX69" fmla="*/ 980764 w 1457148"/>
                <a:gd name="connsiteY69" fmla="*/ 741560 h 3641849"/>
                <a:gd name="connsiteX70" fmla="*/ 1005704 w 1457148"/>
                <a:gd name="connsiteY70" fmla="*/ 705360 h 3641849"/>
                <a:gd name="connsiteX71" fmla="*/ 1039508 w 1457148"/>
                <a:gd name="connsiteY71" fmla="*/ 687772 h 3641849"/>
                <a:gd name="connsiteX72" fmla="*/ 1097148 w 1457148"/>
                <a:gd name="connsiteY72" fmla="*/ 700189 h 3641849"/>
                <a:gd name="connsiteX73" fmla="*/ 1135941 w 1457148"/>
                <a:gd name="connsiteY73" fmla="*/ 720875 h 3641849"/>
                <a:gd name="connsiteX74" fmla="*/ 1183049 w 1457148"/>
                <a:gd name="connsiteY74" fmla="*/ 728632 h 3641849"/>
                <a:gd name="connsiteX75" fmla="*/ 1183049 w 1457148"/>
                <a:gd name="connsiteY75" fmla="*/ 733803 h 3641849"/>
                <a:gd name="connsiteX76" fmla="*/ 1205218 w 1457148"/>
                <a:gd name="connsiteY76" fmla="*/ 674332 h 3641849"/>
                <a:gd name="connsiteX77" fmla="*/ 1215193 w 1457148"/>
                <a:gd name="connsiteY77" fmla="*/ 640714 h 3641849"/>
                <a:gd name="connsiteX78" fmla="*/ 1221844 w 1457148"/>
                <a:gd name="connsiteY78" fmla="*/ 622618 h 3641849"/>
                <a:gd name="connsiteX79" fmla="*/ 1224781 w 1457148"/>
                <a:gd name="connsiteY79" fmla="*/ 591288 h 3641849"/>
                <a:gd name="connsiteX80" fmla="*/ 1144255 w 1457148"/>
                <a:gd name="connsiteY80" fmla="*/ 545048 h 3641849"/>
                <a:gd name="connsiteX81" fmla="*/ 1130400 w 1457148"/>
                <a:gd name="connsiteY81" fmla="*/ 472648 h 3641849"/>
                <a:gd name="connsiteX82" fmla="*/ 1130400 w 1457148"/>
                <a:gd name="connsiteY82" fmla="*/ 454548 h 3641849"/>
                <a:gd name="connsiteX83" fmla="*/ 1141483 w 1457148"/>
                <a:gd name="connsiteY83" fmla="*/ 431276 h 3641849"/>
                <a:gd name="connsiteX84" fmla="*/ 1144255 w 1457148"/>
                <a:gd name="connsiteY84" fmla="*/ 415762 h 3641849"/>
                <a:gd name="connsiteX85" fmla="*/ 1144254 w 1457148"/>
                <a:gd name="connsiteY85" fmla="*/ 358878 h 3641849"/>
                <a:gd name="connsiteX86" fmla="*/ 1122086 w 1457148"/>
                <a:gd name="connsiteY86" fmla="*/ 335607 h 3641849"/>
                <a:gd name="connsiteX87" fmla="*/ 1094376 w 1457148"/>
                <a:gd name="connsiteY87" fmla="*/ 304578 h 3641849"/>
                <a:gd name="connsiteX88" fmla="*/ 1090208 w 1457148"/>
                <a:gd name="connsiteY88" fmla="*/ 280325 h 3641849"/>
                <a:gd name="connsiteX89" fmla="*/ 1141484 w 1457148"/>
                <a:gd name="connsiteY89" fmla="*/ 258034 h 3641849"/>
                <a:gd name="connsiteX90" fmla="*/ 1195064 w 1457148"/>
                <a:gd name="connsiteY90" fmla="*/ 267906 h 3641849"/>
                <a:gd name="connsiteX91" fmla="*/ 1273848 w 1457148"/>
                <a:gd name="connsiteY91" fmla="*/ 279816 h 3641849"/>
                <a:gd name="connsiteX92" fmla="*/ 1358171 w 1457148"/>
                <a:gd name="connsiteY92" fmla="*/ 349175 h 3641849"/>
                <a:gd name="connsiteX93" fmla="*/ 1420306 w 1457148"/>
                <a:gd name="connsiteY93" fmla="*/ 425271 h 3641849"/>
                <a:gd name="connsiteX94" fmla="*/ 1319335 w 1457148"/>
                <a:gd name="connsiteY94" fmla="*/ 454265 h 3641849"/>
                <a:gd name="connsiteX95" fmla="*/ 1303801 w 1457148"/>
                <a:gd name="connsiteY95" fmla="*/ 501372 h 3641849"/>
                <a:gd name="connsiteX96" fmla="*/ 1361471 w 1457148"/>
                <a:gd name="connsiteY96" fmla="*/ 585862 h 3641849"/>
                <a:gd name="connsiteX97" fmla="*/ 1397005 w 1457148"/>
                <a:gd name="connsiteY97" fmla="*/ 591964 h 3641849"/>
                <a:gd name="connsiteX98" fmla="*/ 1449625 w 1457148"/>
                <a:gd name="connsiteY98" fmla="*/ 598304 h 3641849"/>
                <a:gd name="connsiteX99" fmla="*/ 1444662 w 1457148"/>
                <a:gd name="connsiteY99" fmla="*/ 709079 h 3641849"/>
                <a:gd name="connsiteX100" fmla="*/ 1455731 w 1457148"/>
                <a:gd name="connsiteY100" fmla="*/ 1040047 h 3641849"/>
                <a:gd name="connsiteX101" fmla="*/ 1446863 w 1457148"/>
                <a:gd name="connsiteY101" fmla="*/ 1842646 h 3641849"/>
                <a:gd name="connsiteX102" fmla="*/ 1455730 w 1457148"/>
                <a:gd name="connsiteY102" fmla="*/ 2297728 h 3641849"/>
                <a:gd name="connsiteX103" fmla="*/ 1429282 w 1457148"/>
                <a:gd name="connsiteY103" fmla="*/ 3607693 h 3641849"/>
                <a:gd name="connsiteX104" fmla="*/ 1170855 w 1457148"/>
                <a:gd name="connsiteY104" fmla="*/ 3564098 h 3641849"/>
                <a:gd name="connsiteX105" fmla="*/ 1002377 w 1457148"/>
                <a:gd name="connsiteY105" fmla="*/ 3497903 h 3641849"/>
                <a:gd name="connsiteX106" fmla="*/ 825031 w 1457148"/>
                <a:gd name="connsiteY106" fmla="*/ 3406887 h 3641849"/>
                <a:gd name="connsiteX107" fmla="*/ 726733 w 1457148"/>
                <a:gd name="connsiteY107" fmla="*/ 3326370 h 3641849"/>
                <a:gd name="connsiteX108" fmla="*/ 1020995 w 1457148"/>
                <a:gd name="connsiteY108" fmla="*/ 3018734 h 3641849"/>
                <a:gd name="connsiteX109" fmla="*/ 737241 w 1457148"/>
                <a:gd name="connsiteY109" fmla="*/ 2480910 h 3641849"/>
                <a:gd name="connsiteX110" fmla="*/ 879591 w 1457148"/>
                <a:gd name="connsiteY110" fmla="*/ 2241825 h 3641849"/>
                <a:gd name="connsiteX111" fmla="*/ 692904 w 1457148"/>
                <a:gd name="connsiteY111" fmla="*/ 1703134 h 3641849"/>
                <a:gd name="connsiteX112" fmla="*/ 444620 w 1457148"/>
                <a:gd name="connsiteY112" fmla="*/ 1471456 h 3641849"/>
                <a:gd name="connsiteX113" fmla="*/ 330454 w 1457148"/>
                <a:gd name="connsiteY113" fmla="*/ 1590914 h 3641849"/>
                <a:gd name="connsiteX0" fmla="*/ 330454 w 1457148"/>
                <a:gd name="connsiteY0" fmla="*/ 1590914 h 3641849"/>
                <a:gd name="connsiteX1" fmla="*/ 249054 w 1457148"/>
                <a:gd name="connsiteY1" fmla="*/ 1557627 h 3641849"/>
                <a:gd name="connsiteX2" fmla="*/ 188091 w 1457148"/>
                <a:gd name="connsiteY2" fmla="*/ 1508498 h 3641849"/>
                <a:gd name="connsiteX3" fmla="*/ 143755 w 1457148"/>
                <a:gd name="connsiteY3" fmla="*/ 1485227 h 3641849"/>
                <a:gd name="connsiteX4" fmla="*/ 82793 w 1457148"/>
                <a:gd name="connsiteY4" fmla="*/ 1495570 h 3641849"/>
                <a:gd name="connsiteX5" fmla="*/ 260139 w 1457148"/>
                <a:gd name="connsiteY5" fmla="*/ 1299057 h 3641849"/>
                <a:gd name="connsiteX6" fmla="*/ 107732 w 1457148"/>
                <a:gd name="connsiteY6" fmla="*/ 1151672 h 3641849"/>
                <a:gd name="connsiteX7" fmla="*/ 168695 w 1457148"/>
                <a:gd name="connsiteY7" fmla="*/ 1089617 h 3641849"/>
                <a:gd name="connsiteX8" fmla="*/ 102190 w 1457148"/>
                <a:gd name="connsiteY8" fmla="*/ 1050829 h 3641849"/>
                <a:gd name="connsiteX9" fmla="*/ 143755 w 1457148"/>
                <a:gd name="connsiteY9" fmla="*/ 1019802 h 3641849"/>
                <a:gd name="connsiteX10" fmla="*/ 96649 w 1457148"/>
                <a:gd name="connsiteY10" fmla="*/ 993947 h 3641849"/>
                <a:gd name="connsiteX11" fmla="*/ 96648 w 1457148"/>
                <a:gd name="connsiteY11" fmla="*/ 794845 h 3641849"/>
                <a:gd name="connsiteX12" fmla="*/ 135443 w 1457148"/>
                <a:gd name="connsiteY12" fmla="*/ 779332 h 3641849"/>
                <a:gd name="connsiteX13" fmla="*/ 21830 w 1457148"/>
                <a:gd name="connsiteY13" fmla="*/ 551792 h 3641849"/>
                <a:gd name="connsiteX14" fmla="*/ 19059 w 1457148"/>
                <a:gd name="connsiteY14" fmla="*/ 551792 h 3641849"/>
                <a:gd name="connsiteX15" fmla="*/ 68937 w 1457148"/>
                <a:gd name="connsiteY15" fmla="*/ 469048 h 3641849"/>
                <a:gd name="connsiteX16" fmla="*/ 85563 w 1457148"/>
                <a:gd name="connsiteY16" fmla="*/ 378550 h 3641849"/>
                <a:gd name="connsiteX17" fmla="*/ 10744 w 1457148"/>
                <a:gd name="connsiteY17" fmla="*/ 319079 h 3641849"/>
                <a:gd name="connsiteX18" fmla="*/ 2432 w 1457148"/>
                <a:gd name="connsiteY18" fmla="*/ 251851 h 3641849"/>
                <a:gd name="connsiteX19" fmla="*/ 57852 w 1457148"/>
                <a:gd name="connsiteY19" fmla="*/ 158764 h 3641849"/>
                <a:gd name="connsiteX20" fmla="*/ 77250 w 1457148"/>
                <a:gd name="connsiteY20" fmla="*/ 135494 h 3641849"/>
                <a:gd name="connsiteX21" fmla="*/ 91105 w 1457148"/>
                <a:gd name="connsiteY21" fmla="*/ 117394 h 3641849"/>
                <a:gd name="connsiteX22" fmla="*/ 99418 w 1457148"/>
                <a:gd name="connsiteY22" fmla="*/ 73438 h 3641849"/>
                <a:gd name="connsiteX23" fmla="*/ 124357 w 1457148"/>
                <a:gd name="connsiteY23" fmla="*/ 101880 h 3641849"/>
                <a:gd name="connsiteX24" fmla="*/ 154839 w 1457148"/>
                <a:gd name="connsiteY24" fmla="*/ 88952 h 3641849"/>
                <a:gd name="connsiteX25" fmla="*/ 157609 w 1457148"/>
                <a:gd name="connsiteY25" fmla="*/ 63095 h 3641849"/>
                <a:gd name="connsiteX26" fmla="*/ 165923 w 1457148"/>
                <a:gd name="connsiteY26" fmla="*/ 34652 h 3641849"/>
                <a:gd name="connsiteX27" fmla="*/ 168695 w 1457148"/>
                <a:gd name="connsiteY27" fmla="*/ 3624 h 3641849"/>
                <a:gd name="connsiteX28" fmla="*/ 304475 w 1457148"/>
                <a:gd name="connsiteY28" fmla="*/ 57924 h 3641849"/>
                <a:gd name="connsiteX29" fmla="*/ 334955 w 1457148"/>
                <a:gd name="connsiteY29" fmla="*/ 161352 h 3641849"/>
                <a:gd name="connsiteX30" fmla="*/ 348811 w 1457148"/>
                <a:gd name="connsiteY30" fmla="*/ 184622 h 3641849"/>
                <a:gd name="connsiteX31" fmla="*/ 359895 w 1457148"/>
                <a:gd name="connsiteY31" fmla="*/ 187208 h 3641849"/>
                <a:gd name="connsiteX32" fmla="*/ 473507 w 1457148"/>
                <a:gd name="connsiteY32" fmla="*/ 156181 h 3641849"/>
                <a:gd name="connsiteX33" fmla="*/ 540012 w 1457148"/>
                <a:gd name="connsiteY33" fmla="*/ 166522 h 3641849"/>
                <a:gd name="connsiteX34" fmla="*/ 603746 w 1457148"/>
                <a:gd name="connsiteY34" fmla="*/ 213065 h 3641849"/>
                <a:gd name="connsiteX35" fmla="*/ 617773 w 1457148"/>
                <a:gd name="connsiteY35" fmla="*/ 242621 h 3641849"/>
                <a:gd name="connsiteX36" fmla="*/ 673020 w 1457148"/>
                <a:gd name="connsiteY36" fmla="*/ 277708 h 3641849"/>
                <a:gd name="connsiteX37" fmla="*/ 761694 w 1457148"/>
                <a:gd name="connsiteY37" fmla="*/ 303563 h 3641849"/>
                <a:gd name="connsiteX38" fmla="*/ 833740 w 1457148"/>
                <a:gd name="connsiteY38" fmla="*/ 350106 h 3641849"/>
                <a:gd name="connsiteX39" fmla="*/ 883619 w 1457148"/>
                <a:gd name="connsiteY39" fmla="*/ 401820 h 3641849"/>
                <a:gd name="connsiteX40" fmla="*/ 908558 w 1457148"/>
                <a:gd name="connsiteY40" fmla="*/ 440606 h 3641849"/>
                <a:gd name="connsiteX41" fmla="*/ 941811 w 1457148"/>
                <a:gd name="connsiteY41" fmla="*/ 466462 h 3641849"/>
                <a:gd name="connsiteX42" fmla="*/ 925183 w 1457148"/>
                <a:gd name="connsiteY42" fmla="*/ 691417 h 3641849"/>
                <a:gd name="connsiteX43" fmla="*/ 797717 w 1457148"/>
                <a:gd name="connsiteY43" fmla="*/ 771575 h 3641849"/>
                <a:gd name="connsiteX44" fmla="*/ 684105 w 1457148"/>
                <a:gd name="connsiteY44" fmla="*/ 779331 h 3641849"/>
                <a:gd name="connsiteX45" fmla="*/ 545552 w 1457148"/>
                <a:gd name="connsiteY45" fmla="*/ 758645 h 3641849"/>
                <a:gd name="connsiteX46" fmla="*/ 454108 w 1457148"/>
                <a:gd name="connsiteY46" fmla="*/ 722445 h 3641849"/>
                <a:gd name="connsiteX47" fmla="*/ 434711 w 1457148"/>
                <a:gd name="connsiteY47" fmla="*/ 750888 h 3641849"/>
                <a:gd name="connsiteX48" fmla="*/ 465353 w 1457148"/>
                <a:gd name="connsiteY48" fmla="*/ 824301 h 3641849"/>
                <a:gd name="connsiteX49" fmla="*/ 470894 w 1457148"/>
                <a:gd name="connsiteY49" fmla="*/ 951000 h 3641849"/>
                <a:gd name="connsiteX50" fmla="*/ 443024 w 1457148"/>
                <a:gd name="connsiteY50" fmla="*/ 1012043 h 3641849"/>
                <a:gd name="connsiteX51" fmla="*/ 498443 w 1457148"/>
                <a:gd name="connsiteY51" fmla="*/ 1032728 h 3641849"/>
                <a:gd name="connsiteX52" fmla="*/ 515071 w 1457148"/>
                <a:gd name="connsiteY52" fmla="*/ 1048242 h 3641849"/>
                <a:gd name="connsiteX53" fmla="*/ 540011 w 1457148"/>
                <a:gd name="connsiteY53" fmla="*/ 1074099 h 3641849"/>
                <a:gd name="connsiteX54" fmla="*/ 537240 w 1457148"/>
                <a:gd name="connsiteY54" fmla="*/ 1076685 h 3641849"/>
                <a:gd name="connsiteX55" fmla="*/ 576033 w 1457148"/>
                <a:gd name="connsiteY55" fmla="*/ 1071514 h 3641849"/>
                <a:gd name="connsiteX56" fmla="*/ 584347 w 1457148"/>
                <a:gd name="connsiteY56" fmla="*/ 1035314 h 3641849"/>
                <a:gd name="connsiteX57" fmla="*/ 545552 w 1457148"/>
                <a:gd name="connsiteY57" fmla="*/ 957743 h 3641849"/>
                <a:gd name="connsiteX58" fmla="*/ 614828 w 1457148"/>
                <a:gd name="connsiteY58" fmla="*/ 911200 h 3641849"/>
                <a:gd name="connsiteX59" fmla="*/ 682600 w 1457148"/>
                <a:gd name="connsiteY59" fmla="*/ 918934 h 3641849"/>
                <a:gd name="connsiteX60" fmla="*/ 706433 w 1457148"/>
                <a:gd name="connsiteY60" fmla="*/ 951001 h 3641849"/>
                <a:gd name="connsiteX61" fmla="*/ 862162 w 1457148"/>
                <a:gd name="connsiteY61" fmla="*/ 1007364 h 3641849"/>
                <a:gd name="connsiteX62" fmla="*/ 847754 w 1457148"/>
                <a:gd name="connsiteY62" fmla="*/ 971687 h 3641849"/>
                <a:gd name="connsiteX63" fmla="*/ 814502 w 1457148"/>
                <a:gd name="connsiteY63" fmla="*/ 932901 h 3641849"/>
                <a:gd name="connsiteX64" fmla="*/ 803418 w 1457148"/>
                <a:gd name="connsiteY64" fmla="*/ 881187 h 3641849"/>
                <a:gd name="connsiteX65" fmla="*/ 842213 w 1457148"/>
                <a:gd name="connsiteY65" fmla="*/ 832060 h 3641849"/>
                <a:gd name="connsiteX66" fmla="*/ 869923 w 1457148"/>
                <a:gd name="connsiteY66" fmla="*/ 803617 h 3641849"/>
                <a:gd name="connsiteX67" fmla="*/ 894863 w 1457148"/>
                <a:gd name="connsiteY67" fmla="*/ 767417 h 3641849"/>
                <a:gd name="connsiteX68" fmla="*/ 975223 w 1457148"/>
                <a:gd name="connsiteY68" fmla="*/ 762245 h 3641849"/>
                <a:gd name="connsiteX69" fmla="*/ 980764 w 1457148"/>
                <a:gd name="connsiteY69" fmla="*/ 741560 h 3641849"/>
                <a:gd name="connsiteX70" fmla="*/ 1005704 w 1457148"/>
                <a:gd name="connsiteY70" fmla="*/ 705360 h 3641849"/>
                <a:gd name="connsiteX71" fmla="*/ 1039508 w 1457148"/>
                <a:gd name="connsiteY71" fmla="*/ 687772 h 3641849"/>
                <a:gd name="connsiteX72" fmla="*/ 1097148 w 1457148"/>
                <a:gd name="connsiteY72" fmla="*/ 700189 h 3641849"/>
                <a:gd name="connsiteX73" fmla="*/ 1135941 w 1457148"/>
                <a:gd name="connsiteY73" fmla="*/ 720875 h 3641849"/>
                <a:gd name="connsiteX74" fmla="*/ 1183049 w 1457148"/>
                <a:gd name="connsiteY74" fmla="*/ 728632 h 3641849"/>
                <a:gd name="connsiteX75" fmla="*/ 1183049 w 1457148"/>
                <a:gd name="connsiteY75" fmla="*/ 733803 h 3641849"/>
                <a:gd name="connsiteX76" fmla="*/ 1205218 w 1457148"/>
                <a:gd name="connsiteY76" fmla="*/ 674332 h 3641849"/>
                <a:gd name="connsiteX77" fmla="*/ 1215193 w 1457148"/>
                <a:gd name="connsiteY77" fmla="*/ 640714 h 3641849"/>
                <a:gd name="connsiteX78" fmla="*/ 1221844 w 1457148"/>
                <a:gd name="connsiteY78" fmla="*/ 622618 h 3641849"/>
                <a:gd name="connsiteX79" fmla="*/ 1224781 w 1457148"/>
                <a:gd name="connsiteY79" fmla="*/ 591288 h 3641849"/>
                <a:gd name="connsiteX80" fmla="*/ 1144255 w 1457148"/>
                <a:gd name="connsiteY80" fmla="*/ 545048 h 3641849"/>
                <a:gd name="connsiteX81" fmla="*/ 1130400 w 1457148"/>
                <a:gd name="connsiteY81" fmla="*/ 472648 h 3641849"/>
                <a:gd name="connsiteX82" fmla="*/ 1130400 w 1457148"/>
                <a:gd name="connsiteY82" fmla="*/ 454548 h 3641849"/>
                <a:gd name="connsiteX83" fmla="*/ 1141483 w 1457148"/>
                <a:gd name="connsiteY83" fmla="*/ 431276 h 3641849"/>
                <a:gd name="connsiteX84" fmla="*/ 1144255 w 1457148"/>
                <a:gd name="connsiteY84" fmla="*/ 415762 h 3641849"/>
                <a:gd name="connsiteX85" fmla="*/ 1144254 w 1457148"/>
                <a:gd name="connsiteY85" fmla="*/ 358878 h 3641849"/>
                <a:gd name="connsiteX86" fmla="*/ 1122086 w 1457148"/>
                <a:gd name="connsiteY86" fmla="*/ 335607 h 3641849"/>
                <a:gd name="connsiteX87" fmla="*/ 1094376 w 1457148"/>
                <a:gd name="connsiteY87" fmla="*/ 304578 h 3641849"/>
                <a:gd name="connsiteX88" fmla="*/ 1090208 w 1457148"/>
                <a:gd name="connsiteY88" fmla="*/ 280325 h 3641849"/>
                <a:gd name="connsiteX89" fmla="*/ 1141484 w 1457148"/>
                <a:gd name="connsiteY89" fmla="*/ 258034 h 3641849"/>
                <a:gd name="connsiteX90" fmla="*/ 1195064 w 1457148"/>
                <a:gd name="connsiteY90" fmla="*/ 267906 h 3641849"/>
                <a:gd name="connsiteX91" fmla="*/ 1273848 w 1457148"/>
                <a:gd name="connsiteY91" fmla="*/ 279816 h 3641849"/>
                <a:gd name="connsiteX92" fmla="*/ 1358171 w 1457148"/>
                <a:gd name="connsiteY92" fmla="*/ 349175 h 3641849"/>
                <a:gd name="connsiteX93" fmla="*/ 1420306 w 1457148"/>
                <a:gd name="connsiteY93" fmla="*/ 425271 h 3641849"/>
                <a:gd name="connsiteX94" fmla="*/ 1319335 w 1457148"/>
                <a:gd name="connsiteY94" fmla="*/ 454265 h 3641849"/>
                <a:gd name="connsiteX95" fmla="*/ 1303801 w 1457148"/>
                <a:gd name="connsiteY95" fmla="*/ 501372 h 3641849"/>
                <a:gd name="connsiteX96" fmla="*/ 1361471 w 1457148"/>
                <a:gd name="connsiteY96" fmla="*/ 585862 h 3641849"/>
                <a:gd name="connsiteX97" fmla="*/ 1397005 w 1457148"/>
                <a:gd name="connsiteY97" fmla="*/ 591964 h 3641849"/>
                <a:gd name="connsiteX98" fmla="*/ 1449625 w 1457148"/>
                <a:gd name="connsiteY98" fmla="*/ 598304 h 3641849"/>
                <a:gd name="connsiteX99" fmla="*/ 1444662 w 1457148"/>
                <a:gd name="connsiteY99" fmla="*/ 709079 h 3641849"/>
                <a:gd name="connsiteX100" fmla="*/ 1455731 w 1457148"/>
                <a:gd name="connsiteY100" fmla="*/ 1040047 h 3641849"/>
                <a:gd name="connsiteX101" fmla="*/ 1446863 w 1457148"/>
                <a:gd name="connsiteY101" fmla="*/ 1842646 h 3641849"/>
                <a:gd name="connsiteX102" fmla="*/ 1455730 w 1457148"/>
                <a:gd name="connsiteY102" fmla="*/ 2297728 h 3641849"/>
                <a:gd name="connsiteX103" fmla="*/ 1429282 w 1457148"/>
                <a:gd name="connsiteY103" fmla="*/ 3607693 h 3641849"/>
                <a:gd name="connsiteX104" fmla="*/ 1170855 w 1457148"/>
                <a:gd name="connsiteY104" fmla="*/ 3564098 h 3641849"/>
                <a:gd name="connsiteX105" fmla="*/ 1002377 w 1457148"/>
                <a:gd name="connsiteY105" fmla="*/ 3497903 h 3641849"/>
                <a:gd name="connsiteX106" fmla="*/ 825031 w 1457148"/>
                <a:gd name="connsiteY106" fmla="*/ 3406887 h 3641849"/>
                <a:gd name="connsiteX107" fmla="*/ 726733 w 1457148"/>
                <a:gd name="connsiteY107" fmla="*/ 3326370 h 3641849"/>
                <a:gd name="connsiteX108" fmla="*/ 1020995 w 1457148"/>
                <a:gd name="connsiteY108" fmla="*/ 3018734 h 3641849"/>
                <a:gd name="connsiteX109" fmla="*/ 737241 w 1457148"/>
                <a:gd name="connsiteY109" fmla="*/ 2480910 h 3641849"/>
                <a:gd name="connsiteX110" fmla="*/ 879591 w 1457148"/>
                <a:gd name="connsiteY110" fmla="*/ 2241825 h 3641849"/>
                <a:gd name="connsiteX111" fmla="*/ 692904 w 1457148"/>
                <a:gd name="connsiteY111" fmla="*/ 1703134 h 3641849"/>
                <a:gd name="connsiteX112" fmla="*/ 444620 w 1457148"/>
                <a:gd name="connsiteY112" fmla="*/ 1471456 h 3641849"/>
                <a:gd name="connsiteX113" fmla="*/ 330454 w 1457148"/>
                <a:gd name="connsiteY113" fmla="*/ 1590914 h 3641849"/>
                <a:gd name="connsiteX0" fmla="*/ 330454 w 1457148"/>
                <a:gd name="connsiteY0" fmla="*/ 1590914 h 3641849"/>
                <a:gd name="connsiteX1" fmla="*/ 249054 w 1457148"/>
                <a:gd name="connsiteY1" fmla="*/ 1557627 h 3641849"/>
                <a:gd name="connsiteX2" fmla="*/ 188091 w 1457148"/>
                <a:gd name="connsiteY2" fmla="*/ 1511084 h 3641849"/>
                <a:gd name="connsiteX3" fmla="*/ 143755 w 1457148"/>
                <a:gd name="connsiteY3" fmla="*/ 1485227 h 3641849"/>
                <a:gd name="connsiteX4" fmla="*/ 82793 w 1457148"/>
                <a:gd name="connsiteY4" fmla="*/ 1495570 h 3641849"/>
                <a:gd name="connsiteX5" fmla="*/ 260139 w 1457148"/>
                <a:gd name="connsiteY5" fmla="*/ 1299057 h 3641849"/>
                <a:gd name="connsiteX6" fmla="*/ 107732 w 1457148"/>
                <a:gd name="connsiteY6" fmla="*/ 1151672 h 3641849"/>
                <a:gd name="connsiteX7" fmla="*/ 168695 w 1457148"/>
                <a:gd name="connsiteY7" fmla="*/ 1089617 h 3641849"/>
                <a:gd name="connsiteX8" fmla="*/ 102190 w 1457148"/>
                <a:gd name="connsiteY8" fmla="*/ 1050829 h 3641849"/>
                <a:gd name="connsiteX9" fmla="*/ 143755 w 1457148"/>
                <a:gd name="connsiteY9" fmla="*/ 1019802 h 3641849"/>
                <a:gd name="connsiteX10" fmla="*/ 96649 w 1457148"/>
                <a:gd name="connsiteY10" fmla="*/ 993947 h 3641849"/>
                <a:gd name="connsiteX11" fmla="*/ 96648 w 1457148"/>
                <a:gd name="connsiteY11" fmla="*/ 794845 h 3641849"/>
                <a:gd name="connsiteX12" fmla="*/ 135443 w 1457148"/>
                <a:gd name="connsiteY12" fmla="*/ 779332 h 3641849"/>
                <a:gd name="connsiteX13" fmla="*/ 21830 w 1457148"/>
                <a:gd name="connsiteY13" fmla="*/ 551792 h 3641849"/>
                <a:gd name="connsiteX14" fmla="*/ 19059 w 1457148"/>
                <a:gd name="connsiteY14" fmla="*/ 551792 h 3641849"/>
                <a:gd name="connsiteX15" fmla="*/ 68937 w 1457148"/>
                <a:gd name="connsiteY15" fmla="*/ 469048 h 3641849"/>
                <a:gd name="connsiteX16" fmla="*/ 85563 w 1457148"/>
                <a:gd name="connsiteY16" fmla="*/ 378550 h 3641849"/>
                <a:gd name="connsiteX17" fmla="*/ 10744 w 1457148"/>
                <a:gd name="connsiteY17" fmla="*/ 319079 h 3641849"/>
                <a:gd name="connsiteX18" fmla="*/ 2432 w 1457148"/>
                <a:gd name="connsiteY18" fmla="*/ 251851 h 3641849"/>
                <a:gd name="connsiteX19" fmla="*/ 57852 w 1457148"/>
                <a:gd name="connsiteY19" fmla="*/ 158764 h 3641849"/>
                <a:gd name="connsiteX20" fmla="*/ 77250 w 1457148"/>
                <a:gd name="connsiteY20" fmla="*/ 135494 h 3641849"/>
                <a:gd name="connsiteX21" fmla="*/ 91105 w 1457148"/>
                <a:gd name="connsiteY21" fmla="*/ 117394 h 3641849"/>
                <a:gd name="connsiteX22" fmla="*/ 99418 w 1457148"/>
                <a:gd name="connsiteY22" fmla="*/ 73438 h 3641849"/>
                <a:gd name="connsiteX23" fmla="*/ 124357 w 1457148"/>
                <a:gd name="connsiteY23" fmla="*/ 101880 h 3641849"/>
                <a:gd name="connsiteX24" fmla="*/ 154839 w 1457148"/>
                <a:gd name="connsiteY24" fmla="*/ 88952 h 3641849"/>
                <a:gd name="connsiteX25" fmla="*/ 157609 w 1457148"/>
                <a:gd name="connsiteY25" fmla="*/ 63095 h 3641849"/>
                <a:gd name="connsiteX26" fmla="*/ 165923 w 1457148"/>
                <a:gd name="connsiteY26" fmla="*/ 34652 h 3641849"/>
                <a:gd name="connsiteX27" fmla="*/ 168695 w 1457148"/>
                <a:gd name="connsiteY27" fmla="*/ 3624 h 3641849"/>
                <a:gd name="connsiteX28" fmla="*/ 304475 w 1457148"/>
                <a:gd name="connsiteY28" fmla="*/ 57924 h 3641849"/>
                <a:gd name="connsiteX29" fmla="*/ 334955 w 1457148"/>
                <a:gd name="connsiteY29" fmla="*/ 161352 h 3641849"/>
                <a:gd name="connsiteX30" fmla="*/ 348811 w 1457148"/>
                <a:gd name="connsiteY30" fmla="*/ 184622 h 3641849"/>
                <a:gd name="connsiteX31" fmla="*/ 359895 w 1457148"/>
                <a:gd name="connsiteY31" fmla="*/ 187208 h 3641849"/>
                <a:gd name="connsiteX32" fmla="*/ 473507 w 1457148"/>
                <a:gd name="connsiteY32" fmla="*/ 156181 h 3641849"/>
                <a:gd name="connsiteX33" fmla="*/ 540012 w 1457148"/>
                <a:gd name="connsiteY33" fmla="*/ 166522 h 3641849"/>
                <a:gd name="connsiteX34" fmla="*/ 603746 w 1457148"/>
                <a:gd name="connsiteY34" fmla="*/ 213065 h 3641849"/>
                <a:gd name="connsiteX35" fmla="*/ 617773 w 1457148"/>
                <a:gd name="connsiteY35" fmla="*/ 242621 h 3641849"/>
                <a:gd name="connsiteX36" fmla="*/ 673020 w 1457148"/>
                <a:gd name="connsiteY36" fmla="*/ 277708 h 3641849"/>
                <a:gd name="connsiteX37" fmla="*/ 761694 w 1457148"/>
                <a:gd name="connsiteY37" fmla="*/ 303563 h 3641849"/>
                <a:gd name="connsiteX38" fmla="*/ 833740 w 1457148"/>
                <a:gd name="connsiteY38" fmla="*/ 350106 h 3641849"/>
                <a:gd name="connsiteX39" fmla="*/ 883619 w 1457148"/>
                <a:gd name="connsiteY39" fmla="*/ 401820 h 3641849"/>
                <a:gd name="connsiteX40" fmla="*/ 908558 w 1457148"/>
                <a:gd name="connsiteY40" fmla="*/ 440606 h 3641849"/>
                <a:gd name="connsiteX41" fmla="*/ 941811 w 1457148"/>
                <a:gd name="connsiteY41" fmla="*/ 466462 h 3641849"/>
                <a:gd name="connsiteX42" fmla="*/ 925183 w 1457148"/>
                <a:gd name="connsiteY42" fmla="*/ 691417 h 3641849"/>
                <a:gd name="connsiteX43" fmla="*/ 797717 w 1457148"/>
                <a:gd name="connsiteY43" fmla="*/ 771575 h 3641849"/>
                <a:gd name="connsiteX44" fmla="*/ 684105 w 1457148"/>
                <a:gd name="connsiteY44" fmla="*/ 779331 h 3641849"/>
                <a:gd name="connsiteX45" fmla="*/ 545552 w 1457148"/>
                <a:gd name="connsiteY45" fmla="*/ 758645 h 3641849"/>
                <a:gd name="connsiteX46" fmla="*/ 454108 w 1457148"/>
                <a:gd name="connsiteY46" fmla="*/ 722445 h 3641849"/>
                <a:gd name="connsiteX47" fmla="*/ 434711 w 1457148"/>
                <a:gd name="connsiteY47" fmla="*/ 750888 h 3641849"/>
                <a:gd name="connsiteX48" fmla="*/ 465353 w 1457148"/>
                <a:gd name="connsiteY48" fmla="*/ 824301 h 3641849"/>
                <a:gd name="connsiteX49" fmla="*/ 470894 w 1457148"/>
                <a:gd name="connsiteY49" fmla="*/ 951000 h 3641849"/>
                <a:gd name="connsiteX50" fmla="*/ 443024 w 1457148"/>
                <a:gd name="connsiteY50" fmla="*/ 1012043 h 3641849"/>
                <a:gd name="connsiteX51" fmla="*/ 498443 w 1457148"/>
                <a:gd name="connsiteY51" fmla="*/ 1032728 h 3641849"/>
                <a:gd name="connsiteX52" fmla="*/ 515071 w 1457148"/>
                <a:gd name="connsiteY52" fmla="*/ 1048242 h 3641849"/>
                <a:gd name="connsiteX53" fmla="*/ 540011 w 1457148"/>
                <a:gd name="connsiteY53" fmla="*/ 1074099 h 3641849"/>
                <a:gd name="connsiteX54" fmla="*/ 537240 w 1457148"/>
                <a:gd name="connsiteY54" fmla="*/ 1076685 h 3641849"/>
                <a:gd name="connsiteX55" fmla="*/ 576033 w 1457148"/>
                <a:gd name="connsiteY55" fmla="*/ 1071514 h 3641849"/>
                <a:gd name="connsiteX56" fmla="*/ 584347 w 1457148"/>
                <a:gd name="connsiteY56" fmla="*/ 1035314 h 3641849"/>
                <a:gd name="connsiteX57" fmla="*/ 545552 w 1457148"/>
                <a:gd name="connsiteY57" fmla="*/ 957743 h 3641849"/>
                <a:gd name="connsiteX58" fmla="*/ 614828 w 1457148"/>
                <a:gd name="connsiteY58" fmla="*/ 911200 h 3641849"/>
                <a:gd name="connsiteX59" fmla="*/ 682600 w 1457148"/>
                <a:gd name="connsiteY59" fmla="*/ 918934 h 3641849"/>
                <a:gd name="connsiteX60" fmla="*/ 706433 w 1457148"/>
                <a:gd name="connsiteY60" fmla="*/ 951001 h 3641849"/>
                <a:gd name="connsiteX61" fmla="*/ 862162 w 1457148"/>
                <a:gd name="connsiteY61" fmla="*/ 1007364 h 3641849"/>
                <a:gd name="connsiteX62" fmla="*/ 847754 w 1457148"/>
                <a:gd name="connsiteY62" fmla="*/ 971687 h 3641849"/>
                <a:gd name="connsiteX63" fmla="*/ 814502 w 1457148"/>
                <a:gd name="connsiteY63" fmla="*/ 932901 h 3641849"/>
                <a:gd name="connsiteX64" fmla="*/ 803418 w 1457148"/>
                <a:gd name="connsiteY64" fmla="*/ 881187 h 3641849"/>
                <a:gd name="connsiteX65" fmla="*/ 842213 w 1457148"/>
                <a:gd name="connsiteY65" fmla="*/ 832060 h 3641849"/>
                <a:gd name="connsiteX66" fmla="*/ 869923 w 1457148"/>
                <a:gd name="connsiteY66" fmla="*/ 803617 h 3641849"/>
                <a:gd name="connsiteX67" fmla="*/ 894863 w 1457148"/>
                <a:gd name="connsiteY67" fmla="*/ 767417 h 3641849"/>
                <a:gd name="connsiteX68" fmla="*/ 975223 w 1457148"/>
                <a:gd name="connsiteY68" fmla="*/ 762245 h 3641849"/>
                <a:gd name="connsiteX69" fmla="*/ 980764 w 1457148"/>
                <a:gd name="connsiteY69" fmla="*/ 741560 h 3641849"/>
                <a:gd name="connsiteX70" fmla="*/ 1005704 w 1457148"/>
                <a:gd name="connsiteY70" fmla="*/ 705360 h 3641849"/>
                <a:gd name="connsiteX71" fmla="*/ 1039508 w 1457148"/>
                <a:gd name="connsiteY71" fmla="*/ 687772 h 3641849"/>
                <a:gd name="connsiteX72" fmla="*/ 1097148 w 1457148"/>
                <a:gd name="connsiteY72" fmla="*/ 700189 h 3641849"/>
                <a:gd name="connsiteX73" fmla="*/ 1135941 w 1457148"/>
                <a:gd name="connsiteY73" fmla="*/ 720875 h 3641849"/>
                <a:gd name="connsiteX74" fmla="*/ 1183049 w 1457148"/>
                <a:gd name="connsiteY74" fmla="*/ 728632 h 3641849"/>
                <a:gd name="connsiteX75" fmla="*/ 1183049 w 1457148"/>
                <a:gd name="connsiteY75" fmla="*/ 733803 h 3641849"/>
                <a:gd name="connsiteX76" fmla="*/ 1205218 w 1457148"/>
                <a:gd name="connsiteY76" fmla="*/ 674332 h 3641849"/>
                <a:gd name="connsiteX77" fmla="*/ 1215193 w 1457148"/>
                <a:gd name="connsiteY77" fmla="*/ 640714 h 3641849"/>
                <a:gd name="connsiteX78" fmla="*/ 1221844 w 1457148"/>
                <a:gd name="connsiteY78" fmla="*/ 622618 h 3641849"/>
                <a:gd name="connsiteX79" fmla="*/ 1224781 w 1457148"/>
                <a:gd name="connsiteY79" fmla="*/ 591288 h 3641849"/>
                <a:gd name="connsiteX80" fmla="*/ 1144255 w 1457148"/>
                <a:gd name="connsiteY80" fmla="*/ 545048 h 3641849"/>
                <a:gd name="connsiteX81" fmla="*/ 1130400 w 1457148"/>
                <a:gd name="connsiteY81" fmla="*/ 472648 h 3641849"/>
                <a:gd name="connsiteX82" fmla="*/ 1130400 w 1457148"/>
                <a:gd name="connsiteY82" fmla="*/ 454548 h 3641849"/>
                <a:gd name="connsiteX83" fmla="*/ 1141483 w 1457148"/>
                <a:gd name="connsiteY83" fmla="*/ 431276 h 3641849"/>
                <a:gd name="connsiteX84" fmla="*/ 1144255 w 1457148"/>
                <a:gd name="connsiteY84" fmla="*/ 415762 h 3641849"/>
                <a:gd name="connsiteX85" fmla="*/ 1144254 w 1457148"/>
                <a:gd name="connsiteY85" fmla="*/ 358878 h 3641849"/>
                <a:gd name="connsiteX86" fmla="*/ 1122086 w 1457148"/>
                <a:gd name="connsiteY86" fmla="*/ 335607 h 3641849"/>
                <a:gd name="connsiteX87" fmla="*/ 1094376 w 1457148"/>
                <a:gd name="connsiteY87" fmla="*/ 304578 h 3641849"/>
                <a:gd name="connsiteX88" fmla="*/ 1090208 w 1457148"/>
                <a:gd name="connsiteY88" fmla="*/ 280325 h 3641849"/>
                <a:gd name="connsiteX89" fmla="*/ 1141484 w 1457148"/>
                <a:gd name="connsiteY89" fmla="*/ 258034 h 3641849"/>
                <a:gd name="connsiteX90" fmla="*/ 1195064 w 1457148"/>
                <a:gd name="connsiteY90" fmla="*/ 267906 h 3641849"/>
                <a:gd name="connsiteX91" fmla="*/ 1273848 w 1457148"/>
                <a:gd name="connsiteY91" fmla="*/ 279816 h 3641849"/>
                <a:gd name="connsiteX92" fmla="*/ 1358171 w 1457148"/>
                <a:gd name="connsiteY92" fmla="*/ 349175 h 3641849"/>
                <a:gd name="connsiteX93" fmla="*/ 1420306 w 1457148"/>
                <a:gd name="connsiteY93" fmla="*/ 425271 h 3641849"/>
                <a:gd name="connsiteX94" fmla="*/ 1319335 w 1457148"/>
                <a:gd name="connsiteY94" fmla="*/ 454265 h 3641849"/>
                <a:gd name="connsiteX95" fmla="*/ 1303801 w 1457148"/>
                <a:gd name="connsiteY95" fmla="*/ 501372 h 3641849"/>
                <a:gd name="connsiteX96" fmla="*/ 1361471 w 1457148"/>
                <a:gd name="connsiteY96" fmla="*/ 585862 h 3641849"/>
                <a:gd name="connsiteX97" fmla="*/ 1397005 w 1457148"/>
                <a:gd name="connsiteY97" fmla="*/ 591964 h 3641849"/>
                <a:gd name="connsiteX98" fmla="*/ 1449625 w 1457148"/>
                <a:gd name="connsiteY98" fmla="*/ 598304 h 3641849"/>
                <a:gd name="connsiteX99" fmla="*/ 1444662 w 1457148"/>
                <a:gd name="connsiteY99" fmla="*/ 709079 h 3641849"/>
                <a:gd name="connsiteX100" fmla="*/ 1455731 w 1457148"/>
                <a:gd name="connsiteY100" fmla="*/ 1040047 h 3641849"/>
                <a:gd name="connsiteX101" fmla="*/ 1446863 w 1457148"/>
                <a:gd name="connsiteY101" fmla="*/ 1842646 h 3641849"/>
                <a:gd name="connsiteX102" fmla="*/ 1455730 w 1457148"/>
                <a:gd name="connsiteY102" fmla="*/ 2297728 h 3641849"/>
                <a:gd name="connsiteX103" fmla="*/ 1429282 w 1457148"/>
                <a:gd name="connsiteY103" fmla="*/ 3607693 h 3641849"/>
                <a:gd name="connsiteX104" fmla="*/ 1170855 w 1457148"/>
                <a:gd name="connsiteY104" fmla="*/ 3564098 h 3641849"/>
                <a:gd name="connsiteX105" fmla="*/ 1002377 w 1457148"/>
                <a:gd name="connsiteY105" fmla="*/ 3497903 h 3641849"/>
                <a:gd name="connsiteX106" fmla="*/ 825031 w 1457148"/>
                <a:gd name="connsiteY106" fmla="*/ 3406887 h 3641849"/>
                <a:gd name="connsiteX107" fmla="*/ 726733 w 1457148"/>
                <a:gd name="connsiteY107" fmla="*/ 3326370 h 3641849"/>
                <a:gd name="connsiteX108" fmla="*/ 1020995 w 1457148"/>
                <a:gd name="connsiteY108" fmla="*/ 3018734 h 3641849"/>
                <a:gd name="connsiteX109" fmla="*/ 737241 w 1457148"/>
                <a:gd name="connsiteY109" fmla="*/ 2480910 h 3641849"/>
                <a:gd name="connsiteX110" fmla="*/ 879591 w 1457148"/>
                <a:gd name="connsiteY110" fmla="*/ 2241825 h 3641849"/>
                <a:gd name="connsiteX111" fmla="*/ 692904 w 1457148"/>
                <a:gd name="connsiteY111" fmla="*/ 1703134 h 3641849"/>
                <a:gd name="connsiteX112" fmla="*/ 444620 w 1457148"/>
                <a:gd name="connsiteY112" fmla="*/ 1471456 h 3641849"/>
                <a:gd name="connsiteX113" fmla="*/ 330454 w 1457148"/>
                <a:gd name="connsiteY113" fmla="*/ 1590914 h 3641849"/>
                <a:gd name="connsiteX0" fmla="*/ 305515 w 1457148"/>
                <a:gd name="connsiteY0" fmla="*/ 1694342 h 3641849"/>
                <a:gd name="connsiteX1" fmla="*/ 249054 w 1457148"/>
                <a:gd name="connsiteY1" fmla="*/ 1557627 h 3641849"/>
                <a:gd name="connsiteX2" fmla="*/ 188091 w 1457148"/>
                <a:gd name="connsiteY2" fmla="*/ 1511084 h 3641849"/>
                <a:gd name="connsiteX3" fmla="*/ 143755 w 1457148"/>
                <a:gd name="connsiteY3" fmla="*/ 1485227 h 3641849"/>
                <a:gd name="connsiteX4" fmla="*/ 82793 w 1457148"/>
                <a:gd name="connsiteY4" fmla="*/ 1495570 h 3641849"/>
                <a:gd name="connsiteX5" fmla="*/ 260139 w 1457148"/>
                <a:gd name="connsiteY5" fmla="*/ 1299057 h 3641849"/>
                <a:gd name="connsiteX6" fmla="*/ 107732 w 1457148"/>
                <a:gd name="connsiteY6" fmla="*/ 1151672 h 3641849"/>
                <a:gd name="connsiteX7" fmla="*/ 168695 w 1457148"/>
                <a:gd name="connsiteY7" fmla="*/ 1089617 h 3641849"/>
                <a:gd name="connsiteX8" fmla="*/ 102190 w 1457148"/>
                <a:gd name="connsiteY8" fmla="*/ 1050829 h 3641849"/>
                <a:gd name="connsiteX9" fmla="*/ 143755 w 1457148"/>
                <a:gd name="connsiteY9" fmla="*/ 1019802 h 3641849"/>
                <a:gd name="connsiteX10" fmla="*/ 96649 w 1457148"/>
                <a:gd name="connsiteY10" fmla="*/ 993947 h 3641849"/>
                <a:gd name="connsiteX11" fmla="*/ 96648 w 1457148"/>
                <a:gd name="connsiteY11" fmla="*/ 794845 h 3641849"/>
                <a:gd name="connsiteX12" fmla="*/ 135443 w 1457148"/>
                <a:gd name="connsiteY12" fmla="*/ 779332 h 3641849"/>
                <a:gd name="connsiteX13" fmla="*/ 21830 w 1457148"/>
                <a:gd name="connsiteY13" fmla="*/ 551792 h 3641849"/>
                <a:gd name="connsiteX14" fmla="*/ 19059 w 1457148"/>
                <a:gd name="connsiteY14" fmla="*/ 551792 h 3641849"/>
                <a:gd name="connsiteX15" fmla="*/ 68937 w 1457148"/>
                <a:gd name="connsiteY15" fmla="*/ 469048 h 3641849"/>
                <a:gd name="connsiteX16" fmla="*/ 85563 w 1457148"/>
                <a:gd name="connsiteY16" fmla="*/ 378550 h 3641849"/>
                <a:gd name="connsiteX17" fmla="*/ 10744 w 1457148"/>
                <a:gd name="connsiteY17" fmla="*/ 319079 h 3641849"/>
                <a:gd name="connsiteX18" fmla="*/ 2432 w 1457148"/>
                <a:gd name="connsiteY18" fmla="*/ 251851 h 3641849"/>
                <a:gd name="connsiteX19" fmla="*/ 57852 w 1457148"/>
                <a:gd name="connsiteY19" fmla="*/ 158764 h 3641849"/>
                <a:gd name="connsiteX20" fmla="*/ 77250 w 1457148"/>
                <a:gd name="connsiteY20" fmla="*/ 135494 h 3641849"/>
                <a:gd name="connsiteX21" fmla="*/ 91105 w 1457148"/>
                <a:gd name="connsiteY21" fmla="*/ 117394 h 3641849"/>
                <a:gd name="connsiteX22" fmla="*/ 99418 w 1457148"/>
                <a:gd name="connsiteY22" fmla="*/ 73438 h 3641849"/>
                <a:gd name="connsiteX23" fmla="*/ 124357 w 1457148"/>
                <a:gd name="connsiteY23" fmla="*/ 101880 h 3641849"/>
                <a:gd name="connsiteX24" fmla="*/ 154839 w 1457148"/>
                <a:gd name="connsiteY24" fmla="*/ 88952 h 3641849"/>
                <a:gd name="connsiteX25" fmla="*/ 157609 w 1457148"/>
                <a:gd name="connsiteY25" fmla="*/ 63095 h 3641849"/>
                <a:gd name="connsiteX26" fmla="*/ 165923 w 1457148"/>
                <a:gd name="connsiteY26" fmla="*/ 34652 h 3641849"/>
                <a:gd name="connsiteX27" fmla="*/ 168695 w 1457148"/>
                <a:gd name="connsiteY27" fmla="*/ 3624 h 3641849"/>
                <a:gd name="connsiteX28" fmla="*/ 304475 w 1457148"/>
                <a:gd name="connsiteY28" fmla="*/ 57924 h 3641849"/>
                <a:gd name="connsiteX29" fmla="*/ 334955 w 1457148"/>
                <a:gd name="connsiteY29" fmla="*/ 161352 h 3641849"/>
                <a:gd name="connsiteX30" fmla="*/ 348811 w 1457148"/>
                <a:gd name="connsiteY30" fmla="*/ 184622 h 3641849"/>
                <a:gd name="connsiteX31" fmla="*/ 359895 w 1457148"/>
                <a:gd name="connsiteY31" fmla="*/ 187208 h 3641849"/>
                <a:gd name="connsiteX32" fmla="*/ 473507 w 1457148"/>
                <a:gd name="connsiteY32" fmla="*/ 156181 h 3641849"/>
                <a:gd name="connsiteX33" fmla="*/ 540012 w 1457148"/>
                <a:gd name="connsiteY33" fmla="*/ 166522 h 3641849"/>
                <a:gd name="connsiteX34" fmla="*/ 603746 w 1457148"/>
                <a:gd name="connsiteY34" fmla="*/ 213065 h 3641849"/>
                <a:gd name="connsiteX35" fmla="*/ 617773 w 1457148"/>
                <a:gd name="connsiteY35" fmla="*/ 242621 h 3641849"/>
                <a:gd name="connsiteX36" fmla="*/ 673020 w 1457148"/>
                <a:gd name="connsiteY36" fmla="*/ 277708 h 3641849"/>
                <a:gd name="connsiteX37" fmla="*/ 761694 w 1457148"/>
                <a:gd name="connsiteY37" fmla="*/ 303563 h 3641849"/>
                <a:gd name="connsiteX38" fmla="*/ 833740 w 1457148"/>
                <a:gd name="connsiteY38" fmla="*/ 350106 h 3641849"/>
                <a:gd name="connsiteX39" fmla="*/ 883619 w 1457148"/>
                <a:gd name="connsiteY39" fmla="*/ 401820 h 3641849"/>
                <a:gd name="connsiteX40" fmla="*/ 908558 w 1457148"/>
                <a:gd name="connsiteY40" fmla="*/ 440606 h 3641849"/>
                <a:gd name="connsiteX41" fmla="*/ 941811 w 1457148"/>
                <a:gd name="connsiteY41" fmla="*/ 466462 h 3641849"/>
                <a:gd name="connsiteX42" fmla="*/ 925183 w 1457148"/>
                <a:gd name="connsiteY42" fmla="*/ 691417 h 3641849"/>
                <a:gd name="connsiteX43" fmla="*/ 797717 w 1457148"/>
                <a:gd name="connsiteY43" fmla="*/ 771575 h 3641849"/>
                <a:gd name="connsiteX44" fmla="*/ 684105 w 1457148"/>
                <a:gd name="connsiteY44" fmla="*/ 779331 h 3641849"/>
                <a:gd name="connsiteX45" fmla="*/ 545552 w 1457148"/>
                <a:gd name="connsiteY45" fmla="*/ 758645 h 3641849"/>
                <a:gd name="connsiteX46" fmla="*/ 454108 w 1457148"/>
                <a:gd name="connsiteY46" fmla="*/ 722445 h 3641849"/>
                <a:gd name="connsiteX47" fmla="*/ 434711 w 1457148"/>
                <a:gd name="connsiteY47" fmla="*/ 750888 h 3641849"/>
                <a:gd name="connsiteX48" fmla="*/ 465353 w 1457148"/>
                <a:gd name="connsiteY48" fmla="*/ 824301 h 3641849"/>
                <a:gd name="connsiteX49" fmla="*/ 470894 w 1457148"/>
                <a:gd name="connsiteY49" fmla="*/ 951000 h 3641849"/>
                <a:gd name="connsiteX50" fmla="*/ 443024 w 1457148"/>
                <a:gd name="connsiteY50" fmla="*/ 1012043 h 3641849"/>
                <a:gd name="connsiteX51" fmla="*/ 498443 w 1457148"/>
                <a:gd name="connsiteY51" fmla="*/ 1032728 h 3641849"/>
                <a:gd name="connsiteX52" fmla="*/ 515071 w 1457148"/>
                <a:gd name="connsiteY52" fmla="*/ 1048242 h 3641849"/>
                <a:gd name="connsiteX53" fmla="*/ 540011 w 1457148"/>
                <a:gd name="connsiteY53" fmla="*/ 1074099 h 3641849"/>
                <a:gd name="connsiteX54" fmla="*/ 537240 w 1457148"/>
                <a:gd name="connsiteY54" fmla="*/ 1076685 h 3641849"/>
                <a:gd name="connsiteX55" fmla="*/ 576033 w 1457148"/>
                <a:gd name="connsiteY55" fmla="*/ 1071514 h 3641849"/>
                <a:gd name="connsiteX56" fmla="*/ 584347 w 1457148"/>
                <a:gd name="connsiteY56" fmla="*/ 1035314 h 3641849"/>
                <a:gd name="connsiteX57" fmla="*/ 545552 w 1457148"/>
                <a:gd name="connsiteY57" fmla="*/ 957743 h 3641849"/>
                <a:gd name="connsiteX58" fmla="*/ 614828 w 1457148"/>
                <a:gd name="connsiteY58" fmla="*/ 911200 h 3641849"/>
                <a:gd name="connsiteX59" fmla="*/ 682600 w 1457148"/>
                <a:gd name="connsiteY59" fmla="*/ 918934 h 3641849"/>
                <a:gd name="connsiteX60" fmla="*/ 706433 w 1457148"/>
                <a:gd name="connsiteY60" fmla="*/ 951001 h 3641849"/>
                <a:gd name="connsiteX61" fmla="*/ 862162 w 1457148"/>
                <a:gd name="connsiteY61" fmla="*/ 1007364 h 3641849"/>
                <a:gd name="connsiteX62" fmla="*/ 847754 w 1457148"/>
                <a:gd name="connsiteY62" fmla="*/ 971687 h 3641849"/>
                <a:gd name="connsiteX63" fmla="*/ 814502 w 1457148"/>
                <a:gd name="connsiteY63" fmla="*/ 932901 h 3641849"/>
                <a:gd name="connsiteX64" fmla="*/ 803418 w 1457148"/>
                <a:gd name="connsiteY64" fmla="*/ 881187 h 3641849"/>
                <a:gd name="connsiteX65" fmla="*/ 842213 w 1457148"/>
                <a:gd name="connsiteY65" fmla="*/ 832060 h 3641849"/>
                <a:gd name="connsiteX66" fmla="*/ 869923 w 1457148"/>
                <a:gd name="connsiteY66" fmla="*/ 803617 h 3641849"/>
                <a:gd name="connsiteX67" fmla="*/ 894863 w 1457148"/>
                <a:gd name="connsiteY67" fmla="*/ 767417 h 3641849"/>
                <a:gd name="connsiteX68" fmla="*/ 975223 w 1457148"/>
                <a:gd name="connsiteY68" fmla="*/ 762245 h 3641849"/>
                <a:gd name="connsiteX69" fmla="*/ 980764 w 1457148"/>
                <a:gd name="connsiteY69" fmla="*/ 741560 h 3641849"/>
                <a:gd name="connsiteX70" fmla="*/ 1005704 w 1457148"/>
                <a:gd name="connsiteY70" fmla="*/ 705360 h 3641849"/>
                <a:gd name="connsiteX71" fmla="*/ 1039508 w 1457148"/>
                <a:gd name="connsiteY71" fmla="*/ 687772 h 3641849"/>
                <a:gd name="connsiteX72" fmla="*/ 1097148 w 1457148"/>
                <a:gd name="connsiteY72" fmla="*/ 700189 h 3641849"/>
                <a:gd name="connsiteX73" fmla="*/ 1135941 w 1457148"/>
                <a:gd name="connsiteY73" fmla="*/ 720875 h 3641849"/>
                <a:gd name="connsiteX74" fmla="*/ 1183049 w 1457148"/>
                <a:gd name="connsiteY74" fmla="*/ 728632 h 3641849"/>
                <a:gd name="connsiteX75" fmla="*/ 1183049 w 1457148"/>
                <a:gd name="connsiteY75" fmla="*/ 733803 h 3641849"/>
                <a:gd name="connsiteX76" fmla="*/ 1205218 w 1457148"/>
                <a:gd name="connsiteY76" fmla="*/ 674332 h 3641849"/>
                <a:gd name="connsiteX77" fmla="*/ 1215193 w 1457148"/>
                <a:gd name="connsiteY77" fmla="*/ 640714 h 3641849"/>
                <a:gd name="connsiteX78" fmla="*/ 1221844 w 1457148"/>
                <a:gd name="connsiteY78" fmla="*/ 622618 h 3641849"/>
                <a:gd name="connsiteX79" fmla="*/ 1224781 w 1457148"/>
                <a:gd name="connsiteY79" fmla="*/ 591288 h 3641849"/>
                <a:gd name="connsiteX80" fmla="*/ 1144255 w 1457148"/>
                <a:gd name="connsiteY80" fmla="*/ 545048 h 3641849"/>
                <a:gd name="connsiteX81" fmla="*/ 1130400 w 1457148"/>
                <a:gd name="connsiteY81" fmla="*/ 472648 h 3641849"/>
                <a:gd name="connsiteX82" fmla="*/ 1130400 w 1457148"/>
                <a:gd name="connsiteY82" fmla="*/ 454548 h 3641849"/>
                <a:gd name="connsiteX83" fmla="*/ 1141483 w 1457148"/>
                <a:gd name="connsiteY83" fmla="*/ 431276 h 3641849"/>
                <a:gd name="connsiteX84" fmla="*/ 1144255 w 1457148"/>
                <a:gd name="connsiteY84" fmla="*/ 415762 h 3641849"/>
                <a:gd name="connsiteX85" fmla="*/ 1144254 w 1457148"/>
                <a:gd name="connsiteY85" fmla="*/ 358878 h 3641849"/>
                <a:gd name="connsiteX86" fmla="*/ 1122086 w 1457148"/>
                <a:gd name="connsiteY86" fmla="*/ 335607 h 3641849"/>
                <a:gd name="connsiteX87" fmla="*/ 1094376 w 1457148"/>
                <a:gd name="connsiteY87" fmla="*/ 304578 h 3641849"/>
                <a:gd name="connsiteX88" fmla="*/ 1090208 w 1457148"/>
                <a:gd name="connsiteY88" fmla="*/ 280325 h 3641849"/>
                <a:gd name="connsiteX89" fmla="*/ 1141484 w 1457148"/>
                <a:gd name="connsiteY89" fmla="*/ 258034 h 3641849"/>
                <a:gd name="connsiteX90" fmla="*/ 1195064 w 1457148"/>
                <a:gd name="connsiteY90" fmla="*/ 267906 h 3641849"/>
                <a:gd name="connsiteX91" fmla="*/ 1273848 w 1457148"/>
                <a:gd name="connsiteY91" fmla="*/ 279816 h 3641849"/>
                <a:gd name="connsiteX92" fmla="*/ 1358171 w 1457148"/>
                <a:gd name="connsiteY92" fmla="*/ 349175 h 3641849"/>
                <a:gd name="connsiteX93" fmla="*/ 1420306 w 1457148"/>
                <a:gd name="connsiteY93" fmla="*/ 425271 h 3641849"/>
                <a:gd name="connsiteX94" fmla="*/ 1319335 w 1457148"/>
                <a:gd name="connsiteY94" fmla="*/ 454265 h 3641849"/>
                <a:gd name="connsiteX95" fmla="*/ 1303801 w 1457148"/>
                <a:gd name="connsiteY95" fmla="*/ 501372 h 3641849"/>
                <a:gd name="connsiteX96" fmla="*/ 1361471 w 1457148"/>
                <a:gd name="connsiteY96" fmla="*/ 585862 h 3641849"/>
                <a:gd name="connsiteX97" fmla="*/ 1397005 w 1457148"/>
                <a:gd name="connsiteY97" fmla="*/ 591964 h 3641849"/>
                <a:gd name="connsiteX98" fmla="*/ 1449625 w 1457148"/>
                <a:gd name="connsiteY98" fmla="*/ 598304 h 3641849"/>
                <a:gd name="connsiteX99" fmla="*/ 1444662 w 1457148"/>
                <a:gd name="connsiteY99" fmla="*/ 709079 h 3641849"/>
                <a:gd name="connsiteX100" fmla="*/ 1455731 w 1457148"/>
                <a:gd name="connsiteY100" fmla="*/ 1040047 h 3641849"/>
                <a:gd name="connsiteX101" fmla="*/ 1446863 w 1457148"/>
                <a:gd name="connsiteY101" fmla="*/ 1842646 h 3641849"/>
                <a:gd name="connsiteX102" fmla="*/ 1455730 w 1457148"/>
                <a:gd name="connsiteY102" fmla="*/ 2297728 h 3641849"/>
                <a:gd name="connsiteX103" fmla="*/ 1429282 w 1457148"/>
                <a:gd name="connsiteY103" fmla="*/ 3607693 h 3641849"/>
                <a:gd name="connsiteX104" fmla="*/ 1170855 w 1457148"/>
                <a:gd name="connsiteY104" fmla="*/ 3564098 h 3641849"/>
                <a:gd name="connsiteX105" fmla="*/ 1002377 w 1457148"/>
                <a:gd name="connsiteY105" fmla="*/ 3497903 h 3641849"/>
                <a:gd name="connsiteX106" fmla="*/ 825031 w 1457148"/>
                <a:gd name="connsiteY106" fmla="*/ 3406887 h 3641849"/>
                <a:gd name="connsiteX107" fmla="*/ 726733 w 1457148"/>
                <a:gd name="connsiteY107" fmla="*/ 3326370 h 3641849"/>
                <a:gd name="connsiteX108" fmla="*/ 1020995 w 1457148"/>
                <a:gd name="connsiteY108" fmla="*/ 3018734 h 3641849"/>
                <a:gd name="connsiteX109" fmla="*/ 737241 w 1457148"/>
                <a:gd name="connsiteY109" fmla="*/ 2480910 h 3641849"/>
                <a:gd name="connsiteX110" fmla="*/ 879591 w 1457148"/>
                <a:gd name="connsiteY110" fmla="*/ 2241825 h 3641849"/>
                <a:gd name="connsiteX111" fmla="*/ 692904 w 1457148"/>
                <a:gd name="connsiteY111" fmla="*/ 1703134 h 3641849"/>
                <a:gd name="connsiteX112" fmla="*/ 444620 w 1457148"/>
                <a:gd name="connsiteY112" fmla="*/ 1471456 h 3641849"/>
                <a:gd name="connsiteX113" fmla="*/ 305515 w 1457148"/>
                <a:gd name="connsiteY113" fmla="*/ 1694342 h 3641849"/>
                <a:gd name="connsiteX0" fmla="*/ 277806 w 1457148"/>
                <a:gd name="connsiteY0" fmla="*/ 1722785 h 3641849"/>
                <a:gd name="connsiteX1" fmla="*/ 249054 w 1457148"/>
                <a:gd name="connsiteY1" fmla="*/ 1557627 h 3641849"/>
                <a:gd name="connsiteX2" fmla="*/ 188091 w 1457148"/>
                <a:gd name="connsiteY2" fmla="*/ 1511084 h 3641849"/>
                <a:gd name="connsiteX3" fmla="*/ 143755 w 1457148"/>
                <a:gd name="connsiteY3" fmla="*/ 1485227 h 3641849"/>
                <a:gd name="connsiteX4" fmla="*/ 82793 w 1457148"/>
                <a:gd name="connsiteY4" fmla="*/ 1495570 h 3641849"/>
                <a:gd name="connsiteX5" fmla="*/ 260139 w 1457148"/>
                <a:gd name="connsiteY5" fmla="*/ 1299057 h 3641849"/>
                <a:gd name="connsiteX6" fmla="*/ 107732 w 1457148"/>
                <a:gd name="connsiteY6" fmla="*/ 1151672 h 3641849"/>
                <a:gd name="connsiteX7" fmla="*/ 168695 w 1457148"/>
                <a:gd name="connsiteY7" fmla="*/ 1089617 h 3641849"/>
                <a:gd name="connsiteX8" fmla="*/ 102190 w 1457148"/>
                <a:gd name="connsiteY8" fmla="*/ 1050829 h 3641849"/>
                <a:gd name="connsiteX9" fmla="*/ 143755 w 1457148"/>
                <a:gd name="connsiteY9" fmla="*/ 1019802 h 3641849"/>
                <a:gd name="connsiteX10" fmla="*/ 96649 w 1457148"/>
                <a:gd name="connsiteY10" fmla="*/ 993947 h 3641849"/>
                <a:gd name="connsiteX11" fmla="*/ 96648 w 1457148"/>
                <a:gd name="connsiteY11" fmla="*/ 794845 h 3641849"/>
                <a:gd name="connsiteX12" fmla="*/ 135443 w 1457148"/>
                <a:gd name="connsiteY12" fmla="*/ 779332 h 3641849"/>
                <a:gd name="connsiteX13" fmla="*/ 21830 w 1457148"/>
                <a:gd name="connsiteY13" fmla="*/ 551792 h 3641849"/>
                <a:gd name="connsiteX14" fmla="*/ 19059 w 1457148"/>
                <a:gd name="connsiteY14" fmla="*/ 551792 h 3641849"/>
                <a:gd name="connsiteX15" fmla="*/ 68937 w 1457148"/>
                <a:gd name="connsiteY15" fmla="*/ 469048 h 3641849"/>
                <a:gd name="connsiteX16" fmla="*/ 85563 w 1457148"/>
                <a:gd name="connsiteY16" fmla="*/ 378550 h 3641849"/>
                <a:gd name="connsiteX17" fmla="*/ 10744 w 1457148"/>
                <a:gd name="connsiteY17" fmla="*/ 319079 h 3641849"/>
                <a:gd name="connsiteX18" fmla="*/ 2432 w 1457148"/>
                <a:gd name="connsiteY18" fmla="*/ 251851 h 3641849"/>
                <a:gd name="connsiteX19" fmla="*/ 57852 w 1457148"/>
                <a:gd name="connsiteY19" fmla="*/ 158764 h 3641849"/>
                <a:gd name="connsiteX20" fmla="*/ 77250 w 1457148"/>
                <a:gd name="connsiteY20" fmla="*/ 135494 h 3641849"/>
                <a:gd name="connsiteX21" fmla="*/ 91105 w 1457148"/>
                <a:gd name="connsiteY21" fmla="*/ 117394 h 3641849"/>
                <a:gd name="connsiteX22" fmla="*/ 99418 w 1457148"/>
                <a:gd name="connsiteY22" fmla="*/ 73438 h 3641849"/>
                <a:gd name="connsiteX23" fmla="*/ 124357 w 1457148"/>
                <a:gd name="connsiteY23" fmla="*/ 101880 h 3641849"/>
                <a:gd name="connsiteX24" fmla="*/ 154839 w 1457148"/>
                <a:gd name="connsiteY24" fmla="*/ 88952 h 3641849"/>
                <a:gd name="connsiteX25" fmla="*/ 157609 w 1457148"/>
                <a:gd name="connsiteY25" fmla="*/ 63095 h 3641849"/>
                <a:gd name="connsiteX26" fmla="*/ 165923 w 1457148"/>
                <a:gd name="connsiteY26" fmla="*/ 34652 h 3641849"/>
                <a:gd name="connsiteX27" fmla="*/ 168695 w 1457148"/>
                <a:gd name="connsiteY27" fmla="*/ 3624 h 3641849"/>
                <a:gd name="connsiteX28" fmla="*/ 304475 w 1457148"/>
                <a:gd name="connsiteY28" fmla="*/ 57924 h 3641849"/>
                <a:gd name="connsiteX29" fmla="*/ 334955 w 1457148"/>
                <a:gd name="connsiteY29" fmla="*/ 161352 h 3641849"/>
                <a:gd name="connsiteX30" fmla="*/ 348811 w 1457148"/>
                <a:gd name="connsiteY30" fmla="*/ 184622 h 3641849"/>
                <a:gd name="connsiteX31" fmla="*/ 359895 w 1457148"/>
                <a:gd name="connsiteY31" fmla="*/ 187208 h 3641849"/>
                <a:gd name="connsiteX32" fmla="*/ 473507 w 1457148"/>
                <a:gd name="connsiteY32" fmla="*/ 156181 h 3641849"/>
                <a:gd name="connsiteX33" fmla="*/ 540012 w 1457148"/>
                <a:gd name="connsiteY33" fmla="*/ 166522 h 3641849"/>
                <a:gd name="connsiteX34" fmla="*/ 603746 w 1457148"/>
                <a:gd name="connsiteY34" fmla="*/ 213065 h 3641849"/>
                <a:gd name="connsiteX35" fmla="*/ 617773 w 1457148"/>
                <a:gd name="connsiteY35" fmla="*/ 242621 h 3641849"/>
                <a:gd name="connsiteX36" fmla="*/ 673020 w 1457148"/>
                <a:gd name="connsiteY36" fmla="*/ 277708 h 3641849"/>
                <a:gd name="connsiteX37" fmla="*/ 761694 w 1457148"/>
                <a:gd name="connsiteY37" fmla="*/ 303563 h 3641849"/>
                <a:gd name="connsiteX38" fmla="*/ 833740 w 1457148"/>
                <a:gd name="connsiteY38" fmla="*/ 350106 h 3641849"/>
                <a:gd name="connsiteX39" fmla="*/ 883619 w 1457148"/>
                <a:gd name="connsiteY39" fmla="*/ 401820 h 3641849"/>
                <a:gd name="connsiteX40" fmla="*/ 908558 w 1457148"/>
                <a:gd name="connsiteY40" fmla="*/ 440606 h 3641849"/>
                <a:gd name="connsiteX41" fmla="*/ 941811 w 1457148"/>
                <a:gd name="connsiteY41" fmla="*/ 466462 h 3641849"/>
                <a:gd name="connsiteX42" fmla="*/ 925183 w 1457148"/>
                <a:gd name="connsiteY42" fmla="*/ 691417 h 3641849"/>
                <a:gd name="connsiteX43" fmla="*/ 797717 w 1457148"/>
                <a:gd name="connsiteY43" fmla="*/ 771575 h 3641849"/>
                <a:gd name="connsiteX44" fmla="*/ 684105 w 1457148"/>
                <a:gd name="connsiteY44" fmla="*/ 779331 h 3641849"/>
                <a:gd name="connsiteX45" fmla="*/ 545552 w 1457148"/>
                <a:gd name="connsiteY45" fmla="*/ 758645 h 3641849"/>
                <a:gd name="connsiteX46" fmla="*/ 454108 w 1457148"/>
                <a:gd name="connsiteY46" fmla="*/ 722445 h 3641849"/>
                <a:gd name="connsiteX47" fmla="*/ 434711 w 1457148"/>
                <a:gd name="connsiteY47" fmla="*/ 750888 h 3641849"/>
                <a:gd name="connsiteX48" fmla="*/ 465353 w 1457148"/>
                <a:gd name="connsiteY48" fmla="*/ 824301 h 3641849"/>
                <a:gd name="connsiteX49" fmla="*/ 470894 w 1457148"/>
                <a:gd name="connsiteY49" fmla="*/ 951000 h 3641849"/>
                <a:gd name="connsiteX50" fmla="*/ 443024 w 1457148"/>
                <a:gd name="connsiteY50" fmla="*/ 1012043 h 3641849"/>
                <a:gd name="connsiteX51" fmla="*/ 498443 w 1457148"/>
                <a:gd name="connsiteY51" fmla="*/ 1032728 h 3641849"/>
                <a:gd name="connsiteX52" fmla="*/ 515071 w 1457148"/>
                <a:gd name="connsiteY52" fmla="*/ 1048242 h 3641849"/>
                <a:gd name="connsiteX53" fmla="*/ 540011 w 1457148"/>
                <a:gd name="connsiteY53" fmla="*/ 1074099 h 3641849"/>
                <a:gd name="connsiteX54" fmla="*/ 537240 w 1457148"/>
                <a:gd name="connsiteY54" fmla="*/ 1076685 h 3641849"/>
                <a:gd name="connsiteX55" fmla="*/ 576033 w 1457148"/>
                <a:gd name="connsiteY55" fmla="*/ 1071514 h 3641849"/>
                <a:gd name="connsiteX56" fmla="*/ 584347 w 1457148"/>
                <a:gd name="connsiteY56" fmla="*/ 1035314 h 3641849"/>
                <a:gd name="connsiteX57" fmla="*/ 545552 w 1457148"/>
                <a:gd name="connsiteY57" fmla="*/ 957743 h 3641849"/>
                <a:gd name="connsiteX58" fmla="*/ 614828 w 1457148"/>
                <a:gd name="connsiteY58" fmla="*/ 911200 h 3641849"/>
                <a:gd name="connsiteX59" fmla="*/ 682600 w 1457148"/>
                <a:gd name="connsiteY59" fmla="*/ 918934 h 3641849"/>
                <a:gd name="connsiteX60" fmla="*/ 706433 w 1457148"/>
                <a:gd name="connsiteY60" fmla="*/ 951001 h 3641849"/>
                <a:gd name="connsiteX61" fmla="*/ 862162 w 1457148"/>
                <a:gd name="connsiteY61" fmla="*/ 1007364 h 3641849"/>
                <a:gd name="connsiteX62" fmla="*/ 847754 w 1457148"/>
                <a:gd name="connsiteY62" fmla="*/ 971687 h 3641849"/>
                <a:gd name="connsiteX63" fmla="*/ 814502 w 1457148"/>
                <a:gd name="connsiteY63" fmla="*/ 932901 h 3641849"/>
                <a:gd name="connsiteX64" fmla="*/ 803418 w 1457148"/>
                <a:gd name="connsiteY64" fmla="*/ 881187 h 3641849"/>
                <a:gd name="connsiteX65" fmla="*/ 842213 w 1457148"/>
                <a:gd name="connsiteY65" fmla="*/ 832060 h 3641849"/>
                <a:gd name="connsiteX66" fmla="*/ 869923 w 1457148"/>
                <a:gd name="connsiteY66" fmla="*/ 803617 h 3641849"/>
                <a:gd name="connsiteX67" fmla="*/ 894863 w 1457148"/>
                <a:gd name="connsiteY67" fmla="*/ 767417 h 3641849"/>
                <a:gd name="connsiteX68" fmla="*/ 975223 w 1457148"/>
                <a:gd name="connsiteY68" fmla="*/ 762245 h 3641849"/>
                <a:gd name="connsiteX69" fmla="*/ 980764 w 1457148"/>
                <a:gd name="connsiteY69" fmla="*/ 741560 h 3641849"/>
                <a:gd name="connsiteX70" fmla="*/ 1005704 w 1457148"/>
                <a:gd name="connsiteY70" fmla="*/ 705360 h 3641849"/>
                <a:gd name="connsiteX71" fmla="*/ 1039508 w 1457148"/>
                <a:gd name="connsiteY71" fmla="*/ 687772 h 3641849"/>
                <a:gd name="connsiteX72" fmla="*/ 1097148 w 1457148"/>
                <a:gd name="connsiteY72" fmla="*/ 700189 h 3641849"/>
                <a:gd name="connsiteX73" fmla="*/ 1135941 w 1457148"/>
                <a:gd name="connsiteY73" fmla="*/ 720875 h 3641849"/>
                <a:gd name="connsiteX74" fmla="*/ 1183049 w 1457148"/>
                <a:gd name="connsiteY74" fmla="*/ 728632 h 3641849"/>
                <a:gd name="connsiteX75" fmla="*/ 1183049 w 1457148"/>
                <a:gd name="connsiteY75" fmla="*/ 733803 h 3641849"/>
                <a:gd name="connsiteX76" fmla="*/ 1205218 w 1457148"/>
                <a:gd name="connsiteY76" fmla="*/ 674332 h 3641849"/>
                <a:gd name="connsiteX77" fmla="*/ 1215193 w 1457148"/>
                <a:gd name="connsiteY77" fmla="*/ 640714 h 3641849"/>
                <a:gd name="connsiteX78" fmla="*/ 1221844 w 1457148"/>
                <a:gd name="connsiteY78" fmla="*/ 622618 h 3641849"/>
                <a:gd name="connsiteX79" fmla="*/ 1224781 w 1457148"/>
                <a:gd name="connsiteY79" fmla="*/ 591288 h 3641849"/>
                <a:gd name="connsiteX80" fmla="*/ 1144255 w 1457148"/>
                <a:gd name="connsiteY80" fmla="*/ 545048 h 3641849"/>
                <a:gd name="connsiteX81" fmla="*/ 1130400 w 1457148"/>
                <a:gd name="connsiteY81" fmla="*/ 472648 h 3641849"/>
                <a:gd name="connsiteX82" fmla="*/ 1130400 w 1457148"/>
                <a:gd name="connsiteY82" fmla="*/ 454548 h 3641849"/>
                <a:gd name="connsiteX83" fmla="*/ 1141483 w 1457148"/>
                <a:gd name="connsiteY83" fmla="*/ 431276 h 3641849"/>
                <a:gd name="connsiteX84" fmla="*/ 1144255 w 1457148"/>
                <a:gd name="connsiteY84" fmla="*/ 415762 h 3641849"/>
                <a:gd name="connsiteX85" fmla="*/ 1144254 w 1457148"/>
                <a:gd name="connsiteY85" fmla="*/ 358878 h 3641849"/>
                <a:gd name="connsiteX86" fmla="*/ 1122086 w 1457148"/>
                <a:gd name="connsiteY86" fmla="*/ 335607 h 3641849"/>
                <a:gd name="connsiteX87" fmla="*/ 1094376 w 1457148"/>
                <a:gd name="connsiteY87" fmla="*/ 304578 h 3641849"/>
                <a:gd name="connsiteX88" fmla="*/ 1090208 w 1457148"/>
                <a:gd name="connsiteY88" fmla="*/ 280325 h 3641849"/>
                <a:gd name="connsiteX89" fmla="*/ 1141484 w 1457148"/>
                <a:gd name="connsiteY89" fmla="*/ 258034 h 3641849"/>
                <a:gd name="connsiteX90" fmla="*/ 1195064 w 1457148"/>
                <a:gd name="connsiteY90" fmla="*/ 267906 h 3641849"/>
                <a:gd name="connsiteX91" fmla="*/ 1273848 w 1457148"/>
                <a:gd name="connsiteY91" fmla="*/ 279816 h 3641849"/>
                <a:gd name="connsiteX92" fmla="*/ 1358171 w 1457148"/>
                <a:gd name="connsiteY92" fmla="*/ 349175 h 3641849"/>
                <a:gd name="connsiteX93" fmla="*/ 1420306 w 1457148"/>
                <a:gd name="connsiteY93" fmla="*/ 425271 h 3641849"/>
                <a:gd name="connsiteX94" fmla="*/ 1319335 w 1457148"/>
                <a:gd name="connsiteY94" fmla="*/ 454265 h 3641849"/>
                <a:gd name="connsiteX95" fmla="*/ 1303801 w 1457148"/>
                <a:gd name="connsiteY95" fmla="*/ 501372 h 3641849"/>
                <a:gd name="connsiteX96" fmla="*/ 1361471 w 1457148"/>
                <a:gd name="connsiteY96" fmla="*/ 585862 h 3641849"/>
                <a:gd name="connsiteX97" fmla="*/ 1397005 w 1457148"/>
                <a:gd name="connsiteY97" fmla="*/ 591964 h 3641849"/>
                <a:gd name="connsiteX98" fmla="*/ 1449625 w 1457148"/>
                <a:gd name="connsiteY98" fmla="*/ 598304 h 3641849"/>
                <a:gd name="connsiteX99" fmla="*/ 1444662 w 1457148"/>
                <a:gd name="connsiteY99" fmla="*/ 709079 h 3641849"/>
                <a:gd name="connsiteX100" fmla="*/ 1455731 w 1457148"/>
                <a:gd name="connsiteY100" fmla="*/ 1040047 h 3641849"/>
                <a:gd name="connsiteX101" fmla="*/ 1446863 w 1457148"/>
                <a:gd name="connsiteY101" fmla="*/ 1842646 h 3641849"/>
                <a:gd name="connsiteX102" fmla="*/ 1455730 w 1457148"/>
                <a:gd name="connsiteY102" fmla="*/ 2297728 h 3641849"/>
                <a:gd name="connsiteX103" fmla="*/ 1429282 w 1457148"/>
                <a:gd name="connsiteY103" fmla="*/ 3607693 h 3641849"/>
                <a:gd name="connsiteX104" fmla="*/ 1170855 w 1457148"/>
                <a:gd name="connsiteY104" fmla="*/ 3564098 h 3641849"/>
                <a:gd name="connsiteX105" fmla="*/ 1002377 w 1457148"/>
                <a:gd name="connsiteY105" fmla="*/ 3497903 h 3641849"/>
                <a:gd name="connsiteX106" fmla="*/ 825031 w 1457148"/>
                <a:gd name="connsiteY106" fmla="*/ 3406887 h 3641849"/>
                <a:gd name="connsiteX107" fmla="*/ 726733 w 1457148"/>
                <a:gd name="connsiteY107" fmla="*/ 3326370 h 3641849"/>
                <a:gd name="connsiteX108" fmla="*/ 1020995 w 1457148"/>
                <a:gd name="connsiteY108" fmla="*/ 3018734 h 3641849"/>
                <a:gd name="connsiteX109" fmla="*/ 737241 w 1457148"/>
                <a:gd name="connsiteY109" fmla="*/ 2480910 h 3641849"/>
                <a:gd name="connsiteX110" fmla="*/ 879591 w 1457148"/>
                <a:gd name="connsiteY110" fmla="*/ 2241825 h 3641849"/>
                <a:gd name="connsiteX111" fmla="*/ 692904 w 1457148"/>
                <a:gd name="connsiteY111" fmla="*/ 1703134 h 3641849"/>
                <a:gd name="connsiteX112" fmla="*/ 444620 w 1457148"/>
                <a:gd name="connsiteY112" fmla="*/ 1471456 h 3641849"/>
                <a:gd name="connsiteX113" fmla="*/ 277806 w 1457148"/>
                <a:gd name="connsiteY113" fmla="*/ 1722785 h 3641849"/>
                <a:gd name="connsiteX0" fmla="*/ 277806 w 1457148"/>
                <a:gd name="connsiteY0" fmla="*/ 1722785 h 3641849"/>
                <a:gd name="connsiteX1" fmla="*/ 235198 w 1457148"/>
                <a:gd name="connsiteY1" fmla="*/ 1622268 h 3641849"/>
                <a:gd name="connsiteX2" fmla="*/ 249054 w 1457148"/>
                <a:gd name="connsiteY2" fmla="*/ 1557627 h 3641849"/>
                <a:gd name="connsiteX3" fmla="*/ 188091 w 1457148"/>
                <a:gd name="connsiteY3" fmla="*/ 1511084 h 3641849"/>
                <a:gd name="connsiteX4" fmla="*/ 143755 w 1457148"/>
                <a:gd name="connsiteY4" fmla="*/ 1485227 h 3641849"/>
                <a:gd name="connsiteX5" fmla="*/ 82793 w 1457148"/>
                <a:gd name="connsiteY5" fmla="*/ 1495570 h 3641849"/>
                <a:gd name="connsiteX6" fmla="*/ 260139 w 1457148"/>
                <a:gd name="connsiteY6" fmla="*/ 1299057 h 3641849"/>
                <a:gd name="connsiteX7" fmla="*/ 107732 w 1457148"/>
                <a:gd name="connsiteY7" fmla="*/ 1151672 h 3641849"/>
                <a:gd name="connsiteX8" fmla="*/ 168695 w 1457148"/>
                <a:gd name="connsiteY8" fmla="*/ 1089617 h 3641849"/>
                <a:gd name="connsiteX9" fmla="*/ 102190 w 1457148"/>
                <a:gd name="connsiteY9" fmla="*/ 1050829 h 3641849"/>
                <a:gd name="connsiteX10" fmla="*/ 143755 w 1457148"/>
                <a:gd name="connsiteY10" fmla="*/ 1019802 h 3641849"/>
                <a:gd name="connsiteX11" fmla="*/ 96649 w 1457148"/>
                <a:gd name="connsiteY11" fmla="*/ 993947 h 3641849"/>
                <a:gd name="connsiteX12" fmla="*/ 96648 w 1457148"/>
                <a:gd name="connsiteY12" fmla="*/ 794845 h 3641849"/>
                <a:gd name="connsiteX13" fmla="*/ 135443 w 1457148"/>
                <a:gd name="connsiteY13" fmla="*/ 779332 h 3641849"/>
                <a:gd name="connsiteX14" fmla="*/ 21830 w 1457148"/>
                <a:gd name="connsiteY14" fmla="*/ 551792 h 3641849"/>
                <a:gd name="connsiteX15" fmla="*/ 19059 w 1457148"/>
                <a:gd name="connsiteY15" fmla="*/ 551792 h 3641849"/>
                <a:gd name="connsiteX16" fmla="*/ 68937 w 1457148"/>
                <a:gd name="connsiteY16" fmla="*/ 469048 h 3641849"/>
                <a:gd name="connsiteX17" fmla="*/ 85563 w 1457148"/>
                <a:gd name="connsiteY17" fmla="*/ 378550 h 3641849"/>
                <a:gd name="connsiteX18" fmla="*/ 10744 w 1457148"/>
                <a:gd name="connsiteY18" fmla="*/ 319079 h 3641849"/>
                <a:gd name="connsiteX19" fmla="*/ 2432 w 1457148"/>
                <a:gd name="connsiteY19" fmla="*/ 251851 h 3641849"/>
                <a:gd name="connsiteX20" fmla="*/ 57852 w 1457148"/>
                <a:gd name="connsiteY20" fmla="*/ 158764 h 3641849"/>
                <a:gd name="connsiteX21" fmla="*/ 77250 w 1457148"/>
                <a:gd name="connsiteY21" fmla="*/ 135494 h 3641849"/>
                <a:gd name="connsiteX22" fmla="*/ 91105 w 1457148"/>
                <a:gd name="connsiteY22" fmla="*/ 117394 h 3641849"/>
                <a:gd name="connsiteX23" fmla="*/ 99418 w 1457148"/>
                <a:gd name="connsiteY23" fmla="*/ 73438 h 3641849"/>
                <a:gd name="connsiteX24" fmla="*/ 124357 w 1457148"/>
                <a:gd name="connsiteY24" fmla="*/ 101880 h 3641849"/>
                <a:gd name="connsiteX25" fmla="*/ 154839 w 1457148"/>
                <a:gd name="connsiteY25" fmla="*/ 88952 h 3641849"/>
                <a:gd name="connsiteX26" fmla="*/ 157609 w 1457148"/>
                <a:gd name="connsiteY26" fmla="*/ 63095 h 3641849"/>
                <a:gd name="connsiteX27" fmla="*/ 165923 w 1457148"/>
                <a:gd name="connsiteY27" fmla="*/ 34652 h 3641849"/>
                <a:gd name="connsiteX28" fmla="*/ 168695 w 1457148"/>
                <a:gd name="connsiteY28" fmla="*/ 3624 h 3641849"/>
                <a:gd name="connsiteX29" fmla="*/ 304475 w 1457148"/>
                <a:gd name="connsiteY29" fmla="*/ 57924 h 3641849"/>
                <a:gd name="connsiteX30" fmla="*/ 334955 w 1457148"/>
                <a:gd name="connsiteY30" fmla="*/ 161352 h 3641849"/>
                <a:gd name="connsiteX31" fmla="*/ 348811 w 1457148"/>
                <a:gd name="connsiteY31" fmla="*/ 184622 h 3641849"/>
                <a:gd name="connsiteX32" fmla="*/ 359895 w 1457148"/>
                <a:gd name="connsiteY32" fmla="*/ 187208 h 3641849"/>
                <a:gd name="connsiteX33" fmla="*/ 473507 w 1457148"/>
                <a:gd name="connsiteY33" fmla="*/ 156181 h 3641849"/>
                <a:gd name="connsiteX34" fmla="*/ 540012 w 1457148"/>
                <a:gd name="connsiteY34" fmla="*/ 166522 h 3641849"/>
                <a:gd name="connsiteX35" fmla="*/ 603746 w 1457148"/>
                <a:gd name="connsiteY35" fmla="*/ 213065 h 3641849"/>
                <a:gd name="connsiteX36" fmla="*/ 617773 w 1457148"/>
                <a:gd name="connsiteY36" fmla="*/ 242621 h 3641849"/>
                <a:gd name="connsiteX37" fmla="*/ 673020 w 1457148"/>
                <a:gd name="connsiteY37" fmla="*/ 277708 h 3641849"/>
                <a:gd name="connsiteX38" fmla="*/ 761694 w 1457148"/>
                <a:gd name="connsiteY38" fmla="*/ 303563 h 3641849"/>
                <a:gd name="connsiteX39" fmla="*/ 833740 w 1457148"/>
                <a:gd name="connsiteY39" fmla="*/ 350106 h 3641849"/>
                <a:gd name="connsiteX40" fmla="*/ 883619 w 1457148"/>
                <a:gd name="connsiteY40" fmla="*/ 401820 h 3641849"/>
                <a:gd name="connsiteX41" fmla="*/ 908558 w 1457148"/>
                <a:gd name="connsiteY41" fmla="*/ 440606 h 3641849"/>
                <a:gd name="connsiteX42" fmla="*/ 941811 w 1457148"/>
                <a:gd name="connsiteY42" fmla="*/ 466462 h 3641849"/>
                <a:gd name="connsiteX43" fmla="*/ 925183 w 1457148"/>
                <a:gd name="connsiteY43" fmla="*/ 691417 h 3641849"/>
                <a:gd name="connsiteX44" fmla="*/ 797717 w 1457148"/>
                <a:gd name="connsiteY44" fmla="*/ 771575 h 3641849"/>
                <a:gd name="connsiteX45" fmla="*/ 684105 w 1457148"/>
                <a:gd name="connsiteY45" fmla="*/ 779331 h 3641849"/>
                <a:gd name="connsiteX46" fmla="*/ 545552 w 1457148"/>
                <a:gd name="connsiteY46" fmla="*/ 758645 h 3641849"/>
                <a:gd name="connsiteX47" fmla="*/ 454108 w 1457148"/>
                <a:gd name="connsiteY47" fmla="*/ 722445 h 3641849"/>
                <a:gd name="connsiteX48" fmla="*/ 434711 w 1457148"/>
                <a:gd name="connsiteY48" fmla="*/ 750888 h 3641849"/>
                <a:gd name="connsiteX49" fmla="*/ 465353 w 1457148"/>
                <a:gd name="connsiteY49" fmla="*/ 824301 h 3641849"/>
                <a:gd name="connsiteX50" fmla="*/ 470894 w 1457148"/>
                <a:gd name="connsiteY50" fmla="*/ 951000 h 3641849"/>
                <a:gd name="connsiteX51" fmla="*/ 443024 w 1457148"/>
                <a:gd name="connsiteY51" fmla="*/ 1012043 h 3641849"/>
                <a:gd name="connsiteX52" fmla="*/ 498443 w 1457148"/>
                <a:gd name="connsiteY52" fmla="*/ 1032728 h 3641849"/>
                <a:gd name="connsiteX53" fmla="*/ 515071 w 1457148"/>
                <a:gd name="connsiteY53" fmla="*/ 1048242 h 3641849"/>
                <a:gd name="connsiteX54" fmla="*/ 540011 w 1457148"/>
                <a:gd name="connsiteY54" fmla="*/ 1074099 h 3641849"/>
                <a:gd name="connsiteX55" fmla="*/ 537240 w 1457148"/>
                <a:gd name="connsiteY55" fmla="*/ 1076685 h 3641849"/>
                <a:gd name="connsiteX56" fmla="*/ 576033 w 1457148"/>
                <a:gd name="connsiteY56" fmla="*/ 1071514 h 3641849"/>
                <a:gd name="connsiteX57" fmla="*/ 584347 w 1457148"/>
                <a:gd name="connsiteY57" fmla="*/ 1035314 h 3641849"/>
                <a:gd name="connsiteX58" fmla="*/ 545552 w 1457148"/>
                <a:gd name="connsiteY58" fmla="*/ 957743 h 3641849"/>
                <a:gd name="connsiteX59" fmla="*/ 614828 w 1457148"/>
                <a:gd name="connsiteY59" fmla="*/ 911200 h 3641849"/>
                <a:gd name="connsiteX60" fmla="*/ 682600 w 1457148"/>
                <a:gd name="connsiteY60" fmla="*/ 918934 h 3641849"/>
                <a:gd name="connsiteX61" fmla="*/ 706433 w 1457148"/>
                <a:gd name="connsiteY61" fmla="*/ 951001 h 3641849"/>
                <a:gd name="connsiteX62" fmla="*/ 862162 w 1457148"/>
                <a:gd name="connsiteY62" fmla="*/ 1007364 h 3641849"/>
                <a:gd name="connsiteX63" fmla="*/ 847754 w 1457148"/>
                <a:gd name="connsiteY63" fmla="*/ 971687 h 3641849"/>
                <a:gd name="connsiteX64" fmla="*/ 814502 w 1457148"/>
                <a:gd name="connsiteY64" fmla="*/ 932901 h 3641849"/>
                <a:gd name="connsiteX65" fmla="*/ 803418 w 1457148"/>
                <a:gd name="connsiteY65" fmla="*/ 881187 h 3641849"/>
                <a:gd name="connsiteX66" fmla="*/ 842213 w 1457148"/>
                <a:gd name="connsiteY66" fmla="*/ 832060 h 3641849"/>
                <a:gd name="connsiteX67" fmla="*/ 869923 w 1457148"/>
                <a:gd name="connsiteY67" fmla="*/ 803617 h 3641849"/>
                <a:gd name="connsiteX68" fmla="*/ 894863 w 1457148"/>
                <a:gd name="connsiteY68" fmla="*/ 767417 h 3641849"/>
                <a:gd name="connsiteX69" fmla="*/ 975223 w 1457148"/>
                <a:gd name="connsiteY69" fmla="*/ 762245 h 3641849"/>
                <a:gd name="connsiteX70" fmla="*/ 980764 w 1457148"/>
                <a:gd name="connsiteY70" fmla="*/ 741560 h 3641849"/>
                <a:gd name="connsiteX71" fmla="*/ 1005704 w 1457148"/>
                <a:gd name="connsiteY71" fmla="*/ 705360 h 3641849"/>
                <a:gd name="connsiteX72" fmla="*/ 1039508 w 1457148"/>
                <a:gd name="connsiteY72" fmla="*/ 687772 h 3641849"/>
                <a:gd name="connsiteX73" fmla="*/ 1097148 w 1457148"/>
                <a:gd name="connsiteY73" fmla="*/ 700189 h 3641849"/>
                <a:gd name="connsiteX74" fmla="*/ 1135941 w 1457148"/>
                <a:gd name="connsiteY74" fmla="*/ 720875 h 3641849"/>
                <a:gd name="connsiteX75" fmla="*/ 1183049 w 1457148"/>
                <a:gd name="connsiteY75" fmla="*/ 728632 h 3641849"/>
                <a:gd name="connsiteX76" fmla="*/ 1183049 w 1457148"/>
                <a:gd name="connsiteY76" fmla="*/ 733803 h 3641849"/>
                <a:gd name="connsiteX77" fmla="*/ 1205218 w 1457148"/>
                <a:gd name="connsiteY77" fmla="*/ 674332 h 3641849"/>
                <a:gd name="connsiteX78" fmla="*/ 1215193 w 1457148"/>
                <a:gd name="connsiteY78" fmla="*/ 640714 h 3641849"/>
                <a:gd name="connsiteX79" fmla="*/ 1221844 w 1457148"/>
                <a:gd name="connsiteY79" fmla="*/ 622618 h 3641849"/>
                <a:gd name="connsiteX80" fmla="*/ 1224781 w 1457148"/>
                <a:gd name="connsiteY80" fmla="*/ 591288 h 3641849"/>
                <a:gd name="connsiteX81" fmla="*/ 1144255 w 1457148"/>
                <a:gd name="connsiteY81" fmla="*/ 545048 h 3641849"/>
                <a:gd name="connsiteX82" fmla="*/ 1130400 w 1457148"/>
                <a:gd name="connsiteY82" fmla="*/ 472648 h 3641849"/>
                <a:gd name="connsiteX83" fmla="*/ 1130400 w 1457148"/>
                <a:gd name="connsiteY83" fmla="*/ 454548 h 3641849"/>
                <a:gd name="connsiteX84" fmla="*/ 1141483 w 1457148"/>
                <a:gd name="connsiteY84" fmla="*/ 431276 h 3641849"/>
                <a:gd name="connsiteX85" fmla="*/ 1144255 w 1457148"/>
                <a:gd name="connsiteY85" fmla="*/ 415762 h 3641849"/>
                <a:gd name="connsiteX86" fmla="*/ 1144254 w 1457148"/>
                <a:gd name="connsiteY86" fmla="*/ 358878 h 3641849"/>
                <a:gd name="connsiteX87" fmla="*/ 1122086 w 1457148"/>
                <a:gd name="connsiteY87" fmla="*/ 335607 h 3641849"/>
                <a:gd name="connsiteX88" fmla="*/ 1094376 w 1457148"/>
                <a:gd name="connsiteY88" fmla="*/ 304578 h 3641849"/>
                <a:gd name="connsiteX89" fmla="*/ 1090208 w 1457148"/>
                <a:gd name="connsiteY89" fmla="*/ 280325 h 3641849"/>
                <a:gd name="connsiteX90" fmla="*/ 1141484 w 1457148"/>
                <a:gd name="connsiteY90" fmla="*/ 258034 h 3641849"/>
                <a:gd name="connsiteX91" fmla="*/ 1195064 w 1457148"/>
                <a:gd name="connsiteY91" fmla="*/ 267906 h 3641849"/>
                <a:gd name="connsiteX92" fmla="*/ 1273848 w 1457148"/>
                <a:gd name="connsiteY92" fmla="*/ 279816 h 3641849"/>
                <a:gd name="connsiteX93" fmla="*/ 1358171 w 1457148"/>
                <a:gd name="connsiteY93" fmla="*/ 349175 h 3641849"/>
                <a:gd name="connsiteX94" fmla="*/ 1420306 w 1457148"/>
                <a:gd name="connsiteY94" fmla="*/ 425271 h 3641849"/>
                <a:gd name="connsiteX95" fmla="*/ 1319335 w 1457148"/>
                <a:gd name="connsiteY95" fmla="*/ 454265 h 3641849"/>
                <a:gd name="connsiteX96" fmla="*/ 1303801 w 1457148"/>
                <a:gd name="connsiteY96" fmla="*/ 501372 h 3641849"/>
                <a:gd name="connsiteX97" fmla="*/ 1361471 w 1457148"/>
                <a:gd name="connsiteY97" fmla="*/ 585862 h 3641849"/>
                <a:gd name="connsiteX98" fmla="*/ 1397005 w 1457148"/>
                <a:gd name="connsiteY98" fmla="*/ 591964 h 3641849"/>
                <a:gd name="connsiteX99" fmla="*/ 1449625 w 1457148"/>
                <a:gd name="connsiteY99" fmla="*/ 598304 h 3641849"/>
                <a:gd name="connsiteX100" fmla="*/ 1444662 w 1457148"/>
                <a:gd name="connsiteY100" fmla="*/ 709079 h 3641849"/>
                <a:gd name="connsiteX101" fmla="*/ 1455731 w 1457148"/>
                <a:gd name="connsiteY101" fmla="*/ 1040047 h 3641849"/>
                <a:gd name="connsiteX102" fmla="*/ 1446863 w 1457148"/>
                <a:gd name="connsiteY102" fmla="*/ 1842646 h 3641849"/>
                <a:gd name="connsiteX103" fmla="*/ 1455730 w 1457148"/>
                <a:gd name="connsiteY103" fmla="*/ 2297728 h 3641849"/>
                <a:gd name="connsiteX104" fmla="*/ 1429282 w 1457148"/>
                <a:gd name="connsiteY104" fmla="*/ 3607693 h 3641849"/>
                <a:gd name="connsiteX105" fmla="*/ 1170855 w 1457148"/>
                <a:gd name="connsiteY105" fmla="*/ 3564098 h 3641849"/>
                <a:gd name="connsiteX106" fmla="*/ 1002377 w 1457148"/>
                <a:gd name="connsiteY106" fmla="*/ 3497903 h 3641849"/>
                <a:gd name="connsiteX107" fmla="*/ 825031 w 1457148"/>
                <a:gd name="connsiteY107" fmla="*/ 3406887 h 3641849"/>
                <a:gd name="connsiteX108" fmla="*/ 726733 w 1457148"/>
                <a:gd name="connsiteY108" fmla="*/ 3326370 h 3641849"/>
                <a:gd name="connsiteX109" fmla="*/ 1020995 w 1457148"/>
                <a:gd name="connsiteY109" fmla="*/ 3018734 h 3641849"/>
                <a:gd name="connsiteX110" fmla="*/ 737241 w 1457148"/>
                <a:gd name="connsiteY110" fmla="*/ 2480910 h 3641849"/>
                <a:gd name="connsiteX111" fmla="*/ 879591 w 1457148"/>
                <a:gd name="connsiteY111" fmla="*/ 2241825 h 3641849"/>
                <a:gd name="connsiteX112" fmla="*/ 692904 w 1457148"/>
                <a:gd name="connsiteY112" fmla="*/ 1703134 h 3641849"/>
                <a:gd name="connsiteX113" fmla="*/ 444620 w 1457148"/>
                <a:gd name="connsiteY113" fmla="*/ 1471456 h 3641849"/>
                <a:gd name="connsiteX114" fmla="*/ 277806 w 1457148"/>
                <a:gd name="connsiteY114" fmla="*/ 1722785 h 3641849"/>
                <a:gd name="connsiteX0" fmla="*/ 277806 w 1457148"/>
                <a:gd name="connsiteY0" fmla="*/ 1722785 h 3641849"/>
                <a:gd name="connsiteX1" fmla="*/ 154839 w 1457148"/>
                <a:gd name="connsiteY1" fmla="*/ 1681740 h 3641849"/>
                <a:gd name="connsiteX2" fmla="*/ 235198 w 1457148"/>
                <a:gd name="connsiteY2" fmla="*/ 1622268 h 3641849"/>
                <a:gd name="connsiteX3" fmla="*/ 249054 w 1457148"/>
                <a:gd name="connsiteY3" fmla="*/ 1557627 h 3641849"/>
                <a:gd name="connsiteX4" fmla="*/ 188091 w 1457148"/>
                <a:gd name="connsiteY4" fmla="*/ 1511084 h 3641849"/>
                <a:gd name="connsiteX5" fmla="*/ 143755 w 1457148"/>
                <a:gd name="connsiteY5" fmla="*/ 1485227 h 3641849"/>
                <a:gd name="connsiteX6" fmla="*/ 82793 w 1457148"/>
                <a:gd name="connsiteY6" fmla="*/ 1495570 h 3641849"/>
                <a:gd name="connsiteX7" fmla="*/ 260139 w 1457148"/>
                <a:gd name="connsiteY7" fmla="*/ 1299057 h 3641849"/>
                <a:gd name="connsiteX8" fmla="*/ 107732 w 1457148"/>
                <a:gd name="connsiteY8" fmla="*/ 1151672 h 3641849"/>
                <a:gd name="connsiteX9" fmla="*/ 168695 w 1457148"/>
                <a:gd name="connsiteY9" fmla="*/ 1089617 h 3641849"/>
                <a:gd name="connsiteX10" fmla="*/ 102190 w 1457148"/>
                <a:gd name="connsiteY10" fmla="*/ 1050829 h 3641849"/>
                <a:gd name="connsiteX11" fmla="*/ 143755 w 1457148"/>
                <a:gd name="connsiteY11" fmla="*/ 1019802 h 3641849"/>
                <a:gd name="connsiteX12" fmla="*/ 96649 w 1457148"/>
                <a:gd name="connsiteY12" fmla="*/ 993947 h 3641849"/>
                <a:gd name="connsiteX13" fmla="*/ 96648 w 1457148"/>
                <a:gd name="connsiteY13" fmla="*/ 794845 h 3641849"/>
                <a:gd name="connsiteX14" fmla="*/ 135443 w 1457148"/>
                <a:gd name="connsiteY14" fmla="*/ 779332 h 3641849"/>
                <a:gd name="connsiteX15" fmla="*/ 21830 w 1457148"/>
                <a:gd name="connsiteY15" fmla="*/ 551792 h 3641849"/>
                <a:gd name="connsiteX16" fmla="*/ 19059 w 1457148"/>
                <a:gd name="connsiteY16" fmla="*/ 551792 h 3641849"/>
                <a:gd name="connsiteX17" fmla="*/ 68937 w 1457148"/>
                <a:gd name="connsiteY17" fmla="*/ 469048 h 3641849"/>
                <a:gd name="connsiteX18" fmla="*/ 85563 w 1457148"/>
                <a:gd name="connsiteY18" fmla="*/ 378550 h 3641849"/>
                <a:gd name="connsiteX19" fmla="*/ 10744 w 1457148"/>
                <a:gd name="connsiteY19" fmla="*/ 319079 h 3641849"/>
                <a:gd name="connsiteX20" fmla="*/ 2432 w 1457148"/>
                <a:gd name="connsiteY20" fmla="*/ 251851 h 3641849"/>
                <a:gd name="connsiteX21" fmla="*/ 57852 w 1457148"/>
                <a:gd name="connsiteY21" fmla="*/ 158764 h 3641849"/>
                <a:gd name="connsiteX22" fmla="*/ 77250 w 1457148"/>
                <a:gd name="connsiteY22" fmla="*/ 135494 h 3641849"/>
                <a:gd name="connsiteX23" fmla="*/ 91105 w 1457148"/>
                <a:gd name="connsiteY23" fmla="*/ 117394 h 3641849"/>
                <a:gd name="connsiteX24" fmla="*/ 99418 w 1457148"/>
                <a:gd name="connsiteY24" fmla="*/ 73438 h 3641849"/>
                <a:gd name="connsiteX25" fmla="*/ 124357 w 1457148"/>
                <a:gd name="connsiteY25" fmla="*/ 101880 h 3641849"/>
                <a:gd name="connsiteX26" fmla="*/ 154839 w 1457148"/>
                <a:gd name="connsiteY26" fmla="*/ 88952 h 3641849"/>
                <a:gd name="connsiteX27" fmla="*/ 157609 w 1457148"/>
                <a:gd name="connsiteY27" fmla="*/ 63095 h 3641849"/>
                <a:gd name="connsiteX28" fmla="*/ 165923 w 1457148"/>
                <a:gd name="connsiteY28" fmla="*/ 34652 h 3641849"/>
                <a:gd name="connsiteX29" fmla="*/ 168695 w 1457148"/>
                <a:gd name="connsiteY29" fmla="*/ 3624 h 3641849"/>
                <a:gd name="connsiteX30" fmla="*/ 304475 w 1457148"/>
                <a:gd name="connsiteY30" fmla="*/ 57924 h 3641849"/>
                <a:gd name="connsiteX31" fmla="*/ 334955 w 1457148"/>
                <a:gd name="connsiteY31" fmla="*/ 161352 h 3641849"/>
                <a:gd name="connsiteX32" fmla="*/ 348811 w 1457148"/>
                <a:gd name="connsiteY32" fmla="*/ 184622 h 3641849"/>
                <a:gd name="connsiteX33" fmla="*/ 359895 w 1457148"/>
                <a:gd name="connsiteY33" fmla="*/ 187208 h 3641849"/>
                <a:gd name="connsiteX34" fmla="*/ 473507 w 1457148"/>
                <a:gd name="connsiteY34" fmla="*/ 156181 h 3641849"/>
                <a:gd name="connsiteX35" fmla="*/ 540012 w 1457148"/>
                <a:gd name="connsiteY35" fmla="*/ 166522 h 3641849"/>
                <a:gd name="connsiteX36" fmla="*/ 603746 w 1457148"/>
                <a:gd name="connsiteY36" fmla="*/ 213065 h 3641849"/>
                <a:gd name="connsiteX37" fmla="*/ 617773 w 1457148"/>
                <a:gd name="connsiteY37" fmla="*/ 242621 h 3641849"/>
                <a:gd name="connsiteX38" fmla="*/ 673020 w 1457148"/>
                <a:gd name="connsiteY38" fmla="*/ 277708 h 3641849"/>
                <a:gd name="connsiteX39" fmla="*/ 761694 w 1457148"/>
                <a:gd name="connsiteY39" fmla="*/ 303563 h 3641849"/>
                <a:gd name="connsiteX40" fmla="*/ 833740 w 1457148"/>
                <a:gd name="connsiteY40" fmla="*/ 350106 h 3641849"/>
                <a:gd name="connsiteX41" fmla="*/ 883619 w 1457148"/>
                <a:gd name="connsiteY41" fmla="*/ 401820 h 3641849"/>
                <a:gd name="connsiteX42" fmla="*/ 908558 w 1457148"/>
                <a:gd name="connsiteY42" fmla="*/ 440606 h 3641849"/>
                <a:gd name="connsiteX43" fmla="*/ 941811 w 1457148"/>
                <a:gd name="connsiteY43" fmla="*/ 466462 h 3641849"/>
                <a:gd name="connsiteX44" fmla="*/ 925183 w 1457148"/>
                <a:gd name="connsiteY44" fmla="*/ 691417 h 3641849"/>
                <a:gd name="connsiteX45" fmla="*/ 797717 w 1457148"/>
                <a:gd name="connsiteY45" fmla="*/ 771575 h 3641849"/>
                <a:gd name="connsiteX46" fmla="*/ 684105 w 1457148"/>
                <a:gd name="connsiteY46" fmla="*/ 779331 h 3641849"/>
                <a:gd name="connsiteX47" fmla="*/ 545552 w 1457148"/>
                <a:gd name="connsiteY47" fmla="*/ 758645 h 3641849"/>
                <a:gd name="connsiteX48" fmla="*/ 454108 w 1457148"/>
                <a:gd name="connsiteY48" fmla="*/ 722445 h 3641849"/>
                <a:gd name="connsiteX49" fmla="*/ 434711 w 1457148"/>
                <a:gd name="connsiteY49" fmla="*/ 750888 h 3641849"/>
                <a:gd name="connsiteX50" fmla="*/ 465353 w 1457148"/>
                <a:gd name="connsiteY50" fmla="*/ 824301 h 3641849"/>
                <a:gd name="connsiteX51" fmla="*/ 470894 w 1457148"/>
                <a:gd name="connsiteY51" fmla="*/ 951000 h 3641849"/>
                <a:gd name="connsiteX52" fmla="*/ 443024 w 1457148"/>
                <a:gd name="connsiteY52" fmla="*/ 1012043 h 3641849"/>
                <a:gd name="connsiteX53" fmla="*/ 498443 w 1457148"/>
                <a:gd name="connsiteY53" fmla="*/ 1032728 h 3641849"/>
                <a:gd name="connsiteX54" fmla="*/ 515071 w 1457148"/>
                <a:gd name="connsiteY54" fmla="*/ 1048242 h 3641849"/>
                <a:gd name="connsiteX55" fmla="*/ 540011 w 1457148"/>
                <a:gd name="connsiteY55" fmla="*/ 1074099 h 3641849"/>
                <a:gd name="connsiteX56" fmla="*/ 537240 w 1457148"/>
                <a:gd name="connsiteY56" fmla="*/ 1076685 h 3641849"/>
                <a:gd name="connsiteX57" fmla="*/ 576033 w 1457148"/>
                <a:gd name="connsiteY57" fmla="*/ 1071514 h 3641849"/>
                <a:gd name="connsiteX58" fmla="*/ 584347 w 1457148"/>
                <a:gd name="connsiteY58" fmla="*/ 1035314 h 3641849"/>
                <a:gd name="connsiteX59" fmla="*/ 545552 w 1457148"/>
                <a:gd name="connsiteY59" fmla="*/ 957743 h 3641849"/>
                <a:gd name="connsiteX60" fmla="*/ 614828 w 1457148"/>
                <a:gd name="connsiteY60" fmla="*/ 911200 h 3641849"/>
                <a:gd name="connsiteX61" fmla="*/ 682600 w 1457148"/>
                <a:gd name="connsiteY61" fmla="*/ 918934 h 3641849"/>
                <a:gd name="connsiteX62" fmla="*/ 706433 w 1457148"/>
                <a:gd name="connsiteY62" fmla="*/ 951001 h 3641849"/>
                <a:gd name="connsiteX63" fmla="*/ 862162 w 1457148"/>
                <a:gd name="connsiteY63" fmla="*/ 1007364 h 3641849"/>
                <a:gd name="connsiteX64" fmla="*/ 847754 w 1457148"/>
                <a:gd name="connsiteY64" fmla="*/ 971687 h 3641849"/>
                <a:gd name="connsiteX65" fmla="*/ 814502 w 1457148"/>
                <a:gd name="connsiteY65" fmla="*/ 932901 h 3641849"/>
                <a:gd name="connsiteX66" fmla="*/ 803418 w 1457148"/>
                <a:gd name="connsiteY66" fmla="*/ 881187 h 3641849"/>
                <a:gd name="connsiteX67" fmla="*/ 842213 w 1457148"/>
                <a:gd name="connsiteY67" fmla="*/ 832060 h 3641849"/>
                <a:gd name="connsiteX68" fmla="*/ 869923 w 1457148"/>
                <a:gd name="connsiteY68" fmla="*/ 803617 h 3641849"/>
                <a:gd name="connsiteX69" fmla="*/ 894863 w 1457148"/>
                <a:gd name="connsiteY69" fmla="*/ 767417 h 3641849"/>
                <a:gd name="connsiteX70" fmla="*/ 975223 w 1457148"/>
                <a:gd name="connsiteY70" fmla="*/ 762245 h 3641849"/>
                <a:gd name="connsiteX71" fmla="*/ 980764 w 1457148"/>
                <a:gd name="connsiteY71" fmla="*/ 741560 h 3641849"/>
                <a:gd name="connsiteX72" fmla="*/ 1005704 w 1457148"/>
                <a:gd name="connsiteY72" fmla="*/ 705360 h 3641849"/>
                <a:gd name="connsiteX73" fmla="*/ 1039508 w 1457148"/>
                <a:gd name="connsiteY73" fmla="*/ 687772 h 3641849"/>
                <a:gd name="connsiteX74" fmla="*/ 1097148 w 1457148"/>
                <a:gd name="connsiteY74" fmla="*/ 700189 h 3641849"/>
                <a:gd name="connsiteX75" fmla="*/ 1135941 w 1457148"/>
                <a:gd name="connsiteY75" fmla="*/ 720875 h 3641849"/>
                <a:gd name="connsiteX76" fmla="*/ 1183049 w 1457148"/>
                <a:gd name="connsiteY76" fmla="*/ 728632 h 3641849"/>
                <a:gd name="connsiteX77" fmla="*/ 1183049 w 1457148"/>
                <a:gd name="connsiteY77" fmla="*/ 733803 h 3641849"/>
                <a:gd name="connsiteX78" fmla="*/ 1205218 w 1457148"/>
                <a:gd name="connsiteY78" fmla="*/ 674332 h 3641849"/>
                <a:gd name="connsiteX79" fmla="*/ 1215193 w 1457148"/>
                <a:gd name="connsiteY79" fmla="*/ 640714 h 3641849"/>
                <a:gd name="connsiteX80" fmla="*/ 1221844 w 1457148"/>
                <a:gd name="connsiteY80" fmla="*/ 622618 h 3641849"/>
                <a:gd name="connsiteX81" fmla="*/ 1224781 w 1457148"/>
                <a:gd name="connsiteY81" fmla="*/ 591288 h 3641849"/>
                <a:gd name="connsiteX82" fmla="*/ 1144255 w 1457148"/>
                <a:gd name="connsiteY82" fmla="*/ 545048 h 3641849"/>
                <a:gd name="connsiteX83" fmla="*/ 1130400 w 1457148"/>
                <a:gd name="connsiteY83" fmla="*/ 472648 h 3641849"/>
                <a:gd name="connsiteX84" fmla="*/ 1130400 w 1457148"/>
                <a:gd name="connsiteY84" fmla="*/ 454548 h 3641849"/>
                <a:gd name="connsiteX85" fmla="*/ 1141483 w 1457148"/>
                <a:gd name="connsiteY85" fmla="*/ 431276 h 3641849"/>
                <a:gd name="connsiteX86" fmla="*/ 1144255 w 1457148"/>
                <a:gd name="connsiteY86" fmla="*/ 415762 h 3641849"/>
                <a:gd name="connsiteX87" fmla="*/ 1144254 w 1457148"/>
                <a:gd name="connsiteY87" fmla="*/ 358878 h 3641849"/>
                <a:gd name="connsiteX88" fmla="*/ 1122086 w 1457148"/>
                <a:gd name="connsiteY88" fmla="*/ 335607 h 3641849"/>
                <a:gd name="connsiteX89" fmla="*/ 1094376 w 1457148"/>
                <a:gd name="connsiteY89" fmla="*/ 304578 h 3641849"/>
                <a:gd name="connsiteX90" fmla="*/ 1090208 w 1457148"/>
                <a:gd name="connsiteY90" fmla="*/ 280325 h 3641849"/>
                <a:gd name="connsiteX91" fmla="*/ 1141484 w 1457148"/>
                <a:gd name="connsiteY91" fmla="*/ 258034 h 3641849"/>
                <a:gd name="connsiteX92" fmla="*/ 1195064 w 1457148"/>
                <a:gd name="connsiteY92" fmla="*/ 267906 h 3641849"/>
                <a:gd name="connsiteX93" fmla="*/ 1273848 w 1457148"/>
                <a:gd name="connsiteY93" fmla="*/ 279816 h 3641849"/>
                <a:gd name="connsiteX94" fmla="*/ 1358171 w 1457148"/>
                <a:gd name="connsiteY94" fmla="*/ 349175 h 3641849"/>
                <a:gd name="connsiteX95" fmla="*/ 1420306 w 1457148"/>
                <a:gd name="connsiteY95" fmla="*/ 425271 h 3641849"/>
                <a:gd name="connsiteX96" fmla="*/ 1319335 w 1457148"/>
                <a:gd name="connsiteY96" fmla="*/ 454265 h 3641849"/>
                <a:gd name="connsiteX97" fmla="*/ 1303801 w 1457148"/>
                <a:gd name="connsiteY97" fmla="*/ 501372 h 3641849"/>
                <a:gd name="connsiteX98" fmla="*/ 1361471 w 1457148"/>
                <a:gd name="connsiteY98" fmla="*/ 585862 h 3641849"/>
                <a:gd name="connsiteX99" fmla="*/ 1397005 w 1457148"/>
                <a:gd name="connsiteY99" fmla="*/ 591964 h 3641849"/>
                <a:gd name="connsiteX100" fmla="*/ 1449625 w 1457148"/>
                <a:gd name="connsiteY100" fmla="*/ 598304 h 3641849"/>
                <a:gd name="connsiteX101" fmla="*/ 1444662 w 1457148"/>
                <a:gd name="connsiteY101" fmla="*/ 709079 h 3641849"/>
                <a:gd name="connsiteX102" fmla="*/ 1455731 w 1457148"/>
                <a:gd name="connsiteY102" fmla="*/ 1040047 h 3641849"/>
                <a:gd name="connsiteX103" fmla="*/ 1446863 w 1457148"/>
                <a:gd name="connsiteY103" fmla="*/ 1842646 h 3641849"/>
                <a:gd name="connsiteX104" fmla="*/ 1455730 w 1457148"/>
                <a:gd name="connsiteY104" fmla="*/ 2297728 h 3641849"/>
                <a:gd name="connsiteX105" fmla="*/ 1429282 w 1457148"/>
                <a:gd name="connsiteY105" fmla="*/ 3607693 h 3641849"/>
                <a:gd name="connsiteX106" fmla="*/ 1170855 w 1457148"/>
                <a:gd name="connsiteY106" fmla="*/ 3564098 h 3641849"/>
                <a:gd name="connsiteX107" fmla="*/ 1002377 w 1457148"/>
                <a:gd name="connsiteY107" fmla="*/ 3497903 h 3641849"/>
                <a:gd name="connsiteX108" fmla="*/ 825031 w 1457148"/>
                <a:gd name="connsiteY108" fmla="*/ 3406887 h 3641849"/>
                <a:gd name="connsiteX109" fmla="*/ 726733 w 1457148"/>
                <a:gd name="connsiteY109" fmla="*/ 3326370 h 3641849"/>
                <a:gd name="connsiteX110" fmla="*/ 1020995 w 1457148"/>
                <a:gd name="connsiteY110" fmla="*/ 3018734 h 3641849"/>
                <a:gd name="connsiteX111" fmla="*/ 737241 w 1457148"/>
                <a:gd name="connsiteY111" fmla="*/ 2480910 h 3641849"/>
                <a:gd name="connsiteX112" fmla="*/ 879591 w 1457148"/>
                <a:gd name="connsiteY112" fmla="*/ 2241825 h 3641849"/>
                <a:gd name="connsiteX113" fmla="*/ 692904 w 1457148"/>
                <a:gd name="connsiteY113" fmla="*/ 1703134 h 3641849"/>
                <a:gd name="connsiteX114" fmla="*/ 444620 w 1457148"/>
                <a:gd name="connsiteY114" fmla="*/ 1471456 h 3641849"/>
                <a:gd name="connsiteX115" fmla="*/ 277806 w 1457148"/>
                <a:gd name="connsiteY115" fmla="*/ 1722785 h 3641849"/>
                <a:gd name="connsiteX0" fmla="*/ 277806 w 1457148"/>
                <a:gd name="connsiteY0" fmla="*/ 1722785 h 3641849"/>
                <a:gd name="connsiteX1" fmla="*/ 154839 w 1457148"/>
                <a:gd name="connsiteY1" fmla="*/ 1681740 h 3641849"/>
                <a:gd name="connsiteX2" fmla="*/ 215802 w 1457148"/>
                <a:gd name="connsiteY2" fmla="*/ 1653297 h 3641849"/>
                <a:gd name="connsiteX3" fmla="*/ 235198 w 1457148"/>
                <a:gd name="connsiteY3" fmla="*/ 1622268 h 3641849"/>
                <a:gd name="connsiteX4" fmla="*/ 249054 w 1457148"/>
                <a:gd name="connsiteY4" fmla="*/ 1557627 h 3641849"/>
                <a:gd name="connsiteX5" fmla="*/ 188091 w 1457148"/>
                <a:gd name="connsiteY5" fmla="*/ 1511084 h 3641849"/>
                <a:gd name="connsiteX6" fmla="*/ 143755 w 1457148"/>
                <a:gd name="connsiteY6" fmla="*/ 1485227 h 3641849"/>
                <a:gd name="connsiteX7" fmla="*/ 82793 w 1457148"/>
                <a:gd name="connsiteY7" fmla="*/ 1495570 h 3641849"/>
                <a:gd name="connsiteX8" fmla="*/ 260139 w 1457148"/>
                <a:gd name="connsiteY8" fmla="*/ 1299057 h 3641849"/>
                <a:gd name="connsiteX9" fmla="*/ 107732 w 1457148"/>
                <a:gd name="connsiteY9" fmla="*/ 1151672 h 3641849"/>
                <a:gd name="connsiteX10" fmla="*/ 168695 w 1457148"/>
                <a:gd name="connsiteY10" fmla="*/ 1089617 h 3641849"/>
                <a:gd name="connsiteX11" fmla="*/ 102190 w 1457148"/>
                <a:gd name="connsiteY11" fmla="*/ 1050829 h 3641849"/>
                <a:gd name="connsiteX12" fmla="*/ 143755 w 1457148"/>
                <a:gd name="connsiteY12" fmla="*/ 1019802 h 3641849"/>
                <a:gd name="connsiteX13" fmla="*/ 96649 w 1457148"/>
                <a:gd name="connsiteY13" fmla="*/ 993947 h 3641849"/>
                <a:gd name="connsiteX14" fmla="*/ 96648 w 1457148"/>
                <a:gd name="connsiteY14" fmla="*/ 794845 h 3641849"/>
                <a:gd name="connsiteX15" fmla="*/ 135443 w 1457148"/>
                <a:gd name="connsiteY15" fmla="*/ 779332 h 3641849"/>
                <a:gd name="connsiteX16" fmla="*/ 21830 w 1457148"/>
                <a:gd name="connsiteY16" fmla="*/ 551792 h 3641849"/>
                <a:gd name="connsiteX17" fmla="*/ 19059 w 1457148"/>
                <a:gd name="connsiteY17" fmla="*/ 551792 h 3641849"/>
                <a:gd name="connsiteX18" fmla="*/ 68937 w 1457148"/>
                <a:gd name="connsiteY18" fmla="*/ 469048 h 3641849"/>
                <a:gd name="connsiteX19" fmla="*/ 85563 w 1457148"/>
                <a:gd name="connsiteY19" fmla="*/ 378550 h 3641849"/>
                <a:gd name="connsiteX20" fmla="*/ 10744 w 1457148"/>
                <a:gd name="connsiteY20" fmla="*/ 319079 h 3641849"/>
                <a:gd name="connsiteX21" fmla="*/ 2432 w 1457148"/>
                <a:gd name="connsiteY21" fmla="*/ 251851 h 3641849"/>
                <a:gd name="connsiteX22" fmla="*/ 57852 w 1457148"/>
                <a:gd name="connsiteY22" fmla="*/ 158764 h 3641849"/>
                <a:gd name="connsiteX23" fmla="*/ 77250 w 1457148"/>
                <a:gd name="connsiteY23" fmla="*/ 135494 h 3641849"/>
                <a:gd name="connsiteX24" fmla="*/ 91105 w 1457148"/>
                <a:gd name="connsiteY24" fmla="*/ 117394 h 3641849"/>
                <a:gd name="connsiteX25" fmla="*/ 99418 w 1457148"/>
                <a:gd name="connsiteY25" fmla="*/ 73438 h 3641849"/>
                <a:gd name="connsiteX26" fmla="*/ 124357 w 1457148"/>
                <a:gd name="connsiteY26" fmla="*/ 101880 h 3641849"/>
                <a:gd name="connsiteX27" fmla="*/ 154839 w 1457148"/>
                <a:gd name="connsiteY27" fmla="*/ 88952 h 3641849"/>
                <a:gd name="connsiteX28" fmla="*/ 157609 w 1457148"/>
                <a:gd name="connsiteY28" fmla="*/ 63095 h 3641849"/>
                <a:gd name="connsiteX29" fmla="*/ 165923 w 1457148"/>
                <a:gd name="connsiteY29" fmla="*/ 34652 h 3641849"/>
                <a:gd name="connsiteX30" fmla="*/ 168695 w 1457148"/>
                <a:gd name="connsiteY30" fmla="*/ 3624 h 3641849"/>
                <a:gd name="connsiteX31" fmla="*/ 304475 w 1457148"/>
                <a:gd name="connsiteY31" fmla="*/ 57924 h 3641849"/>
                <a:gd name="connsiteX32" fmla="*/ 334955 w 1457148"/>
                <a:gd name="connsiteY32" fmla="*/ 161352 h 3641849"/>
                <a:gd name="connsiteX33" fmla="*/ 348811 w 1457148"/>
                <a:gd name="connsiteY33" fmla="*/ 184622 h 3641849"/>
                <a:gd name="connsiteX34" fmla="*/ 359895 w 1457148"/>
                <a:gd name="connsiteY34" fmla="*/ 187208 h 3641849"/>
                <a:gd name="connsiteX35" fmla="*/ 473507 w 1457148"/>
                <a:gd name="connsiteY35" fmla="*/ 156181 h 3641849"/>
                <a:gd name="connsiteX36" fmla="*/ 540012 w 1457148"/>
                <a:gd name="connsiteY36" fmla="*/ 166522 h 3641849"/>
                <a:gd name="connsiteX37" fmla="*/ 603746 w 1457148"/>
                <a:gd name="connsiteY37" fmla="*/ 213065 h 3641849"/>
                <a:gd name="connsiteX38" fmla="*/ 617773 w 1457148"/>
                <a:gd name="connsiteY38" fmla="*/ 242621 h 3641849"/>
                <a:gd name="connsiteX39" fmla="*/ 673020 w 1457148"/>
                <a:gd name="connsiteY39" fmla="*/ 277708 h 3641849"/>
                <a:gd name="connsiteX40" fmla="*/ 761694 w 1457148"/>
                <a:gd name="connsiteY40" fmla="*/ 303563 h 3641849"/>
                <a:gd name="connsiteX41" fmla="*/ 833740 w 1457148"/>
                <a:gd name="connsiteY41" fmla="*/ 350106 h 3641849"/>
                <a:gd name="connsiteX42" fmla="*/ 883619 w 1457148"/>
                <a:gd name="connsiteY42" fmla="*/ 401820 h 3641849"/>
                <a:gd name="connsiteX43" fmla="*/ 908558 w 1457148"/>
                <a:gd name="connsiteY43" fmla="*/ 440606 h 3641849"/>
                <a:gd name="connsiteX44" fmla="*/ 941811 w 1457148"/>
                <a:gd name="connsiteY44" fmla="*/ 466462 h 3641849"/>
                <a:gd name="connsiteX45" fmla="*/ 925183 w 1457148"/>
                <a:gd name="connsiteY45" fmla="*/ 691417 h 3641849"/>
                <a:gd name="connsiteX46" fmla="*/ 797717 w 1457148"/>
                <a:gd name="connsiteY46" fmla="*/ 771575 h 3641849"/>
                <a:gd name="connsiteX47" fmla="*/ 684105 w 1457148"/>
                <a:gd name="connsiteY47" fmla="*/ 779331 h 3641849"/>
                <a:gd name="connsiteX48" fmla="*/ 545552 w 1457148"/>
                <a:gd name="connsiteY48" fmla="*/ 758645 h 3641849"/>
                <a:gd name="connsiteX49" fmla="*/ 454108 w 1457148"/>
                <a:gd name="connsiteY49" fmla="*/ 722445 h 3641849"/>
                <a:gd name="connsiteX50" fmla="*/ 434711 w 1457148"/>
                <a:gd name="connsiteY50" fmla="*/ 750888 h 3641849"/>
                <a:gd name="connsiteX51" fmla="*/ 465353 w 1457148"/>
                <a:gd name="connsiteY51" fmla="*/ 824301 h 3641849"/>
                <a:gd name="connsiteX52" fmla="*/ 470894 w 1457148"/>
                <a:gd name="connsiteY52" fmla="*/ 951000 h 3641849"/>
                <a:gd name="connsiteX53" fmla="*/ 443024 w 1457148"/>
                <a:gd name="connsiteY53" fmla="*/ 1012043 h 3641849"/>
                <a:gd name="connsiteX54" fmla="*/ 498443 w 1457148"/>
                <a:gd name="connsiteY54" fmla="*/ 1032728 h 3641849"/>
                <a:gd name="connsiteX55" fmla="*/ 515071 w 1457148"/>
                <a:gd name="connsiteY55" fmla="*/ 1048242 h 3641849"/>
                <a:gd name="connsiteX56" fmla="*/ 540011 w 1457148"/>
                <a:gd name="connsiteY56" fmla="*/ 1074099 h 3641849"/>
                <a:gd name="connsiteX57" fmla="*/ 537240 w 1457148"/>
                <a:gd name="connsiteY57" fmla="*/ 1076685 h 3641849"/>
                <a:gd name="connsiteX58" fmla="*/ 576033 w 1457148"/>
                <a:gd name="connsiteY58" fmla="*/ 1071514 h 3641849"/>
                <a:gd name="connsiteX59" fmla="*/ 584347 w 1457148"/>
                <a:gd name="connsiteY59" fmla="*/ 1035314 h 3641849"/>
                <a:gd name="connsiteX60" fmla="*/ 545552 w 1457148"/>
                <a:gd name="connsiteY60" fmla="*/ 957743 h 3641849"/>
                <a:gd name="connsiteX61" fmla="*/ 614828 w 1457148"/>
                <a:gd name="connsiteY61" fmla="*/ 911200 h 3641849"/>
                <a:gd name="connsiteX62" fmla="*/ 682600 w 1457148"/>
                <a:gd name="connsiteY62" fmla="*/ 918934 h 3641849"/>
                <a:gd name="connsiteX63" fmla="*/ 706433 w 1457148"/>
                <a:gd name="connsiteY63" fmla="*/ 951001 h 3641849"/>
                <a:gd name="connsiteX64" fmla="*/ 862162 w 1457148"/>
                <a:gd name="connsiteY64" fmla="*/ 1007364 h 3641849"/>
                <a:gd name="connsiteX65" fmla="*/ 847754 w 1457148"/>
                <a:gd name="connsiteY65" fmla="*/ 971687 h 3641849"/>
                <a:gd name="connsiteX66" fmla="*/ 814502 w 1457148"/>
                <a:gd name="connsiteY66" fmla="*/ 932901 h 3641849"/>
                <a:gd name="connsiteX67" fmla="*/ 803418 w 1457148"/>
                <a:gd name="connsiteY67" fmla="*/ 881187 h 3641849"/>
                <a:gd name="connsiteX68" fmla="*/ 842213 w 1457148"/>
                <a:gd name="connsiteY68" fmla="*/ 832060 h 3641849"/>
                <a:gd name="connsiteX69" fmla="*/ 869923 w 1457148"/>
                <a:gd name="connsiteY69" fmla="*/ 803617 h 3641849"/>
                <a:gd name="connsiteX70" fmla="*/ 894863 w 1457148"/>
                <a:gd name="connsiteY70" fmla="*/ 767417 h 3641849"/>
                <a:gd name="connsiteX71" fmla="*/ 975223 w 1457148"/>
                <a:gd name="connsiteY71" fmla="*/ 762245 h 3641849"/>
                <a:gd name="connsiteX72" fmla="*/ 980764 w 1457148"/>
                <a:gd name="connsiteY72" fmla="*/ 741560 h 3641849"/>
                <a:gd name="connsiteX73" fmla="*/ 1005704 w 1457148"/>
                <a:gd name="connsiteY73" fmla="*/ 705360 h 3641849"/>
                <a:gd name="connsiteX74" fmla="*/ 1039508 w 1457148"/>
                <a:gd name="connsiteY74" fmla="*/ 687772 h 3641849"/>
                <a:gd name="connsiteX75" fmla="*/ 1097148 w 1457148"/>
                <a:gd name="connsiteY75" fmla="*/ 700189 h 3641849"/>
                <a:gd name="connsiteX76" fmla="*/ 1135941 w 1457148"/>
                <a:gd name="connsiteY76" fmla="*/ 720875 h 3641849"/>
                <a:gd name="connsiteX77" fmla="*/ 1183049 w 1457148"/>
                <a:gd name="connsiteY77" fmla="*/ 728632 h 3641849"/>
                <a:gd name="connsiteX78" fmla="*/ 1183049 w 1457148"/>
                <a:gd name="connsiteY78" fmla="*/ 733803 h 3641849"/>
                <a:gd name="connsiteX79" fmla="*/ 1205218 w 1457148"/>
                <a:gd name="connsiteY79" fmla="*/ 674332 h 3641849"/>
                <a:gd name="connsiteX80" fmla="*/ 1215193 w 1457148"/>
                <a:gd name="connsiteY80" fmla="*/ 640714 h 3641849"/>
                <a:gd name="connsiteX81" fmla="*/ 1221844 w 1457148"/>
                <a:gd name="connsiteY81" fmla="*/ 622618 h 3641849"/>
                <a:gd name="connsiteX82" fmla="*/ 1224781 w 1457148"/>
                <a:gd name="connsiteY82" fmla="*/ 591288 h 3641849"/>
                <a:gd name="connsiteX83" fmla="*/ 1144255 w 1457148"/>
                <a:gd name="connsiteY83" fmla="*/ 545048 h 3641849"/>
                <a:gd name="connsiteX84" fmla="*/ 1130400 w 1457148"/>
                <a:gd name="connsiteY84" fmla="*/ 472648 h 3641849"/>
                <a:gd name="connsiteX85" fmla="*/ 1130400 w 1457148"/>
                <a:gd name="connsiteY85" fmla="*/ 454548 h 3641849"/>
                <a:gd name="connsiteX86" fmla="*/ 1141483 w 1457148"/>
                <a:gd name="connsiteY86" fmla="*/ 431276 h 3641849"/>
                <a:gd name="connsiteX87" fmla="*/ 1144255 w 1457148"/>
                <a:gd name="connsiteY87" fmla="*/ 415762 h 3641849"/>
                <a:gd name="connsiteX88" fmla="*/ 1144254 w 1457148"/>
                <a:gd name="connsiteY88" fmla="*/ 358878 h 3641849"/>
                <a:gd name="connsiteX89" fmla="*/ 1122086 w 1457148"/>
                <a:gd name="connsiteY89" fmla="*/ 335607 h 3641849"/>
                <a:gd name="connsiteX90" fmla="*/ 1094376 w 1457148"/>
                <a:gd name="connsiteY90" fmla="*/ 304578 h 3641849"/>
                <a:gd name="connsiteX91" fmla="*/ 1090208 w 1457148"/>
                <a:gd name="connsiteY91" fmla="*/ 280325 h 3641849"/>
                <a:gd name="connsiteX92" fmla="*/ 1141484 w 1457148"/>
                <a:gd name="connsiteY92" fmla="*/ 258034 h 3641849"/>
                <a:gd name="connsiteX93" fmla="*/ 1195064 w 1457148"/>
                <a:gd name="connsiteY93" fmla="*/ 267906 h 3641849"/>
                <a:gd name="connsiteX94" fmla="*/ 1273848 w 1457148"/>
                <a:gd name="connsiteY94" fmla="*/ 279816 h 3641849"/>
                <a:gd name="connsiteX95" fmla="*/ 1358171 w 1457148"/>
                <a:gd name="connsiteY95" fmla="*/ 349175 h 3641849"/>
                <a:gd name="connsiteX96" fmla="*/ 1420306 w 1457148"/>
                <a:gd name="connsiteY96" fmla="*/ 425271 h 3641849"/>
                <a:gd name="connsiteX97" fmla="*/ 1319335 w 1457148"/>
                <a:gd name="connsiteY97" fmla="*/ 454265 h 3641849"/>
                <a:gd name="connsiteX98" fmla="*/ 1303801 w 1457148"/>
                <a:gd name="connsiteY98" fmla="*/ 501372 h 3641849"/>
                <a:gd name="connsiteX99" fmla="*/ 1361471 w 1457148"/>
                <a:gd name="connsiteY99" fmla="*/ 585862 h 3641849"/>
                <a:gd name="connsiteX100" fmla="*/ 1397005 w 1457148"/>
                <a:gd name="connsiteY100" fmla="*/ 591964 h 3641849"/>
                <a:gd name="connsiteX101" fmla="*/ 1449625 w 1457148"/>
                <a:gd name="connsiteY101" fmla="*/ 598304 h 3641849"/>
                <a:gd name="connsiteX102" fmla="*/ 1444662 w 1457148"/>
                <a:gd name="connsiteY102" fmla="*/ 709079 h 3641849"/>
                <a:gd name="connsiteX103" fmla="*/ 1455731 w 1457148"/>
                <a:gd name="connsiteY103" fmla="*/ 1040047 h 3641849"/>
                <a:gd name="connsiteX104" fmla="*/ 1446863 w 1457148"/>
                <a:gd name="connsiteY104" fmla="*/ 1842646 h 3641849"/>
                <a:gd name="connsiteX105" fmla="*/ 1455730 w 1457148"/>
                <a:gd name="connsiteY105" fmla="*/ 2297728 h 3641849"/>
                <a:gd name="connsiteX106" fmla="*/ 1429282 w 1457148"/>
                <a:gd name="connsiteY106" fmla="*/ 3607693 h 3641849"/>
                <a:gd name="connsiteX107" fmla="*/ 1170855 w 1457148"/>
                <a:gd name="connsiteY107" fmla="*/ 3564098 h 3641849"/>
                <a:gd name="connsiteX108" fmla="*/ 1002377 w 1457148"/>
                <a:gd name="connsiteY108" fmla="*/ 3497903 h 3641849"/>
                <a:gd name="connsiteX109" fmla="*/ 825031 w 1457148"/>
                <a:gd name="connsiteY109" fmla="*/ 3406887 h 3641849"/>
                <a:gd name="connsiteX110" fmla="*/ 726733 w 1457148"/>
                <a:gd name="connsiteY110" fmla="*/ 3326370 h 3641849"/>
                <a:gd name="connsiteX111" fmla="*/ 1020995 w 1457148"/>
                <a:gd name="connsiteY111" fmla="*/ 3018734 h 3641849"/>
                <a:gd name="connsiteX112" fmla="*/ 737241 w 1457148"/>
                <a:gd name="connsiteY112" fmla="*/ 2480910 h 3641849"/>
                <a:gd name="connsiteX113" fmla="*/ 879591 w 1457148"/>
                <a:gd name="connsiteY113" fmla="*/ 2241825 h 3641849"/>
                <a:gd name="connsiteX114" fmla="*/ 692904 w 1457148"/>
                <a:gd name="connsiteY114" fmla="*/ 1703134 h 3641849"/>
                <a:gd name="connsiteX115" fmla="*/ 444620 w 1457148"/>
                <a:gd name="connsiteY115" fmla="*/ 1471456 h 3641849"/>
                <a:gd name="connsiteX116" fmla="*/ 277806 w 1457148"/>
                <a:gd name="connsiteY116" fmla="*/ 1722785 h 3641849"/>
                <a:gd name="connsiteX0" fmla="*/ 277806 w 1457148"/>
                <a:gd name="connsiteY0" fmla="*/ 1722785 h 3641849"/>
                <a:gd name="connsiteX1" fmla="*/ 146526 w 1457148"/>
                <a:gd name="connsiteY1" fmla="*/ 1666225 h 3641849"/>
                <a:gd name="connsiteX2" fmla="*/ 215802 w 1457148"/>
                <a:gd name="connsiteY2" fmla="*/ 1653297 h 3641849"/>
                <a:gd name="connsiteX3" fmla="*/ 235198 w 1457148"/>
                <a:gd name="connsiteY3" fmla="*/ 1622268 h 3641849"/>
                <a:gd name="connsiteX4" fmla="*/ 249054 w 1457148"/>
                <a:gd name="connsiteY4" fmla="*/ 1557627 h 3641849"/>
                <a:gd name="connsiteX5" fmla="*/ 188091 w 1457148"/>
                <a:gd name="connsiteY5" fmla="*/ 1511084 h 3641849"/>
                <a:gd name="connsiteX6" fmla="*/ 143755 w 1457148"/>
                <a:gd name="connsiteY6" fmla="*/ 1485227 h 3641849"/>
                <a:gd name="connsiteX7" fmla="*/ 82793 w 1457148"/>
                <a:gd name="connsiteY7" fmla="*/ 1495570 h 3641849"/>
                <a:gd name="connsiteX8" fmla="*/ 260139 w 1457148"/>
                <a:gd name="connsiteY8" fmla="*/ 1299057 h 3641849"/>
                <a:gd name="connsiteX9" fmla="*/ 107732 w 1457148"/>
                <a:gd name="connsiteY9" fmla="*/ 1151672 h 3641849"/>
                <a:gd name="connsiteX10" fmla="*/ 168695 w 1457148"/>
                <a:gd name="connsiteY10" fmla="*/ 1089617 h 3641849"/>
                <a:gd name="connsiteX11" fmla="*/ 102190 w 1457148"/>
                <a:gd name="connsiteY11" fmla="*/ 1050829 h 3641849"/>
                <a:gd name="connsiteX12" fmla="*/ 143755 w 1457148"/>
                <a:gd name="connsiteY12" fmla="*/ 1019802 h 3641849"/>
                <a:gd name="connsiteX13" fmla="*/ 96649 w 1457148"/>
                <a:gd name="connsiteY13" fmla="*/ 993947 h 3641849"/>
                <a:gd name="connsiteX14" fmla="*/ 96648 w 1457148"/>
                <a:gd name="connsiteY14" fmla="*/ 794845 h 3641849"/>
                <a:gd name="connsiteX15" fmla="*/ 135443 w 1457148"/>
                <a:gd name="connsiteY15" fmla="*/ 779332 h 3641849"/>
                <a:gd name="connsiteX16" fmla="*/ 21830 w 1457148"/>
                <a:gd name="connsiteY16" fmla="*/ 551792 h 3641849"/>
                <a:gd name="connsiteX17" fmla="*/ 19059 w 1457148"/>
                <a:gd name="connsiteY17" fmla="*/ 551792 h 3641849"/>
                <a:gd name="connsiteX18" fmla="*/ 68937 w 1457148"/>
                <a:gd name="connsiteY18" fmla="*/ 469048 h 3641849"/>
                <a:gd name="connsiteX19" fmla="*/ 85563 w 1457148"/>
                <a:gd name="connsiteY19" fmla="*/ 378550 h 3641849"/>
                <a:gd name="connsiteX20" fmla="*/ 10744 w 1457148"/>
                <a:gd name="connsiteY20" fmla="*/ 319079 h 3641849"/>
                <a:gd name="connsiteX21" fmla="*/ 2432 w 1457148"/>
                <a:gd name="connsiteY21" fmla="*/ 251851 h 3641849"/>
                <a:gd name="connsiteX22" fmla="*/ 57852 w 1457148"/>
                <a:gd name="connsiteY22" fmla="*/ 158764 h 3641849"/>
                <a:gd name="connsiteX23" fmla="*/ 77250 w 1457148"/>
                <a:gd name="connsiteY23" fmla="*/ 135494 h 3641849"/>
                <a:gd name="connsiteX24" fmla="*/ 91105 w 1457148"/>
                <a:gd name="connsiteY24" fmla="*/ 117394 h 3641849"/>
                <a:gd name="connsiteX25" fmla="*/ 99418 w 1457148"/>
                <a:gd name="connsiteY25" fmla="*/ 73438 h 3641849"/>
                <a:gd name="connsiteX26" fmla="*/ 124357 w 1457148"/>
                <a:gd name="connsiteY26" fmla="*/ 101880 h 3641849"/>
                <a:gd name="connsiteX27" fmla="*/ 154839 w 1457148"/>
                <a:gd name="connsiteY27" fmla="*/ 88952 h 3641849"/>
                <a:gd name="connsiteX28" fmla="*/ 157609 w 1457148"/>
                <a:gd name="connsiteY28" fmla="*/ 63095 h 3641849"/>
                <a:gd name="connsiteX29" fmla="*/ 165923 w 1457148"/>
                <a:gd name="connsiteY29" fmla="*/ 34652 h 3641849"/>
                <a:gd name="connsiteX30" fmla="*/ 168695 w 1457148"/>
                <a:gd name="connsiteY30" fmla="*/ 3624 h 3641849"/>
                <a:gd name="connsiteX31" fmla="*/ 304475 w 1457148"/>
                <a:gd name="connsiteY31" fmla="*/ 57924 h 3641849"/>
                <a:gd name="connsiteX32" fmla="*/ 334955 w 1457148"/>
                <a:gd name="connsiteY32" fmla="*/ 161352 h 3641849"/>
                <a:gd name="connsiteX33" fmla="*/ 348811 w 1457148"/>
                <a:gd name="connsiteY33" fmla="*/ 184622 h 3641849"/>
                <a:gd name="connsiteX34" fmla="*/ 359895 w 1457148"/>
                <a:gd name="connsiteY34" fmla="*/ 187208 h 3641849"/>
                <a:gd name="connsiteX35" fmla="*/ 473507 w 1457148"/>
                <a:gd name="connsiteY35" fmla="*/ 156181 h 3641849"/>
                <a:gd name="connsiteX36" fmla="*/ 540012 w 1457148"/>
                <a:gd name="connsiteY36" fmla="*/ 166522 h 3641849"/>
                <a:gd name="connsiteX37" fmla="*/ 603746 w 1457148"/>
                <a:gd name="connsiteY37" fmla="*/ 213065 h 3641849"/>
                <a:gd name="connsiteX38" fmla="*/ 617773 w 1457148"/>
                <a:gd name="connsiteY38" fmla="*/ 242621 h 3641849"/>
                <a:gd name="connsiteX39" fmla="*/ 673020 w 1457148"/>
                <a:gd name="connsiteY39" fmla="*/ 277708 h 3641849"/>
                <a:gd name="connsiteX40" fmla="*/ 761694 w 1457148"/>
                <a:gd name="connsiteY40" fmla="*/ 303563 h 3641849"/>
                <a:gd name="connsiteX41" fmla="*/ 833740 w 1457148"/>
                <a:gd name="connsiteY41" fmla="*/ 350106 h 3641849"/>
                <a:gd name="connsiteX42" fmla="*/ 883619 w 1457148"/>
                <a:gd name="connsiteY42" fmla="*/ 401820 h 3641849"/>
                <a:gd name="connsiteX43" fmla="*/ 908558 w 1457148"/>
                <a:gd name="connsiteY43" fmla="*/ 440606 h 3641849"/>
                <a:gd name="connsiteX44" fmla="*/ 941811 w 1457148"/>
                <a:gd name="connsiteY44" fmla="*/ 466462 h 3641849"/>
                <a:gd name="connsiteX45" fmla="*/ 925183 w 1457148"/>
                <a:gd name="connsiteY45" fmla="*/ 691417 h 3641849"/>
                <a:gd name="connsiteX46" fmla="*/ 797717 w 1457148"/>
                <a:gd name="connsiteY46" fmla="*/ 771575 h 3641849"/>
                <a:gd name="connsiteX47" fmla="*/ 684105 w 1457148"/>
                <a:gd name="connsiteY47" fmla="*/ 779331 h 3641849"/>
                <a:gd name="connsiteX48" fmla="*/ 545552 w 1457148"/>
                <a:gd name="connsiteY48" fmla="*/ 758645 h 3641849"/>
                <a:gd name="connsiteX49" fmla="*/ 454108 w 1457148"/>
                <a:gd name="connsiteY49" fmla="*/ 722445 h 3641849"/>
                <a:gd name="connsiteX50" fmla="*/ 434711 w 1457148"/>
                <a:gd name="connsiteY50" fmla="*/ 750888 h 3641849"/>
                <a:gd name="connsiteX51" fmla="*/ 465353 w 1457148"/>
                <a:gd name="connsiteY51" fmla="*/ 824301 h 3641849"/>
                <a:gd name="connsiteX52" fmla="*/ 470894 w 1457148"/>
                <a:gd name="connsiteY52" fmla="*/ 951000 h 3641849"/>
                <a:gd name="connsiteX53" fmla="*/ 443024 w 1457148"/>
                <a:gd name="connsiteY53" fmla="*/ 1012043 h 3641849"/>
                <a:gd name="connsiteX54" fmla="*/ 498443 w 1457148"/>
                <a:gd name="connsiteY54" fmla="*/ 1032728 h 3641849"/>
                <a:gd name="connsiteX55" fmla="*/ 515071 w 1457148"/>
                <a:gd name="connsiteY55" fmla="*/ 1048242 h 3641849"/>
                <a:gd name="connsiteX56" fmla="*/ 540011 w 1457148"/>
                <a:gd name="connsiteY56" fmla="*/ 1074099 h 3641849"/>
                <a:gd name="connsiteX57" fmla="*/ 537240 w 1457148"/>
                <a:gd name="connsiteY57" fmla="*/ 1076685 h 3641849"/>
                <a:gd name="connsiteX58" fmla="*/ 576033 w 1457148"/>
                <a:gd name="connsiteY58" fmla="*/ 1071514 h 3641849"/>
                <a:gd name="connsiteX59" fmla="*/ 584347 w 1457148"/>
                <a:gd name="connsiteY59" fmla="*/ 1035314 h 3641849"/>
                <a:gd name="connsiteX60" fmla="*/ 545552 w 1457148"/>
                <a:gd name="connsiteY60" fmla="*/ 957743 h 3641849"/>
                <a:gd name="connsiteX61" fmla="*/ 614828 w 1457148"/>
                <a:gd name="connsiteY61" fmla="*/ 911200 h 3641849"/>
                <a:gd name="connsiteX62" fmla="*/ 682600 w 1457148"/>
                <a:gd name="connsiteY62" fmla="*/ 918934 h 3641849"/>
                <a:gd name="connsiteX63" fmla="*/ 706433 w 1457148"/>
                <a:gd name="connsiteY63" fmla="*/ 951001 h 3641849"/>
                <a:gd name="connsiteX64" fmla="*/ 862162 w 1457148"/>
                <a:gd name="connsiteY64" fmla="*/ 1007364 h 3641849"/>
                <a:gd name="connsiteX65" fmla="*/ 847754 w 1457148"/>
                <a:gd name="connsiteY65" fmla="*/ 971687 h 3641849"/>
                <a:gd name="connsiteX66" fmla="*/ 814502 w 1457148"/>
                <a:gd name="connsiteY66" fmla="*/ 932901 h 3641849"/>
                <a:gd name="connsiteX67" fmla="*/ 803418 w 1457148"/>
                <a:gd name="connsiteY67" fmla="*/ 881187 h 3641849"/>
                <a:gd name="connsiteX68" fmla="*/ 842213 w 1457148"/>
                <a:gd name="connsiteY68" fmla="*/ 832060 h 3641849"/>
                <a:gd name="connsiteX69" fmla="*/ 869923 w 1457148"/>
                <a:gd name="connsiteY69" fmla="*/ 803617 h 3641849"/>
                <a:gd name="connsiteX70" fmla="*/ 894863 w 1457148"/>
                <a:gd name="connsiteY70" fmla="*/ 767417 h 3641849"/>
                <a:gd name="connsiteX71" fmla="*/ 975223 w 1457148"/>
                <a:gd name="connsiteY71" fmla="*/ 762245 h 3641849"/>
                <a:gd name="connsiteX72" fmla="*/ 980764 w 1457148"/>
                <a:gd name="connsiteY72" fmla="*/ 741560 h 3641849"/>
                <a:gd name="connsiteX73" fmla="*/ 1005704 w 1457148"/>
                <a:gd name="connsiteY73" fmla="*/ 705360 h 3641849"/>
                <a:gd name="connsiteX74" fmla="*/ 1039508 w 1457148"/>
                <a:gd name="connsiteY74" fmla="*/ 687772 h 3641849"/>
                <a:gd name="connsiteX75" fmla="*/ 1097148 w 1457148"/>
                <a:gd name="connsiteY75" fmla="*/ 700189 h 3641849"/>
                <a:gd name="connsiteX76" fmla="*/ 1135941 w 1457148"/>
                <a:gd name="connsiteY76" fmla="*/ 720875 h 3641849"/>
                <a:gd name="connsiteX77" fmla="*/ 1183049 w 1457148"/>
                <a:gd name="connsiteY77" fmla="*/ 728632 h 3641849"/>
                <a:gd name="connsiteX78" fmla="*/ 1183049 w 1457148"/>
                <a:gd name="connsiteY78" fmla="*/ 733803 h 3641849"/>
                <a:gd name="connsiteX79" fmla="*/ 1205218 w 1457148"/>
                <a:gd name="connsiteY79" fmla="*/ 674332 h 3641849"/>
                <a:gd name="connsiteX80" fmla="*/ 1215193 w 1457148"/>
                <a:gd name="connsiteY80" fmla="*/ 640714 h 3641849"/>
                <a:gd name="connsiteX81" fmla="*/ 1221844 w 1457148"/>
                <a:gd name="connsiteY81" fmla="*/ 622618 h 3641849"/>
                <a:gd name="connsiteX82" fmla="*/ 1224781 w 1457148"/>
                <a:gd name="connsiteY82" fmla="*/ 591288 h 3641849"/>
                <a:gd name="connsiteX83" fmla="*/ 1144255 w 1457148"/>
                <a:gd name="connsiteY83" fmla="*/ 545048 h 3641849"/>
                <a:gd name="connsiteX84" fmla="*/ 1130400 w 1457148"/>
                <a:gd name="connsiteY84" fmla="*/ 472648 h 3641849"/>
                <a:gd name="connsiteX85" fmla="*/ 1130400 w 1457148"/>
                <a:gd name="connsiteY85" fmla="*/ 454548 h 3641849"/>
                <a:gd name="connsiteX86" fmla="*/ 1141483 w 1457148"/>
                <a:gd name="connsiteY86" fmla="*/ 431276 h 3641849"/>
                <a:gd name="connsiteX87" fmla="*/ 1144255 w 1457148"/>
                <a:gd name="connsiteY87" fmla="*/ 415762 h 3641849"/>
                <a:gd name="connsiteX88" fmla="*/ 1144254 w 1457148"/>
                <a:gd name="connsiteY88" fmla="*/ 358878 h 3641849"/>
                <a:gd name="connsiteX89" fmla="*/ 1122086 w 1457148"/>
                <a:gd name="connsiteY89" fmla="*/ 335607 h 3641849"/>
                <a:gd name="connsiteX90" fmla="*/ 1094376 w 1457148"/>
                <a:gd name="connsiteY90" fmla="*/ 304578 h 3641849"/>
                <a:gd name="connsiteX91" fmla="*/ 1090208 w 1457148"/>
                <a:gd name="connsiteY91" fmla="*/ 280325 h 3641849"/>
                <a:gd name="connsiteX92" fmla="*/ 1141484 w 1457148"/>
                <a:gd name="connsiteY92" fmla="*/ 258034 h 3641849"/>
                <a:gd name="connsiteX93" fmla="*/ 1195064 w 1457148"/>
                <a:gd name="connsiteY93" fmla="*/ 267906 h 3641849"/>
                <a:gd name="connsiteX94" fmla="*/ 1273848 w 1457148"/>
                <a:gd name="connsiteY94" fmla="*/ 279816 h 3641849"/>
                <a:gd name="connsiteX95" fmla="*/ 1358171 w 1457148"/>
                <a:gd name="connsiteY95" fmla="*/ 349175 h 3641849"/>
                <a:gd name="connsiteX96" fmla="*/ 1420306 w 1457148"/>
                <a:gd name="connsiteY96" fmla="*/ 425271 h 3641849"/>
                <a:gd name="connsiteX97" fmla="*/ 1319335 w 1457148"/>
                <a:gd name="connsiteY97" fmla="*/ 454265 h 3641849"/>
                <a:gd name="connsiteX98" fmla="*/ 1303801 w 1457148"/>
                <a:gd name="connsiteY98" fmla="*/ 501372 h 3641849"/>
                <a:gd name="connsiteX99" fmla="*/ 1361471 w 1457148"/>
                <a:gd name="connsiteY99" fmla="*/ 585862 h 3641849"/>
                <a:gd name="connsiteX100" fmla="*/ 1397005 w 1457148"/>
                <a:gd name="connsiteY100" fmla="*/ 591964 h 3641849"/>
                <a:gd name="connsiteX101" fmla="*/ 1449625 w 1457148"/>
                <a:gd name="connsiteY101" fmla="*/ 598304 h 3641849"/>
                <a:gd name="connsiteX102" fmla="*/ 1444662 w 1457148"/>
                <a:gd name="connsiteY102" fmla="*/ 709079 h 3641849"/>
                <a:gd name="connsiteX103" fmla="*/ 1455731 w 1457148"/>
                <a:gd name="connsiteY103" fmla="*/ 1040047 h 3641849"/>
                <a:gd name="connsiteX104" fmla="*/ 1446863 w 1457148"/>
                <a:gd name="connsiteY104" fmla="*/ 1842646 h 3641849"/>
                <a:gd name="connsiteX105" fmla="*/ 1455730 w 1457148"/>
                <a:gd name="connsiteY105" fmla="*/ 2297728 h 3641849"/>
                <a:gd name="connsiteX106" fmla="*/ 1429282 w 1457148"/>
                <a:gd name="connsiteY106" fmla="*/ 3607693 h 3641849"/>
                <a:gd name="connsiteX107" fmla="*/ 1170855 w 1457148"/>
                <a:gd name="connsiteY107" fmla="*/ 3564098 h 3641849"/>
                <a:gd name="connsiteX108" fmla="*/ 1002377 w 1457148"/>
                <a:gd name="connsiteY108" fmla="*/ 3497903 h 3641849"/>
                <a:gd name="connsiteX109" fmla="*/ 825031 w 1457148"/>
                <a:gd name="connsiteY109" fmla="*/ 3406887 h 3641849"/>
                <a:gd name="connsiteX110" fmla="*/ 726733 w 1457148"/>
                <a:gd name="connsiteY110" fmla="*/ 3326370 h 3641849"/>
                <a:gd name="connsiteX111" fmla="*/ 1020995 w 1457148"/>
                <a:gd name="connsiteY111" fmla="*/ 3018734 h 3641849"/>
                <a:gd name="connsiteX112" fmla="*/ 737241 w 1457148"/>
                <a:gd name="connsiteY112" fmla="*/ 2480910 h 3641849"/>
                <a:gd name="connsiteX113" fmla="*/ 879591 w 1457148"/>
                <a:gd name="connsiteY113" fmla="*/ 2241825 h 3641849"/>
                <a:gd name="connsiteX114" fmla="*/ 692904 w 1457148"/>
                <a:gd name="connsiteY114" fmla="*/ 1703134 h 3641849"/>
                <a:gd name="connsiteX115" fmla="*/ 444620 w 1457148"/>
                <a:gd name="connsiteY115" fmla="*/ 1471456 h 3641849"/>
                <a:gd name="connsiteX116" fmla="*/ 277806 w 1457148"/>
                <a:gd name="connsiteY116" fmla="*/ 1722785 h 3641849"/>
                <a:gd name="connsiteX0" fmla="*/ 3518 w 1484902"/>
                <a:gd name="connsiteY0" fmla="*/ 2159767 h 3641849"/>
                <a:gd name="connsiteX1" fmla="*/ 174280 w 1484902"/>
                <a:gd name="connsiteY1" fmla="*/ 1666225 h 3641849"/>
                <a:gd name="connsiteX2" fmla="*/ 243556 w 1484902"/>
                <a:gd name="connsiteY2" fmla="*/ 1653297 h 3641849"/>
                <a:gd name="connsiteX3" fmla="*/ 262952 w 1484902"/>
                <a:gd name="connsiteY3" fmla="*/ 1622268 h 3641849"/>
                <a:gd name="connsiteX4" fmla="*/ 276808 w 1484902"/>
                <a:gd name="connsiteY4" fmla="*/ 1557627 h 3641849"/>
                <a:gd name="connsiteX5" fmla="*/ 215845 w 1484902"/>
                <a:gd name="connsiteY5" fmla="*/ 1511084 h 3641849"/>
                <a:gd name="connsiteX6" fmla="*/ 171509 w 1484902"/>
                <a:gd name="connsiteY6" fmla="*/ 1485227 h 3641849"/>
                <a:gd name="connsiteX7" fmla="*/ 110547 w 1484902"/>
                <a:gd name="connsiteY7" fmla="*/ 1495570 h 3641849"/>
                <a:gd name="connsiteX8" fmla="*/ 287893 w 1484902"/>
                <a:gd name="connsiteY8" fmla="*/ 1299057 h 3641849"/>
                <a:gd name="connsiteX9" fmla="*/ 135486 w 1484902"/>
                <a:gd name="connsiteY9" fmla="*/ 1151672 h 3641849"/>
                <a:gd name="connsiteX10" fmla="*/ 196449 w 1484902"/>
                <a:gd name="connsiteY10" fmla="*/ 1089617 h 3641849"/>
                <a:gd name="connsiteX11" fmla="*/ 129944 w 1484902"/>
                <a:gd name="connsiteY11" fmla="*/ 1050829 h 3641849"/>
                <a:gd name="connsiteX12" fmla="*/ 171509 w 1484902"/>
                <a:gd name="connsiteY12" fmla="*/ 1019802 h 3641849"/>
                <a:gd name="connsiteX13" fmla="*/ 124403 w 1484902"/>
                <a:gd name="connsiteY13" fmla="*/ 993947 h 3641849"/>
                <a:gd name="connsiteX14" fmla="*/ 124402 w 1484902"/>
                <a:gd name="connsiteY14" fmla="*/ 794845 h 3641849"/>
                <a:gd name="connsiteX15" fmla="*/ 163197 w 1484902"/>
                <a:gd name="connsiteY15" fmla="*/ 779332 h 3641849"/>
                <a:gd name="connsiteX16" fmla="*/ 49584 w 1484902"/>
                <a:gd name="connsiteY16" fmla="*/ 551792 h 3641849"/>
                <a:gd name="connsiteX17" fmla="*/ 46813 w 1484902"/>
                <a:gd name="connsiteY17" fmla="*/ 551792 h 3641849"/>
                <a:gd name="connsiteX18" fmla="*/ 96691 w 1484902"/>
                <a:gd name="connsiteY18" fmla="*/ 469048 h 3641849"/>
                <a:gd name="connsiteX19" fmla="*/ 113317 w 1484902"/>
                <a:gd name="connsiteY19" fmla="*/ 378550 h 3641849"/>
                <a:gd name="connsiteX20" fmla="*/ 38498 w 1484902"/>
                <a:gd name="connsiteY20" fmla="*/ 319079 h 3641849"/>
                <a:gd name="connsiteX21" fmla="*/ 30186 w 1484902"/>
                <a:gd name="connsiteY21" fmla="*/ 251851 h 3641849"/>
                <a:gd name="connsiteX22" fmla="*/ 85606 w 1484902"/>
                <a:gd name="connsiteY22" fmla="*/ 158764 h 3641849"/>
                <a:gd name="connsiteX23" fmla="*/ 105004 w 1484902"/>
                <a:gd name="connsiteY23" fmla="*/ 135494 h 3641849"/>
                <a:gd name="connsiteX24" fmla="*/ 118859 w 1484902"/>
                <a:gd name="connsiteY24" fmla="*/ 117394 h 3641849"/>
                <a:gd name="connsiteX25" fmla="*/ 127172 w 1484902"/>
                <a:gd name="connsiteY25" fmla="*/ 73438 h 3641849"/>
                <a:gd name="connsiteX26" fmla="*/ 152111 w 1484902"/>
                <a:gd name="connsiteY26" fmla="*/ 101880 h 3641849"/>
                <a:gd name="connsiteX27" fmla="*/ 182593 w 1484902"/>
                <a:gd name="connsiteY27" fmla="*/ 88952 h 3641849"/>
                <a:gd name="connsiteX28" fmla="*/ 185363 w 1484902"/>
                <a:gd name="connsiteY28" fmla="*/ 63095 h 3641849"/>
                <a:gd name="connsiteX29" fmla="*/ 193677 w 1484902"/>
                <a:gd name="connsiteY29" fmla="*/ 34652 h 3641849"/>
                <a:gd name="connsiteX30" fmla="*/ 196449 w 1484902"/>
                <a:gd name="connsiteY30" fmla="*/ 3624 h 3641849"/>
                <a:gd name="connsiteX31" fmla="*/ 332229 w 1484902"/>
                <a:gd name="connsiteY31" fmla="*/ 57924 h 3641849"/>
                <a:gd name="connsiteX32" fmla="*/ 362709 w 1484902"/>
                <a:gd name="connsiteY32" fmla="*/ 161352 h 3641849"/>
                <a:gd name="connsiteX33" fmla="*/ 376565 w 1484902"/>
                <a:gd name="connsiteY33" fmla="*/ 184622 h 3641849"/>
                <a:gd name="connsiteX34" fmla="*/ 387649 w 1484902"/>
                <a:gd name="connsiteY34" fmla="*/ 187208 h 3641849"/>
                <a:gd name="connsiteX35" fmla="*/ 501261 w 1484902"/>
                <a:gd name="connsiteY35" fmla="*/ 156181 h 3641849"/>
                <a:gd name="connsiteX36" fmla="*/ 567766 w 1484902"/>
                <a:gd name="connsiteY36" fmla="*/ 166522 h 3641849"/>
                <a:gd name="connsiteX37" fmla="*/ 631500 w 1484902"/>
                <a:gd name="connsiteY37" fmla="*/ 213065 h 3641849"/>
                <a:gd name="connsiteX38" fmla="*/ 645527 w 1484902"/>
                <a:gd name="connsiteY38" fmla="*/ 242621 h 3641849"/>
                <a:gd name="connsiteX39" fmla="*/ 700774 w 1484902"/>
                <a:gd name="connsiteY39" fmla="*/ 277708 h 3641849"/>
                <a:gd name="connsiteX40" fmla="*/ 789448 w 1484902"/>
                <a:gd name="connsiteY40" fmla="*/ 303563 h 3641849"/>
                <a:gd name="connsiteX41" fmla="*/ 861494 w 1484902"/>
                <a:gd name="connsiteY41" fmla="*/ 350106 h 3641849"/>
                <a:gd name="connsiteX42" fmla="*/ 911373 w 1484902"/>
                <a:gd name="connsiteY42" fmla="*/ 401820 h 3641849"/>
                <a:gd name="connsiteX43" fmla="*/ 936312 w 1484902"/>
                <a:gd name="connsiteY43" fmla="*/ 440606 h 3641849"/>
                <a:gd name="connsiteX44" fmla="*/ 969565 w 1484902"/>
                <a:gd name="connsiteY44" fmla="*/ 466462 h 3641849"/>
                <a:gd name="connsiteX45" fmla="*/ 952937 w 1484902"/>
                <a:gd name="connsiteY45" fmla="*/ 691417 h 3641849"/>
                <a:gd name="connsiteX46" fmla="*/ 825471 w 1484902"/>
                <a:gd name="connsiteY46" fmla="*/ 771575 h 3641849"/>
                <a:gd name="connsiteX47" fmla="*/ 711859 w 1484902"/>
                <a:gd name="connsiteY47" fmla="*/ 779331 h 3641849"/>
                <a:gd name="connsiteX48" fmla="*/ 573306 w 1484902"/>
                <a:gd name="connsiteY48" fmla="*/ 758645 h 3641849"/>
                <a:gd name="connsiteX49" fmla="*/ 481862 w 1484902"/>
                <a:gd name="connsiteY49" fmla="*/ 722445 h 3641849"/>
                <a:gd name="connsiteX50" fmla="*/ 462465 w 1484902"/>
                <a:gd name="connsiteY50" fmla="*/ 750888 h 3641849"/>
                <a:gd name="connsiteX51" fmla="*/ 493107 w 1484902"/>
                <a:gd name="connsiteY51" fmla="*/ 824301 h 3641849"/>
                <a:gd name="connsiteX52" fmla="*/ 498648 w 1484902"/>
                <a:gd name="connsiteY52" fmla="*/ 951000 h 3641849"/>
                <a:gd name="connsiteX53" fmla="*/ 470778 w 1484902"/>
                <a:gd name="connsiteY53" fmla="*/ 1012043 h 3641849"/>
                <a:gd name="connsiteX54" fmla="*/ 526197 w 1484902"/>
                <a:gd name="connsiteY54" fmla="*/ 1032728 h 3641849"/>
                <a:gd name="connsiteX55" fmla="*/ 542825 w 1484902"/>
                <a:gd name="connsiteY55" fmla="*/ 1048242 h 3641849"/>
                <a:gd name="connsiteX56" fmla="*/ 567765 w 1484902"/>
                <a:gd name="connsiteY56" fmla="*/ 1074099 h 3641849"/>
                <a:gd name="connsiteX57" fmla="*/ 564994 w 1484902"/>
                <a:gd name="connsiteY57" fmla="*/ 1076685 h 3641849"/>
                <a:gd name="connsiteX58" fmla="*/ 603787 w 1484902"/>
                <a:gd name="connsiteY58" fmla="*/ 1071514 h 3641849"/>
                <a:gd name="connsiteX59" fmla="*/ 612101 w 1484902"/>
                <a:gd name="connsiteY59" fmla="*/ 1035314 h 3641849"/>
                <a:gd name="connsiteX60" fmla="*/ 573306 w 1484902"/>
                <a:gd name="connsiteY60" fmla="*/ 957743 h 3641849"/>
                <a:gd name="connsiteX61" fmla="*/ 642582 w 1484902"/>
                <a:gd name="connsiteY61" fmla="*/ 911200 h 3641849"/>
                <a:gd name="connsiteX62" fmla="*/ 710354 w 1484902"/>
                <a:gd name="connsiteY62" fmla="*/ 918934 h 3641849"/>
                <a:gd name="connsiteX63" fmla="*/ 734187 w 1484902"/>
                <a:gd name="connsiteY63" fmla="*/ 951001 h 3641849"/>
                <a:gd name="connsiteX64" fmla="*/ 889916 w 1484902"/>
                <a:gd name="connsiteY64" fmla="*/ 1007364 h 3641849"/>
                <a:gd name="connsiteX65" fmla="*/ 875508 w 1484902"/>
                <a:gd name="connsiteY65" fmla="*/ 971687 h 3641849"/>
                <a:gd name="connsiteX66" fmla="*/ 842256 w 1484902"/>
                <a:gd name="connsiteY66" fmla="*/ 932901 h 3641849"/>
                <a:gd name="connsiteX67" fmla="*/ 831172 w 1484902"/>
                <a:gd name="connsiteY67" fmla="*/ 881187 h 3641849"/>
                <a:gd name="connsiteX68" fmla="*/ 869967 w 1484902"/>
                <a:gd name="connsiteY68" fmla="*/ 832060 h 3641849"/>
                <a:gd name="connsiteX69" fmla="*/ 897677 w 1484902"/>
                <a:gd name="connsiteY69" fmla="*/ 803617 h 3641849"/>
                <a:gd name="connsiteX70" fmla="*/ 922617 w 1484902"/>
                <a:gd name="connsiteY70" fmla="*/ 767417 h 3641849"/>
                <a:gd name="connsiteX71" fmla="*/ 1002977 w 1484902"/>
                <a:gd name="connsiteY71" fmla="*/ 762245 h 3641849"/>
                <a:gd name="connsiteX72" fmla="*/ 1008518 w 1484902"/>
                <a:gd name="connsiteY72" fmla="*/ 741560 h 3641849"/>
                <a:gd name="connsiteX73" fmla="*/ 1033458 w 1484902"/>
                <a:gd name="connsiteY73" fmla="*/ 705360 h 3641849"/>
                <a:gd name="connsiteX74" fmla="*/ 1067262 w 1484902"/>
                <a:gd name="connsiteY74" fmla="*/ 687772 h 3641849"/>
                <a:gd name="connsiteX75" fmla="*/ 1124902 w 1484902"/>
                <a:gd name="connsiteY75" fmla="*/ 700189 h 3641849"/>
                <a:gd name="connsiteX76" fmla="*/ 1163695 w 1484902"/>
                <a:gd name="connsiteY76" fmla="*/ 720875 h 3641849"/>
                <a:gd name="connsiteX77" fmla="*/ 1210803 w 1484902"/>
                <a:gd name="connsiteY77" fmla="*/ 728632 h 3641849"/>
                <a:gd name="connsiteX78" fmla="*/ 1210803 w 1484902"/>
                <a:gd name="connsiteY78" fmla="*/ 733803 h 3641849"/>
                <a:gd name="connsiteX79" fmla="*/ 1232972 w 1484902"/>
                <a:gd name="connsiteY79" fmla="*/ 674332 h 3641849"/>
                <a:gd name="connsiteX80" fmla="*/ 1242947 w 1484902"/>
                <a:gd name="connsiteY80" fmla="*/ 640714 h 3641849"/>
                <a:gd name="connsiteX81" fmla="*/ 1249598 w 1484902"/>
                <a:gd name="connsiteY81" fmla="*/ 622618 h 3641849"/>
                <a:gd name="connsiteX82" fmla="*/ 1252535 w 1484902"/>
                <a:gd name="connsiteY82" fmla="*/ 591288 h 3641849"/>
                <a:gd name="connsiteX83" fmla="*/ 1172009 w 1484902"/>
                <a:gd name="connsiteY83" fmla="*/ 545048 h 3641849"/>
                <a:gd name="connsiteX84" fmla="*/ 1158154 w 1484902"/>
                <a:gd name="connsiteY84" fmla="*/ 472648 h 3641849"/>
                <a:gd name="connsiteX85" fmla="*/ 1158154 w 1484902"/>
                <a:gd name="connsiteY85" fmla="*/ 454548 h 3641849"/>
                <a:gd name="connsiteX86" fmla="*/ 1169237 w 1484902"/>
                <a:gd name="connsiteY86" fmla="*/ 431276 h 3641849"/>
                <a:gd name="connsiteX87" fmla="*/ 1172009 w 1484902"/>
                <a:gd name="connsiteY87" fmla="*/ 415762 h 3641849"/>
                <a:gd name="connsiteX88" fmla="*/ 1172008 w 1484902"/>
                <a:gd name="connsiteY88" fmla="*/ 358878 h 3641849"/>
                <a:gd name="connsiteX89" fmla="*/ 1149840 w 1484902"/>
                <a:gd name="connsiteY89" fmla="*/ 335607 h 3641849"/>
                <a:gd name="connsiteX90" fmla="*/ 1122130 w 1484902"/>
                <a:gd name="connsiteY90" fmla="*/ 304578 h 3641849"/>
                <a:gd name="connsiteX91" fmla="*/ 1117962 w 1484902"/>
                <a:gd name="connsiteY91" fmla="*/ 280325 h 3641849"/>
                <a:gd name="connsiteX92" fmla="*/ 1169238 w 1484902"/>
                <a:gd name="connsiteY92" fmla="*/ 258034 h 3641849"/>
                <a:gd name="connsiteX93" fmla="*/ 1222818 w 1484902"/>
                <a:gd name="connsiteY93" fmla="*/ 267906 h 3641849"/>
                <a:gd name="connsiteX94" fmla="*/ 1301602 w 1484902"/>
                <a:gd name="connsiteY94" fmla="*/ 279816 h 3641849"/>
                <a:gd name="connsiteX95" fmla="*/ 1385925 w 1484902"/>
                <a:gd name="connsiteY95" fmla="*/ 349175 h 3641849"/>
                <a:gd name="connsiteX96" fmla="*/ 1448060 w 1484902"/>
                <a:gd name="connsiteY96" fmla="*/ 425271 h 3641849"/>
                <a:gd name="connsiteX97" fmla="*/ 1347089 w 1484902"/>
                <a:gd name="connsiteY97" fmla="*/ 454265 h 3641849"/>
                <a:gd name="connsiteX98" fmla="*/ 1331555 w 1484902"/>
                <a:gd name="connsiteY98" fmla="*/ 501372 h 3641849"/>
                <a:gd name="connsiteX99" fmla="*/ 1389225 w 1484902"/>
                <a:gd name="connsiteY99" fmla="*/ 585862 h 3641849"/>
                <a:gd name="connsiteX100" fmla="*/ 1424759 w 1484902"/>
                <a:gd name="connsiteY100" fmla="*/ 591964 h 3641849"/>
                <a:gd name="connsiteX101" fmla="*/ 1477379 w 1484902"/>
                <a:gd name="connsiteY101" fmla="*/ 598304 h 3641849"/>
                <a:gd name="connsiteX102" fmla="*/ 1472416 w 1484902"/>
                <a:gd name="connsiteY102" fmla="*/ 709079 h 3641849"/>
                <a:gd name="connsiteX103" fmla="*/ 1483485 w 1484902"/>
                <a:gd name="connsiteY103" fmla="*/ 1040047 h 3641849"/>
                <a:gd name="connsiteX104" fmla="*/ 1474617 w 1484902"/>
                <a:gd name="connsiteY104" fmla="*/ 1842646 h 3641849"/>
                <a:gd name="connsiteX105" fmla="*/ 1483484 w 1484902"/>
                <a:gd name="connsiteY105" fmla="*/ 2297728 h 3641849"/>
                <a:gd name="connsiteX106" fmla="*/ 1457036 w 1484902"/>
                <a:gd name="connsiteY106" fmla="*/ 3607693 h 3641849"/>
                <a:gd name="connsiteX107" fmla="*/ 1198609 w 1484902"/>
                <a:gd name="connsiteY107" fmla="*/ 3564098 h 3641849"/>
                <a:gd name="connsiteX108" fmla="*/ 1030131 w 1484902"/>
                <a:gd name="connsiteY108" fmla="*/ 3497903 h 3641849"/>
                <a:gd name="connsiteX109" fmla="*/ 852785 w 1484902"/>
                <a:gd name="connsiteY109" fmla="*/ 3406887 h 3641849"/>
                <a:gd name="connsiteX110" fmla="*/ 754487 w 1484902"/>
                <a:gd name="connsiteY110" fmla="*/ 3326370 h 3641849"/>
                <a:gd name="connsiteX111" fmla="*/ 1048749 w 1484902"/>
                <a:gd name="connsiteY111" fmla="*/ 3018734 h 3641849"/>
                <a:gd name="connsiteX112" fmla="*/ 764995 w 1484902"/>
                <a:gd name="connsiteY112" fmla="*/ 2480910 h 3641849"/>
                <a:gd name="connsiteX113" fmla="*/ 907345 w 1484902"/>
                <a:gd name="connsiteY113" fmla="*/ 2241825 h 3641849"/>
                <a:gd name="connsiteX114" fmla="*/ 720658 w 1484902"/>
                <a:gd name="connsiteY114" fmla="*/ 1703134 h 3641849"/>
                <a:gd name="connsiteX115" fmla="*/ 472374 w 1484902"/>
                <a:gd name="connsiteY115" fmla="*/ 1471456 h 3641849"/>
                <a:gd name="connsiteX116" fmla="*/ 3518 w 1484902"/>
                <a:gd name="connsiteY116" fmla="*/ 2159767 h 3641849"/>
                <a:gd name="connsiteX0" fmla="*/ 10132 w 1491516"/>
                <a:gd name="connsiteY0" fmla="*/ 2159767 h 3641849"/>
                <a:gd name="connsiteX1" fmla="*/ 158725 w 1491516"/>
                <a:gd name="connsiteY1" fmla="*/ 1725696 h 3641849"/>
                <a:gd name="connsiteX2" fmla="*/ 180894 w 1491516"/>
                <a:gd name="connsiteY2" fmla="*/ 1666225 h 3641849"/>
                <a:gd name="connsiteX3" fmla="*/ 250170 w 1491516"/>
                <a:gd name="connsiteY3" fmla="*/ 1653297 h 3641849"/>
                <a:gd name="connsiteX4" fmla="*/ 269566 w 1491516"/>
                <a:gd name="connsiteY4" fmla="*/ 1622268 h 3641849"/>
                <a:gd name="connsiteX5" fmla="*/ 283422 w 1491516"/>
                <a:gd name="connsiteY5" fmla="*/ 1557627 h 3641849"/>
                <a:gd name="connsiteX6" fmla="*/ 222459 w 1491516"/>
                <a:gd name="connsiteY6" fmla="*/ 1511084 h 3641849"/>
                <a:gd name="connsiteX7" fmla="*/ 178123 w 1491516"/>
                <a:gd name="connsiteY7" fmla="*/ 1485227 h 3641849"/>
                <a:gd name="connsiteX8" fmla="*/ 117161 w 1491516"/>
                <a:gd name="connsiteY8" fmla="*/ 1495570 h 3641849"/>
                <a:gd name="connsiteX9" fmla="*/ 294507 w 1491516"/>
                <a:gd name="connsiteY9" fmla="*/ 1299057 h 3641849"/>
                <a:gd name="connsiteX10" fmla="*/ 142100 w 1491516"/>
                <a:gd name="connsiteY10" fmla="*/ 1151672 h 3641849"/>
                <a:gd name="connsiteX11" fmla="*/ 203063 w 1491516"/>
                <a:gd name="connsiteY11" fmla="*/ 1089617 h 3641849"/>
                <a:gd name="connsiteX12" fmla="*/ 136558 w 1491516"/>
                <a:gd name="connsiteY12" fmla="*/ 1050829 h 3641849"/>
                <a:gd name="connsiteX13" fmla="*/ 178123 w 1491516"/>
                <a:gd name="connsiteY13" fmla="*/ 1019802 h 3641849"/>
                <a:gd name="connsiteX14" fmla="*/ 131017 w 1491516"/>
                <a:gd name="connsiteY14" fmla="*/ 993947 h 3641849"/>
                <a:gd name="connsiteX15" fmla="*/ 131016 w 1491516"/>
                <a:gd name="connsiteY15" fmla="*/ 794845 h 3641849"/>
                <a:gd name="connsiteX16" fmla="*/ 169811 w 1491516"/>
                <a:gd name="connsiteY16" fmla="*/ 779332 h 3641849"/>
                <a:gd name="connsiteX17" fmla="*/ 56198 w 1491516"/>
                <a:gd name="connsiteY17" fmla="*/ 551792 h 3641849"/>
                <a:gd name="connsiteX18" fmla="*/ 53427 w 1491516"/>
                <a:gd name="connsiteY18" fmla="*/ 551792 h 3641849"/>
                <a:gd name="connsiteX19" fmla="*/ 103305 w 1491516"/>
                <a:gd name="connsiteY19" fmla="*/ 469048 h 3641849"/>
                <a:gd name="connsiteX20" fmla="*/ 119931 w 1491516"/>
                <a:gd name="connsiteY20" fmla="*/ 378550 h 3641849"/>
                <a:gd name="connsiteX21" fmla="*/ 45112 w 1491516"/>
                <a:gd name="connsiteY21" fmla="*/ 319079 h 3641849"/>
                <a:gd name="connsiteX22" fmla="*/ 36800 w 1491516"/>
                <a:gd name="connsiteY22" fmla="*/ 251851 h 3641849"/>
                <a:gd name="connsiteX23" fmla="*/ 92220 w 1491516"/>
                <a:gd name="connsiteY23" fmla="*/ 158764 h 3641849"/>
                <a:gd name="connsiteX24" fmla="*/ 111618 w 1491516"/>
                <a:gd name="connsiteY24" fmla="*/ 135494 h 3641849"/>
                <a:gd name="connsiteX25" fmla="*/ 125473 w 1491516"/>
                <a:gd name="connsiteY25" fmla="*/ 117394 h 3641849"/>
                <a:gd name="connsiteX26" fmla="*/ 133786 w 1491516"/>
                <a:gd name="connsiteY26" fmla="*/ 73438 h 3641849"/>
                <a:gd name="connsiteX27" fmla="*/ 158725 w 1491516"/>
                <a:gd name="connsiteY27" fmla="*/ 101880 h 3641849"/>
                <a:gd name="connsiteX28" fmla="*/ 189207 w 1491516"/>
                <a:gd name="connsiteY28" fmla="*/ 88952 h 3641849"/>
                <a:gd name="connsiteX29" fmla="*/ 191977 w 1491516"/>
                <a:gd name="connsiteY29" fmla="*/ 63095 h 3641849"/>
                <a:gd name="connsiteX30" fmla="*/ 200291 w 1491516"/>
                <a:gd name="connsiteY30" fmla="*/ 34652 h 3641849"/>
                <a:gd name="connsiteX31" fmla="*/ 203063 w 1491516"/>
                <a:gd name="connsiteY31" fmla="*/ 3624 h 3641849"/>
                <a:gd name="connsiteX32" fmla="*/ 338843 w 1491516"/>
                <a:gd name="connsiteY32" fmla="*/ 57924 h 3641849"/>
                <a:gd name="connsiteX33" fmla="*/ 369323 w 1491516"/>
                <a:gd name="connsiteY33" fmla="*/ 161352 h 3641849"/>
                <a:gd name="connsiteX34" fmla="*/ 383179 w 1491516"/>
                <a:gd name="connsiteY34" fmla="*/ 184622 h 3641849"/>
                <a:gd name="connsiteX35" fmla="*/ 394263 w 1491516"/>
                <a:gd name="connsiteY35" fmla="*/ 187208 h 3641849"/>
                <a:gd name="connsiteX36" fmla="*/ 507875 w 1491516"/>
                <a:gd name="connsiteY36" fmla="*/ 156181 h 3641849"/>
                <a:gd name="connsiteX37" fmla="*/ 574380 w 1491516"/>
                <a:gd name="connsiteY37" fmla="*/ 166522 h 3641849"/>
                <a:gd name="connsiteX38" fmla="*/ 638114 w 1491516"/>
                <a:gd name="connsiteY38" fmla="*/ 213065 h 3641849"/>
                <a:gd name="connsiteX39" fmla="*/ 652141 w 1491516"/>
                <a:gd name="connsiteY39" fmla="*/ 242621 h 3641849"/>
                <a:gd name="connsiteX40" fmla="*/ 707388 w 1491516"/>
                <a:gd name="connsiteY40" fmla="*/ 277708 h 3641849"/>
                <a:gd name="connsiteX41" fmla="*/ 796062 w 1491516"/>
                <a:gd name="connsiteY41" fmla="*/ 303563 h 3641849"/>
                <a:gd name="connsiteX42" fmla="*/ 868108 w 1491516"/>
                <a:gd name="connsiteY42" fmla="*/ 350106 h 3641849"/>
                <a:gd name="connsiteX43" fmla="*/ 917987 w 1491516"/>
                <a:gd name="connsiteY43" fmla="*/ 401820 h 3641849"/>
                <a:gd name="connsiteX44" fmla="*/ 942926 w 1491516"/>
                <a:gd name="connsiteY44" fmla="*/ 440606 h 3641849"/>
                <a:gd name="connsiteX45" fmla="*/ 976179 w 1491516"/>
                <a:gd name="connsiteY45" fmla="*/ 466462 h 3641849"/>
                <a:gd name="connsiteX46" fmla="*/ 959551 w 1491516"/>
                <a:gd name="connsiteY46" fmla="*/ 691417 h 3641849"/>
                <a:gd name="connsiteX47" fmla="*/ 832085 w 1491516"/>
                <a:gd name="connsiteY47" fmla="*/ 771575 h 3641849"/>
                <a:gd name="connsiteX48" fmla="*/ 718473 w 1491516"/>
                <a:gd name="connsiteY48" fmla="*/ 779331 h 3641849"/>
                <a:gd name="connsiteX49" fmla="*/ 579920 w 1491516"/>
                <a:gd name="connsiteY49" fmla="*/ 758645 h 3641849"/>
                <a:gd name="connsiteX50" fmla="*/ 488476 w 1491516"/>
                <a:gd name="connsiteY50" fmla="*/ 722445 h 3641849"/>
                <a:gd name="connsiteX51" fmla="*/ 469079 w 1491516"/>
                <a:gd name="connsiteY51" fmla="*/ 750888 h 3641849"/>
                <a:gd name="connsiteX52" fmla="*/ 499721 w 1491516"/>
                <a:gd name="connsiteY52" fmla="*/ 824301 h 3641849"/>
                <a:gd name="connsiteX53" fmla="*/ 505262 w 1491516"/>
                <a:gd name="connsiteY53" fmla="*/ 951000 h 3641849"/>
                <a:gd name="connsiteX54" fmla="*/ 477392 w 1491516"/>
                <a:gd name="connsiteY54" fmla="*/ 1012043 h 3641849"/>
                <a:gd name="connsiteX55" fmla="*/ 532811 w 1491516"/>
                <a:gd name="connsiteY55" fmla="*/ 1032728 h 3641849"/>
                <a:gd name="connsiteX56" fmla="*/ 549439 w 1491516"/>
                <a:gd name="connsiteY56" fmla="*/ 1048242 h 3641849"/>
                <a:gd name="connsiteX57" fmla="*/ 574379 w 1491516"/>
                <a:gd name="connsiteY57" fmla="*/ 1074099 h 3641849"/>
                <a:gd name="connsiteX58" fmla="*/ 571608 w 1491516"/>
                <a:gd name="connsiteY58" fmla="*/ 1076685 h 3641849"/>
                <a:gd name="connsiteX59" fmla="*/ 610401 w 1491516"/>
                <a:gd name="connsiteY59" fmla="*/ 1071514 h 3641849"/>
                <a:gd name="connsiteX60" fmla="*/ 618715 w 1491516"/>
                <a:gd name="connsiteY60" fmla="*/ 1035314 h 3641849"/>
                <a:gd name="connsiteX61" fmla="*/ 579920 w 1491516"/>
                <a:gd name="connsiteY61" fmla="*/ 957743 h 3641849"/>
                <a:gd name="connsiteX62" fmla="*/ 649196 w 1491516"/>
                <a:gd name="connsiteY62" fmla="*/ 911200 h 3641849"/>
                <a:gd name="connsiteX63" fmla="*/ 716968 w 1491516"/>
                <a:gd name="connsiteY63" fmla="*/ 918934 h 3641849"/>
                <a:gd name="connsiteX64" fmla="*/ 740801 w 1491516"/>
                <a:gd name="connsiteY64" fmla="*/ 951001 h 3641849"/>
                <a:gd name="connsiteX65" fmla="*/ 896530 w 1491516"/>
                <a:gd name="connsiteY65" fmla="*/ 1007364 h 3641849"/>
                <a:gd name="connsiteX66" fmla="*/ 882122 w 1491516"/>
                <a:gd name="connsiteY66" fmla="*/ 971687 h 3641849"/>
                <a:gd name="connsiteX67" fmla="*/ 848870 w 1491516"/>
                <a:gd name="connsiteY67" fmla="*/ 932901 h 3641849"/>
                <a:gd name="connsiteX68" fmla="*/ 837786 w 1491516"/>
                <a:gd name="connsiteY68" fmla="*/ 881187 h 3641849"/>
                <a:gd name="connsiteX69" fmla="*/ 876581 w 1491516"/>
                <a:gd name="connsiteY69" fmla="*/ 832060 h 3641849"/>
                <a:gd name="connsiteX70" fmla="*/ 904291 w 1491516"/>
                <a:gd name="connsiteY70" fmla="*/ 803617 h 3641849"/>
                <a:gd name="connsiteX71" fmla="*/ 929231 w 1491516"/>
                <a:gd name="connsiteY71" fmla="*/ 767417 h 3641849"/>
                <a:gd name="connsiteX72" fmla="*/ 1009591 w 1491516"/>
                <a:gd name="connsiteY72" fmla="*/ 762245 h 3641849"/>
                <a:gd name="connsiteX73" fmla="*/ 1015132 w 1491516"/>
                <a:gd name="connsiteY73" fmla="*/ 741560 h 3641849"/>
                <a:gd name="connsiteX74" fmla="*/ 1040072 w 1491516"/>
                <a:gd name="connsiteY74" fmla="*/ 705360 h 3641849"/>
                <a:gd name="connsiteX75" fmla="*/ 1073876 w 1491516"/>
                <a:gd name="connsiteY75" fmla="*/ 687772 h 3641849"/>
                <a:gd name="connsiteX76" fmla="*/ 1131516 w 1491516"/>
                <a:gd name="connsiteY76" fmla="*/ 700189 h 3641849"/>
                <a:gd name="connsiteX77" fmla="*/ 1170309 w 1491516"/>
                <a:gd name="connsiteY77" fmla="*/ 720875 h 3641849"/>
                <a:gd name="connsiteX78" fmla="*/ 1217417 w 1491516"/>
                <a:gd name="connsiteY78" fmla="*/ 728632 h 3641849"/>
                <a:gd name="connsiteX79" fmla="*/ 1217417 w 1491516"/>
                <a:gd name="connsiteY79" fmla="*/ 733803 h 3641849"/>
                <a:gd name="connsiteX80" fmla="*/ 1239586 w 1491516"/>
                <a:gd name="connsiteY80" fmla="*/ 674332 h 3641849"/>
                <a:gd name="connsiteX81" fmla="*/ 1249561 w 1491516"/>
                <a:gd name="connsiteY81" fmla="*/ 640714 h 3641849"/>
                <a:gd name="connsiteX82" fmla="*/ 1256212 w 1491516"/>
                <a:gd name="connsiteY82" fmla="*/ 622618 h 3641849"/>
                <a:gd name="connsiteX83" fmla="*/ 1259149 w 1491516"/>
                <a:gd name="connsiteY83" fmla="*/ 591288 h 3641849"/>
                <a:gd name="connsiteX84" fmla="*/ 1178623 w 1491516"/>
                <a:gd name="connsiteY84" fmla="*/ 545048 h 3641849"/>
                <a:gd name="connsiteX85" fmla="*/ 1164768 w 1491516"/>
                <a:gd name="connsiteY85" fmla="*/ 472648 h 3641849"/>
                <a:gd name="connsiteX86" fmla="*/ 1164768 w 1491516"/>
                <a:gd name="connsiteY86" fmla="*/ 454548 h 3641849"/>
                <a:gd name="connsiteX87" fmla="*/ 1175851 w 1491516"/>
                <a:gd name="connsiteY87" fmla="*/ 431276 h 3641849"/>
                <a:gd name="connsiteX88" fmla="*/ 1178623 w 1491516"/>
                <a:gd name="connsiteY88" fmla="*/ 415762 h 3641849"/>
                <a:gd name="connsiteX89" fmla="*/ 1178622 w 1491516"/>
                <a:gd name="connsiteY89" fmla="*/ 358878 h 3641849"/>
                <a:gd name="connsiteX90" fmla="*/ 1156454 w 1491516"/>
                <a:gd name="connsiteY90" fmla="*/ 335607 h 3641849"/>
                <a:gd name="connsiteX91" fmla="*/ 1128744 w 1491516"/>
                <a:gd name="connsiteY91" fmla="*/ 304578 h 3641849"/>
                <a:gd name="connsiteX92" fmla="*/ 1124576 w 1491516"/>
                <a:gd name="connsiteY92" fmla="*/ 280325 h 3641849"/>
                <a:gd name="connsiteX93" fmla="*/ 1175852 w 1491516"/>
                <a:gd name="connsiteY93" fmla="*/ 258034 h 3641849"/>
                <a:gd name="connsiteX94" fmla="*/ 1229432 w 1491516"/>
                <a:gd name="connsiteY94" fmla="*/ 267906 h 3641849"/>
                <a:gd name="connsiteX95" fmla="*/ 1308216 w 1491516"/>
                <a:gd name="connsiteY95" fmla="*/ 279816 h 3641849"/>
                <a:gd name="connsiteX96" fmla="*/ 1392539 w 1491516"/>
                <a:gd name="connsiteY96" fmla="*/ 349175 h 3641849"/>
                <a:gd name="connsiteX97" fmla="*/ 1454674 w 1491516"/>
                <a:gd name="connsiteY97" fmla="*/ 425271 h 3641849"/>
                <a:gd name="connsiteX98" fmla="*/ 1353703 w 1491516"/>
                <a:gd name="connsiteY98" fmla="*/ 454265 h 3641849"/>
                <a:gd name="connsiteX99" fmla="*/ 1338169 w 1491516"/>
                <a:gd name="connsiteY99" fmla="*/ 501372 h 3641849"/>
                <a:gd name="connsiteX100" fmla="*/ 1395839 w 1491516"/>
                <a:gd name="connsiteY100" fmla="*/ 585862 h 3641849"/>
                <a:gd name="connsiteX101" fmla="*/ 1431373 w 1491516"/>
                <a:gd name="connsiteY101" fmla="*/ 591964 h 3641849"/>
                <a:gd name="connsiteX102" fmla="*/ 1483993 w 1491516"/>
                <a:gd name="connsiteY102" fmla="*/ 598304 h 3641849"/>
                <a:gd name="connsiteX103" fmla="*/ 1479030 w 1491516"/>
                <a:gd name="connsiteY103" fmla="*/ 709079 h 3641849"/>
                <a:gd name="connsiteX104" fmla="*/ 1490099 w 1491516"/>
                <a:gd name="connsiteY104" fmla="*/ 1040047 h 3641849"/>
                <a:gd name="connsiteX105" fmla="*/ 1481231 w 1491516"/>
                <a:gd name="connsiteY105" fmla="*/ 1842646 h 3641849"/>
                <a:gd name="connsiteX106" fmla="*/ 1490098 w 1491516"/>
                <a:gd name="connsiteY106" fmla="*/ 2297728 h 3641849"/>
                <a:gd name="connsiteX107" fmla="*/ 1463650 w 1491516"/>
                <a:gd name="connsiteY107" fmla="*/ 3607693 h 3641849"/>
                <a:gd name="connsiteX108" fmla="*/ 1205223 w 1491516"/>
                <a:gd name="connsiteY108" fmla="*/ 3564098 h 3641849"/>
                <a:gd name="connsiteX109" fmla="*/ 1036745 w 1491516"/>
                <a:gd name="connsiteY109" fmla="*/ 3497903 h 3641849"/>
                <a:gd name="connsiteX110" fmla="*/ 859399 w 1491516"/>
                <a:gd name="connsiteY110" fmla="*/ 3406887 h 3641849"/>
                <a:gd name="connsiteX111" fmla="*/ 761101 w 1491516"/>
                <a:gd name="connsiteY111" fmla="*/ 3326370 h 3641849"/>
                <a:gd name="connsiteX112" fmla="*/ 1055363 w 1491516"/>
                <a:gd name="connsiteY112" fmla="*/ 3018734 h 3641849"/>
                <a:gd name="connsiteX113" fmla="*/ 771609 w 1491516"/>
                <a:gd name="connsiteY113" fmla="*/ 2480910 h 3641849"/>
                <a:gd name="connsiteX114" fmla="*/ 913959 w 1491516"/>
                <a:gd name="connsiteY114" fmla="*/ 2241825 h 3641849"/>
                <a:gd name="connsiteX115" fmla="*/ 727272 w 1491516"/>
                <a:gd name="connsiteY115" fmla="*/ 1703134 h 3641849"/>
                <a:gd name="connsiteX116" fmla="*/ 478988 w 1491516"/>
                <a:gd name="connsiteY116" fmla="*/ 1471456 h 3641849"/>
                <a:gd name="connsiteX117" fmla="*/ 10132 w 1491516"/>
                <a:gd name="connsiteY117" fmla="*/ 2159767 h 3641849"/>
                <a:gd name="connsiteX0" fmla="*/ 16897 w 1498281"/>
                <a:gd name="connsiteY0" fmla="*/ 2159767 h 3641849"/>
                <a:gd name="connsiteX1" fmla="*/ 79588 w 1498281"/>
                <a:gd name="connsiteY1" fmla="*/ 1588655 h 3641849"/>
                <a:gd name="connsiteX2" fmla="*/ 187659 w 1498281"/>
                <a:gd name="connsiteY2" fmla="*/ 1666225 h 3641849"/>
                <a:gd name="connsiteX3" fmla="*/ 256935 w 1498281"/>
                <a:gd name="connsiteY3" fmla="*/ 1653297 h 3641849"/>
                <a:gd name="connsiteX4" fmla="*/ 276331 w 1498281"/>
                <a:gd name="connsiteY4" fmla="*/ 1622268 h 3641849"/>
                <a:gd name="connsiteX5" fmla="*/ 290187 w 1498281"/>
                <a:gd name="connsiteY5" fmla="*/ 1557627 h 3641849"/>
                <a:gd name="connsiteX6" fmla="*/ 229224 w 1498281"/>
                <a:gd name="connsiteY6" fmla="*/ 1511084 h 3641849"/>
                <a:gd name="connsiteX7" fmla="*/ 184888 w 1498281"/>
                <a:gd name="connsiteY7" fmla="*/ 1485227 h 3641849"/>
                <a:gd name="connsiteX8" fmla="*/ 123926 w 1498281"/>
                <a:gd name="connsiteY8" fmla="*/ 1495570 h 3641849"/>
                <a:gd name="connsiteX9" fmla="*/ 301272 w 1498281"/>
                <a:gd name="connsiteY9" fmla="*/ 1299057 h 3641849"/>
                <a:gd name="connsiteX10" fmla="*/ 148865 w 1498281"/>
                <a:gd name="connsiteY10" fmla="*/ 1151672 h 3641849"/>
                <a:gd name="connsiteX11" fmla="*/ 209828 w 1498281"/>
                <a:gd name="connsiteY11" fmla="*/ 1089617 h 3641849"/>
                <a:gd name="connsiteX12" fmla="*/ 143323 w 1498281"/>
                <a:gd name="connsiteY12" fmla="*/ 1050829 h 3641849"/>
                <a:gd name="connsiteX13" fmla="*/ 184888 w 1498281"/>
                <a:gd name="connsiteY13" fmla="*/ 1019802 h 3641849"/>
                <a:gd name="connsiteX14" fmla="*/ 137782 w 1498281"/>
                <a:gd name="connsiteY14" fmla="*/ 993947 h 3641849"/>
                <a:gd name="connsiteX15" fmla="*/ 137781 w 1498281"/>
                <a:gd name="connsiteY15" fmla="*/ 794845 h 3641849"/>
                <a:gd name="connsiteX16" fmla="*/ 176576 w 1498281"/>
                <a:gd name="connsiteY16" fmla="*/ 779332 h 3641849"/>
                <a:gd name="connsiteX17" fmla="*/ 62963 w 1498281"/>
                <a:gd name="connsiteY17" fmla="*/ 551792 h 3641849"/>
                <a:gd name="connsiteX18" fmla="*/ 60192 w 1498281"/>
                <a:gd name="connsiteY18" fmla="*/ 551792 h 3641849"/>
                <a:gd name="connsiteX19" fmla="*/ 110070 w 1498281"/>
                <a:gd name="connsiteY19" fmla="*/ 469048 h 3641849"/>
                <a:gd name="connsiteX20" fmla="*/ 126696 w 1498281"/>
                <a:gd name="connsiteY20" fmla="*/ 378550 h 3641849"/>
                <a:gd name="connsiteX21" fmla="*/ 51877 w 1498281"/>
                <a:gd name="connsiteY21" fmla="*/ 319079 h 3641849"/>
                <a:gd name="connsiteX22" fmla="*/ 43565 w 1498281"/>
                <a:gd name="connsiteY22" fmla="*/ 251851 h 3641849"/>
                <a:gd name="connsiteX23" fmla="*/ 98985 w 1498281"/>
                <a:gd name="connsiteY23" fmla="*/ 158764 h 3641849"/>
                <a:gd name="connsiteX24" fmla="*/ 118383 w 1498281"/>
                <a:gd name="connsiteY24" fmla="*/ 135494 h 3641849"/>
                <a:gd name="connsiteX25" fmla="*/ 132238 w 1498281"/>
                <a:gd name="connsiteY25" fmla="*/ 117394 h 3641849"/>
                <a:gd name="connsiteX26" fmla="*/ 140551 w 1498281"/>
                <a:gd name="connsiteY26" fmla="*/ 73438 h 3641849"/>
                <a:gd name="connsiteX27" fmla="*/ 165490 w 1498281"/>
                <a:gd name="connsiteY27" fmla="*/ 101880 h 3641849"/>
                <a:gd name="connsiteX28" fmla="*/ 195972 w 1498281"/>
                <a:gd name="connsiteY28" fmla="*/ 88952 h 3641849"/>
                <a:gd name="connsiteX29" fmla="*/ 198742 w 1498281"/>
                <a:gd name="connsiteY29" fmla="*/ 63095 h 3641849"/>
                <a:gd name="connsiteX30" fmla="*/ 207056 w 1498281"/>
                <a:gd name="connsiteY30" fmla="*/ 34652 h 3641849"/>
                <a:gd name="connsiteX31" fmla="*/ 209828 w 1498281"/>
                <a:gd name="connsiteY31" fmla="*/ 3624 h 3641849"/>
                <a:gd name="connsiteX32" fmla="*/ 345608 w 1498281"/>
                <a:gd name="connsiteY32" fmla="*/ 57924 h 3641849"/>
                <a:gd name="connsiteX33" fmla="*/ 376088 w 1498281"/>
                <a:gd name="connsiteY33" fmla="*/ 161352 h 3641849"/>
                <a:gd name="connsiteX34" fmla="*/ 389944 w 1498281"/>
                <a:gd name="connsiteY34" fmla="*/ 184622 h 3641849"/>
                <a:gd name="connsiteX35" fmla="*/ 401028 w 1498281"/>
                <a:gd name="connsiteY35" fmla="*/ 187208 h 3641849"/>
                <a:gd name="connsiteX36" fmla="*/ 514640 w 1498281"/>
                <a:gd name="connsiteY36" fmla="*/ 156181 h 3641849"/>
                <a:gd name="connsiteX37" fmla="*/ 581145 w 1498281"/>
                <a:gd name="connsiteY37" fmla="*/ 166522 h 3641849"/>
                <a:gd name="connsiteX38" fmla="*/ 644879 w 1498281"/>
                <a:gd name="connsiteY38" fmla="*/ 213065 h 3641849"/>
                <a:gd name="connsiteX39" fmla="*/ 658906 w 1498281"/>
                <a:gd name="connsiteY39" fmla="*/ 242621 h 3641849"/>
                <a:gd name="connsiteX40" fmla="*/ 714153 w 1498281"/>
                <a:gd name="connsiteY40" fmla="*/ 277708 h 3641849"/>
                <a:gd name="connsiteX41" fmla="*/ 802827 w 1498281"/>
                <a:gd name="connsiteY41" fmla="*/ 303563 h 3641849"/>
                <a:gd name="connsiteX42" fmla="*/ 874873 w 1498281"/>
                <a:gd name="connsiteY42" fmla="*/ 350106 h 3641849"/>
                <a:gd name="connsiteX43" fmla="*/ 924752 w 1498281"/>
                <a:gd name="connsiteY43" fmla="*/ 401820 h 3641849"/>
                <a:gd name="connsiteX44" fmla="*/ 949691 w 1498281"/>
                <a:gd name="connsiteY44" fmla="*/ 440606 h 3641849"/>
                <a:gd name="connsiteX45" fmla="*/ 982944 w 1498281"/>
                <a:gd name="connsiteY45" fmla="*/ 466462 h 3641849"/>
                <a:gd name="connsiteX46" fmla="*/ 966316 w 1498281"/>
                <a:gd name="connsiteY46" fmla="*/ 691417 h 3641849"/>
                <a:gd name="connsiteX47" fmla="*/ 838850 w 1498281"/>
                <a:gd name="connsiteY47" fmla="*/ 771575 h 3641849"/>
                <a:gd name="connsiteX48" fmla="*/ 725238 w 1498281"/>
                <a:gd name="connsiteY48" fmla="*/ 779331 h 3641849"/>
                <a:gd name="connsiteX49" fmla="*/ 586685 w 1498281"/>
                <a:gd name="connsiteY49" fmla="*/ 758645 h 3641849"/>
                <a:gd name="connsiteX50" fmla="*/ 495241 w 1498281"/>
                <a:gd name="connsiteY50" fmla="*/ 722445 h 3641849"/>
                <a:gd name="connsiteX51" fmla="*/ 475844 w 1498281"/>
                <a:gd name="connsiteY51" fmla="*/ 750888 h 3641849"/>
                <a:gd name="connsiteX52" fmla="*/ 506486 w 1498281"/>
                <a:gd name="connsiteY52" fmla="*/ 824301 h 3641849"/>
                <a:gd name="connsiteX53" fmla="*/ 512027 w 1498281"/>
                <a:gd name="connsiteY53" fmla="*/ 951000 h 3641849"/>
                <a:gd name="connsiteX54" fmla="*/ 484157 w 1498281"/>
                <a:gd name="connsiteY54" fmla="*/ 1012043 h 3641849"/>
                <a:gd name="connsiteX55" fmla="*/ 539576 w 1498281"/>
                <a:gd name="connsiteY55" fmla="*/ 1032728 h 3641849"/>
                <a:gd name="connsiteX56" fmla="*/ 556204 w 1498281"/>
                <a:gd name="connsiteY56" fmla="*/ 1048242 h 3641849"/>
                <a:gd name="connsiteX57" fmla="*/ 581144 w 1498281"/>
                <a:gd name="connsiteY57" fmla="*/ 1074099 h 3641849"/>
                <a:gd name="connsiteX58" fmla="*/ 578373 w 1498281"/>
                <a:gd name="connsiteY58" fmla="*/ 1076685 h 3641849"/>
                <a:gd name="connsiteX59" fmla="*/ 617166 w 1498281"/>
                <a:gd name="connsiteY59" fmla="*/ 1071514 h 3641849"/>
                <a:gd name="connsiteX60" fmla="*/ 625480 w 1498281"/>
                <a:gd name="connsiteY60" fmla="*/ 1035314 h 3641849"/>
                <a:gd name="connsiteX61" fmla="*/ 586685 w 1498281"/>
                <a:gd name="connsiteY61" fmla="*/ 957743 h 3641849"/>
                <a:gd name="connsiteX62" fmla="*/ 655961 w 1498281"/>
                <a:gd name="connsiteY62" fmla="*/ 911200 h 3641849"/>
                <a:gd name="connsiteX63" fmla="*/ 723733 w 1498281"/>
                <a:gd name="connsiteY63" fmla="*/ 918934 h 3641849"/>
                <a:gd name="connsiteX64" fmla="*/ 747566 w 1498281"/>
                <a:gd name="connsiteY64" fmla="*/ 951001 h 3641849"/>
                <a:gd name="connsiteX65" fmla="*/ 903295 w 1498281"/>
                <a:gd name="connsiteY65" fmla="*/ 1007364 h 3641849"/>
                <a:gd name="connsiteX66" fmla="*/ 888887 w 1498281"/>
                <a:gd name="connsiteY66" fmla="*/ 971687 h 3641849"/>
                <a:gd name="connsiteX67" fmla="*/ 855635 w 1498281"/>
                <a:gd name="connsiteY67" fmla="*/ 932901 h 3641849"/>
                <a:gd name="connsiteX68" fmla="*/ 844551 w 1498281"/>
                <a:gd name="connsiteY68" fmla="*/ 881187 h 3641849"/>
                <a:gd name="connsiteX69" fmla="*/ 883346 w 1498281"/>
                <a:gd name="connsiteY69" fmla="*/ 832060 h 3641849"/>
                <a:gd name="connsiteX70" fmla="*/ 911056 w 1498281"/>
                <a:gd name="connsiteY70" fmla="*/ 803617 h 3641849"/>
                <a:gd name="connsiteX71" fmla="*/ 935996 w 1498281"/>
                <a:gd name="connsiteY71" fmla="*/ 767417 h 3641849"/>
                <a:gd name="connsiteX72" fmla="*/ 1016356 w 1498281"/>
                <a:gd name="connsiteY72" fmla="*/ 762245 h 3641849"/>
                <a:gd name="connsiteX73" fmla="*/ 1021897 w 1498281"/>
                <a:gd name="connsiteY73" fmla="*/ 741560 h 3641849"/>
                <a:gd name="connsiteX74" fmla="*/ 1046837 w 1498281"/>
                <a:gd name="connsiteY74" fmla="*/ 705360 h 3641849"/>
                <a:gd name="connsiteX75" fmla="*/ 1080641 w 1498281"/>
                <a:gd name="connsiteY75" fmla="*/ 687772 h 3641849"/>
                <a:gd name="connsiteX76" fmla="*/ 1138281 w 1498281"/>
                <a:gd name="connsiteY76" fmla="*/ 700189 h 3641849"/>
                <a:gd name="connsiteX77" fmla="*/ 1177074 w 1498281"/>
                <a:gd name="connsiteY77" fmla="*/ 720875 h 3641849"/>
                <a:gd name="connsiteX78" fmla="*/ 1224182 w 1498281"/>
                <a:gd name="connsiteY78" fmla="*/ 728632 h 3641849"/>
                <a:gd name="connsiteX79" fmla="*/ 1224182 w 1498281"/>
                <a:gd name="connsiteY79" fmla="*/ 733803 h 3641849"/>
                <a:gd name="connsiteX80" fmla="*/ 1246351 w 1498281"/>
                <a:gd name="connsiteY80" fmla="*/ 674332 h 3641849"/>
                <a:gd name="connsiteX81" fmla="*/ 1256326 w 1498281"/>
                <a:gd name="connsiteY81" fmla="*/ 640714 h 3641849"/>
                <a:gd name="connsiteX82" fmla="*/ 1262977 w 1498281"/>
                <a:gd name="connsiteY82" fmla="*/ 622618 h 3641849"/>
                <a:gd name="connsiteX83" fmla="*/ 1265914 w 1498281"/>
                <a:gd name="connsiteY83" fmla="*/ 591288 h 3641849"/>
                <a:gd name="connsiteX84" fmla="*/ 1185388 w 1498281"/>
                <a:gd name="connsiteY84" fmla="*/ 545048 h 3641849"/>
                <a:gd name="connsiteX85" fmla="*/ 1171533 w 1498281"/>
                <a:gd name="connsiteY85" fmla="*/ 472648 h 3641849"/>
                <a:gd name="connsiteX86" fmla="*/ 1171533 w 1498281"/>
                <a:gd name="connsiteY86" fmla="*/ 454548 h 3641849"/>
                <a:gd name="connsiteX87" fmla="*/ 1182616 w 1498281"/>
                <a:gd name="connsiteY87" fmla="*/ 431276 h 3641849"/>
                <a:gd name="connsiteX88" fmla="*/ 1185388 w 1498281"/>
                <a:gd name="connsiteY88" fmla="*/ 415762 h 3641849"/>
                <a:gd name="connsiteX89" fmla="*/ 1185387 w 1498281"/>
                <a:gd name="connsiteY89" fmla="*/ 358878 h 3641849"/>
                <a:gd name="connsiteX90" fmla="*/ 1163219 w 1498281"/>
                <a:gd name="connsiteY90" fmla="*/ 335607 h 3641849"/>
                <a:gd name="connsiteX91" fmla="*/ 1135509 w 1498281"/>
                <a:gd name="connsiteY91" fmla="*/ 304578 h 3641849"/>
                <a:gd name="connsiteX92" fmla="*/ 1131341 w 1498281"/>
                <a:gd name="connsiteY92" fmla="*/ 280325 h 3641849"/>
                <a:gd name="connsiteX93" fmla="*/ 1182617 w 1498281"/>
                <a:gd name="connsiteY93" fmla="*/ 258034 h 3641849"/>
                <a:gd name="connsiteX94" fmla="*/ 1236197 w 1498281"/>
                <a:gd name="connsiteY94" fmla="*/ 267906 h 3641849"/>
                <a:gd name="connsiteX95" fmla="*/ 1314981 w 1498281"/>
                <a:gd name="connsiteY95" fmla="*/ 279816 h 3641849"/>
                <a:gd name="connsiteX96" fmla="*/ 1399304 w 1498281"/>
                <a:gd name="connsiteY96" fmla="*/ 349175 h 3641849"/>
                <a:gd name="connsiteX97" fmla="*/ 1461439 w 1498281"/>
                <a:gd name="connsiteY97" fmla="*/ 425271 h 3641849"/>
                <a:gd name="connsiteX98" fmla="*/ 1360468 w 1498281"/>
                <a:gd name="connsiteY98" fmla="*/ 454265 h 3641849"/>
                <a:gd name="connsiteX99" fmla="*/ 1344934 w 1498281"/>
                <a:gd name="connsiteY99" fmla="*/ 501372 h 3641849"/>
                <a:gd name="connsiteX100" fmla="*/ 1402604 w 1498281"/>
                <a:gd name="connsiteY100" fmla="*/ 585862 h 3641849"/>
                <a:gd name="connsiteX101" fmla="*/ 1438138 w 1498281"/>
                <a:gd name="connsiteY101" fmla="*/ 591964 h 3641849"/>
                <a:gd name="connsiteX102" fmla="*/ 1490758 w 1498281"/>
                <a:gd name="connsiteY102" fmla="*/ 598304 h 3641849"/>
                <a:gd name="connsiteX103" fmla="*/ 1485795 w 1498281"/>
                <a:gd name="connsiteY103" fmla="*/ 709079 h 3641849"/>
                <a:gd name="connsiteX104" fmla="*/ 1496864 w 1498281"/>
                <a:gd name="connsiteY104" fmla="*/ 1040047 h 3641849"/>
                <a:gd name="connsiteX105" fmla="*/ 1487996 w 1498281"/>
                <a:gd name="connsiteY105" fmla="*/ 1842646 h 3641849"/>
                <a:gd name="connsiteX106" fmla="*/ 1496863 w 1498281"/>
                <a:gd name="connsiteY106" fmla="*/ 2297728 h 3641849"/>
                <a:gd name="connsiteX107" fmla="*/ 1470415 w 1498281"/>
                <a:gd name="connsiteY107" fmla="*/ 3607693 h 3641849"/>
                <a:gd name="connsiteX108" fmla="*/ 1211988 w 1498281"/>
                <a:gd name="connsiteY108" fmla="*/ 3564098 h 3641849"/>
                <a:gd name="connsiteX109" fmla="*/ 1043510 w 1498281"/>
                <a:gd name="connsiteY109" fmla="*/ 3497903 h 3641849"/>
                <a:gd name="connsiteX110" fmla="*/ 866164 w 1498281"/>
                <a:gd name="connsiteY110" fmla="*/ 3406887 h 3641849"/>
                <a:gd name="connsiteX111" fmla="*/ 767866 w 1498281"/>
                <a:gd name="connsiteY111" fmla="*/ 3326370 h 3641849"/>
                <a:gd name="connsiteX112" fmla="*/ 1062128 w 1498281"/>
                <a:gd name="connsiteY112" fmla="*/ 3018734 h 3641849"/>
                <a:gd name="connsiteX113" fmla="*/ 778374 w 1498281"/>
                <a:gd name="connsiteY113" fmla="*/ 2480910 h 3641849"/>
                <a:gd name="connsiteX114" fmla="*/ 920724 w 1498281"/>
                <a:gd name="connsiteY114" fmla="*/ 2241825 h 3641849"/>
                <a:gd name="connsiteX115" fmla="*/ 734037 w 1498281"/>
                <a:gd name="connsiteY115" fmla="*/ 1703134 h 3641849"/>
                <a:gd name="connsiteX116" fmla="*/ 485753 w 1498281"/>
                <a:gd name="connsiteY116" fmla="*/ 1471456 h 3641849"/>
                <a:gd name="connsiteX117" fmla="*/ 16897 w 1498281"/>
                <a:gd name="connsiteY117" fmla="*/ 2159767 h 3641849"/>
                <a:gd name="connsiteX0" fmla="*/ 16897 w 1498281"/>
                <a:gd name="connsiteY0" fmla="*/ 2159767 h 3641849"/>
                <a:gd name="connsiteX1" fmla="*/ 79588 w 1498281"/>
                <a:gd name="connsiteY1" fmla="*/ 1588655 h 3641849"/>
                <a:gd name="connsiteX2" fmla="*/ 143322 w 1498281"/>
                <a:gd name="connsiteY2" fmla="*/ 1588655 h 3641849"/>
                <a:gd name="connsiteX3" fmla="*/ 187659 w 1498281"/>
                <a:gd name="connsiteY3" fmla="*/ 1666225 h 3641849"/>
                <a:gd name="connsiteX4" fmla="*/ 256935 w 1498281"/>
                <a:gd name="connsiteY4" fmla="*/ 1653297 h 3641849"/>
                <a:gd name="connsiteX5" fmla="*/ 276331 w 1498281"/>
                <a:gd name="connsiteY5" fmla="*/ 1622268 h 3641849"/>
                <a:gd name="connsiteX6" fmla="*/ 290187 w 1498281"/>
                <a:gd name="connsiteY6" fmla="*/ 1557627 h 3641849"/>
                <a:gd name="connsiteX7" fmla="*/ 229224 w 1498281"/>
                <a:gd name="connsiteY7" fmla="*/ 1511084 h 3641849"/>
                <a:gd name="connsiteX8" fmla="*/ 184888 w 1498281"/>
                <a:gd name="connsiteY8" fmla="*/ 1485227 h 3641849"/>
                <a:gd name="connsiteX9" fmla="*/ 123926 w 1498281"/>
                <a:gd name="connsiteY9" fmla="*/ 1495570 h 3641849"/>
                <a:gd name="connsiteX10" fmla="*/ 301272 w 1498281"/>
                <a:gd name="connsiteY10" fmla="*/ 1299057 h 3641849"/>
                <a:gd name="connsiteX11" fmla="*/ 148865 w 1498281"/>
                <a:gd name="connsiteY11" fmla="*/ 1151672 h 3641849"/>
                <a:gd name="connsiteX12" fmla="*/ 209828 w 1498281"/>
                <a:gd name="connsiteY12" fmla="*/ 1089617 h 3641849"/>
                <a:gd name="connsiteX13" fmla="*/ 143323 w 1498281"/>
                <a:gd name="connsiteY13" fmla="*/ 1050829 h 3641849"/>
                <a:gd name="connsiteX14" fmla="*/ 184888 w 1498281"/>
                <a:gd name="connsiteY14" fmla="*/ 1019802 h 3641849"/>
                <a:gd name="connsiteX15" fmla="*/ 137782 w 1498281"/>
                <a:gd name="connsiteY15" fmla="*/ 993947 h 3641849"/>
                <a:gd name="connsiteX16" fmla="*/ 137781 w 1498281"/>
                <a:gd name="connsiteY16" fmla="*/ 794845 h 3641849"/>
                <a:gd name="connsiteX17" fmla="*/ 176576 w 1498281"/>
                <a:gd name="connsiteY17" fmla="*/ 779332 h 3641849"/>
                <a:gd name="connsiteX18" fmla="*/ 62963 w 1498281"/>
                <a:gd name="connsiteY18" fmla="*/ 551792 h 3641849"/>
                <a:gd name="connsiteX19" fmla="*/ 60192 w 1498281"/>
                <a:gd name="connsiteY19" fmla="*/ 551792 h 3641849"/>
                <a:gd name="connsiteX20" fmla="*/ 110070 w 1498281"/>
                <a:gd name="connsiteY20" fmla="*/ 469048 h 3641849"/>
                <a:gd name="connsiteX21" fmla="*/ 126696 w 1498281"/>
                <a:gd name="connsiteY21" fmla="*/ 378550 h 3641849"/>
                <a:gd name="connsiteX22" fmla="*/ 51877 w 1498281"/>
                <a:gd name="connsiteY22" fmla="*/ 319079 h 3641849"/>
                <a:gd name="connsiteX23" fmla="*/ 43565 w 1498281"/>
                <a:gd name="connsiteY23" fmla="*/ 251851 h 3641849"/>
                <a:gd name="connsiteX24" fmla="*/ 98985 w 1498281"/>
                <a:gd name="connsiteY24" fmla="*/ 158764 h 3641849"/>
                <a:gd name="connsiteX25" fmla="*/ 118383 w 1498281"/>
                <a:gd name="connsiteY25" fmla="*/ 135494 h 3641849"/>
                <a:gd name="connsiteX26" fmla="*/ 132238 w 1498281"/>
                <a:gd name="connsiteY26" fmla="*/ 117394 h 3641849"/>
                <a:gd name="connsiteX27" fmla="*/ 140551 w 1498281"/>
                <a:gd name="connsiteY27" fmla="*/ 73438 h 3641849"/>
                <a:gd name="connsiteX28" fmla="*/ 165490 w 1498281"/>
                <a:gd name="connsiteY28" fmla="*/ 101880 h 3641849"/>
                <a:gd name="connsiteX29" fmla="*/ 195972 w 1498281"/>
                <a:gd name="connsiteY29" fmla="*/ 88952 h 3641849"/>
                <a:gd name="connsiteX30" fmla="*/ 198742 w 1498281"/>
                <a:gd name="connsiteY30" fmla="*/ 63095 h 3641849"/>
                <a:gd name="connsiteX31" fmla="*/ 207056 w 1498281"/>
                <a:gd name="connsiteY31" fmla="*/ 34652 h 3641849"/>
                <a:gd name="connsiteX32" fmla="*/ 209828 w 1498281"/>
                <a:gd name="connsiteY32" fmla="*/ 3624 h 3641849"/>
                <a:gd name="connsiteX33" fmla="*/ 345608 w 1498281"/>
                <a:gd name="connsiteY33" fmla="*/ 57924 h 3641849"/>
                <a:gd name="connsiteX34" fmla="*/ 376088 w 1498281"/>
                <a:gd name="connsiteY34" fmla="*/ 161352 h 3641849"/>
                <a:gd name="connsiteX35" fmla="*/ 389944 w 1498281"/>
                <a:gd name="connsiteY35" fmla="*/ 184622 h 3641849"/>
                <a:gd name="connsiteX36" fmla="*/ 401028 w 1498281"/>
                <a:gd name="connsiteY36" fmla="*/ 187208 h 3641849"/>
                <a:gd name="connsiteX37" fmla="*/ 514640 w 1498281"/>
                <a:gd name="connsiteY37" fmla="*/ 156181 h 3641849"/>
                <a:gd name="connsiteX38" fmla="*/ 581145 w 1498281"/>
                <a:gd name="connsiteY38" fmla="*/ 166522 h 3641849"/>
                <a:gd name="connsiteX39" fmla="*/ 644879 w 1498281"/>
                <a:gd name="connsiteY39" fmla="*/ 213065 h 3641849"/>
                <a:gd name="connsiteX40" fmla="*/ 658906 w 1498281"/>
                <a:gd name="connsiteY40" fmla="*/ 242621 h 3641849"/>
                <a:gd name="connsiteX41" fmla="*/ 714153 w 1498281"/>
                <a:gd name="connsiteY41" fmla="*/ 277708 h 3641849"/>
                <a:gd name="connsiteX42" fmla="*/ 802827 w 1498281"/>
                <a:gd name="connsiteY42" fmla="*/ 303563 h 3641849"/>
                <a:gd name="connsiteX43" fmla="*/ 874873 w 1498281"/>
                <a:gd name="connsiteY43" fmla="*/ 350106 h 3641849"/>
                <a:gd name="connsiteX44" fmla="*/ 924752 w 1498281"/>
                <a:gd name="connsiteY44" fmla="*/ 401820 h 3641849"/>
                <a:gd name="connsiteX45" fmla="*/ 949691 w 1498281"/>
                <a:gd name="connsiteY45" fmla="*/ 440606 h 3641849"/>
                <a:gd name="connsiteX46" fmla="*/ 982944 w 1498281"/>
                <a:gd name="connsiteY46" fmla="*/ 466462 h 3641849"/>
                <a:gd name="connsiteX47" fmla="*/ 966316 w 1498281"/>
                <a:gd name="connsiteY47" fmla="*/ 691417 h 3641849"/>
                <a:gd name="connsiteX48" fmla="*/ 838850 w 1498281"/>
                <a:gd name="connsiteY48" fmla="*/ 771575 h 3641849"/>
                <a:gd name="connsiteX49" fmla="*/ 725238 w 1498281"/>
                <a:gd name="connsiteY49" fmla="*/ 779331 h 3641849"/>
                <a:gd name="connsiteX50" fmla="*/ 586685 w 1498281"/>
                <a:gd name="connsiteY50" fmla="*/ 758645 h 3641849"/>
                <a:gd name="connsiteX51" fmla="*/ 495241 w 1498281"/>
                <a:gd name="connsiteY51" fmla="*/ 722445 h 3641849"/>
                <a:gd name="connsiteX52" fmla="*/ 475844 w 1498281"/>
                <a:gd name="connsiteY52" fmla="*/ 750888 h 3641849"/>
                <a:gd name="connsiteX53" fmla="*/ 506486 w 1498281"/>
                <a:gd name="connsiteY53" fmla="*/ 824301 h 3641849"/>
                <a:gd name="connsiteX54" fmla="*/ 512027 w 1498281"/>
                <a:gd name="connsiteY54" fmla="*/ 951000 h 3641849"/>
                <a:gd name="connsiteX55" fmla="*/ 484157 w 1498281"/>
                <a:gd name="connsiteY55" fmla="*/ 1012043 h 3641849"/>
                <a:gd name="connsiteX56" fmla="*/ 539576 w 1498281"/>
                <a:gd name="connsiteY56" fmla="*/ 1032728 h 3641849"/>
                <a:gd name="connsiteX57" fmla="*/ 556204 w 1498281"/>
                <a:gd name="connsiteY57" fmla="*/ 1048242 h 3641849"/>
                <a:gd name="connsiteX58" fmla="*/ 581144 w 1498281"/>
                <a:gd name="connsiteY58" fmla="*/ 1074099 h 3641849"/>
                <a:gd name="connsiteX59" fmla="*/ 578373 w 1498281"/>
                <a:gd name="connsiteY59" fmla="*/ 1076685 h 3641849"/>
                <a:gd name="connsiteX60" fmla="*/ 617166 w 1498281"/>
                <a:gd name="connsiteY60" fmla="*/ 1071514 h 3641849"/>
                <a:gd name="connsiteX61" fmla="*/ 625480 w 1498281"/>
                <a:gd name="connsiteY61" fmla="*/ 1035314 h 3641849"/>
                <a:gd name="connsiteX62" fmla="*/ 586685 w 1498281"/>
                <a:gd name="connsiteY62" fmla="*/ 957743 h 3641849"/>
                <a:gd name="connsiteX63" fmla="*/ 655961 w 1498281"/>
                <a:gd name="connsiteY63" fmla="*/ 911200 h 3641849"/>
                <a:gd name="connsiteX64" fmla="*/ 723733 w 1498281"/>
                <a:gd name="connsiteY64" fmla="*/ 918934 h 3641849"/>
                <a:gd name="connsiteX65" fmla="*/ 747566 w 1498281"/>
                <a:gd name="connsiteY65" fmla="*/ 951001 h 3641849"/>
                <a:gd name="connsiteX66" fmla="*/ 903295 w 1498281"/>
                <a:gd name="connsiteY66" fmla="*/ 1007364 h 3641849"/>
                <a:gd name="connsiteX67" fmla="*/ 888887 w 1498281"/>
                <a:gd name="connsiteY67" fmla="*/ 971687 h 3641849"/>
                <a:gd name="connsiteX68" fmla="*/ 855635 w 1498281"/>
                <a:gd name="connsiteY68" fmla="*/ 932901 h 3641849"/>
                <a:gd name="connsiteX69" fmla="*/ 844551 w 1498281"/>
                <a:gd name="connsiteY69" fmla="*/ 881187 h 3641849"/>
                <a:gd name="connsiteX70" fmla="*/ 883346 w 1498281"/>
                <a:gd name="connsiteY70" fmla="*/ 832060 h 3641849"/>
                <a:gd name="connsiteX71" fmla="*/ 911056 w 1498281"/>
                <a:gd name="connsiteY71" fmla="*/ 803617 h 3641849"/>
                <a:gd name="connsiteX72" fmla="*/ 935996 w 1498281"/>
                <a:gd name="connsiteY72" fmla="*/ 767417 h 3641849"/>
                <a:gd name="connsiteX73" fmla="*/ 1016356 w 1498281"/>
                <a:gd name="connsiteY73" fmla="*/ 762245 h 3641849"/>
                <a:gd name="connsiteX74" fmla="*/ 1021897 w 1498281"/>
                <a:gd name="connsiteY74" fmla="*/ 741560 h 3641849"/>
                <a:gd name="connsiteX75" fmla="*/ 1046837 w 1498281"/>
                <a:gd name="connsiteY75" fmla="*/ 705360 h 3641849"/>
                <a:gd name="connsiteX76" fmla="*/ 1080641 w 1498281"/>
                <a:gd name="connsiteY76" fmla="*/ 687772 h 3641849"/>
                <a:gd name="connsiteX77" fmla="*/ 1138281 w 1498281"/>
                <a:gd name="connsiteY77" fmla="*/ 700189 h 3641849"/>
                <a:gd name="connsiteX78" fmla="*/ 1177074 w 1498281"/>
                <a:gd name="connsiteY78" fmla="*/ 720875 h 3641849"/>
                <a:gd name="connsiteX79" fmla="*/ 1224182 w 1498281"/>
                <a:gd name="connsiteY79" fmla="*/ 728632 h 3641849"/>
                <a:gd name="connsiteX80" fmla="*/ 1224182 w 1498281"/>
                <a:gd name="connsiteY80" fmla="*/ 733803 h 3641849"/>
                <a:gd name="connsiteX81" fmla="*/ 1246351 w 1498281"/>
                <a:gd name="connsiteY81" fmla="*/ 674332 h 3641849"/>
                <a:gd name="connsiteX82" fmla="*/ 1256326 w 1498281"/>
                <a:gd name="connsiteY82" fmla="*/ 640714 h 3641849"/>
                <a:gd name="connsiteX83" fmla="*/ 1262977 w 1498281"/>
                <a:gd name="connsiteY83" fmla="*/ 622618 h 3641849"/>
                <a:gd name="connsiteX84" fmla="*/ 1265914 w 1498281"/>
                <a:gd name="connsiteY84" fmla="*/ 591288 h 3641849"/>
                <a:gd name="connsiteX85" fmla="*/ 1185388 w 1498281"/>
                <a:gd name="connsiteY85" fmla="*/ 545048 h 3641849"/>
                <a:gd name="connsiteX86" fmla="*/ 1171533 w 1498281"/>
                <a:gd name="connsiteY86" fmla="*/ 472648 h 3641849"/>
                <a:gd name="connsiteX87" fmla="*/ 1171533 w 1498281"/>
                <a:gd name="connsiteY87" fmla="*/ 454548 h 3641849"/>
                <a:gd name="connsiteX88" fmla="*/ 1182616 w 1498281"/>
                <a:gd name="connsiteY88" fmla="*/ 431276 h 3641849"/>
                <a:gd name="connsiteX89" fmla="*/ 1185388 w 1498281"/>
                <a:gd name="connsiteY89" fmla="*/ 415762 h 3641849"/>
                <a:gd name="connsiteX90" fmla="*/ 1185387 w 1498281"/>
                <a:gd name="connsiteY90" fmla="*/ 358878 h 3641849"/>
                <a:gd name="connsiteX91" fmla="*/ 1163219 w 1498281"/>
                <a:gd name="connsiteY91" fmla="*/ 335607 h 3641849"/>
                <a:gd name="connsiteX92" fmla="*/ 1135509 w 1498281"/>
                <a:gd name="connsiteY92" fmla="*/ 304578 h 3641849"/>
                <a:gd name="connsiteX93" fmla="*/ 1131341 w 1498281"/>
                <a:gd name="connsiteY93" fmla="*/ 280325 h 3641849"/>
                <a:gd name="connsiteX94" fmla="*/ 1182617 w 1498281"/>
                <a:gd name="connsiteY94" fmla="*/ 258034 h 3641849"/>
                <a:gd name="connsiteX95" fmla="*/ 1236197 w 1498281"/>
                <a:gd name="connsiteY95" fmla="*/ 267906 h 3641849"/>
                <a:gd name="connsiteX96" fmla="*/ 1314981 w 1498281"/>
                <a:gd name="connsiteY96" fmla="*/ 279816 h 3641849"/>
                <a:gd name="connsiteX97" fmla="*/ 1399304 w 1498281"/>
                <a:gd name="connsiteY97" fmla="*/ 349175 h 3641849"/>
                <a:gd name="connsiteX98" fmla="*/ 1461439 w 1498281"/>
                <a:gd name="connsiteY98" fmla="*/ 425271 h 3641849"/>
                <a:gd name="connsiteX99" fmla="*/ 1360468 w 1498281"/>
                <a:gd name="connsiteY99" fmla="*/ 454265 h 3641849"/>
                <a:gd name="connsiteX100" fmla="*/ 1344934 w 1498281"/>
                <a:gd name="connsiteY100" fmla="*/ 501372 h 3641849"/>
                <a:gd name="connsiteX101" fmla="*/ 1402604 w 1498281"/>
                <a:gd name="connsiteY101" fmla="*/ 585862 h 3641849"/>
                <a:gd name="connsiteX102" fmla="*/ 1438138 w 1498281"/>
                <a:gd name="connsiteY102" fmla="*/ 591964 h 3641849"/>
                <a:gd name="connsiteX103" fmla="*/ 1490758 w 1498281"/>
                <a:gd name="connsiteY103" fmla="*/ 598304 h 3641849"/>
                <a:gd name="connsiteX104" fmla="*/ 1485795 w 1498281"/>
                <a:gd name="connsiteY104" fmla="*/ 709079 h 3641849"/>
                <a:gd name="connsiteX105" fmla="*/ 1496864 w 1498281"/>
                <a:gd name="connsiteY105" fmla="*/ 1040047 h 3641849"/>
                <a:gd name="connsiteX106" fmla="*/ 1487996 w 1498281"/>
                <a:gd name="connsiteY106" fmla="*/ 1842646 h 3641849"/>
                <a:gd name="connsiteX107" fmla="*/ 1496863 w 1498281"/>
                <a:gd name="connsiteY107" fmla="*/ 2297728 h 3641849"/>
                <a:gd name="connsiteX108" fmla="*/ 1470415 w 1498281"/>
                <a:gd name="connsiteY108" fmla="*/ 3607693 h 3641849"/>
                <a:gd name="connsiteX109" fmla="*/ 1211988 w 1498281"/>
                <a:gd name="connsiteY109" fmla="*/ 3564098 h 3641849"/>
                <a:gd name="connsiteX110" fmla="*/ 1043510 w 1498281"/>
                <a:gd name="connsiteY110" fmla="*/ 3497903 h 3641849"/>
                <a:gd name="connsiteX111" fmla="*/ 866164 w 1498281"/>
                <a:gd name="connsiteY111" fmla="*/ 3406887 h 3641849"/>
                <a:gd name="connsiteX112" fmla="*/ 767866 w 1498281"/>
                <a:gd name="connsiteY112" fmla="*/ 3326370 h 3641849"/>
                <a:gd name="connsiteX113" fmla="*/ 1062128 w 1498281"/>
                <a:gd name="connsiteY113" fmla="*/ 3018734 h 3641849"/>
                <a:gd name="connsiteX114" fmla="*/ 778374 w 1498281"/>
                <a:gd name="connsiteY114" fmla="*/ 2480910 h 3641849"/>
                <a:gd name="connsiteX115" fmla="*/ 920724 w 1498281"/>
                <a:gd name="connsiteY115" fmla="*/ 2241825 h 3641849"/>
                <a:gd name="connsiteX116" fmla="*/ 734037 w 1498281"/>
                <a:gd name="connsiteY116" fmla="*/ 1703134 h 3641849"/>
                <a:gd name="connsiteX117" fmla="*/ 485753 w 1498281"/>
                <a:gd name="connsiteY117" fmla="*/ 1471456 h 3641849"/>
                <a:gd name="connsiteX118" fmla="*/ 16897 w 1498281"/>
                <a:gd name="connsiteY118" fmla="*/ 2159767 h 3641849"/>
                <a:gd name="connsiteX0" fmla="*/ 16897 w 1498281"/>
                <a:gd name="connsiteY0" fmla="*/ 2159767 h 3641849"/>
                <a:gd name="connsiteX1" fmla="*/ 79588 w 1498281"/>
                <a:gd name="connsiteY1" fmla="*/ 1588655 h 3641849"/>
                <a:gd name="connsiteX2" fmla="*/ 115612 w 1498281"/>
                <a:gd name="connsiteY2" fmla="*/ 1552454 h 3641849"/>
                <a:gd name="connsiteX3" fmla="*/ 143322 w 1498281"/>
                <a:gd name="connsiteY3" fmla="*/ 1588655 h 3641849"/>
                <a:gd name="connsiteX4" fmla="*/ 187659 w 1498281"/>
                <a:gd name="connsiteY4" fmla="*/ 1666225 h 3641849"/>
                <a:gd name="connsiteX5" fmla="*/ 256935 w 1498281"/>
                <a:gd name="connsiteY5" fmla="*/ 1653297 h 3641849"/>
                <a:gd name="connsiteX6" fmla="*/ 276331 w 1498281"/>
                <a:gd name="connsiteY6" fmla="*/ 1622268 h 3641849"/>
                <a:gd name="connsiteX7" fmla="*/ 290187 w 1498281"/>
                <a:gd name="connsiteY7" fmla="*/ 1557627 h 3641849"/>
                <a:gd name="connsiteX8" fmla="*/ 229224 w 1498281"/>
                <a:gd name="connsiteY8" fmla="*/ 1511084 h 3641849"/>
                <a:gd name="connsiteX9" fmla="*/ 184888 w 1498281"/>
                <a:gd name="connsiteY9" fmla="*/ 1485227 h 3641849"/>
                <a:gd name="connsiteX10" fmla="*/ 123926 w 1498281"/>
                <a:gd name="connsiteY10" fmla="*/ 1495570 h 3641849"/>
                <a:gd name="connsiteX11" fmla="*/ 301272 w 1498281"/>
                <a:gd name="connsiteY11" fmla="*/ 1299057 h 3641849"/>
                <a:gd name="connsiteX12" fmla="*/ 148865 w 1498281"/>
                <a:gd name="connsiteY12" fmla="*/ 1151672 h 3641849"/>
                <a:gd name="connsiteX13" fmla="*/ 209828 w 1498281"/>
                <a:gd name="connsiteY13" fmla="*/ 1089617 h 3641849"/>
                <a:gd name="connsiteX14" fmla="*/ 143323 w 1498281"/>
                <a:gd name="connsiteY14" fmla="*/ 1050829 h 3641849"/>
                <a:gd name="connsiteX15" fmla="*/ 184888 w 1498281"/>
                <a:gd name="connsiteY15" fmla="*/ 1019802 h 3641849"/>
                <a:gd name="connsiteX16" fmla="*/ 137782 w 1498281"/>
                <a:gd name="connsiteY16" fmla="*/ 993947 h 3641849"/>
                <a:gd name="connsiteX17" fmla="*/ 137781 w 1498281"/>
                <a:gd name="connsiteY17" fmla="*/ 794845 h 3641849"/>
                <a:gd name="connsiteX18" fmla="*/ 176576 w 1498281"/>
                <a:gd name="connsiteY18" fmla="*/ 779332 h 3641849"/>
                <a:gd name="connsiteX19" fmla="*/ 62963 w 1498281"/>
                <a:gd name="connsiteY19" fmla="*/ 551792 h 3641849"/>
                <a:gd name="connsiteX20" fmla="*/ 60192 w 1498281"/>
                <a:gd name="connsiteY20" fmla="*/ 551792 h 3641849"/>
                <a:gd name="connsiteX21" fmla="*/ 110070 w 1498281"/>
                <a:gd name="connsiteY21" fmla="*/ 469048 h 3641849"/>
                <a:gd name="connsiteX22" fmla="*/ 126696 w 1498281"/>
                <a:gd name="connsiteY22" fmla="*/ 378550 h 3641849"/>
                <a:gd name="connsiteX23" fmla="*/ 51877 w 1498281"/>
                <a:gd name="connsiteY23" fmla="*/ 319079 h 3641849"/>
                <a:gd name="connsiteX24" fmla="*/ 43565 w 1498281"/>
                <a:gd name="connsiteY24" fmla="*/ 251851 h 3641849"/>
                <a:gd name="connsiteX25" fmla="*/ 98985 w 1498281"/>
                <a:gd name="connsiteY25" fmla="*/ 158764 h 3641849"/>
                <a:gd name="connsiteX26" fmla="*/ 118383 w 1498281"/>
                <a:gd name="connsiteY26" fmla="*/ 135494 h 3641849"/>
                <a:gd name="connsiteX27" fmla="*/ 132238 w 1498281"/>
                <a:gd name="connsiteY27" fmla="*/ 117394 h 3641849"/>
                <a:gd name="connsiteX28" fmla="*/ 140551 w 1498281"/>
                <a:gd name="connsiteY28" fmla="*/ 73438 h 3641849"/>
                <a:gd name="connsiteX29" fmla="*/ 165490 w 1498281"/>
                <a:gd name="connsiteY29" fmla="*/ 101880 h 3641849"/>
                <a:gd name="connsiteX30" fmla="*/ 195972 w 1498281"/>
                <a:gd name="connsiteY30" fmla="*/ 88952 h 3641849"/>
                <a:gd name="connsiteX31" fmla="*/ 198742 w 1498281"/>
                <a:gd name="connsiteY31" fmla="*/ 63095 h 3641849"/>
                <a:gd name="connsiteX32" fmla="*/ 207056 w 1498281"/>
                <a:gd name="connsiteY32" fmla="*/ 34652 h 3641849"/>
                <a:gd name="connsiteX33" fmla="*/ 209828 w 1498281"/>
                <a:gd name="connsiteY33" fmla="*/ 3624 h 3641849"/>
                <a:gd name="connsiteX34" fmla="*/ 345608 w 1498281"/>
                <a:gd name="connsiteY34" fmla="*/ 57924 h 3641849"/>
                <a:gd name="connsiteX35" fmla="*/ 376088 w 1498281"/>
                <a:gd name="connsiteY35" fmla="*/ 161352 h 3641849"/>
                <a:gd name="connsiteX36" fmla="*/ 389944 w 1498281"/>
                <a:gd name="connsiteY36" fmla="*/ 184622 h 3641849"/>
                <a:gd name="connsiteX37" fmla="*/ 401028 w 1498281"/>
                <a:gd name="connsiteY37" fmla="*/ 187208 h 3641849"/>
                <a:gd name="connsiteX38" fmla="*/ 514640 w 1498281"/>
                <a:gd name="connsiteY38" fmla="*/ 156181 h 3641849"/>
                <a:gd name="connsiteX39" fmla="*/ 581145 w 1498281"/>
                <a:gd name="connsiteY39" fmla="*/ 166522 h 3641849"/>
                <a:gd name="connsiteX40" fmla="*/ 644879 w 1498281"/>
                <a:gd name="connsiteY40" fmla="*/ 213065 h 3641849"/>
                <a:gd name="connsiteX41" fmla="*/ 658906 w 1498281"/>
                <a:gd name="connsiteY41" fmla="*/ 242621 h 3641849"/>
                <a:gd name="connsiteX42" fmla="*/ 714153 w 1498281"/>
                <a:gd name="connsiteY42" fmla="*/ 277708 h 3641849"/>
                <a:gd name="connsiteX43" fmla="*/ 802827 w 1498281"/>
                <a:gd name="connsiteY43" fmla="*/ 303563 h 3641849"/>
                <a:gd name="connsiteX44" fmla="*/ 874873 w 1498281"/>
                <a:gd name="connsiteY44" fmla="*/ 350106 h 3641849"/>
                <a:gd name="connsiteX45" fmla="*/ 924752 w 1498281"/>
                <a:gd name="connsiteY45" fmla="*/ 401820 h 3641849"/>
                <a:gd name="connsiteX46" fmla="*/ 949691 w 1498281"/>
                <a:gd name="connsiteY46" fmla="*/ 440606 h 3641849"/>
                <a:gd name="connsiteX47" fmla="*/ 982944 w 1498281"/>
                <a:gd name="connsiteY47" fmla="*/ 466462 h 3641849"/>
                <a:gd name="connsiteX48" fmla="*/ 966316 w 1498281"/>
                <a:gd name="connsiteY48" fmla="*/ 691417 h 3641849"/>
                <a:gd name="connsiteX49" fmla="*/ 838850 w 1498281"/>
                <a:gd name="connsiteY49" fmla="*/ 771575 h 3641849"/>
                <a:gd name="connsiteX50" fmla="*/ 725238 w 1498281"/>
                <a:gd name="connsiteY50" fmla="*/ 779331 h 3641849"/>
                <a:gd name="connsiteX51" fmla="*/ 586685 w 1498281"/>
                <a:gd name="connsiteY51" fmla="*/ 758645 h 3641849"/>
                <a:gd name="connsiteX52" fmla="*/ 495241 w 1498281"/>
                <a:gd name="connsiteY52" fmla="*/ 722445 h 3641849"/>
                <a:gd name="connsiteX53" fmla="*/ 475844 w 1498281"/>
                <a:gd name="connsiteY53" fmla="*/ 750888 h 3641849"/>
                <a:gd name="connsiteX54" fmla="*/ 506486 w 1498281"/>
                <a:gd name="connsiteY54" fmla="*/ 824301 h 3641849"/>
                <a:gd name="connsiteX55" fmla="*/ 512027 w 1498281"/>
                <a:gd name="connsiteY55" fmla="*/ 951000 h 3641849"/>
                <a:gd name="connsiteX56" fmla="*/ 484157 w 1498281"/>
                <a:gd name="connsiteY56" fmla="*/ 1012043 h 3641849"/>
                <a:gd name="connsiteX57" fmla="*/ 539576 w 1498281"/>
                <a:gd name="connsiteY57" fmla="*/ 1032728 h 3641849"/>
                <a:gd name="connsiteX58" fmla="*/ 556204 w 1498281"/>
                <a:gd name="connsiteY58" fmla="*/ 1048242 h 3641849"/>
                <a:gd name="connsiteX59" fmla="*/ 581144 w 1498281"/>
                <a:gd name="connsiteY59" fmla="*/ 1074099 h 3641849"/>
                <a:gd name="connsiteX60" fmla="*/ 578373 w 1498281"/>
                <a:gd name="connsiteY60" fmla="*/ 1076685 h 3641849"/>
                <a:gd name="connsiteX61" fmla="*/ 617166 w 1498281"/>
                <a:gd name="connsiteY61" fmla="*/ 1071514 h 3641849"/>
                <a:gd name="connsiteX62" fmla="*/ 625480 w 1498281"/>
                <a:gd name="connsiteY62" fmla="*/ 1035314 h 3641849"/>
                <a:gd name="connsiteX63" fmla="*/ 586685 w 1498281"/>
                <a:gd name="connsiteY63" fmla="*/ 957743 h 3641849"/>
                <a:gd name="connsiteX64" fmla="*/ 655961 w 1498281"/>
                <a:gd name="connsiteY64" fmla="*/ 911200 h 3641849"/>
                <a:gd name="connsiteX65" fmla="*/ 723733 w 1498281"/>
                <a:gd name="connsiteY65" fmla="*/ 918934 h 3641849"/>
                <a:gd name="connsiteX66" fmla="*/ 747566 w 1498281"/>
                <a:gd name="connsiteY66" fmla="*/ 951001 h 3641849"/>
                <a:gd name="connsiteX67" fmla="*/ 903295 w 1498281"/>
                <a:gd name="connsiteY67" fmla="*/ 1007364 h 3641849"/>
                <a:gd name="connsiteX68" fmla="*/ 888887 w 1498281"/>
                <a:gd name="connsiteY68" fmla="*/ 971687 h 3641849"/>
                <a:gd name="connsiteX69" fmla="*/ 855635 w 1498281"/>
                <a:gd name="connsiteY69" fmla="*/ 932901 h 3641849"/>
                <a:gd name="connsiteX70" fmla="*/ 844551 w 1498281"/>
                <a:gd name="connsiteY70" fmla="*/ 881187 h 3641849"/>
                <a:gd name="connsiteX71" fmla="*/ 883346 w 1498281"/>
                <a:gd name="connsiteY71" fmla="*/ 832060 h 3641849"/>
                <a:gd name="connsiteX72" fmla="*/ 911056 w 1498281"/>
                <a:gd name="connsiteY72" fmla="*/ 803617 h 3641849"/>
                <a:gd name="connsiteX73" fmla="*/ 935996 w 1498281"/>
                <a:gd name="connsiteY73" fmla="*/ 767417 h 3641849"/>
                <a:gd name="connsiteX74" fmla="*/ 1016356 w 1498281"/>
                <a:gd name="connsiteY74" fmla="*/ 762245 h 3641849"/>
                <a:gd name="connsiteX75" fmla="*/ 1021897 w 1498281"/>
                <a:gd name="connsiteY75" fmla="*/ 741560 h 3641849"/>
                <a:gd name="connsiteX76" fmla="*/ 1046837 w 1498281"/>
                <a:gd name="connsiteY76" fmla="*/ 705360 h 3641849"/>
                <a:gd name="connsiteX77" fmla="*/ 1080641 w 1498281"/>
                <a:gd name="connsiteY77" fmla="*/ 687772 h 3641849"/>
                <a:gd name="connsiteX78" fmla="*/ 1138281 w 1498281"/>
                <a:gd name="connsiteY78" fmla="*/ 700189 h 3641849"/>
                <a:gd name="connsiteX79" fmla="*/ 1177074 w 1498281"/>
                <a:gd name="connsiteY79" fmla="*/ 720875 h 3641849"/>
                <a:gd name="connsiteX80" fmla="*/ 1224182 w 1498281"/>
                <a:gd name="connsiteY80" fmla="*/ 728632 h 3641849"/>
                <a:gd name="connsiteX81" fmla="*/ 1224182 w 1498281"/>
                <a:gd name="connsiteY81" fmla="*/ 733803 h 3641849"/>
                <a:gd name="connsiteX82" fmla="*/ 1246351 w 1498281"/>
                <a:gd name="connsiteY82" fmla="*/ 674332 h 3641849"/>
                <a:gd name="connsiteX83" fmla="*/ 1256326 w 1498281"/>
                <a:gd name="connsiteY83" fmla="*/ 640714 h 3641849"/>
                <a:gd name="connsiteX84" fmla="*/ 1262977 w 1498281"/>
                <a:gd name="connsiteY84" fmla="*/ 622618 h 3641849"/>
                <a:gd name="connsiteX85" fmla="*/ 1265914 w 1498281"/>
                <a:gd name="connsiteY85" fmla="*/ 591288 h 3641849"/>
                <a:gd name="connsiteX86" fmla="*/ 1185388 w 1498281"/>
                <a:gd name="connsiteY86" fmla="*/ 545048 h 3641849"/>
                <a:gd name="connsiteX87" fmla="*/ 1171533 w 1498281"/>
                <a:gd name="connsiteY87" fmla="*/ 472648 h 3641849"/>
                <a:gd name="connsiteX88" fmla="*/ 1171533 w 1498281"/>
                <a:gd name="connsiteY88" fmla="*/ 454548 h 3641849"/>
                <a:gd name="connsiteX89" fmla="*/ 1182616 w 1498281"/>
                <a:gd name="connsiteY89" fmla="*/ 431276 h 3641849"/>
                <a:gd name="connsiteX90" fmla="*/ 1185388 w 1498281"/>
                <a:gd name="connsiteY90" fmla="*/ 415762 h 3641849"/>
                <a:gd name="connsiteX91" fmla="*/ 1185387 w 1498281"/>
                <a:gd name="connsiteY91" fmla="*/ 358878 h 3641849"/>
                <a:gd name="connsiteX92" fmla="*/ 1163219 w 1498281"/>
                <a:gd name="connsiteY92" fmla="*/ 335607 h 3641849"/>
                <a:gd name="connsiteX93" fmla="*/ 1135509 w 1498281"/>
                <a:gd name="connsiteY93" fmla="*/ 304578 h 3641849"/>
                <a:gd name="connsiteX94" fmla="*/ 1131341 w 1498281"/>
                <a:gd name="connsiteY94" fmla="*/ 280325 h 3641849"/>
                <a:gd name="connsiteX95" fmla="*/ 1182617 w 1498281"/>
                <a:gd name="connsiteY95" fmla="*/ 258034 h 3641849"/>
                <a:gd name="connsiteX96" fmla="*/ 1236197 w 1498281"/>
                <a:gd name="connsiteY96" fmla="*/ 267906 h 3641849"/>
                <a:gd name="connsiteX97" fmla="*/ 1314981 w 1498281"/>
                <a:gd name="connsiteY97" fmla="*/ 279816 h 3641849"/>
                <a:gd name="connsiteX98" fmla="*/ 1399304 w 1498281"/>
                <a:gd name="connsiteY98" fmla="*/ 349175 h 3641849"/>
                <a:gd name="connsiteX99" fmla="*/ 1461439 w 1498281"/>
                <a:gd name="connsiteY99" fmla="*/ 425271 h 3641849"/>
                <a:gd name="connsiteX100" fmla="*/ 1360468 w 1498281"/>
                <a:gd name="connsiteY100" fmla="*/ 454265 h 3641849"/>
                <a:gd name="connsiteX101" fmla="*/ 1344934 w 1498281"/>
                <a:gd name="connsiteY101" fmla="*/ 501372 h 3641849"/>
                <a:gd name="connsiteX102" fmla="*/ 1402604 w 1498281"/>
                <a:gd name="connsiteY102" fmla="*/ 585862 h 3641849"/>
                <a:gd name="connsiteX103" fmla="*/ 1438138 w 1498281"/>
                <a:gd name="connsiteY103" fmla="*/ 591964 h 3641849"/>
                <a:gd name="connsiteX104" fmla="*/ 1490758 w 1498281"/>
                <a:gd name="connsiteY104" fmla="*/ 598304 h 3641849"/>
                <a:gd name="connsiteX105" fmla="*/ 1485795 w 1498281"/>
                <a:gd name="connsiteY105" fmla="*/ 709079 h 3641849"/>
                <a:gd name="connsiteX106" fmla="*/ 1496864 w 1498281"/>
                <a:gd name="connsiteY106" fmla="*/ 1040047 h 3641849"/>
                <a:gd name="connsiteX107" fmla="*/ 1487996 w 1498281"/>
                <a:gd name="connsiteY107" fmla="*/ 1842646 h 3641849"/>
                <a:gd name="connsiteX108" fmla="*/ 1496863 w 1498281"/>
                <a:gd name="connsiteY108" fmla="*/ 2297728 h 3641849"/>
                <a:gd name="connsiteX109" fmla="*/ 1470415 w 1498281"/>
                <a:gd name="connsiteY109" fmla="*/ 3607693 h 3641849"/>
                <a:gd name="connsiteX110" fmla="*/ 1211988 w 1498281"/>
                <a:gd name="connsiteY110" fmla="*/ 3564098 h 3641849"/>
                <a:gd name="connsiteX111" fmla="*/ 1043510 w 1498281"/>
                <a:gd name="connsiteY111" fmla="*/ 3497903 h 3641849"/>
                <a:gd name="connsiteX112" fmla="*/ 866164 w 1498281"/>
                <a:gd name="connsiteY112" fmla="*/ 3406887 h 3641849"/>
                <a:gd name="connsiteX113" fmla="*/ 767866 w 1498281"/>
                <a:gd name="connsiteY113" fmla="*/ 3326370 h 3641849"/>
                <a:gd name="connsiteX114" fmla="*/ 1062128 w 1498281"/>
                <a:gd name="connsiteY114" fmla="*/ 3018734 h 3641849"/>
                <a:gd name="connsiteX115" fmla="*/ 778374 w 1498281"/>
                <a:gd name="connsiteY115" fmla="*/ 2480910 h 3641849"/>
                <a:gd name="connsiteX116" fmla="*/ 920724 w 1498281"/>
                <a:gd name="connsiteY116" fmla="*/ 2241825 h 3641849"/>
                <a:gd name="connsiteX117" fmla="*/ 734037 w 1498281"/>
                <a:gd name="connsiteY117" fmla="*/ 1703134 h 3641849"/>
                <a:gd name="connsiteX118" fmla="*/ 485753 w 1498281"/>
                <a:gd name="connsiteY118" fmla="*/ 1471456 h 3641849"/>
                <a:gd name="connsiteX119" fmla="*/ 16897 w 1498281"/>
                <a:gd name="connsiteY119" fmla="*/ 2159767 h 3641849"/>
                <a:gd name="connsiteX0" fmla="*/ 16897 w 1498281"/>
                <a:gd name="connsiteY0" fmla="*/ 2159767 h 3641849"/>
                <a:gd name="connsiteX1" fmla="*/ 79588 w 1498281"/>
                <a:gd name="connsiteY1" fmla="*/ 1588655 h 3641849"/>
                <a:gd name="connsiteX2" fmla="*/ 137780 w 1498281"/>
                <a:gd name="connsiteY2" fmla="*/ 1505912 h 3641849"/>
                <a:gd name="connsiteX3" fmla="*/ 143322 w 1498281"/>
                <a:gd name="connsiteY3" fmla="*/ 1588655 h 3641849"/>
                <a:gd name="connsiteX4" fmla="*/ 187659 w 1498281"/>
                <a:gd name="connsiteY4" fmla="*/ 1666225 h 3641849"/>
                <a:gd name="connsiteX5" fmla="*/ 256935 w 1498281"/>
                <a:gd name="connsiteY5" fmla="*/ 1653297 h 3641849"/>
                <a:gd name="connsiteX6" fmla="*/ 276331 w 1498281"/>
                <a:gd name="connsiteY6" fmla="*/ 1622268 h 3641849"/>
                <a:gd name="connsiteX7" fmla="*/ 290187 w 1498281"/>
                <a:gd name="connsiteY7" fmla="*/ 1557627 h 3641849"/>
                <a:gd name="connsiteX8" fmla="*/ 229224 w 1498281"/>
                <a:gd name="connsiteY8" fmla="*/ 1511084 h 3641849"/>
                <a:gd name="connsiteX9" fmla="*/ 184888 w 1498281"/>
                <a:gd name="connsiteY9" fmla="*/ 1485227 h 3641849"/>
                <a:gd name="connsiteX10" fmla="*/ 123926 w 1498281"/>
                <a:gd name="connsiteY10" fmla="*/ 1495570 h 3641849"/>
                <a:gd name="connsiteX11" fmla="*/ 301272 w 1498281"/>
                <a:gd name="connsiteY11" fmla="*/ 1299057 h 3641849"/>
                <a:gd name="connsiteX12" fmla="*/ 148865 w 1498281"/>
                <a:gd name="connsiteY12" fmla="*/ 1151672 h 3641849"/>
                <a:gd name="connsiteX13" fmla="*/ 209828 w 1498281"/>
                <a:gd name="connsiteY13" fmla="*/ 1089617 h 3641849"/>
                <a:gd name="connsiteX14" fmla="*/ 143323 w 1498281"/>
                <a:gd name="connsiteY14" fmla="*/ 1050829 h 3641849"/>
                <a:gd name="connsiteX15" fmla="*/ 184888 w 1498281"/>
                <a:gd name="connsiteY15" fmla="*/ 1019802 h 3641849"/>
                <a:gd name="connsiteX16" fmla="*/ 137782 w 1498281"/>
                <a:gd name="connsiteY16" fmla="*/ 993947 h 3641849"/>
                <a:gd name="connsiteX17" fmla="*/ 137781 w 1498281"/>
                <a:gd name="connsiteY17" fmla="*/ 794845 h 3641849"/>
                <a:gd name="connsiteX18" fmla="*/ 176576 w 1498281"/>
                <a:gd name="connsiteY18" fmla="*/ 779332 h 3641849"/>
                <a:gd name="connsiteX19" fmla="*/ 62963 w 1498281"/>
                <a:gd name="connsiteY19" fmla="*/ 551792 h 3641849"/>
                <a:gd name="connsiteX20" fmla="*/ 60192 w 1498281"/>
                <a:gd name="connsiteY20" fmla="*/ 551792 h 3641849"/>
                <a:gd name="connsiteX21" fmla="*/ 110070 w 1498281"/>
                <a:gd name="connsiteY21" fmla="*/ 469048 h 3641849"/>
                <a:gd name="connsiteX22" fmla="*/ 126696 w 1498281"/>
                <a:gd name="connsiteY22" fmla="*/ 378550 h 3641849"/>
                <a:gd name="connsiteX23" fmla="*/ 51877 w 1498281"/>
                <a:gd name="connsiteY23" fmla="*/ 319079 h 3641849"/>
                <a:gd name="connsiteX24" fmla="*/ 43565 w 1498281"/>
                <a:gd name="connsiteY24" fmla="*/ 251851 h 3641849"/>
                <a:gd name="connsiteX25" fmla="*/ 98985 w 1498281"/>
                <a:gd name="connsiteY25" fmla="*/ 158764 h 3641849"/>
                <a:gd name="connsiteX26" fmla="*/ 118383 w 1498281"/>
                <a:gd name="connsiteY26" fmla="*/ 135494 h 3641849"/>
                <a:gd name="connsiteX27" fmla="*/ 132238 w 1498281"/>
                <a:gd name="connsiteY27" fmla="*/ 117394 h 3641849"/>
                <a:gd name="connsiteX28" fmla="*/ 140551 w 1498281"/>
                <a:gd name="connsiteY28" fmla="*/ 73438 h 3641849"/>
                <a:gd name="connsiteX29" fmla="*/ 165490 w 1498281"/>
                <a:gd name="connsiteY29" fmla="*/ 101880 h 3641849"/>
                <a:gd name="connsiteX30" fmla="*/ 195972 w 1498281"/>
                <a:gd name="connsiteY30" fmla="*/ 88952 h 3641849"/>
                <a:gd name="connsiteX31" fmla="*/ 198742 w 1498281"/>
                <a:gd name="connsiteY31" fmla="*/ 63095 h 3641849"/>
                <a:gd name="connsiteX32" fmla="*/ 207056 w 1498281"/>
                <a:gd name="connsiteY32" fmla="*/ 34652 h 3641849"/>
                <a:gd name="connsiteX33" fmla="*/ 209828 w 1498281"/>
                <a:gd name="connsiteY33" fmla="*/ 3624 h 3641849"/>
                <a:gd name="connsiteX34" fmla="*/ 345608 w 1498281"/>
                <a:gd name="connsiteY34" fmla="*/ 57924 h 3641849"/>
                <a:gd name="connsiteX35" fmla="*/ 376088 w 1498281"/>
                <a:gd name="connsiteY35" fmla="*/ 161352 h 3641849"/>
                <a:gd name="connsiteX36" fmla="*/ 389944 w 1498281"/>
                <a:gd name="connsiteY36" fmla="*/ 184622 h 3641849"/>
                <a:gd name="connsiteX37" fmla="*/ 401028 w 1498281"/>
                <a:gd name="connsiteY37" fmla="*/ 187208 h 3641849"/>
                <a:gd name="connsiteX38" fmla="*/ 514640 w 1498281"/>
                <a:gd name="connsiteY38" fmla="*/ 156181 h 3641849"/>
                <a:gd name="connsiteX39" fmla="*/ 581145 w 1498281"/>
                <a:gd name="connsiteY39" fmla="*/ 166522 h 3641849"/>
                <a:gd name="connsiteX40" fmla="*/ 644879 w 1498281"/>
                <a:gd name="connsiteY40" fmla="*/ 213065 h 3641849"/>
                <a:gd name="connsiteX41" fmla="*/ 658906 w 1498281"/>
                <a:gd name="connsiteY41" fmla="*/ 242621 h 3641849"/>
                <a:gd name="connsiteX42" fmla="*/ 714153 w 1498281"/>
                <a:gd name="connsiteY42" fmla="*/ 277708 h 3641849"/>
                <a:gd name="connsiteX43" fmla="*/ 802827 w 1498281"/>
                <a:gd name="connsiteY43" fmla="*/ 303563 h 3641849"/>
                <a:gd name="connsiteX44" fmla="*/ 874873 w 1498281"/>
                <a:gd name="connsiteY44" fmla="*/ 350106 h 3641849"/>
                <a:gd name="connsiteX45" fmla="*/ 924752 w 1498281"/>
                <a:gd name="connsiteY45" fmla="*/ 401820 h 3641849"/>
                <a:gd name="connsiteX46" fmla="*/ 949691 w 1498281"/>
                <a:gd name="connsiteY46" fmla="*/ 440606 h 3641849"/>
                <a:gd name="connsiteX47" fmla="*/ 982944 w 1498281"/>
                <a:gd name="connsiteY47" fmla="*/ 466462 h 3641849"/>
                <a:gd name="connsiteX48" fmla="*/ 966316 w 1498281"/>
                <a:gd name="connsiteY48" fmla="*/ 691417 h 3641849"/>
                <a:gd name="connsiteX49" fmla="*/ 838850 w 1498281"/>
                <a:gd name="connsiteY49" fmla="*/ 771575 h 3641849"/>
                <a:gd name="connsiteX50" fmla="*/ 725238 w 1498281"/>
                <a:gd name="connsiteY50" fmla="*/ 779331 h 3641849"/>
                <a:gd name="connsiteX51" fmla="*/ 586685 w 1498281"/>
                <a:gd name="connsiteY51" fmla="*/ 758645 h 3641849"/>
                <a:gd name="connsiteX52" fmla="*/ 495241 w 1498281"/>
                <a:gd name="connsiteY52" fmla="*/ 722445 h 3641849"/>
                <a:gd name="connsiteX53" fmla="*/ 475844 w 1498281"/>
                <a:gd name="connsiteY53" fmla="*/ 750888 h 3641849"/>
                <a:gd name="connsiteX54" fmla="*/ 506486 w 1498281"/>
                <a:gd name="connsiteY54" fmla="*/ 824301 h 3641849"/>
                <a:gd name="connsiteX55" fmla="*/ 512027 w 1498281"/>
                <a:gd name="connsiteY55" fmla="*/ 951000 h 3641849"/>
                <a:gd name="connsiteX56" fmla="*/ 484157 w 1498281"/>
                <a:gd name="connsiteY56" fmla="*/ 1012043 h 3641849"/>
                <a:gd name="connsiteX57" fmla="*/ 539576 w 1498281"/>
                <a:gd name="connsiteY57" fmla="*/ 1032728 h 3641849"/>
                <a:gd name="connsiteX58" fmla="*/ 556204 w 1498281"/>
                <a:gd name="connsiteY58" fmla="*/ 1048242 h 3641849"/>
                <a:gd name="connsiteX59" fmla="*/ 581144 w 1498281"/>
                <a:gd name="connsiteY59" fmla="*/ 1074099 h 3641849"/>
                <a:gd name="connsiteX60" fmla="*/ 578373 w 1498281"/>
                <a:gd name="connsiteY60" fmla="*/ 1076685 h 3641849"/>
                <a:gd name="connsiteX61" fmla="*/ 617166 w 1498281"/>
                <a:gd name="connsiteY61" fmla="*/ 1071514 h 3641849"/>
                <a:gd name="connsiteX62" fmla="*/ 625480 w 1498281"/>
                <a:gd name="connsiteY62" fmla="*/ 1035314 h 3641849"/>
                <a:gd name="connsiteX63" fmla="*/ 586685 w 1498281"/>
                <a:gd name="connsiteY63" fmla="*/ 957743 h 3641849"/>
                <a:gd name="connsiteX64" fmla="*/ 655961 w 1498281"/>
                <a:gd name="connsiteY64" fmla="*/ 911200 h 3641849"/>
                <a:gd name="connsiteX65" fmla="*/ 723733 w 1498281"/>
                <a:gd name="connsiteY65" fmla="*/ 918934 h 3641849"/>
                <a:gd name="connsiteX66" fmla="*/ 747566 w 1498281"/>
                <a:gd name="connsiteY66" fmla="*/ 951001 h 3641849"/>
                <a:gd name="connsiteX67" fmla="*/ 903295 w 1498281"/>
                <a:gd name="connsiteY67" fmla="*/ 1007364 h 3641849"/>
                <a:gd name="connsiteX68" fmla="*/ 888887 w 1498281"/>
                <a:gd name="connsiteY68" fmla="*/ 971687 h 3641849"/>
                <a:gd name="connsiteX69" fmla="*/ 855635 w 1498281"/>
                <a:gd name="connsiteY69" fmla="*/ 932901 h 3641849"/>
                <a:gd name="connsiteX70" fmla="*/ 844551 w 1498281"/>
                <a:gd name="connsiteY70" fmla="*/ 881187 h 3641849"/>
                <a:gd name="connsiteX71" fmla="*/ 883346 w 1498281"/>
                <a:gd name="connsiteY71" fmla="*/ 832060 h 3641849"/>
                <a:gd name="connsiteX72" fmla="*/ 911056 w 1498281"/>
                <a:gd name="connsiteY72" fmla="*/ 803617 h 3641849"/>
                <a:gd name="connsiteX73" fmla="*/ 935996 w 1498281"/>
                <a:gd name="connsiteY73" fmla="*/ 767417 h 3641849"/>
                <a:gd name="connsiteX74" fmla="*/ 1016356 w 1498281"/>
                <a:gd name="connsiteY74" fmla="*/ 762245 h 3641849"/>
                <a:gd name="connsiteX75" fmla="*/ 1021897 w 1498281"/>
                <a:gd name="connsiteY75" fmla="*/ 741560 h 3641849"/>
                <a:gd name="connsiteX76" fmla="*/ 1046837 w 1498281"/>
                <a:gd name="connsiteY76" fmla="*/ 705360 h 3641849"/>
                <a:gd name="connsiteX77" fmla="*/ 1080641 w 1498281"/>
                <a:gd name="connsiteY77" fmla="*/ 687772 h 3641849"/>
                <a:gd name="connsiteX78" fmla="*/ 1138281 w 1498281"/>
                <a:gd name="connsiteY78" fmla="*/ 700189 h 3641849"/>
                <a:gd name="connsiteX79" fmla="*/ 1177074 w 1498281"/>
                <a:gd name="connsiteY79" fmla="*/ 720875 h 3641849"/>
                <a:gd name="connsiteX80" fmla="*/ 1224182 w 1498281"/>
                <a:gd name="connsiteY80" fmla="*/ 728632 h 3641849"/>
                <a:gd name="connsiteX81" fmla="*/ 1224182 w 1498281"/>
                <a:gd name="connsiteY81" fmla="*/ 733803 h 3641849"/>
                <a:gd name="connsiteX82" fmla="*/ 1246351 w 1498281"/>
                <a:gd name="connsiteY82" fmla="*/ 674332 h 3641849"/>
                <a:gd name="connsiteX83" fmla="*/ 1256326 w 1498281"/>
                <a:gd name="connsiteY83" fmla="*/ 640714 h 3641849"/>
                <a:gd name="connsiteX84" fmla="*/ 1262977 w 1498281"/>
                <a:gd name="connsiteY84" fmla="*/ 622618 h 3641849"/>
                <a:gd name="connsiteX85" fmla="*/ 1265914 w 1498281"/>
                <a:gd name="connsiteY85" fmla="*/ 591288 h 3641849"/>
                <a:gd name="connsiteX86" fmla="*/ 1185388 w 1498281"/>
                <a:gd name="connsiteY86" fmla="*/ 545048 h 3641849"/>
                <a:gd name="connsiteX87" fmla="*/ 1171533 w 1498281"/>
                <a:gd name="connsiteY87" fmla="*/ 472648 h 3641849"/>
                <a:gd name="connsiteX88" fmla="*/ 1171533 w 1498281"/>
                <a:gd name="connsiteY88" fmla="*/ 454548 h 3641849"/>
                <a:gd name="connsiteX89" fmla="*/ 1182616 w 1498281"/>
                <a:gd name="connsiteY89" fmla="*/ 431276 h 3641849"/>
                <a:gd name="connsiteX90" fmla="*/ 1185388 w 1498281"/>
                <a:gd name="connsiteY90" fmla="*/ 415762 h 3641849"/>
                <a:gd name="connsiteX91" fmla="*/ 1185387 w 1498281"/>
                <a:gd name="connsiteY91" fmla="*/ 358878 h 3641849"/>
                <a:gd name="connsiteX92" fmla="*/ 1163219 w 1498281"/>
                <a:gd name="connsiteY92" fmla="*/ 335607 h 3641849"/>
                <a:gd name="connsiteX93" fmla="*/ 1135509 w 1498281"/>
                <a:gd name="connsiteY93" fmla="*/ 304578 h 3641849"/>
                <a:gd name="connsiteX94" fmla="*/ 1131341 w 1498281"/>
                <a:gd name="connsiteY94" fmla="*/ 280325 h 3641849"/>
                <a:gd name="connsiteX95" fmla="*/ 1182617 w 1498281"/>
                <a:gd name="connsiteY95" fmla="*/ 258034 h 3641849"/>
                <a:gd name="connsiteX96" fmla="*/ 1236197 w 1498281"/>
                <a:gd name="connsiteY96" fmla="*/ 267906 h 3641849"/>
                <a:gd name="connsiteX97" fmla="*/ 1314981 w 1498281"/>
                <a:gd name="connsiteY97" fmla="*/ 279816 h 3641849"/>
                <a:gd name="connsiteX98" fmla="*/ 1399304 w 1498281"/>
                <a:gd name="connsiteY98" fmla="*/ 349175 h 3641849"/>
                <a:gd name="connsiteX99" fmla="*/ 1461439 w 1498281"/>
                <a:gd name="connsiteY99" fmla="*/ 425271 h 3641849"/>
                <a:gd name="connsiteX100" fmla="*/ 1360468 w 1498281"/>
                <a:gd name="connsiteY100" fmla="*/ 454265 h 3641849"/>
                <a:gd name="connsiteX101" fmla="*/ 1344934 w 1498281"/>
                <a:gd name="connsiteY101" fmla="*/ 501372 h 3641849"/>
                <a:gd name="connsiteX102" fmla="*/ 1402604 w 1498281"/>
                <a:gd name="connsiteY102" fmla="*/ 585862 h 3641849"/>
                <a:gd name="connsiteX103" fmla="*/ 1438138 w 1498281"/>
                <a:gd name="connsiteY103" fmla="*/ 591964 h 3641849"/>
                <a:gd name="connsiteX104" fmla="*/ 1490758 w 1498281"/>
                <a:gd name="connsiteY104" fmla="*/ 598304 h 3641849"/>
                <a:gd name="connsiteX105" fmla="*/ 1485795 w 1498281"/>
                <a:gd name="connsiteY105" fmla="*/ 709079 h 3641849"/>
                <a:gd name="connsiteX106" fmla="*/ 1496864 w 1498281"/>
                <a:gd name="connsiteY106" fmla="*/ 1040047 h 3641849"/>
                <a:gd name="connsiteX107" fmla="*/ 1487996 w 1498281"/>
                <a:gd name="connsiteY107" fmla="*/ 1842646 h 3641849"/>
                <a:gd name="connsiteX108" fmla="*/ 1496863 w 1498281"/>
                <a:gd name="connsiteY108" fmla="*/ 2297728 h 3641849"/>
                <a:gd name="connsiteX109" fmla="*/ 1470415 w 1498281"/>
                <a:gd name="connsiteY109" fmla="*/ 3607693 h 3641849"/>
                <a:gd name="connsiteX110" fmla="*/ 1211988 w 1498281"/>
                <a:gd name="connsiteY110" fmla="*/ 3564098 h 3641849"/>
                <a:gd name="connsiteX111" fmla="*/ 1043510 w 1498281"/>
                <a:gd name="connsiteY111" fmla="*/ 3497903 h 3641849"/>
                <a:gd name="connsiteX112" fmla="*/ 866164 w 1498281"/>
                <a:gd name="connsiteY112" fmla="*/ 3406887 h 3641849"/>
                <a:gd name="connsiteX113" fmla="*/ 767866 w 1498281"/>
                <a:gd name="connsiteY113" fmla="*/ 3326370 h 3641849"/>
                <a:gd name="connsiteX114" fmla="*/ 1062128 w 1498281"/>
                <a:gd name="connsiteY114" fmla="*/ 3018734 h 3641849"/>
                <a:gd name="connsiteX115" fmla="*/ 778374 w 1498281"/>
                <a:gd name="connsiteY115" fmla="*/ 2480910 h 3641849"/>
                <a:gd name="connsiteX116" fmla="*/ 920724 w 1498281"/>
                <a:gd name="connsiteY116" fmla="*/ 2241825 h 3641849"/>
                <a:gd name="connsiteX117" fmla="*/ 734037 w 1498281"/>
                <a:gd name="connsiteY117" fmla="*/ 1703134 h 3641849"/>
                <a:gd name="connsiteX118" fmla="*/ 485753 w 1498281"/>
                <a:gd name="connsiteY118" fmla="*/ 1471456 h 3641849"/>
                <a:gd name="connsiteX119" fmla="*/ 16897 w 1498281"/>
                <a:gd name="connsiteY119" fmla="*/ 2159767 h 3641849"/>
                <a:gd name="connsiteX0" fmla="*/ 16897 w 1498281"/>
                <a:gd name="connsiteY0" fmla="*/ 2159767 h 3641849"/>
                <a:gd name="connsiteX1" fmla="*/ 79588 w 1498281"/>
                <a:gd name="connsiteY1" fmla="*/ 1588655 h 3641849"/>
                <a:gd name="connsiteX2" fmla="*/ 137780 w 1498281"/>
                <a:gd name="connsiteY2" fmla="*/ 1505912 h 3641849"/>
                <a:gd name="connsiteX3" fmla="*/ 123926 w 1498281"/>
                <a:gd name="connsiteY3" fmla="*/ 1555040 h 3641849"/>
                <a:gd name="connsiteX4" fmla="*/ 143322 w 1498281"/>
                <a:gd name="connsiteY4" fmla="*/ 1588655 h 3641849"/>
                <a:gd name="connsiteX5" fmla="*/ 187659 w 1498281"/>
                <a:gd name="connsiteY5" fmla="*/ 1666225 h 3641849"/>
                <a:gd name="connsiteX6" fmla="*/ 256935 w 1498281"/>
                <a:gd name="connsiteY6" fmla="*/ 1653297 h 3641849"/>
                <a:gd name="connsiteX7" fmla="*/ 276331 w 1498281"/>
                <a:gd name="connsiteY7" fmla="*/ 1622268 h 3641849"/>
                <a:gd name="connsiteX8" fmla="*/ 290187 w 1498281"/>
                <a:gd name="connsiteY8" fmla="*/ 1557627 h 3641849"/>
                <a:gd name="connsiteX9" fmla="*/ 229224 w 1498281"/>
                <a:gd name="connsiteY9" fmla="*/ 1511084 h 3641849"/>
                <a:gd name="connsiteX10" fmla="*/ 184888 w 1498281"/>
                <a:gd name="connsiteY10" fmla="*/ 1485227 h 3641849"/>
                <a:gd name="connsiteX11" fmla="*/ 123926 w 1498281"/>
                <a:gd name="connsiteY11" fmla="*/ 1495570 h 3641849"/>
                <a:gd name="connsiteX12" fmla="*/ 301272 w 1498281"/>
                <a:gd name="connsiteY12" fmla="*/ 1299057 h 3641849"/>
                <a:gd name="connsiteX13" fmla="*/ 148865 w 1498281"/>
                <a:gd name="connsiteY13" fmla="*/ 1151672 h 3641849"/>
                <a:gd name="connsiteX14" fmla="*/ 209828 w 1498281"/>
                <a:gd name="connsiteY14" fmla="*/ 1089617 h 3641849"/>
                <a:gd name="connsiteX15" fmla="*/ 143323 w 1498281"/>
                <a:gd name="connsiteY15" fmla="*/ 1050829 h 3641849"/>
                <a:gd name="connsiteX16" fmla="*/ 184888 w 1498281"/>
                <a:gd name="connsiteY16" fmla="*/ 1019802 h 3641849"/>
                <a:gd name="connsiteX17" fmla="*/ 137782 w 1498281"/>
                <a:gd name="connsiteY17" fmla="*/ 993947 h 3641849"/>
                <a:gd name="connsiteX18" fmla="*/ 137781 w 1498281"/>
                <a:gd name="connsiteY18" fmla="*/ 794845 h 3641849"/>
                <a:gd name="connsiteX19" fmla="*/ 176576 w 1498281"/>
                <a:gd name="connsiteY19" fmla="*/ 779332 h 3641849"/>
                <a:gd name="connsiteX20" fmla="*/ 62963 w 1498281"/>
                <a:gd name="connsiteY20" fmla="*/ 551792 h 3641849"/>
                <a:gd name="connsiteX21" fmla="*/ 60192 w 1498281"/>
                <a:gd name="connsiteY21" fmla="*/ 551792 h 3641849"/>
                <a:gd name="connsiteX22" fmla="*/ 110070 w 1498281"/>
                <a:gd name="connsiteY22" fmla="*/ 469048 h 3641849"/>
                <a:gd name="connsiteX23" fmla="*/ 126696 w 1498281"/>
                <a:gd name="connsiteY23" fmla="*/ 378550 h 3641849"/>
                <a:gd name="connsiteX24" fmla="*/ 51877 w 1498281"/>
                <a:gd name="connsiteY24" fmla="*/ 319079 h 3641849"/>
                <a:gd name="connsiteX25" fmla="*/ 43565 w 1498281"/>
                <a:gd name="connsiteY25" fmla="*/ 251851 h 3641849"/>
                <a:gd name="connsiteX26" fmla="*/ 98985 w 1498281"/>
                <a:gd name="connsiteY26" fmla="*/ 158764 h 3641849"/>
                <a:gd name="connsiteX27" fmla="*/ 118383 w 1498281"/>
                <a:gd name="connsiteY27" fmla="*/ 135494 h 3641849"/>
                <a:gd name="connsiteX28" fmla="*/ 132238 w 1498281"/>
                <a:gd name="connsiteY28" fmla="*/ 117394 h 3641849"/>
                <a:gd name="connsiteX29" fmla="*/ 140551 w 1498281"/>
                <a:gd name="connsiteY29" fmla="*/ 73438 h 3641849"/>
                <a:gd name="connsiteX30" fmla="*/ 165490 w 1498281"/>
                <a:gd name="connsiteY30" fmla="*/ 101880 h 3641849"/>
                <a:gd name="connsiteX31" fmla="*/ 195972 w 1498281"/>
                <a:gd name="connsiteY31" fmla="*/ 88952 h 3641849"/>
                <a:gd name="connsiteX32" fmla="*/ 198742 w 1498281"/>
                <a:gd name="connsiteY32" fmla="*/ 63095 h 3641849"/>
                <a:gd name="connsiteX33" fmla="*/ 207056 w 1498281"/>
                <a:gd name="connsiteY33" fmla="*/ 34652 h 3641849"/>
                <a:gd name="connsiteX34" fmla="*/ 209828 w 1498281"/>
                <a:gd name="connsiteY34" fmla="*/ 3624 h 3641849"/>
                <a:gd name="connsiteX35" fmla="*/ 345608 w 1498281"/>
                <a:gd name="connsiteY35" fmla="*/ 57924 h 3641849"/>
                <a:gd name="connsiteX36" fmla="*/ 376088 w 1498281"/>
                <a:gd name="connsiteY36" fmla="*/ 161352 h 3641849"/>
                <a:gd name="connsiteX37" fmla="*/ 389944 w 1498281"/>
                <a:gd name="connsiteY37" fmla="*/ 184622 h 3641849"/>
                <a:gd name="connsiteX38" fmla="*/ 401028 w 1498281"/>
                <a:gd name="connsiteY38" fmla="*/ 187208 h 3641849"/>
                <a:gd name="connsiteX39" fmla="*/ 514640 w 1498281"/>
                <a:gd name="connsiteY39" fmla="*/ 156181 h 3641849"/>
                <a:gd name="connsiteX40" fmla="*/ 581145 w 1498281"/>
                <a:gd name="connsiteY40" fmla="*/ 166522 h 3641849"/>
                <a:gd name="connsiteX41" fmla="*/ 644879 w 1498281"/>
                <a:gd name="connsiteY41" fmla="*/ 213065 h 3641849"/>
                <a:gd name="connsiteX42" fmla="*/ 658906 w 1498281"/>
                <a:gd name="connsiteY42" fmla="*/ 242621 h 3641849"/>
                <a:gd name="connsiteX43" fmla="*/ 714153 w 1498281"/>
                <a:gd name="connsiteY43" fmla="*/ 277708 h 3641849"/>
                <a:gd name="connsiteX44" fmla="*/ 802827 w 1498281"/>
                <a:gd name="connsiteY44" fmla="*/ 303563 h 3641849"/>
                <a:gd name="connsiteX45" fmla="*/ 874873 w 1498281"/>
                <a:gd name="connsiteY45" fmla="*/ 350106 h 3641849"/>
                <a:gd name="connsiteX46" fmla="*/ 924752 w 1498281"/>
                <a:gd name="connsiteY46" fmla="*/ 401820 h 3641849"/>
                <a:gd name="connsiteX47" fmla="*/ 949691 w 1498281"/>
                <a:gd name="connsiteY47" fmla="*/ 440606 h 3641849"/>
                <a:gd name="connsiteX48" fmla="*/ 982944 w 1498281"/>
                <a:gd name="connsiteY48" fmla="*/ 466462 h 3641849"/>
                <a:gd name="connsiteX49" fmla="*/ 966316 w 1498281"/>
                <a:gd name="connsiteY49" fmla="*/ 691417 h 3641849"/>
                <a:gd name="connsiteX50" fmla="*/ 838850 w 1498281"/>
                <a:gd name="connsiteY50" fmla="*/ 771575 h 3641849"/>
                <a:gd name="connsiteX51" fmla="*/ 725238 w 1498281"/>
                <a:gd name="connsiteY51" fmla="*/ 779331 h 3641849"/>
                <a:gd name="connsiteX52" fmla="*/ 586685 w 1498281"/>
                <a:gd name="connsiteY52" fmla="*/ 758645 h 3641849"/>
                <a:gd name="connsiteX53" fmla="*/ 495241 w 1498281"/>
                <a:gd name="connsiteY53" fmla="*/ 722445 h 3641849"/>
                <a:gd name="connsiteX54" fmla="*/ 475844 w 1498281"/>
                <a:gd name="connsiteY54" fmla="*/ 750888 h 3641849"/>
                <a:gd name="connsiteX55" fmla="*/ 506486 w 1498281"/>
                <a:gd name="connsiteY55" fmla="*/ 824301 h 3641849"/>
                <a:gd name="connsiteX56" fmla="*/ 512027 w 1498281"/>
                <a:gd name="connsiteY56" fmla="*/ 951000 h 3641849"/>
                <a:gd name="connsiteX57" fmla="*/ 484157 w 1498281"/>
                <a:gd name="connsiteY57" fmla="*/ 1012043 h 3641849"/>
                <a:gd name="connsiteX58" fmla="*/ 539576 w 1498281"/>
                <a:gd name="connsiteY58" fmla="*/ 1032728 h 3641849"/>
                <a:gd name="connsiteX59" fmla="*/ 556204 w 1498281"/>
                <a:gd name="connsiteY59" fmla="*/ 1048242 h 3641849"/>
                <a:gd name="connsiteX60" fmla="*/ 581144 w 1498281"/>
                <a:gd name="connsiteY60" fmla="*/ 1074099 h 3641849"/>
                <a:gd name="connsiteX61" fmla="*/ 578373 w 1498281"/>
                <a:gd name="connsiteY61" fmla="*/ 1076685 h 3641849"/>
                <a:gd name="connsiteX62" fmla="*/ 617166 w 1498281"/>
                <a:gd name="connsiteY62" fmla="*/ 1071514 h 3641849"/>
                <a:gd name="connsiteX63" fmla="*/ 625480 w 1498281"/>
                <a:gd name="connsiteY63" fmla="*/ 1035314 h 3641849"/>
                <a:gd name="connsiteX64" fmla="*/ 586685 w 1498281"/>
                <a:gd name="connsiteY64" fmla="*/ 957743 h 3641849"/>
                <a:gd name="connsiteX65" fmla="*/ 655961 w 1498281"/>
                <a:gd name="connsiteY65" fmla="*/ 911200 h 3641849"/>
                <a:gd name="connsiteX66" fmla="*/ 723733 w 1498281"/>
                <a:gd name="connsiteY66" fmla="*/ 918934 h 3641849"/>
                <a:gd name="connsiteX67" fmla="*/ 747566 w 1498281"/>
                <a:gd name="connsiteY67" fmla="*/ 951001 h 3641849"/>
                <a:gd name="connsiteX68" fmla="*/ 903295 w 1498281"/>
                <a:gd name="connsiteY68" fmla="*/ 1007364 h 3641849"/>
                <a:gd name="connsiteX69" fmla="*/ 888887 w 1498281"/>
                <a:gd name="connsiteY69" fmla="*/ 971687 h 3641849"/>
                <a:gd name="connsiteX70" fmla="*/ 855635 w 1498281"/>
                <a:gd name="connsiteY70" fmla="*/ 932901 h 3641849"/>
                <a:gd name="connsiteX71" fmla="*/ 844551 w 1498281"/>
                <a:gd name="connsiteY71" fmla="*/ 881187 h 3641849"/>
                <a:gd name="connsiteX72" fmla="*/ 883346 w 1498281"/>
                <a:gd name="connsiteY72" fmla="*/ 832060 h 3641849"/>
                <a:gd name="connsiteX73" fmla="*/ 911056 w 1498281"/>
                <a:gd name="connsiteY73" fmla="*/ 803617 h 3641849"/>
                <a:gd name="connsiteX74" fmla="*/ 935996 w 1498281"/>
                <a:gd name="connsiteY74" fmla="*/ 767417 h 3641849"/>
                <a:gd name="connsiteX75" fmla="*/ 1016356 w 1498281"/>
                <a:gd name="connsiteY75" fmla="*/ 762245 h 3641849"/>
                <a:gd name="connsiteX76" fmla="*/ 1021897 w 1498281"/>
                <a:gd name="connsiteY76" fmla="*/ 741560 h 3641849"/>
                <a:gd name="connsiteX77" fmla="*/ 1046837 w 1498281"/>
                <a:gd name="connsiteY77" fmla="*/ 705360 h 3641849"/>
                <a:gd name="connsiteX78" fmla="*/ 1080641 w 1498281"/>
                <a:gd name="connsiteY78" fmla="*/ 687772 h 3641849"/>
                <a:gd name="connsiteX79" fmla="*/ 1138281 w 1498281"/>
                <a:gd name="connsiteY79" fmla="*/ 700189 h 3641849"/>
                <a:gd name="connsiteX80" fmla="*/ 1177074 w 1498281"/>
                <a:gd name="connsiteY80" fmla="*/ 720875 h 3641849"/>
                <a:gd name="connsiteX81" fmla="*/ 1224182 w 1498281"/>
                <a:gd name="connsiteY81" fmla="*/ 728632 h 3641849"/>
                <a:gd name="connsiteX82" fmla="*/ 1224182 w 1498281"/>
                <a:gd name="connsiteY82" fmla="*/ 733803 h 3641849"/>
                <a:gd name="connsiteX83" fmla="*/ 1246351 w 1498281"/>
                <a:gd name="connsiteY83" fmla="*/ 674332 h 3641849"/>
                <a:gd name="connsiteX84" fmla="*/ 1256326 w 1498281"/>
                <a:gd name="connsiteY84" fmla="*/ 640714 h 3641849"/>
                <a:gd name="connsiteX85" fmla="*/ 1262977 w 1498281"/>
                <a:gd name="connsiteY85" fmla="*/ 622618 h 3641849"/>
                <a:gd name="connsiteX86" fmla="*/ 1265914 w 1498281"/>
                <a:gd name="connsiteY86" fmla="*/ 591288 h 3641849"/>
                <a:gd name="connsiteX87" fmla="*/ 1185388 w 1498281"/>
                <a:gd name="connsiteY87" fmla="*/ 545048 h 3641849"/>
                <a:gd name="connsiteX88" fmla="*/ 1171533 w 1498281"/>
                <a:gd name="connsiteY88" fmla="*/ 472648 h 3641849"/>
                <a:gd name="connsiteX89" fmla="*/ 1171533 w 1498281"/>
                <a:gd name="connsiteY89" fmla="*/ 454548 h 3641849"/>
                <a:gd name="connsiteX90" fmla="*/ 1182616 w 1498281"/>
                <a:gd name="connsiteY90" fmla="*/ 431276 h 3641849"/>
                <a:gd name="connsiteX91" fmla="*/ 1185388 w 1498281"/>
                <a:gd name="connsiteY91" fmla="*/ 415762 h 3641849"/>
                <a:gd name="connsiteX92" fmla="*/ 1185387 w 1498281"/>
                <a:gd name="connsiteY92" fmla="*/ 358878 h 3641849"/>
                <a:gd name="connsiteX93" fmla="*/ 1163219 w 1498281"/>
                <a:gd name="connsiteY93" fmla="*/ 335607 h 3641849"/>
                <a:gd name="connsiteX94" fmla="*/ 1135509 w 1498281"/>
                <a:gd name="connsiteY94" fmla="*/ 304578 h 3641849"/>
                <a:gd name="connsiteX95" fmla="*/ 1131341 w 1498281"/>
                <a:gd name="connsiteY95" fmla="*/ 280325 h 3641849"/>
                <a:gd name="connsiteX96" fmla="*/ 1182617 w 1498281"/>
                <a:gd name="connsiteY96" fmla="*/ 258034 h 3641849"/>
                <a:gd name="connsiteX97" fmla="*/ 1236197 w 1498281"/>
                <a:gd name="connsiteY97" fmla="*/ 267906 h 3641849"/>
                <a:gd name="connsiteX98" fmla="*/ 1314981 w 1498281"/>
                <a:gd name="connsiteY98" fmla="*/ 279816 h 3641849"/>
                <a:gd name="connsiteX99" fmla="*/ 1399304 w 1498281"/>
                <a:gd name="connsiteY99" fmla="*/ 349175 h 3641849"/>
                <a:gd name="connsiteX100" fmla="*/ 1461439 w 1498281"/>
                <a:gd name="connsiteY100" fmla="*/ 425271 h 3641849"/>
                <a:gd name="connsiteX101" fmla="*/ 1360468 w 1498281"/>
                <a:gd name="connsiteY101" fmla="*/ 454265 h 3641849"/>
                <a:gd name="connsiteX102" fmla="*/ 1344934 w 1498281"/>
                <a:gd name="connsiteY102" fmla="*/ 501372 h 3641849"/>
                <a:gd name="connsiteX103" fmla="*/ 1402604 w 1498281"/>
                <a:gd name="connsiteY103" fmla="*/ 585862 h 3641849"/>
                <a:gd name="connsiteX104" fmla="*/ 1438138 w 1498281"/>
                <a:gd name="connsiteY104" fmla="*/ 591964 h 3641849"/>
                <a:gd name="connsiteX105" fmla="*/ 1490758 w 1498281"/>
                <a:gd name="connsiteY105" fmla="*/ 598304 h 3641849"/>
                <a:gd name="connsiteX106" fmla="*/ 1485795 w 1498281"/>
                <a:gd name="connsiteY106" fmla="*/ 709079 h 3641849"/>
                <a:gd name="connsiteX107" fmla="*/ 1496864 w 1498281"/>
                <a:gd name="connsiteY107" fmla="*/ 1040047 h 3641849"/>
                <a:gd name="connsiteX108" fmla="*/ 1487996 w 1498281"/>
                <a:gd name="connsiteY108" fmla="*/ 1842646 h 3641849"/>
                <a:gd name="connsiteX109" fmla="*/ 1496863 w 1498281"/>
                <a:gd name="connsiteY109" fmla="*/ 2297728 h 3641849"/>
                <a:gd name="connsiteX110" fmla="*/ 1470415 w 1498281"/>
                <a:gd name="connsiteY110" fmla="*/ 3607693 h 3641849"/>
                <a:gd name="connsiteX111" fmla="*/ 1211988 w 1498281"/>
                <a:gd name="connsiteY111" fmla="*/ 3564098 h 3641849"/>
                <a:gd name="connsiteX112" fmla="*/ 1043510 w 1498281"/>
                <a:gd name="connsiteY112" fmla="*/ 3497903 h 3641849"/>
                <a:gd name="connsiteX113" fmla="*/ 866164 w 1498281"/>
                <a:gd name="connsiteY113" fmla="*/ 3406887 h 3641849"/>
                <a:gd name="connsiteX114" fmla="*/ 767866 w 1498281"/>
                <a:gd name="connsiteY114" fmla="*/ 3326370 h 3641849"/>
                <a:gd name="connsiteX115" fmla="*/ 1062128 w 1498281"/>
                <a:gd name="connsiteY115" fmla="*/ 3018734 h 3641849"/>
                <a:gd name="connsiteX116" fmla="*/ 778374 w 1498281"/>
                <a:gd name="connsiteY116" fmla="*/ 2480910 h 3641849"/>
                <a:gd name="connsiteX117" fmla="*/ 920724 w 1498281"/>
                <a:gd name="connsiteY117" fmla="*/ 2241825 h 3641849"/>
                <a:gd name="connsiteX118" fmla="*/ 734037 w 1498281"/>
                <a:gd name="connsiteY118" fmla="*/ 1703134 h 3641849"/>
                <a:gd name="connsiteX119" fmla="*/ 485753 w 1498281"/>
                <a:gd name="connsiteY119" fmla="*/ 1471456 h 3641849"/>
                <a:gd name="connsiteX120" fmla="*/ 16897 w 1498281"/>
                <a:gd name="connsiteY120" fmla="*/ 2159767 h 3641849"/>
                <a:gd name="connsiteX0" fmla="*/ 16897 w 1498281"/>
                <a:gd name="connsiteY0" fmla="*/ 2159767 h 3641849"/>
                <a:gd name="connsiteX1" fmla="*/ 79588 w 1498281"/>
                <a:gd name="connsiteY1" fmla="*/ 1588655 h 3641849"/>
                <a:gd name="connsiteX2" fmla="*/ 112841 w 1498281"/>
                <a:gd name="connsiteY2" fmla="*/ 1536941 h 3641849"/>
                <a:gd name="connsiteX3" fmla="*/ 137780 w 1498281"/>
                <a:gd name="connsiteY3" fmla="*/ 1505912 h 3641849"/>
                <a:gd name="connsiteX4" fmla="*/ 123926 w 1498281"/>
                <a:gd name="connsiteY4" fmla="*/ 1555040 h 3641849"/>
                <a:gd name="connsiteX5" fmla="*/ 143322 w 1498281"/>
                <a:gd name="connsiteY5" fmla="*/ 1588655 h 3641849"/>
                <a:gd name="connsiteX6" fmla="*/ 187659 w 1498281"/>
                <a:gd name="connsiteY6" fmla="*/ 1666225 h 3641849"/>
                <a:gd name="connsiteX7" fmla="*/ 256935 w 1498281"/>
                <a:gd name="connsiteY7" fmla="*/ 1653297 h 3641849"/>
                <a:gd name="connsiteX8" fmla="*/ 276331 w 1498281"/>
                <a:gd name="connsiteY8" fmla="*/ 1622268 h 3641849"/>
                <a:gd name="connsiteX9" fmla="*/ 290187 w 1498281"/>
                <a:gd name="connsiteY9" fmla="*/ 1557627 h 3641849"/>
                <a:gd name="connsiteX10" fmla="*/ 229224 w 1498281"/>
                <a:gd name="connsiteY10" fmla="*/ 1511084 h 3641849"/>
                <a:gd name="connsiteX11" fmla="*/ 184888 w 1498281"/>
                <a:gd name="connsiteY11" fmla="*/ 1485227 h 3641849"/>
                <a:gd name="connsiteX12" fmla="*/ 123926 w 1498281"/>
                <a:gd name="connsiteY12" fmla="*/ 1495570 h 3641849"/>
                <a:gd name="connsiteX13" fmla="*/ 301272 w 1498281"/>
                <a:gd name="connsiteY13" fmla="*/ 1299057 h 3641849"/>
                <a:gd name="connsiteX14" fmla="*/ 148865 w 1498281"/>
                <a:gd name="connsiteY14" fmla="*/ 1151672 h 3641849"/>
                <a:gd name="connsiteX15" fmla="*/ 209828 w 1498281"/>
                <a:gd name="connsiteY15" fmla="*/ 1089617 h 3641849"/>
                <a:gd name="connsiteX16" fmla="*/ 143323 w 1498281"/>
                <a:gd name="connsiteY16" fmla="*/ 1050829 h 3641849"/>
                <a:gd name="connsiteX17" fmla="*/ 184888 w 1498281"/>
                <a:gd name="connsiteY17" fmla="*/ 1019802 h 3641849"/>
                <a:gd name="connsiteX18" fmla="*/ 137782 w 1498281"/>
                <a:gd name="connsiteY18" fmla="*/ 993947 h 3641849"/>
                <a:gd name="connsiteX19" fmla="*/ 137781 w 1498281"/>
                <a:gd name="connsiteY19" fmla="*/ 794845 h 3641849"/>
                <a:gd name="connsiteX20" fmla="*/ 176576 w 1498281"/>
                <a:gd name="connsiteY20" fmla="*/ 779332 h 3641849"/>
                <a:gd name="connsiteX21" fmla="*/ 62963 w 1498281"/>
                <a:gd name="connsiteY21" fmla="*/ 551792 h 3641849"/>
                <a:gd name="connsiteX22" fmla="*/ 60192 w 1498281"/>
                <a:gd name="connsiteY22" fmla="*/ 551792 h 3641849"/>
                <a:gd name="connsiteX23" fmla="*/ 110070 w 1498281"/>
                <a:gd name="connsiteY23" fmla="*/ 469048 h 3641849"/>
                <a:gd name="connsiteX24" fmla="*/ 126696 w 1498281"/>
                <a:gd name="connsiteY24" fmla="*/ 378550 h 3641849"/>
                <a:gd name="connsiteX25" fmla="*/ 51877 w 1498281"/>
                <a:gd name="connsiteY25" fmla="*/ 319079 h 3641849"/>
                <a:gd name="connsiteX26" fmla="*/ 43565 w 1498281"/>
                <a:gd name="connsiteY26" fmla="*/ 251851 h 3641849"/>
                <a:gd name="connsiteX27" fmla="*/ 98985 w 1498281"/>
                <a:gd name="connsiteY27" fmla="*/ 158764 h 3641849"/>
                <a:gd name="connsiteX28" fmla="*/ 118383 w 1498281"/>
                <a:gd name="connsiteY28" fmla="*/ 135494 h 3641849"/>
                <a:gd name="connsiteX29" fmla="*/ 132238 w 1498281"/>
                <a:gd name="connsiteY29" fmla="*/ 117394 h 3641849"/>
                <a:gd name="connsiteX30" fmla="*/ 140551 w 1498281"/>
                <a:gd name="connsiteY30" fmla="*/ 73438 h 3641849"/>
                <a:gd name="connsiteX31" fmla="*/ 165490 w 1498281"/>
                <a:gd name="connsiteY31" fmla="*/ 101880 h 3641849"/>
                <a:gd name="connsiteX32" fmla="*/ 195972 w 1498281"/>
                <a:gd name="connsiteY32" fmla="*/ 88952 h 3641849"/>
                <a:gd name="connsiteX33" fmla="*/ 198742 w 1498281"/>
                <a:gd name="connsiteY33" fmla="*/ 63095 h 3641849"/>
                <a:gd name="connsiteX34" fmla="*/ 207056 w 1498281"/>
                <a:gd name="connsiteY34" fmla="*/ 34652 h 3641849"/>
                <a:gd name="connsiteX35" fmla="*/ 209828 w 1498281"/>
                <a:gd name="connsiteY35" fmla="*/ 3624 h 3641849"/>
                <a:gd name="connsiteX36" fmla="*/ 345608 w 1498281"/>
                <a:gd name="connsiteY36" fmla="*/ 57924 h 3641849"/>
                <a:gd name="connsiteX37" fmla="*/ 376088 w 1498281"/>
                <a:gd name="connsiteY37" fmla="*/ 161352 h 3641849"/>
                <a:gd name="connsiteX38" fmla="*/ 389944 w 1498281"/>
                <a:gd name="connsiteY38" fmla="*/ 184622 h 3641849"/>
                <a:gd name="connsiteX39" fmla="*/ 401028 w 1498281"/>
                <a:gd name="connsiteY39" fmla="*/ 187208 h 3641849"/>
                <a:gd name="connsiteX40" fmla="*/ 514640 w 1498281"/>
                <a:gd name="connsiteY40" fmla="*/ 156181 h 3641849"/>
                <a:gd name="connsiteX41" fmla="*/ 581145 w 1498281"/>
                <a:gd name="connsiteY41" fmla="*/ 166522 h 3641849"/>
                <a:gd name="connsiteX42" fmla="*/ 644879 w 1498281"/>
                <a:gd name="connsiteY42" fmla="*/ 213065 h 3641849"/>
                <a:gd name="connsiteX43" fmla="*/ 658906 w 1498281"/>
                <a:gd name="connsiteY43" fmla="*/ 242621 h 3641849"/>
                <a:gd name="connsiteX44" fmla="*/ 714153 w 1498281"/>
                <a:gd name="connsiteY44" fmla="*/ 277708 h 3641849"/>
                <a:gd name="connsiteX45" fmla="*/ 802827 w 1498281"/>
                <a:gd name="connsiteY45" fmla="*/ 303563 h 3641849"/>
                <a:gd name="connsiteX46" fmla="*/ 874873 w 1498281"/>
                <a:gd name="connsiteY46" fmla="*/ 350106 h 3641849"/>
                <a:gd name="connsiteX47" fmla="*/ 924752 w 1498281"/>
                <a:gd name="connsiteY47" fmla="*/ 401820 h 3641849"/>
                <a:gd name="connsiteX48" fmla="*/ 949691 w 1498281"/>
                <a:gd name="connsiteY48" fmla="*/ 440606 h 3641849"/>
                <a:gd name="connsiteX49" fmla="*/ 982944 w 1498281"/>
                <a:gd name="connsiteY49" fmla="*/ 466462 h 3641849"/>
                <a:gd name="connsiteX50" fmla="*/ 966316 w 1498281"/>
                <a:gd name="connsiteY50" fmla="*/ 691417 h 3641849"/>
                <a:gd name="connsiteX51" fmla="*/ 838850 w 1498281"/>
                <a:gd name="connsiteY51" fmla="*/ 771575 h 3641849"/>
                <a:gd name="connsiteX52" fmla="*/ 725238 w 1498281"/>
                <a:gd name="connsiteY52" fmla="*/ 779331 h 3641849"/>
                <a:gd name="connsiteX53" fmla="*/ 586685 w 1498281"/>
                <a:gd name="connsiteY53" fmla="*/ 758645 h 3641849"/>
                <a:gd name="connsiteX54" fmla="*/ 495241 w 1498281"/>
                <a:gd name="connsiteY54" fmla="*/ 722445 h 3641849"/>
                <a:gd name="connsiteX55" fmla="*/ 475844 w 1498281"/>
                <a:gd name="connsiteY55" fmla="*/ 750888 h 3641849"/>
                <a:gd name="connsiteX56" fmla="*/ 506486 w 1498281"/>
                <a:gd name="connsiteY56" fmla="*/ 824301 h 3641849"/>
                <a:gd name="connsiteX57" fmla="*/ 512027 w 1498281"/>
                <a:gd name="connsiteY57" fmla="*/ 951000 h 3641849"/>
                <a:gd name="connsiteX58" fmla="*/ 484157 w 1498281"/>
                <a:gd name="connsiteY58" fmla="*/ 1012043 h 3641849"/>
                <a:gd name="connsiteX59" fmla="*/ 539576 w 1498281"/>
                <a:gd name="connsiteY59" fmla="*/ 1032728 h 3641849"/>
                <a:gd name="connsiteX60" fmla="*/ 556204 w 1498281"/>
                <a:gd name="connsiteY60" fmla="*/ 1048242 h 3641849"/>
                <a:gd name="connsiteX61" fmla="*/ 581144 w 1498281"/>
                <a:gd name="connsiteY61" fmla="*/ 1074099 h 3641849"/>
                <a:gd name="connsiteX62" fmla="*/ 578373 w 1498281"/>
                <a:gd name="connsiteY62" fmla="*/ 1076685 h 3641849"/>
                <a:gd name="connsiteX63" fmla="*/ 617166 w 1498281"/>
                <a:gd name="connsiteY63" fmla="*/ 1071514 h 3641849"/>
                <a:gd name="connsiteX64" fmla="*/ 625480 w 1498281"/>
                <a:gd name="connsiteY64" fmla="*/ 1035314 h 3641849"/>
                <a:gd name="connsiteX65" fmla="*/ 586685 w 1498281"/>
                <a:gd name="connsiteY65" fmla="*/ 957743 h 3641849"/>
                <a:gd name="connsiteX66" fmla="*/ 655961 w 1498281"/>
                <a:gd name="connsiteY66" fmla="*/ 911200 h 3641849"/>
                <a:gd name="connsiteX67" fmla="*/ 723733 w 1498281"/>
                <a:gd name="connsiteY67" fmla="*/ 918934 h 3641849"/>
                <a:gd name="connsiteX68" fmla="*/ 747566 w 1498281"/>
                <a:gd name="connsiteY68" fmla="*/ 951001 h 3641849"/>
                <a:gd name="connsiteX69" fmla="*/ 903295 w 1498281"/>
                <a:gd name="connsiteY69" fmla="*/ 1007364 h 3641849"/>
                <a:gd name="connsiteX70" fmla="*/ 888887 w 1498281"/>
                <a:gd name="connsiteY70" fmla="*/ 971687 h 3641849"/>
                <a:gd name="connsiteX71" fmla="*/ 855635 w 1498281"/>
                <a:gd name="connsiteY71" fmla="*/ 932901 h 3641849"/>
                <a:gd name="connsiteX72" fmla="*/ 844551 w 1498281"/>
                <a:gd name="connsiteY72" fmla="*/ 881187 h 3641849"/>
                <a:gd name="connsiteX73" fmla="*/ 883346 w 1498281"/>
                <a:gd name="connsiteY73" fmla="*/ 832060 h 3641849"/>
                <a:gd name="connsiteX74" fmla="*/ 911056 w 1498281"/>
                <a:gd name="connsiteY74" fmla="*/ 803617 h 3641849"/>
                <a:gd name="connsiteX75" fmla="*/ 935996 w 1498281"/>
                <a:gd name="connsiteY75" fmla="*/ 767417 h 3641849"/>
                <a:gd name="connsiteX76" fmla="*/ 1016356 w 1498281"/>
                <a:gd name="connsiteY76" fmla="*/ 762245 h 3641849"/>
                <a:gd name="connsiteX77" fmla="*/ 1021897 w 1498281"/>
                <a:gd name="connsiteY77" fmla="*/ 741560 h 3641849"/>
                <a:gd name="connsiteX78" fmla="*/ 1046837 w 1498281"/>
                <a:gd name="connsiteY78" fmla="*/ 705360 h 3641849"/>
                <a:gd name="connsiteX79" fmla="*/ 1080641 w 1498281"/>
                <a:gd name="connsiteY79" fmla="*/ 687772 h 3641849"/>
                <a:gd name="connsiteX80" fmla="*/ 1138281 w 1498281"/>
                <a:gd name="connsiteY80" fmla="*/ 700189 h 3641849"/>
                <a:gd name="connsiteX81" fmla="*/ 1177074 w 1498281"/>
                <a:gd name="connsiteY81" fmla="*/ 720875 h 3641849"/>
                <a:gd name="connsiteX82" fmla="*/ 1224182 w 1498281"/>
                <a:gd name="connsiteY82" fmla="*/ 728632 h 3641849"/>
                <a:gd name="connsiteX83" fmla="*/ 1224182 w 1498281"/>
                <a:gd name="connsiteY83" fmla="*/ 733803 h 3641849"/>
                <a:gd name="connsiteX84" fmla="*/ 1246351 w 1498281"/>
                <a:gd name="connsiteY84" fmla="*/ 674332 h 3641849"/>
                <a:gd name="connsiteX85" fmla="*/ 1256326 w 1498281"/>
                <a:gd name="connsiteY85" fmla="*/ 640714 h 3641849"/>
                <a:gd name="connsiteX86" fmla="*/ 1262977 w 1498281"/>
                <a:gd name="connsiteY86" fmla="*/ 622618 h 3641849"/>
                <a:gd name="connsiteX87" fmla="*/ 1265914 w 1498281"/>
                <a:gd name="connsiteY87" fmla="*/ 591288 h 3641849"/>
                <a:gd name="connsiteX88" fmla="*/ 1185388 w 1498281"/>
                <a:gd name="connsiteY88" fmla="*/ 545048 h 3641849"/>
                <a:gd name="connsiteX89" fmla="*/ 1171533 w 1498281"/>
                <a:gd name="connsiteY89" fmla="*/ 472648 h 3641849"/>
                <a:gd name="connsiteX90" fmla="*/ 1171533 w 1498281"/>
                <a:gd name="connsiteY90" fmla="*/ 454548 h 3641849"/>
                <a:gd name="connsiteX91" fmla="*/ 1182616 w 1498281"/>
                <a:gd name="connsiteY91" fmla="*/ 431276 h 3641849"/>
                <a:gd name="connsiteX92" fmla="*/ 1185388 w 1498281"/>
                <a:gd name="connsiteY92" fmla="*/ 415762 h 3641849"/>
                <a:gd name="connsiteX93" fmla="*/ 1185387 w 1498281"/>
                <a:gd name="connsiteY93" fmla="*/ 358878 h 3641849"/>
                <a:gd name="connsiteX94" fmla="*/ 1163219 w 1498281"/>
                <a:gd name="connsiteY94" fmla="*/ 335607 h 3641849"/>
                <a:gd name="connsiteX95" fmla="*/ 1135509 w 1498281"/>
                <a:gd name="connsiteY95" fmla="*/ 304578 h 3641849"/>
                <a:gd name="connsiteX96" fmla="*/ 1131341 w 1498281"/>
                <a:gd name="connsiteY96" fmla="*/ 280325 h 3641849"/>
                <a:gd name="connsiteX97" fmla="*/ 1182617 w 1498281"/>
                <a:gd name="connsiteY97" fmla="*/ 258034 h 3641849"/>
                <a:gd name="connsiteX98" fmla="*/ 1236197 w 1498281"/>
                <a:gd name="connsiteY98" fmla="*/ 267906 h 3641849"/>
                <a:gd name="connsiteX99" fmla="*/ 1314981 w 1498281"/>
                <a:gd name="connsiteY99" fmla="*/ 279816 h 3641849"/>
                <a:gd name="connsiteX100" fmla="*/ 1399304 w 1498281"/>
                <a:gd name="connsiteY100" fmla="*/ 349175 h 3641849"/>
                <a:gd name="connsiteX101" fmla="*/ 1461439 w 1498281"/>
                <a:gd name="connsiteY101" fmla="*/ 425271 h 3641849"/>
                <a:gd name="connsiteX102" fmla="*/ 1360468 w 1498281"/>
                <a:gd name="connsiteY102" fmla="*/ 454265 h 3641849"/>
                <a:gd name="connsiteX103" fmla="*/ 1344934 w 1498281"/>
                <a:gd name="connsiteY103" fmla="*/ 501372 h 3641849"/>
                <a:gd name="connsiteX104" fmla="*/ 1402604 w 1498281"/>
                <a:gd name="connsiteY104" fmla="*/ 585862 h 3641849"/>
                <a:gd name="connsiteX105" fmla="*/ 1438138 w 1498281"/>
                <a:gd name="connsiteY105" fmla="*/ 591964 h 3641849"/>
                <a:gd name="connsiteX106" fmla="*/ 1490758 w 1498281"/>
                <a:gd name="connsiteY106" fmla="*/ 598304 h 3641849"/>
                <a:gd name="connsiteX107" fmla="*/ 1485795 w 1498281"/>
                <a:gd name="connsiteY107" fmla="*/ 709079 h 3641849"/>
                <a:gd name="connsiteX108" fmla="*/ 1496864 w 1498281"/>
                <a:gd name="connsiteY108" fmla="*/ 1040047 h 3641849"/>
                <a:gd name="connsiteX109" fmla="*/ 1487996 w 1498281"/>
                <a:gd name="connsiteY109" fmla="*/ 1842646 h 3641849"/>
                <a:gd name="connsiteX110" fmla="*/ 1496863 w 1498281"/>
                <a:gd name="connsiteY110" fmla="*/ 2297728 h 3641849"/>
                <a:gd name="connsiteX111" fmla="*/ 1470415 w 1498281"/>
                <a:gd name="connsiteY111" fmla="*/ 3607693 h 3641849"/>
                <a:gd name="connsiteX112" fmla="*/ 1211988 w 1498281"/>
                <a:gd name="connsiteY112" fmla="*/ 3564098 h 3641849"/>
                <a:gd name="connsiteX113" fmla="*/ 1043510 w 1498281"/>
                <a:gd name="connsiteY113" fmla="*/ 3497903 h 3641849"/>
                <a:gd name="connsiteX114" fmla="*/ 866164 w 1498281"/>
                <a:gd name="connsiteY114" fmla="*/ 3406887 h 3641849"/>
                <a:gd name="connsiteX115" fmla="*/ 767866 w 1498281"/>
                <a:gd name="connsiteY115" fmla="*/ 3326370 h 3641849"/>
                <a:gd name="connsiteX116" fmla="*/ 1062128 w 1498281"/>
                <a:gd name="connsiteY116" fmla="*/ 3018734 h 3641849"/>
                <a:gd name="connsiteX117" fmla="*/ 778374 w 1498281"/>
                <a:gd name="connsiteY117" fmla="*/ 2480910 h 3641849"/>
                <a:gd name="connsiteX118" fmla="*/ 920724 w 1498281"/>
                <a:gd name="connsiteY118" fmla="*/ 2241825 h 3641849"/>
                <a:gd name="connsiteX119" fmla="*/ 734037 w 1498281"/>
                <a:gd name="connsiteY119" fmla="*/ 1703134 h 3641849"/>
                <a:gd name="connsiteX120" fmla="*/ 485753 w 1498281"/>
                <a:gd name="connsiteY120" fmla="*/ 1471456 h 3641849"/>
                <a:gd name="connsiteX121" fmla="*/ 16897 w 1498281"/>
                <a:gd name="connsiteY121" fmla="*/ 2159767 h 3641849"/>
                <a:gd name="connsiteX0" fmla="*/ 16897 w 1498281"/>
                <a:gd name="connsiteY0" fmla="*/ 2159767 h 3641849"/>
                <a:gd name="connsiteX1" fmla="*/ 79588 w 1498281"/>
                <a:gd name="connsiteY1" fmla="*/ 1588655 h 3641849"/>
                <a:gd name="connsiteX2" fmla="*/ 112841 w 1498281"/>
                <a:gd name="connsiteY2" fmla="*/ 1536941 h 3641849"/>
                <a:gd name="connsiteX3" fmla="*/ 137780 w 1498281"/>
                <a:gd name="connsiteY3" fmla="*/ 1505912 h 3641849"/>
                <a:gd name="connsiteX4" fmla="*/ 123926 w 1498281"/>
                <a:gd name="connsiteY4" fmla="*/ 1555040 h 3641849"/>
                <a:gd name="connsiteX5" fmla="*/ 143322 w 1498281"/>
                <a:gd name="connsiteY5" fmla="*/ 1588655 h 3641849"/>
                <a:gd name="connsiteX6" fmla="*/ 187659 w 1498281"/>
                <a:gd name="connsiteY6" fmla="*/ 1666225 h 3641849"/>
                <a:gd name="connsiteX7" fmla="*/ 256935 w 1498281"/>
                <a:gd name="connsiteY7" fmla="*/ 1653297 h 3641849"/>
                <a:gd name="connsiteX8" fmla="*/ 276331 w 1498281"/>
                <a:gd name="connsiteY8" fmla="*/ 1622268 h 3641849"/>
                <a:gd name="connsiteX9" fmla="*/ 290187 w 1498281"/>
                <a:gd name="connsiteY9" fmla="*/ 1557627 h 3641849"/>
                <a:gd name="connsiteX10" fmla="*/ 229224 w 1498281"/>
                <a:gd name="connsiteY10" fmla="*/ 1511084 h 3641849"/>
                <a:gd name="connsiteX11" fmla="*/ 184888 w 1498281"/>
                <a:gd name="connsiteY11" fmla="*/ 1485227 h 3641849"/>
                <a:gd name="connsiteX12" fmla="*/ 123926 w 1498281"/>
                <a:gd name="connsiteY12" fmla="*/ 1495570 h 3641849"/>
                <a:gd name="connsiteX13" fmla="*/ 301272 w 1498281"/>
                <a:gd name="connsiteY13" fmla="*/ 1299057 h 3641849"/>
                <a:gd name="connsiteX14" fmla="*/ 148865 w 1498281"/>
                <a:gd name="connsiteY14" fmla="*/ 1151672 h 3641849"/>
                <a:gd name="connsiteX15" fmla="*/ 209828 w 1498281"/>
                <a:gd name="connsiteY15" fmla="*/ 1089617 h 3641849"/>
                <a:gd name="connsiteX16" fmla="*/ 143323 w 1498281"/>
                <a:gd name="connsiteY16" fmla="*/ 1050829 h 3641849"/>
                <a:gd name="connsiteX17" fmla="*/ 184888 w 1498281"/>
                <a:gd name="connsiteY17" fmla="*/ 1019802 h 3641849"/>
                <a:gd name="connsiteX18" fmla="*/ 137782 w 1498281"/>
                <a:gd name="connsiteY18" fmla="*/ 993947 h 3641849"/>
                <a:gd name="connsiteX19" fmla="*/ 137781 w 1498281"/>
                <a:gd name="connsiteY19" fmla="*/ 794845 h 3641849"/>
                <a:gd name="connsiteX20" fmla="*/ 176576 w 1498281"/>
                <a:gd name="connsiteY20" fmla="*/ 779332 h 3641849"/>
                <a:gd name="connsiteX21" fmla="*/ 62963 w 1498281"/>
                <a:gd name="connsiteY21" fmla="*/ 551792 h 3641849"/>
                <a:gd name="connsiteX22" fmla="*/ 60192 w 1498281"/>
                <a:gd name="connsiteY22" fmla="*/ 551792 h 3641849"/>
                <a:gd name="connsiteX23" fmla="*/ 110070 w 1498281"/>
                <a:gd name="connsiteY23" fmla="*/ 469048 h 3641849"/>
                <a:gd name="connsiteX24" fmla="*/ 126696 w 1498281"/>
                <a:gd name="connsiteY24" fmla="*/ 378550 h 3641849"/>
                <a:gd name="connsiteX25" fmla="*/ 51877 w 1498281"/>
                <a:gd name="connsiteY25" fmla="*/ 319079 h 3641849"/>
                <a:gd name="connsiteX26" fmla="*/ 43565 w 1498281"/>
                <a:gd name="connsiteY26" fmla="*/ 251851 h 3641849"/>
                <a:gd name="connsiteX27" fmla="*/ 98985 w 1498281"/>
                <a:gd name="connsiteY27" fmla="*/ 158764 h 3641849"/>
                <a:gd name="connsiteX28" fmla="*/ 118383 w 1498281"/>
                <a:gd name="connsiteY28" fmla="*/ 135494 h 3641849"/>
                <a:gd name="connsiteX29" fmla="*/ 132238 w 1498281"/>
                <a:gd name="connsiteY29" fmla="*/ 117394 h 3641849"/>
                <a:gd name="connsiteX30" fmla="*/ 140551 w 1498281"/>
                <a:gd name="connsiteY30" fmla="*/ 73438 h 3641849"/>
                <a:gd name="connsiteX31" fmla="*/ 165490 w 1498281"/>
                <a:gd name="connsiteY31" fmla="*/ 101880 h 3641849"/>
                <a:gd name="connsiteX32" fmla="*/ 195972 w 1498281"/>
                <a:gd name="connsiteY32" fmla="*/ 88952 h 3641849"/>
                <a:gd name="connsiteX33" fmla="*/ 198742 w 1498281"/>
                <a:gd name="connsiteY33" fmla="*/ 63095 h 3641849"/>
                <a:gd name="connsiteX34" fmla="*/ 207056 w 1498281"/>
                <a:gd name="connsiteY34" fmla="*/ 34652 h 3641849"/>
                <a:gd name="connsiteX35" fmla="*/ 209828 w 1498281"/>
                <a:gd name="connsiteY35" fmla="*/ 3624 h 3641849"/>
                <a:gd name="connsiteX36" fmla="*/ 345608 w 1498281"/>
                <a:gd name="connsiteY36" fmla="*/ 57924 h 3641849"/>
                <a:gd name="connsiteX37" fmla="*/ 376088 w 1498281"/>
                <a:gd name="connsiteY37" fmla="*/ 161352 h 3641849"/>
                <a:gd name="connsiteX38" fmla="*/ 389944 w 1498281"/>
                <a:gd name="connsiteY38" fmla="*/ 184622 h 3641849"/>
                <a:gd name="connsiteX39" fmla="*/ 401028 w 1498281"/>
                <a:gd name="connsiteY39" fmla="*/ 187208 h 3641849"/>
                <a:gd name="connsiteX40" fmla="*/ 514640 w 1498281"/>
                <a:gd name="connsiteY40" fmla="*/ 156181 h 3641849"/>
                <a:gd name="connsiteX41" fmla="*/ 581145 w 1498281"/>
                <a:gd name="connsiteY41" fmla="*/ 166522 h 3641849"/>
                <a:gd name="connsiteX42" fmla="*/ 644879 w 1498281"/>
                <a:gd name="connsiteY42" fmla="*/ 213065 h 3641849"/>
                <a:gd name="connsiteX43" fmla="*/ 658906 w 1498281"/>
                <a:gd name="connsiteY43" fmla="*/ 242621 h 3641849"/>
                <a:gd name="connsiteX44" fmla="*/ 714153 w 1498281"/>
                <a:gd name="connsiteY44" fmla="*/ 277708 h 3641849"/>
                <a:gd name="connsiteX45" fmla="*/ 802827 w 1498281"/>
                <a:gd name="connsiteY45" fmla="*/ 303563 h 3641849"/>
                <a:gd name="connsiteX46" fmla="*/ 874873 w 1498281"/>
                <a:gd name="connsiteY46" fmla="*/ 350106 h 3641849"/>
                <a:gd name="connsiteX47" fmla="*/ 924752 w 1498281"/>
                <a:gd name="connsiteY47" fmla="*/ 401820 h 3641849"/>
                <a:gd name="connsiteX48" fmla="*/ 949691 w 1498281"/>
                <a:gd name="connsiteY48" fmla="*/ 440606 h 3641849"/>
                <a:gd name="connsiteX49" fmla="*/ 982944 w 1498281"/>
                <a:gd name="connsiteY49" fmla="*/ 466462 h 3641849"/>
                <a:gd name="connsiteX50" fmla="*/ 966316 w 1498281"/>
                <a:gd name="connsiteY50" fmla="*/ 691417 h 3641849"/>
                <a:gd name="connsiteX51" fmla="*/ 838850 w 1498281"/>
                <a:gd name="connsiteY51" fmla="*/ 771575 h 3641849"/>
                <a:gd name="connsiteX52" fmla="*/ 725238 w 1498281"/>
                <a:gd name="connsiteY52" fmla="*/ 779331 h 3641849"/>
                <a:gd name="connsiteX53" fmla="*/ 586685 w 1498281"/>
                <a:gd name="connsiteY53" fmla="*/ 758645 h 3641849"/>
                <a:gd name="connsiteX54" fmla="*/ 495241 w 1498281"/>
                <a:gd name="connsiteY54" fmla="*/ 722445 h 3641849"/>
                <a:gd name="connsiteX55" fmla="*/ 475844 w 1498281"/>
                <a:gd name="connsiteY55" fmla="*/ 750888 h 3641849"/>
                <a:gd name="connsiteX56" fmla="*/ 506486 w 1498281"/>
                <a:gd name="connsiteY56" fmla="*/ 824301 h 3641849"/>
                <a:gd name="connsiteX57" fmla="*/ 512027 w 1498281"/>
                <a:gd name="connsiteY57" fmla="*/ 951000 h 3641849"/>
                <a:gd name="connsiteX58" fmla="*/ 484157 w 1498281"/>
                <a:gd name="connsiteY58" fmla="*/ 1012043 h 3641849"/>
                <a:gd name="connsiteX59" fmla="*/ 539576 w 1498281"/>
                <a:gd name="connsiteY59" fmla="*/ 1032728 h 3641849"/>
                <a:gd name="connsiteX60" fmla="*/ 556204 w 1498281"/>
                <a:gd name="connsiteY60" fmla="*/ 1048242 h 3641849"/>
                <a:gd name="connsiteX61" fmla="*/ 581144 w 1498281"/>
                <a:gd name="connsiteY61" fmla="*/ 1074099 h 3641849"/>
                <a:gd name="connsiteX62" fmla="*/ 578373 w 1498281"/>
                <a:gd name="connsiteY62" fmla="*/ 1076685 h 3641849"/>
                <a:gd name="connsiteX63" fmla="*/ 617166 w 1498281"/>
                <a:gd name="connsiteY63" fmla="*/ 1071514 h 3641849"/>
                <a:gd name="connsiteX64" fmla="*/ 625480 w 1498281"/>
                <a:gd name="connsiteY64" fmla="*/ 1035314 h 3641849"/>
                <a:gd name="connsiteX65" fmla="*/ 586685 w 1498281"/>
                <a:gd name="connsiteY65" fmla="*/ 957743 h 3641849"/>
                <a:gd name="connsiteX66" fmla="*/ 655961 w 1498281"/>
                <a:gd name="connsiteY66" fmla="*/ 911200 h 3641849"/>
                <a:gd name="connsiteX67" fmla="*/ 723733 w 1498281"/>
                <a:gd name="connsiteY67" fmla="*/ 918934 h 3641849"/>
                <a:gd name="connsiteX68" fmla="*/ 747566 w 1498281"/>
                <a:gd name="connsiteY68" fmla="*/ 951001 h 3641849"/>
                <a:gd name="connsiteX69" fmla="*/ 903295 w 1498281"/>
                <a:gd name="connsiteY69" fmla="*/ 1007364 h 3641849"/>
                <a:gd name="connsiteX70" fmla="*/ 888887 w 1498281"/>
                <a:gd name="connsiteY70" fmla="*/ 971687 h 3641849"/>
                <a:gd name="connsiteX71" fmla="*/ 855635 w 1498281"/>
                <a:gd name="connsiteY71" fmla="*/ 932901 h 3641849"/>
                <a:gd name="connsiteX72" fmla="*/ 844551 w 1498281"/>
                <a:gd name="connsiteY72" fmla="*/ 881187 h 3641849"/>
                <a:gd name="connsiteX73" fmla="*/ 883346 w 1498281"/>
                <a:gd name="connsiteY73" fmla="*/ 832060 h 3641849"/>
                <a:gd name="connsiteX74" fmla="*/ 911056 w 1498281"/>
                <a:gd name="connsiteY74" fmla="*/ 803617 h 3641849"/>
                <a:gd name="connsiteX75" fmla="*/ 935996 w 1498281"/>
                <a:gd name="connsiteY75" fmla="*/ 767417 h 3641849"/>
                <a:gd name="connsiteX76" fmla="*/ 1016356 w 1498281"/>
                <a:gd name="connsiteY76" fmla="*/ 762245 h 3641849"/>
                <a:gd name="connsiteX77" fmla="*/ 1021897 w 1498281"/>
                <a:gd name="connsiteY77" fmla="*/ 741560 h 3641849"/>
                <a:gd name="connsiteX78" fmla="*/ 1046837 w 1498281"/>
                <a:gd name="connsiteY78" fmla="*/ 705360 h 3641849"/>
                <a:gd name="connsiteX79" fmla="*/ 1080641 w 1498281"/>
                <a:gd name="connsiteY79" fmla="*/ 687772 h 3641849"/>
                <a:gd name="connsiteX80" fmla="*/ 1138281 w 1498281"/>
                <a:gd name="connsiteY80" fmla="*/ 700189 h 3641849"/>
                <a:gd name="connsiteX81" fmla="*/ 1177074 w 1498281"/>
                <a:gd name="connsiteY81" fmla="*/ 720875 h 3641849"/>
                <a:gd name="connsiteX82" fmla="*/ 1224182 w 1498281"/>
                <a:gd name="connsiteY82" fmla="*/ 728632 h 3641849"/>
                <a:gd name="connsiteX83" fmla="*/ 1224182 w 1498281"/>
                <a:gd name="connsiteY83" fmla="*/ 733803 h 3641849"/>
                <a:gd name="connsiteX84" fmla="*/ 1246351 w 1498281"/>
                <a:gd name="connsiteY84" fmla="*/ 674332 h 3641849"/>
                <a:gd name="connsiteX85" fmla="*/ 1256326 w 1498281"/>
                <a:gd name="connsiteY85" fmla="*/ 640714 h 3641849"/>
                <a:gd name="connsiteX86" fmla="*/ 1262977 w 1498281"/>
                <a:gd name="connsiteY86" fmla="*/ 622618 h 3641849"/>
                <a:gd name="connsiteX87" fmla="*/ 1265914 w 1498281"/>
                <a:gd name="connsiteY87" fmla="*/ 591288 h 3641849"/>
                <a:gd name="connsiteX88" fmla="*/ 1185388 w 1498281"/>
                <a:gd name="connsiteY88" fmla="*/ 545048 h 3641849"/>
                <a:gd name="connsiteX89" fmla="*/ 1171533 w 1498281"/>
                <a:gd name="connsiteY89" fmla="*/ 472648 h 3641849"/>
                <a:gd name="connsiteX90" fmla="*/ 1171533 w 1498281"/>
                <a:gd name="connsiteY90" fmla="*/ 454548 h 3641849"/>
                <a:gd name="connsiteX91" fmla="*/ 1182616 w 1498281"/>
                <a:gd name="connsiteY91" fmla="*/ 431276 h 3641849"/>
                <a:gd name="connsiteX92" fmla="*/ 1185388 w 1498281"/>
                <a:gd name="connsiteY92" fmla="*/ 415762 h 3641849"/>
                <a:gd name="connsiteX93" fmla="*/ 1185387 w 1498281"/>
                <a:gd name="connsiteY93" fmla="*/ 358878 h 3641849"/>
                <a:gd name="connsiteX94" fmla="*/ 1163219 w 1498281"/>
                <a:gd name="connsiteY94" fmla="*/ 335607 h 3641849"/>
                <a:gd name="connsiteX95" fmla="*/ 1135509 w 1498281"/>
                <a:gd name="connsiteY95" fmla="*/ 304578 h 3641849"/>
                <a:gd name="connsiteX96" fmla="*/ 1131341 w 1498281"/>
                <a:gd name="connsiteY96" fmla="*/ 280325 h 3641849"/>
                <a:gd name="connsiteX97" fmla="*/ 1182617 w 1498281"/>
                <a:gd name="connsiteY97" fmla="*/ 258034 h 3641849"/>
                <a:gd name="connsiteX98" fmla="*/ 1236197 w 1498281"/>
                <a:gd name="connsiteY98" fmla="*/ 267906 h 3641849"/>
                <a:gd name="connsiteX99" fmla="*/ 1314981 w 1498281"/>
                <a:gd name="connsiteY99" fmla="*/ 279816 h 3641849"/>
                <a:gd name="connsiteX100" fmla="*/ 1399304 w 1498281"/>
                <a:gd name="connsiteY100" fmla="*/ 349175 h 3641849"/>
                <a:gd name="connsiteX101" fmla="*/ 1461439 w 1498281"/>
                <a:gd name="connsiteY101" fmla="*/ 425271 h 3641849"/>
                <a:gd name="connsiteX102" fmla="*/ 1360468 w 1498281"/>
                <a:gd name="connsiteY102" fmla="*/ 454265 h 3641849"/>
                <a:gd name="connsiteX103" fmla="*/ 1344934 w 1498281"/>
                <a:gd name="connsiteY103" fmla="*/ 501372 h 3641849"/>
                <a:gd name="connsiteX104" fmla="*/ 1402604 w 1498281"/>
                <a:gd name="connsiteY104" fmla="*/ 585862 h 3641849"/>
                <a:gd name="connsiteX105" fmla="*/ 1438138 w 1498281"/>
                <a:gd name="connsiteY105" fmla="*/ 591964 h 3641849"/>
                <a:gd name="connsiteX106" fmla="*/ 1490758 w 1498281"/>
                <a:gd name="connsiteY106" fmla="*/ 598304 h 3641849"/>
                <a:gd name="connsiteX107" fmla="*/ 1485795 w 1498281"/>
                <a:gd name="connsiteY107" fmla="*/ 709079 h 3641849"/>
                <a:gd name="connsiteX108" fmla="*/ 1496864 w 1498281"/>
                <a:gd name="connsiteY108" fmla="*/ 1040047 h 3641849"/>
                <a:gd name="connsiteX109" fmla="*/ 1487996 w 1498281"/>
                <a:gd name="connsiteY109" fmla="*/ 1842646 h 3641849"/>
                <a:gd name="connsiteX110" fmla="*/ 1496863 w 1498281"/>
                <a:gd name="connsiteY110" fmla="*/ 2297728 h 3641849"/>
                <a:gd name="connsiteX111" fmla="*/ 1470415 w 1498281"/>
                <a:gd name="connsiteY111" fmla="*/ 3607693 h 3641849"/>
                <a:gd name="connsiteX112" fmla="*/ 1211988 w 1498281"/>
                <a:gd name="connsiteY112" fmla="*/ 3564098 h 3641849"/>
                <a:gd name="connsiteX113" fmla="*/ 1043510 w 1498281"/>
                <a:gd name="connsiteY113" fmla="*/ 3497903 h 3641849"/>
                <a:gd name="connsiteX114" fmla="*/ 866164 w 1498281"/>
                <a:gd name="connsiteY114" fmla="*/ 3406887 h 3641849"/>
                <a:gd name="connsiteX115" fmla="*/ 767866 w 1498281"/>
                <a:gd name="connsiteY115" fmla="*/ 3326370 h 3641849"/>
                <a:gd name="connsiteX116" fmla="*/ 1062128 w 1498281"/>
                <a:gd name="connsiteY116" fmla="*/ 3018734 h 3641849"/>
                <a:gd name="connsiteX117" fmla="*/ 778374 w 1498281"/>
                <a:gd name="connsiteY117" fmla="*/ 2480910 h 3641849"/>
                <a:gd name="connsiteX118" fmla="*/ 920724 w 1498281"/>
                <a:gd name="connsiteY118" fmla="*/ 2241825 h 3641849"/>
                <a:gd name="connsiteX119" fmla="*/ 734037 w 1498281"/>
                <a:gd name="connsiteY119" fmla="*/ 1703134 h 3641849"/>
                <a:gd name="connsiteX120" fmla="*/ 485753 w 1498281"/>
                <a:gd name="connsiteY120" fmla="*/ 1471456 h 3641849"/>
                <a:gd name="connsiteX121" fmla="*/ 16897 w 1498281"/>
                <a:gd name="connsiteY121" fmla="*/ 2159767 h 3641849"/>
                <a:gd name="connsiteX0" fmla="*/ 16897 w 1498281"/>
                <a:gd name="connsiteY0" fmla="*/ 2159767 h 3641849"/>
                <a:gd name="connsiteX1" fmla="*/ 79588 w 1498281"/>
                <a:gd name="connsiteY1" fmla="*/ 1588655 h 3641849"/>
                <a:gd name="connsiteX2" fmla="*/ 90673 w 1498281"/>
                <a:gd name="connsiteY2" fmla="*/ 1567969 h 3641849"/>
                <a:gd name="connsiteX3" fmla="*/ 112841 w 1498281"/>
                <a:gd name="connsiteY3" fmla="*/ 1536941 h 3641849"/>
                <a:gd name="connsiteX4" fmla="*/ 137780 w 1498281"/>
                <a:gd name="connsiteY4" fmla="*/ 1505912 h 3641849"/>
                <a:gd name="connsiteX5" fmla="*/ 123926 w 1498281"/>
                <a:gd name="connsiteY5" fmla="*/ 1555040 h 3641849"/>
                <a:gd name="connsiteX6" fmla="*/ 143322 w 1498281"/>
                <a:gd name="connsiteY6" fmla="*/ 1588655 h 3641849"/>
                <a:gd name="connsiteX7" fmla="*/ 187659 w 1498281"/>
                <a:gd name="connsiteY7" fmla="*/ 1666225 h 3641849"/>
                <a:gd name="connsiteX8" fmla="*/ 256935 w 1498281"/>
                <a:gd name="connsiteY8" fmla="*/ 1653297 h 3641849"/>
                <a:gd name="connsiteX9" fmla="*/ 276331 w 1498281"/>
                <a:gd name="connsiteY9" fmla="*/ 1622268 h 3641849"/>
                <a:gd name="connsiteX10" fmla="*/ 290187 w 1498281"/>
                <a:gd name="connsiteY10" fmla="*/ 1557627 h 3641849"/>
                <a:gd name="connsiteX11" fmla="*/ 229224 w 1498281"/>
                <a:gd name="connsiteY11" fmla="*/ 1511084 h 3641849"/>
                <a:gd name="connsiteX12" fmla="*/ 184888 w 1498281"/>
                <a:gd name="connsiteY12" fmla="*/ 1485227 h 3641849"/>
                <a:gd name="connsiteX13" fmla="*/ 123926 w 1498281"/>
                <a:gd name="connsiteY13" fmla="*/ 1495570 h 3641849"/>
                <a:gd name="connsiteX14" fmla="*/ 301272 w 1498281"/>
                <a:gd name="connsiteY14" fmla="*/ 1299057 h 3641849"/>
                <a:gd name="connsiteX15" fmla="*/ 148865 w 1498281"/>
                <a:gd name="connsiteY15" fmla="*/ 1151672 h 3641849"/>
                <a:gd name="connsiteX16" fmla="*/ 209828 w 1498281"/>
                <a:gd name="connsiteY16" fmla="*/ 1089617 h 3641849"/>
                <a:gd name="connsiteX17" fmla="*/ 143323 w 1498281"/>
                <a:gd name="connsiteY17" fmla="*/ 1050829 h 3641849"/>
                <a:gd name="connsiteX18" fmla="*/ 184888 w 1498281"/>
                <a:gd name="connsiteY18" fmla="*/ 1019802 h 3641849"/>
                <a:gd name="connsiteX19" fmla="*/ 137782 w 1498281"/>
                <a:gd name="connsiteY19" fmla="*/ 993947 h 3641849"/>
                <a:gd name="connsiteX20" fmla="*/ 137781 w 1498281"/>
                <a:gd name="connsiteY20" fmla="*/ 794845 h 3641849"/>
                <a:gd name="connsiteX21" fmla="*/ 176576 w 1498281"/>
                <a:gd name="connsiteY21" fmla="*/ 779332 h 3641849"/>
                <a:gd name="connsiteX22" fmla="*/ 62963 w 1498281"/>
                <a:gd name="connsiteY22" fmla="*/ 551792 h 3641849"/>
                <a:gd name="connsiteX23" fmla="*/ 60192 w 1498281"/>
                <a:gd name="connsiteY23" fmla="*/ 551792 h 3641849"/>
                <a:gd name="connsiteX24" fmla="*/ 110070 w 1498281"/>
                <a:gd name="connsiteY24" fmla="*/ 469048 h 3641849"/>
                <a:gd name="connsiteX25" fmla="*/ 126696 w 1498281"/>
                <a:gd name="connsiteY25" fmla="*/ 378550 h 3641849"/>
                <a:gd name="connsiteX26" fmla="*/ 51877 w 1498281"/>
                <a:gd name="connsiteY26" fmla="*/ 319079 h 3641849"/>
                <a:gd name="connsiteX27" fmla="*/ 43565 w 1498281"/>
                <a:gd name="connsiteY27" fmla="*/ 251851 h 3641849"/>
                <a:gd name="connsiteX28" fmla="*/ 98985 w 1498281"/>
                <a:gd name="connsiteY28" fmla="*/ 158764 h 3641849"/>
                <a:gd name="connsiteX29" fmla="*/ 118383 w 1498281"/>
                <a:gd name="connsiteY29" fmla="*/ 135494 h 3641849"/>
                <a:gd name="connsiteX30" fmla="*/ 132238 w 1498281"/>
                <a:gd name="connsiteY30" fmla="*/ 117394 h 3641849"/>
                <a:gd name="connsiteX31" fmla="*/ 140551 w 1498281"/>
                <a:gd name="connsiteY31" fmla="*/ 73438 h 3641849"/>
                <a:gd name="connsiteX32" fmla="*/ 165490 w 1498281"/>
                <a:gd name="connsiteY32" fmla="*/ 101880 h 3641849"/>
                <a:gd name="connsiteX33" fmla="*/ 195972 w 1498281"/>
                <a:gd name="connsiteY33" fmla="*/ 88952 h 3641849"/>
                <a:gd name="connsiteX34" fmla="*/ 198742 w 1498281"/>
                <a:gd name="connsiteY34" fmla="*/ 63095 h 3641849"/>
                <a:gd name="connsiteX35" fmla="*/ 207056 w 1498281"/>
                <a:gd name="connsiteY35" fmla="*/ 34652 h 3641849"/>
                <a:gd name="connsiteX36" fmla="*/ 209828 w 1498281"/>
                <a:gd name="connsiteY36" fmla="*/ 3624 h 3641849"/>
                <a:gd name="connsiteX37" fmla="*/ 345608 w 1498281"/>
                <a:gd name="connsiteY37" fmla="*/ 57924 h 3641849"/>
                <a:gd name="connsiteX38" fmla="*/ 376088 w 1498281"/>
                <a:gd name="connsiteY38" fmla="*/ 161352 h 3641849"/>
                <a:gd name="connsiteX39" fmla="*/ 389944 w 1498281"/>
                <a:gd name="connsiteY39" fmla="*/ 184622 h 3641849"/>
                <a:gd name="connsiteX40" fmla="*/ 401028 w 1498281"/>
                <a:gd name="connsiteY40" fmla="*/ 187208 h 3641849"/>
                <a:gd name="connsiteX41" fmla="*/ 514640 w 1498281"/>
                <a:gd name="connsiteY41" fmla="*/ 156181 h 3641849"/>
                <a:gd name="connsiteX42" fmla="*/ 581145 w 1498281"/>
                <a:gd name="connsiteY42" fmla="*/ 166522 h 3641849"/>
                <a:gd name="connsiteX43" fmla="*/ 644879 w 1498281"/>
                <a:gd name="connsiteY43" fmla="*/ 213065 h 3641849"/>
                <a:gd name="connsiteX44" fmla="*/ 658906 w 1498281"/>
                <a:gd name="connsiteY44" fmla="*/ 242621 h 3641849"/>
                <a:gd name="connsiteX45" fmla="*/ 714153 w 1498281"/>
                <a:gd name="connsiteY45" fmla="*/ 277708 h 3641849"/>
                <a:gd name="connsiteX46" fmla="*/ 802827 w 1498281"/>
                <a:gd name="connsiteY46" fmla="*/ 303563 h 3641849"/>
                <a:gd name="connsiteX47" fmla="*/ 874873 w 1498281"/>
                <a:gd name="connsiteY47" fmla="*/ 350106 h 3641849"/>
                <a:gd name="connsiteX48" fmla="*/ 924752 w 1498281"/>
                <a:gd name="connsiteY48" fmla="*/ 401820 h 3641849"/>
                <a:gd name="connsiteX49" fmla="*/ 949691 w 1498281"/>
                <a:gd name="connsiteY49" fmla="*/ 440606 h 3641849"/>
                <a:gd name="connsiteX50" fmla="*/ 982944 w 1498281"/>
                <a:gd name="connsiteY50" fmla="*/ 466462 h 3641849"/>
                <a:gd name="connsiteX51" fmla="*/ 966316 w 1498281"/>
                <a:gd name="connsiteY51" fmla="*/ 691417 h 3641849"/>
                <a:gd name="connsiteX52" fmla="*/ 838850 w 1498281"/>
                <a:gd name="connsiteY52" fmla="*/ 771575 h 3641849"/>
                <a:gd name="connsiteX53" fmla="*/ 725238 w 1498281"/>
                <a:gd name="connsiteY53" fmla="*/ 779331 h 3641849"/>
                <a:gd name="connsiteX54" fmla="*/ 586685 w 1498281"/>
                <a:gd name="connsiteY54" fmla="*/ 758645 h 3641849"/>
                <a:gd name="connsiteX55" fmla="*/ 495241 w 1498281"/>
                <a:gd name="connsiteY55" fmla="*/ 722445 h 3641849"/>
                <a:gd name="connsiteX56" fmla="*/ 475844 w 1498281"/>
                <a:gd name="connsiteY56" fmla="*/ 750888 h 3641849"/>
                <a:gd name="connsiteX57" fmla="*/ 506486 w 1498281"/>
                <a:gd name="connsiteY57" fmla="*/ 824301 h 3641849"/>
                <a:gd name="connsiteX58" fmla="*/ 512027 w 1498281"/>
                <a:gd name="connsiteY58" fmla="*/ 951000 h 3641849"/>
                <a:gd name="connsiteX59" fmla="*/ 484157 w 1498281"/>
                <a:gd name="connsiteY59" fmla="*/ 1012043 h 3641849"/>
                <a:gd name="connsiteX60" fmla="*/ 539576 w 1498281"/>
                <a:gd name="connsiteY60" fmla="*/ 1032728 h 3641849"/>
                <a:gd name="connsiteX61" fmla="*/ 556204 w 1498281"/>
                <a:gd name="connsiteY61" fmla="*/ 1048242 h 3641849"/>
                <a:gd name="connsiteX62" fmla="*/ 581144 w 1498281"/>
                <a:gd name="connsiteY62" fmla="*/ 1074099 h 3641849"/>
                <a:gd name="connsiteX63" fmla="*/ 578373 w 1498281"/>
                <a:gd name="connsiteY63" fmla="*/ 1076685 h 3641849"/>
                <a:gd name="connsiteX64" fmla="*/ 617166 w 1498281"/>
                <a:gd name="connsiteY64" fmla="*/ 1071514 h 3641849"/>
                <a:gd name="connsiteX65" fmla="*/ 625480 w 1498281"/>
                <a:gd name="connsiteY65" fmla="*/ 1035314 h 3641849"/>
                <a:gd name="connsiteX66" fmla="*/ 586685 w 1498281"/>
                <a:gd name="connsiteY66" fmla="*/ 957743 h 3641849"/>
                <a:gd name="connsiteX67" fmla="*/ 655961 w 1498281"/>
                <a:gd name="connsiteY67" fmla="*/ 911200 h 3641849"/>
                <a:gd name="connsiteX68" fmla="*/ 723733 w 1498281"/>
                <a:gd name="connsiteY68" fmla="*/ 918934 h 3641849"/>
                <a:gd name="connsiteX69" fmla="*/ 747566 w 1498281"/>
                <a:gd name="connsiteY69" fmla="*/ 951001 h 3641849"/>
                <a:gd name="connsiteX70" fmla="*/ 903295 w 1498281"/>
                <a:gd name="connsiteY70" fmla="*/ 1007364 h 3641849"/>
                <a:gd name="connsiteX71" fmla="*/ 888887 w 1498281"/>
                <a:gd name="connsiteY71" fmla="*/ 971687 h 3641849"/>
                <a:gd name="connsiteX72" fmla="*/ 855635 w 1498281"/>
                <a:gd name="connsiteY72" fmla="*/ 932901 h 3641849"/>
                <a:gd name="connsiteX73" fmla="*/ 844551 w 1498281"/>
                <a:gd name="connsiteY73" fmla="*/ 881187 h 3641849"/>
                <a:gd name="connsiteX74" fmla="*/ 883346 w 1498281"/>
                <a:gd name="connsiteY74" fmla="*/ 832060 h 3641849"/>
                <a:gd name="connsiteX75" fmla="*/ 911056 w 1498281"/>
                <a:gd name="connsiteY75" fmla="*/ 803617 h 3641849"/>
                <a:gd name="connsiteX76" fmla="*/ 935996 w 1498281"/>
                <a:gd name="connsiteY76" fmla="*/ 767417 h 3641849"/>
                <a:gd name="connsiteX77" fmla="*/ 1016356 w 1498281"/>
                <a:gd name="connsiteY77" fmla="*/ 762245 h 3641849"/>
                <a:gd name="connsiteX78" fmla="*/ 1021897 w 1498281"/>
                <a:gd name="connsiteY78" fmla="*/ 741560 h 3641849"/>
                <a:gd name="connsiteX79" fmla="*/ 1046837 w 1498281"/>
                <a:gd name="connsiteY79" fmla="*/ 705360 h 3641849"/>
                <a:gd name="connsiteX80" fmla="*/ 1080641 w 1498281"/>
                <a:gd name="connsiteY80" fmla="*/ 687772 h 3641849"/>
                <a:gd name="connsiteX81" fmla="*/ 1138281 w 1498281"/>
                <a:gd name="connsiteY81" fmla="*/ 700189 h 3641849"/>
                <a:gd name="connsiteX82" fmla="*/ 1177074 w 1498281"/>
                <a:gd name="connsiteY82" fmla="*/ 720875 h 3641849"/>
                <a:gd name="connsiteX83" fmla="*/ 1224182 w 1498281"/>
                <a:gd name="connsiteY83" fmla="*/ 728632 h 3641849"/>
                <a:gd name="connsiteX84" fmla="*/ 1224182 w 1498281"/>
                <a:gd name="connsiteY84" fmla="*/ 733803 h 3641849"/>
                <a:gd name="connsiteX85" fmla="*/ 1246351 w 1498281"/>
                <a:gd name="connsiteY85" fmla="*/ 674332 h 3641849"/>
                <a:gd name="connsiteX86" fmla="*/ 1256326 w 1498281"/>
                <a:gd name="connsiteY86" fmla="*/ 640714 h 3641849"/>
                <a:gd name="connsiteX87" fmla="*/ 1262977 w 1498281"/>
                <a:gd name="connsiteY87" fmla="*/ 622618 h 3641849"/>
                <a:gd name="connsiteX88" fmla="*/ 1265914 w 1498281"/>
                <a:gd name="connsiteY88" fmla="*/ 591288 h 3641849"/>
                <a:gd name="connsiteX89" fmla="*/ 1185388 w 1498281"/>
                <a:gd name="connsiteY89" fmla="*/ 545048 h 3641849"/>
                <a:gd name="connsiteX90" fmla="*/ 1171533 w 1498281"/>
                <a:gd name="connsiteY90" fmla="*/ 472648 h 3641849"/>
                <a:gd name="connsiteX91" fmla="*/ 1171533 w 1498281"/>
                <a:gd name="connsiteY91" fmla="*/ 454548 h 3641849"/>
                <a:gd name="connsiteX92" fmla="*/ 1182616 w 1498281"/>
                <a:gd name="connsiteY92" fmla="*/ 431276 h 3641849"/>
                <a:gd name="connsiteX93" fmla="*/ 1185388 w 1498281"/>
                <a:gd name="connsiteY93" fmla="*/ 415762 h 3641849"/>
                <a:gd name="connsiteX94" fmla="*/ 1185387 w 1498281"/>
                <a:gd name="connsiteY94" fmla="*/ 358878 h 3641849"/>
                <a:gd name="connsiteX95" fmla="*/ 1163219 w 1498281"/>
                <a:gd name="connsiteY95" fmla="*/ 335607 h 3641849"/>
                <a:gd name="connsiteX96" fmla="*/ 1135509 w 1498281"/>
                <a:gd name="connsiteY96" fmla="*/ 304578 h 3641849"/>
                <a:gd name="connsiteX97" fmla="*/ 1131341 w 1498281"/>
                <a:gd name="connsiteY97" fmla="*/ 280325 h 3641849"/>
                <a:gd name="connsiteX98" fmla="*/ 1182617 w 1498281"/>
                <a:gd name="connsiteY98" fmla="*/ 258034 h 3641849"/>
                <a:gd name="connsiteX99" fmla="*/ 1236197 w 1498281"/>
                <a:gd name="connsiteY99" fmla="*/ 267906 h 3641849"/>
                <a:gd name="connsiteX100" fmla="*/ 1314981 w 1498281"/>
                <a:gd name="connsiteY100" fmla="*/ 279816 h 3641849"/>
                <a:gd name="connsiteX101" fmla="*/ 1399304 w 1498281"/>
                <a:gd name="connsiteY101" fmla="*/ 349175 h 3641849"/>
                <a:gd name="connsiteX102" fmla="*/ 1461439 w 1498281"/>
                <a:gd name="connsiteY102" fmla="*/ 425271 h 3641849"/>
                <a:gd name="connsiteX103" fmla="*/ 1360468 w 1498281"/>
                <a:gd name="connsiteY103" fmla="*/ 454265 h 3641849"/>
                <a:gd name="connsiteX104" fmla="*/ 1344934 w 1498281"/>
                <a:gd name="connsiteY104" fmla="*/ 501372 h 3641849"/>
                <a:gd name="connsiteX105" fmla="*/ 1402604 w 1498281"/>
                <a:gd name="connsiteY105" fmla="*/ 585862 h 3641849"/>
                <a:gd name="connsiteX106" fmla="*/ 1438138 w 1498281"/>
                <a:gd name="connsiteY106" fmla="*/ 591964 h 3641849"/>
                <a:gd name="connsiteX107" fmla="*/ 1490758 w 1498281"/>
                <a:gd name="connsiteY107" fmla="*/ 598304 h 3641849"/>
                <a:gd name="connsiteX108" fmla="*/ 1485795 w 1498281"/>
                <a:gd name="connsiteY108" fmla="*/ 709079 h 3641849"/>
                <a:gd name="connsiteX109" fmla="*/ 1496864 w 1498281"/>
                <a:gd name="connsiteY109" fmla="*/ 1040047 h 3641849"/>
                <a:gd name="connsiteX110" fmla="*/ 1487996 w 1498281"/>
                <a:gd name="connsiteY110" fmla="*/ 1842646 h 3641849"/>
                <a:gd name="connsiteX111" fmla="*/ 1496863 w 1498281"/>
                <a:gd name="connsiteY111" fmla="*/ 2297728 h 3641849"/>
                <a:gd name="connsiteX112" fmla="*/ 1470415 w 1498281"/>
                <a:gd name="connsiteY112" fmla="*/ 3607693 h 3641849"/>
                <a:gd name="connsiteX113" fmla="*/ 1211988 w 1498281"/>
                <a:gd name="connsiteY113" fmla="*/ 3564098 h 3641849"/>
                <a:gd name="connsiteX114" fmla="*/ 1043510 w 1498281"/>
                <a:gd name="connsiteY114" fmla="*/ 3497903 h 3641849"/>
                <a:gd name="connsiteX115" fmla="*/ 866164 w 1498281"/>
                <a:gd name="connsiteY115" fmla="*/ 3406887 h 3641849"/>
                <a:gd name="connsiteX116" fmla="*/ 767866 w 1498281"/>
                <a:gd name="connsiteY116" fmla="*/ 3326370 h 3641849"/>
                <a:gd name="connsiteX117" fmla="*/ 1062128 w 1498281"/>
                <a:gd name="connsiteY117" fmla="*/ 3018734 h 3641849"/>
                <a:gd name="connsiteX118" fmla="*/ 778374 w 1498281"/>
                <a:gd name="connsiteY118" fmla="*/ 2480910 h 3641849"/>
                <a:gd name="connsiteX119" fmla="*/ 920724 w 1498281"/>
                <a:gd name="connsiteY119" fmla="*/ 2241825 h 3641849"/>
                <a:gd name="connsiteX120" fmla="*/ 734037 w 1498281"/>
                <a:gd name="connsiteY120" fmla="*/ 1703134 h 3641849"/>
                <a:gd name="connsiteX121" fmla="*/ 485753 w 1498281"/>
                <a:gd name="connsiteY121" fmla="*/ 1471456 h 3641849"/>
                <a:gd name="connsiteX122" fmla="*/ 16897 w 1498281"/>
                <a:gd name="connsiteY122" fmla="*/ 2159767 h 3641849"/>
                <a:gd name="connsiteX0" fmla="*/ 16897 w 1498281"/>
                <a:gd name="connsiteY0" fmla="*/ 2159767 h 3641849"/>
                <a:gd name="connsiteX1" fmla="*/ 79588 w 1498281"/>
                <a:gd name="connsiteY1" fmla="*/ 1588655 h 3641849"/>
                <a:gd name="connsiteX2" fmla="*/ 90673 w 1498281"/>
                <a:gd name="connsiteY2" fmla="*/ 1567969 h 3641849"/>
                <a:gd name="connsiteX3" fmla="*/ 112841 w 1498281"/>
                <a:gd name="connsiteY3" fmla="*/ 1536941 h 3641849"/>
                <a:gd name="connsiteX4" fmla="*/ 137780 w 1498281"/>
                <a:gd name="connsiteY4" fmla="*/ 1505912 h 3641849"/>
                <a:gd name="connsiteX5" fmla="*/ 123926 w 1498281"/>
                <a:gd name="connsiteY5" fmla="*/ 1555040 h 3641849"/>
                <a:gd name="connsiteX6" fmla="*/ 143322 w 1498281"/>
                <a:gd name="connsiteY6" fmla="*/ 1588655 h 3641849"/>
                <a:gd name="connsiteX7" fmla="*/ 187659 w 1498281"/>
                <a:gd name="connsiteY7" fmla="*/ 1666225 h 3641849"/>
                <a:gd name="connsiteX8" fmla="*/ 256935 w 1498281"/>
                <a:gd name="connsiteY8" fmla="*/ 1653297 h 3641849"/>
                <a:gd name="connsiteX9" fmla="*/ 276331 w 1498281"/>
                <a:gd name="connsiteY9" fmla="*/ 1622268 h 3641849"/>
                <a:gd name="connsiteX10" fmla="*/ 290187 w 1498281"/>
                <a:gd name="connsiteY10" fmla="*/ 1557627 h 3641849"/>
                <a:gd name="connsiteX11" fmla="*/ 229224 w 1498281"/>
                <a:gd name="connsiteY11" fmla="*/ 1511084 h 3641849"/>
                <a:gd name="connsiteX12" fmla="*/ 184888 w 1498281"/>
                <a:gd name="connsiteY12" fmla="*/ 1485227 h 3641849"/>
                <a:gd name="connsiteX13" fmla="*/ 123926 w 1498281"/>
                <a:gd name="connsiteY13" fmla="*/ 1495570 h 3641849"/>
                <a:gd name="connsiteX14" fmla="*/ 301272 w 1498281"/>
                <a:gd name="connsiteY14" fmla="*/ 1299057 h 3641849"/>
                <a:gd name="connsiteX15" fmla="*/ 148865 w 1498281"/>
                <a:gd name="connsiteY15" fmla="*/ 1151672 h 3641849"/>
                <a:gd name="connsiteX16" fmla="*/ 209828 w 1498281"/>
                <a:gd name="connsiteY16" fmla="*/ 1089617 h 3641849"/>
                <a:gd name="connsiteX17" fmla="*/ 143323 w 1498281"/>
                <a:gd name="connsiteY17" fmla="*/ 1050829 h 3641849"/>
                <a:gd name="connsiteX18" fmla="*/ 184888 w 1498281"/>
                <a:gd name="connsiteY18" fmla="*/ 1019802 h 3641849"/>
                <a:gd name="connsiteX19" fmla="*/ 137782 w 1498281"/>
                <a:gd name="connsiteY19" fmla="*/ 993947 h 3641849"/>
                <a:gd name="connsiteX20" fmla="*/ 137781 w 1498281"/>
                <a:gd name="connsiteY20" fmla="*/ 794845 h 3641849"/>
                <a:gd name="connsiteX21" fmla="*/ 176576 w 1498281"/>
                <a:gd name="connsiteY21" fmla="*/ 779332 h 3641849"/>
                <a:gd name="connsiteX22" fmla="*/ 62963 w 1498281"/>
                <a:gd name="connsiteY22" fmla="*/ 551792 h 3641849"/>
                <a:gd name="connsiteX23" fmla="*/ 60192 w 1498281"/>
                <a:gd name="connsiteY23" fmla="*/ 551792 h 3641849"/>
                <a:gd name="connsiteX24" fmla="*/ 110070 w 1498281"/>
                <a:gd name="connsiteY24" fmla="*/ 469048 h 3641849"/>
                <a:gd name="connsiteX25" fmla="*/ 126696 w 1498281"/>
                <a:gd name="connsiteY25" fmla="*/ 378550 h 3641849"/>
                <a:gd name="connsiteX26" fmla="*/ 51877 w 1498281"/>
                <a:gd name="connsiteY26" fmla="*/ 319079 h 3641849"/>
                <a:gd name="connsiteX27" fmla="*/ 43565 w 1498281"/>
                <a:gd name="connsiteY27" fmla="*/ 251851 h 3641849"/>
                <a:gd name="connsiteX28" fmla="*/ 98985 w 1498281"/>
                <a:gd name="connsiteY28" fmla="*/ 158764 h 3641849"/>
                <a:gd name="connsiteX29" fmla="*/ 118383 w 1498281"/>
                <a:gd name="connsiteY29" fmla="*/ 135494 h 3641849"/>
                <a:gd name="connsiteX30" fmla="*/ 132238 w 1498281"/>
                <a:gd name="connsiteY30" fmla="*/ 117394 h 3641849"/>
                <a:gd name="connsiteX31" fmla="*/ 140551 w 1498281"/>
                <a:gd name="connsiteY31" fmla="*/ 73438 h 3641849"/>
                <a:gd name="connsiteX32" fmla="*/ 165490 w 1498281"/>
                <a:gd name="connsiteY32" fmla="*/ 101880 h 3641849"/>
                <a:gd name="connsiteX33" fmla="*/ 195972 w 1498281"/>
                <a:gd name="connsiteY33" fmla="*/ 88952 h 3641849"/>
                <a:gd name="connsiteX34" fmla="*/ 198742 w 1498281"/>
                <a:gd name="connsiteY34" fmla="*/ 63095 h 3641849"/>
                <a:gd name="connsiteX35" fmla="*/ 207056 w 1498281"/>
                <a:gd name="connsiteY35" fmla="*/ 34652 h 3641849"/>
                <a:gd name="connsiteX36" fmla="*/ 209828 w 1498281"/>
                <a:gd name="connsiteY36" fmla="*/ 3624 h 3641849"/>
                <a:gd name="connsiteX37" fmla="*/ 345608 w 1498281"/>
                <a:gd name="connsiteY37" fmla="*/ 57924 h 3641849"/>
                <a:gd name="connsiteX38" fmla="*/ 376088 w 1498281"/>
                <a:gd name="connsiteY38" fmla="*/ 161352 h 3641849"/>
                <a:gd name="connsiteX39" fmla="*/ 389944 w 1498281"/>
                <a:gd name="connsiteY39" fmla="*/ 184622 h 3641849"/>
                <a:gd name="connsiteX40" fmla="*/ 401028 w 1498281"/>
                <a:gd name="connsiteY40" fmla="*/ 187208 h 3641849"/>
                <a:gd name="connsiteX41" fmla="*/ 514640 w 1498281"/>
                <a:gd name="connsiteY41" fmla="*/ 156181 h 3641849"/>
                <a:gd name="connsiteX42" fmla="*/ 581145 w 1498281"/>
                <a:gd name="connsiteY42" fmla="*/ 166522 h 3641849"/>
                <a:gd name="connsiteX43" fmla="*/ 644879 w 1498281"/>
                <a:gd name="connsiteY43" fmla="*/ 213065 h 3641849"/>
                <a:gd name="connsiteX44" fmla="*/ 658906 w 1498281"/>
                <a:gd name="connsiteY44" fmla="*/ 242621 h 3641849"/>
                <a:gd name="connsiteX45" fmla="*/ 714153 w 1498281"/>
                <a:gd name="connsiteY45" fmla="*/ 277708 h 3641849"/>
                <a:gd name="connsiteX46" fmla="*/ 802827 w 1498281"/>
                <a:gd name="connsiteY46" fmla="*/ 303563 h 3641849"/>
                <a:gd name="connsiteX47" fmla="*/ 874873 w 1498281"/>
                <a:gd name="connsiteY47" fmla="*/ 350106 h 3641849"/>
                <a:gd name="connsiteX48" fmla="*/ 924752 w 1498281"/>
                <a:gd name="connsiteY48" fmla="*/ 401820 h 3641849"/>
                <a:gd name="connsiteX49" fmla="*/ 949691 w 1498281"/>
                <a:gd name="connsiteY49" fmla="*/ 440606 h 3641849"/>
                <a:gd name="connsiteX50" fmla="*/ 982944 w 1498281"/>
                <a:gd name="connsiteY50" fmla="*/ 466462 h 3641849"/>
                <a:gd name="connsiteX51" fmla="*/ 966316 w 1498281"/>
                <a:gd name="connsiteY51" fmla="*/ 691417 h 3641849"/>
                <a:gd name="connsiteX52" fmla="*/ 838850 w 1498281"/>
                <a:gd name="connsiteY52" fmla="*/ 771575 h 3641849"/>
                <a:gd name="connsiteX53" fmla="*/ 725238 w 1498281"/>
                <a:gd name="connsiteY53" fmla="*/ 779331 h 3641849"/>
                <a:gd name="connsiteX54" fmla="*/ 586685 w 1498281"/>
                <a:gd name="connsiteY54" fmla="*/ 758645 h 3641849"/>
                <a:gd name="connsiteX55" fmla="*/ 495241 w 1498281"/>
                <a:gd name="connsiteY55" fmla="*/ 722445 h 3641849"/>
                <a:gd name="connsiteX56" fmla="*/ 475844 w 1498281"/>
                <a:gd name="connsiteY56" fmla="*/ 750888 h 3641849"/>
                <a:gd name="connsiteX57" fmla="*/ 506486 w 1498281"/>
                <a:gd name="connsiteY57" fmla="*/ 824301 h 3641849"/>
                <a:gd name="connsiteX58" fmla="*/ 512027 w 1498281"/>
                <a:gd name="connsiteY58" fmla="*/ 951000 h 3641849"/>
                <a:gd name="connsiteX59" fmla="*/ 484157 w 1498281"/>
                <a:gd name="connsiteY59" fmla="*/ 1012043 h 3641849"/>
                <a:gd name="connsiteX60" fmla="*/ 539576 w 1498281"/>
                <a:gd name="connsiteY60" fmla="*/ 1032728 h 3641849"/>
                <a:gd name="connsiteX61" fmla="*/ 556204 w 1498281"/>
                <a:gd name="connsiteY61" fmla="*/ 1048242 h 3641849"/>
                <a:gd name="connsiteX62" fmla="*/ 581144 w 1498281"/>
                <a:gd name="connsiteY62" fmla="*/ 1074099 h 3641849"/>
                <a:gd name="connsiteX63" fmla="*/ 578373 w 1498281"/>
                <a:gd name="connsiteY63" fmla="*/ 1076685 h 3641849"/>
                <a:gd name="connsiteX64" fmla="*/ 617166 w 1498281"/>
                <a:gd name="connsiteY64" fmla="*/ 1071514 h 3641849"/>
                <a:gd name="connsiteX65" fmla="*/ 625480 w 1498281"/>
                <a:gd name="connsiteY65" fmla="*/ 1035314 h 3641849"/>
                <a:gd name="connsiteX66" fmla="*/ 586685 w 1498281"/>
                <a:gd name="connsiteY66" fmla="*/ 957743 h 3641849"/>
                <a:gd name="connsiteX67" fmla="*/ 655961 w 1498281"/>
                <a:gd name="connsiteY67" fmla="*/ 911200 h 3641849"/>
                <a:gd name="connsiteX68" fmla="*/ 723733 w 1498281"/>
                <a:gd name="connsiteY68" fmla="*/ 918934 h 3641849"/>
                <a:gd name="connsiteX69" fmla="*/ 747566 w 1498281"/>
                <a:gd name="connsiteY69" fmla="*/ 951001 h 3641849"/>
                <a:gd name="connsiteX70" fmla="*/ 903295 w 1498281"/>
                <a:gd name="connsiteY70" fmla="*/ 1007364 h 3641849"/>
                <a:gd name="connsiteX71" fmla="*/ 888887 w 1498281"/>
                <a:gd name="connsiteY71" fmla="*/ 971687 h 3641849"/>
                <a:gd name="connsiteX72" fmla="*/ 855635 w 1498281"/>
                <a:gd name="connsiteY72" fmla="*/ 932901 h 3641849"/>
                <a:gd name="connsiteX73" fmla="*/ 844551 w 1498281"/>
                <a:gd name="connsiteY73" fmla="*/ 881187 h 3641849"/>
                <a:gd name="connsiteX74" fmla="*/ 883346 w 1498281"/>
                <a:gd name="connsiteY74" fmla="*/ 832060 h 3641849"/>
                <a:gd name="connsiteX75" fmla="*/ 911056 w 1498281"/>
                <a:gd name="connsiteY75" fmla="*/ 803617 h 3641849"/>
                <a:gd name="connsiteX76" fmla="*/ 935996 w 1498281"/>
                <a:gd name="connsiteY76" fmla="*/ 767417 h 3641849"/>
                <a:gd name="connsiteX77" fmla="*/ 1016356 w 1498281"/>
                <a:gd name="connsiteY77" fmla="*/ 762245 h 3641849"/>
                <a:gd name="connsiteX78" fmla="*/ 1021897 w 1498281"/>
                <a:gd name="connsiteY78" fmla="*/ 741560 h 3641849"/>
                <a:gd name="connsiteX79" fmla="*/ 1046837 w 1498281"/>
                <a:gd name="connsiteY79" fmla="*/ 705360 h 3641849"/>
                <a:gd name="connsiteX80" fmla="*/ 1080641 w 1498281"/>
                <a:gd name="connsiteY80" fmla="*/ 687772 h 3641849"/>
                <a:gd name="connsiteX81" fmla="*/ 1138281 w 1498281"/>
                <a:gd name="connsiteY81" fmla="*/ 700189 h 3641849"/>
                <a:gd name="connsiteX82" fmla="*/ 1177074 w 1498281"/>
                <a:gd name="connsiteY82" fmla="*/ 720875 h 3641849"/>
                <a:gd name="connsiteX83" fmla="*/ 1224182 w 1498281"/>
                <a:gd name="connsiteY83" fmla="*/ 728632 h 3641849"/>
                <a:gd name="connsiteX84" fmla="*/ 1224182 w 1498281"/>
                <a:gd name="connsiteY84" fmla="*/ 733803 h 3641849"/>
                <a:gd name="connsiteX85" fmla="*/ 1246351 w 1498281"/>
                <a:gd name="connsiteY85" fmla="*/ 674332 h 3641849"/>
                <a:gd name="connsiteX86" fmla="*/ 1256326 w 1498281"/>
                <a:gd name="connsiteY86" fmla="*/ 640714 h 3641849"/>
                <a:gd name="connsiteX87" fmla="*/ 1262977 w 1498281"/>
                <a:gd name="connsiteY87" fmla="*/ 622618 h 3641849"/>
                <a:gd name="connsiteX88" fmla="*/ 1265914 w 1498281"/>
                <a:gd name="connsiteY88" fmla="*/ 591288 h 3641849"/>
                <a:gd name="connsiteX89" fmla="*/ 1185388 w 1498281"/>
                <a:gd name="connsiteY89" fmla="*/ 545048 h 3641849"/>
                <a:gd name="connsiteX90" fmla="*/ 1171533 w 1498281"/>
                <a:gd name="connsiteY90" fmla="*/ 472648 h 3641849"/>
                <a:gd name="connsiteX91" fmla="*/ 1171533 w 1498281"/>
                <a:gd name="connsiteY91" fmla="*/ 454548 h 3641849"/>
                <a:gd name="connsiteX92" fmla="*/ 1182616 w 1498281"/>
                <a:gd name="connsiteY92" fmla="*/ 431276 h 3641849"/>
                <a:gd name="connsiteX93" fmla="*/ 1185388 w 1498281"/>
                <a:gd name="connsiteY93" fmla="*/ 415762 h 3641849"/>
                <a:gd name="connsiteX94" fmla="*/ 1185387 w 1498281"/>
                <a:gd name="connsiteY94" fmla="*/ 358878 h 3641849"/>
                <a:gd name="connsiteX95" fmla="*/ 1163219 w 1498281"/>
                <a:gd name="connsiteY95" fmla="*/ 335607 h 3641849"/>
                <a:gd name="connsiteX96" fmla="*/ 1135509 w 1498281"/>
                <a:gd name="connsiteY96" fmla="*/ 304578 h 3641849"/>
                <a:gd name="connsiteX97" fmla="*/ 1131341 w 1498281"/>
                <a:gd name="connsiteY97" fmla="*/ 280325 h 3641849"/>
                <a:gd name="connsiteX98" fmla="*/ 1182617 w 1498281"/>
                <a:gd name="connsiteY98" fmla="*/ 258034 h 3641849"/>
                <a:gd name="connsiteX99" fmla="*/ 1236197 w 1498281"/>
                <a:gd name="connsiteY99" fmla="*/ 267906 h 3641849"/>
                <a:gd name="connsiteX100" fmla="*/ 1314981 w 1498281"/>
                <a:gd name="connsiteY100" fmla="*/ 279816 h 3641849"/>
                <a:gd name="connsiteX101" fmla="*/ 1399304 w 1498281"/>
                <a:gd name="connsiteY101" fmla="*/ 349175 h 3641849"/>
                <a:gd name="connsiteX102" fmla="*/ 1461439 w 1498281"/>
                <a:gd name="connsiteY102" fmla="*/ 425271 h 3641849"/>
                <a:gd name="connsiteX103" fmla="*/ 1360468 w 1498281"/>
                <a:gd name="connsiteY103" fmla="*/ 454265 h 3641849"/>
                <a:gd name="connsiteX104" fmla="*/ 1344934 w 1498281"/>
                <a:gd name="connsiteY104" fmla="*/ 501372 h 3641849"/>
                <a:gd name="connsiteX105" fmla="*/ 1402604 w 1498281"/>
                <a:gd name="connsiteY105" fmla="*/ 585862 h 3641849"/>
                <a:gd name="connsiteX106" fmla="*/ 1438138 w 1498281"/>
                <a:gd name="connsiteY106" fmla="*/ 591964 h 3641849"/>
                <a:gd name="connsiteX107" fmla="*/ 1490758 w 1498281"/>
                <a:gd name="connsiteY107" fmla="*/ 598304 h 3641849"/>
                <a:gd name="connsiteX108" fmla="*/ 1485795 w 1498281"/>
                <a:gd name="connsiteY108" fmla="*/ 709079 h 3641849"/>
                <a:gd name="connsiteX109" fmla="*/ 1496864 w 1498281"/>
                <a:gd name="connsiteY109" fmla="*/ 1040047 h 3641849"/>
                <a:gd name="connsiteX110" fmla="*/ 1487996 w 1498281"/>
                <a:gd name="connsiteY110" fmla="*/ 1842646 h 3641849"/>
                <a:gd name="connsiteX111" fmla="*/ 1496863 w 1498281"/>
                <a:gd name="connsiteY111" fmla="*/ 2297728 h 3641849"/>
                <a:gd name="connsiteX112" fmla="*/ 1470415 w 1498281"/>
                <a:gd name="connsiteY112" fmla="*/ 3607693 h 3641849"/>
                <a:gd name="connsiteX113" fmla="*/ 1211988 w 1498281"/>
                <a:gd name="connsiteY113" fmla="*/ 3564098 h 3641849"/>
                <a:gd name="connsiteX114" fmla="*/ 1043510 w 1498281"/>
                <a:gd name="connsiteY114" fmla="*/ 3497903 h 3641849"/>
                <a:gd name="connsiteX115" fmla="*/ 866164 w 1498281"/>
                <a:gd name="connsiteY115" fmla="*/ 3406887 h 3641849"/>
                <a:gd name="connsiteX116" fmla="*/ 767866 w 1498281"/>
                <a:gd name="connsiteY116" fmla="*/ 3326370 h 3641849"/>
                <a:gd name="connsiteX117" fmla="*/ 1062128 w 1498281"/>
                <a:gd name="connsiteY117" fmla="*/ 3018734 h 3641849"/>
                <a:gd name="connsiteX118" fmla="*/ 778374 w 1498281"/>
                <a:gd name="connsiteY118" fmla="*/ 2480910 h 3641849"/>
                <a:gd name="connsiteX119" fmla="*/ 920724 w 1498281"/>
                <a:gd name="connsiteY119" fmla="*/ 2241825 h 3641849"/>
                <a:gd name="connsiteX120" fmla="*/ 734037 w 1498281"/>
                <a:gd name="connsiteY120" fmla="*/ 1703134 h 3641849"/>
                <a:gd name="connsiteX121" fmla="*/ 485753 w 1498281"/>
                <a:gd name="connsiteY121" fmla="*/ 1471456 h 3641849"/>
                <a:gd name="connsiteX122" fmla="*/ 16897 w 1498281"/>
                <a:gd name="connsiteY122" fmla="*/ 2159767 h 3641849"/>
                <a:gd name="connsiteX0" fmla="*/ 16897 w 1498281"/>
                <a:gd name="connsiteY0" fmla="*/ 2159767 h 3641849"/>
                <a:gd name="connsiteX1" fmla="*/ 79588 w 1498281"/>
                <a:gd name="connsiteY1" fmla="*/ 1588655 h 3641849"/>
                <a:gd name="connsiteX2" fmla="*/ 112841 w 1498281"/>
                <a:gd name="connsiteY2" fmla="*/ 1536941 h 3641849"/>
                <a:gd name="connsiteX3" fmla="*/ 137780 w 1498281"/>
                <a:gd name="connsiteY3" fmla="*/ 1505912 h 3641849"/>
                <a:gd name="connsiteX4" fmla="*/ 123926 w 1498281"/>
                <a:gd name="connsiteY4" fmla="*/ 1555040 h 3641849"/>
                <a:gd name="connsiteX5" fmla="*/ 143322 w 1498281"/>
                <a:gd name="connsiteY5" fmla="*/ 1588655 h 3641849"/>
                <a:gd name="connsiteX6" fmla="*/ 187659 w 1498281"/>
                <a:gd name="connsiteY6" fmla="*/ 1666225 h 3641849"/>
                <a:gd name="connsiteX7" fmla="*/ 256935 w 1498281"/>
                <a:gd name="connsiteY7" fmla="*/ 1653297 h 3641849"/>
                <a:gd name="connsiteX8" fmla="*/ 276331 w 1498281"/>
                <a:gd name="connsiteY8" fmla="*/ 1622268 h 3641849"/>
                <a:gd name="connsiteX9" fmla="*/ 290187 w 1498281"/>
                <a:gd name="connsiteY9" fmla="*/ 1557627 h 3641849"/>
                <a:gd name="connsiteX10" fmla="*/ 229224 w 1498281"/>
                <a:gd name="connsiteY10" fmla="*/ 1511084 h 3641849"/>
                <a:gd name="connsiteX11" fmla="*/ 184888 w 1498281"/>
                <a:gd name="connsiteY11" fmla="*/ 1485227 h 3641849"/>
                <a:gd name="connsiteX12" fmla="*/ 123926 w 1498281"/>
                <a:gd name="connsiteY12" fmla="*/ 1495570 h 3641849"/>
                <a:gd name="connsiteX13" fmla="*/ 301272 w 1498281"/>
                <a:gd name="connsiteY13" fmla="*/ 1299057 h 3641849"/>
                <a:gd name="connsiteX14" fmla="*/ 148865 w 1498281"/>
                <a:gd name="connsiteY14" fmla="*/ 1151672 h 3641849"/>
                <a:gd name="connsiteX15" fmla="*/ 209828 w 1498281"/>
                <a:gd name="connsiteY15" fmla="*/ 1089617 h 3641849"/>
                <a:gd name="connsiteX16" fmla="*/ 143323 w 1498281"/>
                <a:gd name="connsiteY16" fmla="*/ 1050829 h 3641849"/>
                <a:gd name="connsiteX17" fmla="*/ 184888 w 1498281"/>
                <a:gd name="connsiteY17" fmla="*/ 1019802 h 3641849"/>
                <a:gd name="connsiteX18" fmla="*/ 137782 w 1498281"/>
                <a:gd name="connsiteY18" fmla="*/ 993947 h 3641849"/>
                <a:gd name="connsiteX19" fmla="*/ 137781 w 1498281"/>
                <a:gd name="connsiteY19" fmla="*/ 794845 h 3641849"/>
                <a:gd name="connsiteX20" fmla="*/ 176576 w 1498281"/>
                <a:gd name="connsiteY20" fmla="*/ 779332 h 3641849"/>
                <a:gd name="connsiteX21" fmla="*/ 62963 w 1498281"/>
                <a:gd name="connsiteY21" fmla="*/ 551792 h 3641849"/>
                <a:gd name="connsiteX22" fmla="*/ 60192 w 1498281"/>
                <a:gd name="connsiteY22" fmla="*/ 551792 h 3641849"/>
                <a:gd name="connsiteX23" fmla="*/ 110070 w 1498281"/>
                <a:gd name="connsiteY23" fmla="*/ 469048 h 3641849"/>
                <a:gd name="connsiteX24" fmla="*/ 126696 w 1498281"/>
                <a:gd name="connsiteY24" fmla="*/ 378550 h 3641849"/>
                <a:gd name="connsiteX25" fmla="*/ 51877 w 1498281"/>
                <a:gd name="connsiteY25" fmla="*/ 319079 h 3641849"/>
                <a:gd name="connsiteX26" fmla="*/ 43565 w 1498281"/>
                <a:gd name="connsiteY26" fmla="*/ 251851 h 3641849"/>
                <a:gd name="connsiteX27" fmla="*/ 98985 w 1498281"/>
                <a:gd name="connsiteY27" fmla="*/ 158764 h 3641849"/>
                <a:gd name="connsiteX28" fmla="*/ 118383 w 1498281"/>
                <a:gd name="connsiteY28" fmla="*/ 135494 h 3641849"/>
                <a:gd name="connsiteX29" fmla="*/ 132238 w 1498281"/>
                <a:gd name="connsiteY29" fmla="*/ 117394 h 3641849"/>
                <a:gd name="connsiteX30" fmla="*/ 140551 w 1498281"/>
                <a:gd name="connsiteY30" fmla="*/ 73438 h 3641849"/>
                <a:gd name="connsiteX31" fmla="*/ 165490 w 1498281"/>
                <a:gd name="connsiteY31" fmla="*/ 101880 h 3641849"/>
                <a:gd name="connsiteX32" fmla="*/ 195972 w 1498281"/>
                <a:gd name="connsiteY32" fmla="*/ 88952 h 3641849"/>
                <a:gd name="connsiteX33" fmla="*/ 198742 w 1498281"/>
                <a:gd name="connsiteY33" fmla="*/ 63095 h 3641849"/>
                <a:gd name="connsiteX34" fmla="*/ 207056 w 1498281"/>
                <a:gd name="connsiteY34" fmla="*/ 34652 h 3641849"/>
                <a:gd name="connsiteX35" fmla="*/ 209828 w 1498281"/>
                <a:gd name="connsiteY35" fmla="*/ 3624 h 3641849"/>
                <a:gd name="connsiteX36" fmla="*/ 345608 w 1498281"/>
                <a:gd name="connsiteY36" fmla="*/ 57924 h 3641849"/>
                <a:gd name="connsiteX37" fmla="*/ 376088 w 1498281"/>
                <a:gd name="connsiteY37" fmla="*/ 161352 h 3641849"/>
                <a:gd name="connsiteX38" fmla="*/ 389944 w 1498281"/>
                <a:gd name="connsiteY38" fmla="*/ 184622 h 3641849"/>
                <a:gd name="connsiteX39" fmla="*/ 401028 w 1498281"/>
                <a:gd name="connsiteY39" fmla="*/ 187208 h 3641849"/>
                <a:gd name="connsiteX40" fmla="*/ 514640 w 1498281"/>
                <a:gd name="connsiteY40" fmla="*/ 156181 h 3641849"/>
                <a:gd name="connsiteX41" fmla="*/ 581145 w 1498281"/>
                <a:gd name="connsiteY41" fmla="*/ 166522 h 3641849"/>
                <a:gd name="connsiteX42" fmla="*/ 644879 w 1498281"/>
                <a:gd name="connsiteY42" fmla="*/ 213065 h 3641849"/>
                <a:gd name="connsiteX43" fmla="*/ 658906 w 1498281"/>
                <a:gd name="connsiteY43" fmla="*/ 242621 h 3641849"/>
                <a:gd name="connsiteX44" fmla="*/ 714153 w 1498281"/>
                <a:gd name="connsiteY44" fmla="*/ 277708 h 3641849"/>
                <a:gd name="connsiteX45" fmla="*/ 802827 w 1498281"/>
                <a:gd name="connsiteY45" fmla="*/ 303563 h 3641849"/>
                <a:gd name="connsiteX46" fmla="*/ 874873 w 1498281"/>
                <a:gd name="connsiteY46" fmla="*/ 350106 h 3641849"/>
                <a:gd name="connsiteX47" fmla="*/ 924752 w 1498281"/>
                <a:gd name="connsiteY47" fmla="*/ 401820 h 3641849"/>
                <a:gd name="connsiteX48" fmla="*/ 949691 w 1498281"/>
                <a:gd name="connsiteY48" fmla="*/ 440606 h 3641849"/>
                <a:gd name="connsiteX49" fmla="*/ 982944 w 1498281"/>
                <a:gd name="connsiteY49" fmla="*/ 466462 h 3641849"/>
                <a:gd name="connsiteX50" fmla="*/ 966316 w 1498281"/>
                <a:gd name="connsiteY50" fmla="*/ 691417 h 3641849"/>
                <a:gd name="connsiteX51" fmla="*/ 838850 w 1498281"/>
                <a:gd name="connsiteY51" fmla="*/ 771575 h 3641849"/>
                <a:gd name="connsiteX52" fmla="*/ 725238 w 1498281"/>
                <a:gd name="connsiteY52" fmla="*/ 779331 h 3641849"/>
                <a:gd name="connsiteX53" fmla="*/ 586685 w 1498281"/>
                <a:gd name="connsiteY53" fmla="*/ 758645 h 3641849"/>
                <a:gd name="connsiteX54" fmla="*/ 495241 w 1498281"/>
                <a:gd name="connsiteY54" fmla="*/ 722445 h 3641849"/>
                <a:gd name="connsiteX55" fmla="*/ 475844 w 1498281"/>
                <a:gd name="connsiteY55" fmla="*/ 750888 h 3641849"/>
                <a:gd name="connsiteX56" fmla="*/ 506486 w 1498281"/>
                <a:gd name="connsiteY56" fmla="*/ 824301 h 3641849"/>
                <a:gd name="connsiteX57" fmla="*/ 512027 w 1498281"/>
                <a:gd name="connsiteY57" fmla="*/ 951000 h 3641849"/>
                <a:gd name="connsiteX58" fmla="*/ 484157 w 1498281"/>
                <a:gd name="connsiteY58" fmla="*/ 1012043 h 3641849"/>
                <a:gd name="connsiteX59" fmla="*/ 539576 w 1498281"/>
                <a:gd name="connsiteY59" fmla="*/ 1032728 h 3641849"/>
                <a:gd name="connsiteX60" fmla="*/ 556204 w 1498281"/>
                <a:gd name="connsiteY60" fmla="*/ 1048242 h 3641849"/>
                <a:gd name="connsiteX61" fmla="*/ 581144 w 1498281"/>
                <a:gd name="connsiteY61" fmla="*/ 1074099 h 3641849"/>
                <a:gd name="connsiteX62" fmla="*/ 578373 w 1498281"/>
                <a:gd name="connsiteY62" fmla="*/ 1076685 h 3641849"/>
                <a:gd name="connsiteX63" fmla="*/ 617166 w 1498281"/>
                <a:gd name="connsiteY63" fmla="*/ 1071514 h 3641849"/>
                <a:gd name="connsiteX64" fmla="*/ 625480 w 1498281"/>
                <a:gd name="connsiteY64" fmla="*/ 1035314 h 3641849"/>
                <a:gd name="connsiteX65" fmla="*/ 586685 w 1498281"/>
                <a:gd name="connsiteY65" fmla="*/ 957743 h 3641849"/>
                <a:gd name="connsiteX66" fmla="*/ 655961 w 1498281"/>
                <a:gd name="connsiteY66" fmla="*/ 911200 h 3641849"/>
                <a:gd name="connsiteX67" fmla="*/ 723733 w 1498281"/>
                <a:gd name="connsiteY67" fmla="*/ 918934 h 3641849"/>
                <a:gd name="connsiteX68" fmla="*/ 747566 w 1498281"/>
                <a:gd name="connsiteY68" fmla="*/ 951001 h 3641849"/>
                <a:gd name="connsiteX69" fmla="*/ 903295 w 1498281"/>
                <a:gd name="connsiteY69" fmla="*/ 1007364 h 3641849"/>
                <a:gd name="connsiteX70" fmla="*/ 888887 w 1498281"/>
                <a:gd name="connsiteY70" fmla="*/ 971687 h 3641849"/>
                <a:gd name="connsiteX71" fmla="*/ 855635 w 1498281"/>
                <a:gd name="connsiteY71" fmla="*/ 932901 h 3641849"/>
                <a:gd name="connsiteX72" fmla="*/ 844551 w 1498281"/>
                <a:gd name="connsiteY72" fmla="*/ 881187 h 3641849"/>
                <a:gd name="connsiteX73" fmla="*/ 883346 w 1498281"/>
                <a:gd name="connsiteY73" fmla="*/ 832060 h 3641849"/>
                <a:gd name="connsiteX74" fmla="*/ 911056 w 1498281"/>
                <a:gd name="connsiteY74" fmla="*/ 803617 h 3641849"/>
                <a:gd name="connsiteX75" fmla="*/ 935996 w 1498281"/>
                <a:gd name="connsiteY75" fmla="*/ 767417 h 3641849"/>
                <a:gd name="connsiteX76" fmla="*/ 1016356 w 1498281"/>
                <a:gd name="connsiteY76" fmla="*/ 762245 h 3641849"/>
                <a:gd name="connsiteX77" fmla="*/ 1021897 w 1498281"/>
                <a:gd name="connsiteY77" fmla="*/ 741560 h 3641849"/>
                <a:gd name="connsiteX78" fmla="*/ 1046837 w 1498281"/>
                <a:gd name="connsiteY78" fmla="*/ 705360 h 3641849"/>
                <a:gd name="connsiteX79" fmla="*/ 1080641 w 1498281"/>
                <a:gd name="connsiteY79" fmla="*/ 687772 h 3641849"/>
                <a:gd name="connsiteX80" fmla="*/ 1138281 w 1498281"/>
                <a:gd name="connsiteY80" fmla="*/ 700189 h 3641849"/>
                <a:gd name="connsiteX81" fmla="*/ 1177074 w 1498281"/>
                <a:gd name="connsiteY81" fmla="*/ 720875 h 3641849"/>
                <a:gd name="connsiteX82" fmla="*/ 1224182 w 1498281"/>
                <a:gd name="connsiteY82" fmla="*/ 728632 h 3641849"/>
                <a:gd name="connsiteX83" fmla="*/ 1224182 w 1498281"/>
                <a:gd name="connsiteY83" fmla="*/ 733803 h 3641849"/>
                <a:gd name="connsiteX84" fmla="*/ 1246351 w 1498281"/>
                <a:gd name="connsiteY84" fmla="*/ 674332 h 3641849"/>
                <a:gd name="connsiteX85" fmla="*/ 1256326 w 1498281"/>
                <a:gd name="connsiteY85" fmla="*/ 640714 h 3641849"/>
                <a:gd name="connsiteX86" fmla="*/ 1262977 w 1498281"/>
                <a:gd name="connsiteY86" fmla="*/ 622618 h 3641849"/>
                <a:gd name="connsiteX87" fmla="*/ 1265914 w 1498281"/>
                <a:gd name="connsiteY87" fmla="*/ 591288 h 3641849"/>
                <a:gd name="connsiteX88" fmla="*/ 1185388 w 1498281"/>
                <a:gd name="connsiteY88" fmla="*/ 545048 h 3641849"/>
                <a:gd name="connsiteX89" fmla="*/ 1171533 w 1498281"/>
                <a:gd name="connsiteY89" fmla="*/ 472648 h 3641849"/>
                <a:gd name="connsiteX90" fmla="*/ 1171533 w 1498281"/>
                <a:gd name="connsiteY90" fmla="*/ 454548 h 3641849"/>
                <a:gd name="connsiteX91" fmla="*/ 1182616 w 1498281"/>
                <a:gd name="connsiteY91" fmla="*/ 431276 h 3641849"/>
                <a:gd name="connsiteX92" fmla="*/ 1185388 w 1498281"/>
                <a:gd name="connsiteY92" fmla="*/ 415762 h 3641849"/>
                <a:gd name="connsiteX93" fmla="*/ 1185387 w 1498281"/>
                <a:gd name="connsiteY93" fmla="*/ 358878 h 3641849"/>
                <a:gd name="connsiteX94" fmla="*/ 1163219 w 1498281"/>
                <a:gd name="connsiteY94" fmla="*/ 335607 h 3641849"/>
                <a:gd name="connsiteX95" fmla="*/ 1135509 w 1498281"/>
                <a:gd name="connsiteY95" fmla="*/ 304578 h 3641849"/>
                <a:gd name="connsiteX96" fmla="*/ 1131341 w 1498281"/>
                <a:gd name="connsiteY96" fmla="*/ 280325 h 3641849"/>
                <a:gd name="connsiteX97" fmla="*/ 1182617 w 1498281"/>
                <a:gd name="connsiteY97" fmla="*/ 258034 h 3641849"/>
                <a:gd name="connsiteX98" fmla="*/ 1236197 w 1498281"/>
                <a:gd name="connsiteY98" fmla="*/ 267906 h 3641849"/>
                <a:gd name="connsiteX99" fmla="*/ 1314981 w 1498281"/>
                <a:gd name="connsiteY99" fmla="*/ 279816 h 3641849"/>
                <a:gd name="connsiteX100" fmla="*/ 1399304 w 1498281"/>
                <a:gd name="connsiteY100" fmla="*/ 349175 h 3641849"/>
                <a:gd name="connsiteX101" fmla="*/ 1461439 w 1498281"/>
                <a:gd name="connsiteY101" fmla="*/ 425271 h 3641849"/>
                <a:gd name="connsiteX102" fmla="*/ 1360468 w 1498281"/>
                <a:gd name="connsiteY102" fmla="*/ 454265 h 3641849"/>
                <a:gd name="connsiteX103" fmla="*/ 1344934 w 1498281"/>
                <a:gd name="connsiteY103" fmla="*/ 501372 h 3641849"/>
                <a:gd name="connsiteX104" fmla="*/ 1402604 w 1498281"/>
                <a:gd name="connsiteY104" fmla="*/ 585862 h 3641849"/>
                <a:gd name="connsiteX105" fmla="*/ 1438138 w 1498281"/>
                <a:gd name="connsiteY105" fmla="*/ 591964 h 3641849"/>
                <a:gd name="connsiteX106" fmla="*/ 1490758 w 1498281"/>
                <a:gd name="connsiteY106" fmla="*/ 598304 h 3641849"/>
                <a:gd name="connsiteX107" fmla="*/ 1485795 w 1498281"/>
                <a:gd name="connsiteY107" fmla="*/ 709079 h 3641849"/>
                <a:gd name="connsiteX108" fmla="*/ 1496864 w 1498281"/>
                <a:gd name="connsiteY108" fmla="*/ 1040047 h 3641849"/>
                <a:gd name="connsiteX109" fmla="*/ 1487996 w 1498281"/>
                <a:gd name="connsiteY109" fmla="*/ 1842646 h 3641849"/>
                <a:gd name="connsiteX110" fmla="*/ 1496863 w 1498281"/>
                <a:gd name="connsiteY110" fmla="*/ 2297728 h 3641849"/>
                <a:gd name="connsiteX111" fmla="*/ 1470415 w 1498281"/>
                <a:gd name="connsiteY111" fmla="*/ 3607693 h 3641849"/>
                <a:gd name="connsiteX112" fmla="*/ 1211988 w 1498281"/>
                <a:gd name="connsiteY112" fmla="*/ 3564098 h 3641849"/>
                <a:gd name="connsiteX113" fmla="*/ 1043510 w 1498281"/>
                <a:gd name="connsiteY113" fmla="*/ 3497903 h 3641849"/>
                <a:gd name="connsiteX114" fmla="*/ 866164 w 1498281"/>
                <a:gd name="connsiteY114" fmla="*/ 3406887 h 3641849"/>
                <a:gd name="connsiteX115" fmla="*/ 767866 w 1498281"/>
                <a:gd name="connsiteY115" fmla="*/ 3326370 h 3641849"/>
                <a:gd name="connsiteX116" fmla="*/ 1062128 w 1498281"/>
                <a:gd name="connsiteY116" fmla="*/ 3018734 h 3641849"/>
                <a:gd name="connsiteX117" fmla="*/ 778374 w 1498281"/>
                <a:gd name="connsiteY117" fmla="*/ 2480910 h 3641849"/>
                <a:gd name="connsiteX118" fmla="*/ 920724 w 1498281"/>
                <a:gd name="connsiteY118" fmla="*/ 2241825 h 3641849"/>
                <a:gd name="connsiteX119" fmla="*/ 734037 w 1498281"/>
                <a:gd name="connsiteY119" fmla="*/ 1703134 h 3641849"/>
                <a:gd name="connsiteX120" fmla="*/ 485753 w 1498281"/>
                <a:gd name="connsiteY120" fmla="*/ 1471456 h 3641849"/>
                <a:gd name="connsiteX121" fmla="*/ 16897 w 1498281"/>
                <a:gd name="connsiteY121" fmla="*/ 2159767 h 3641849"/>
                <a:gd name="connsiteX0" fmla="*/ 46299 w 1527683"/>
                <a:gd name="connsiteY0" fmla="*/ 2159767 h 3641849"/>
                <a:gd name="connsiteX1" fmla="*/ 17546 w 1527683"/>
                <a:gd name="connsiteY1" fmla="*/ 1725696 h 3641849"/>
                <a:gd name="connsiteX2" fmla="*/ 142243 w 1527683"/>
                <a:gd name="connsiteY2" fmla="*/ 1536941 h 3641849"/>
                <a:gd name="connsiteX3" fmla="*/ 167182 w 1527683"/>
                <a:gd name="connsiteY3" fmla="*/ 1505912 h 3641849"/>
                <a:gd name="connsiteX4" fmla="*/ 153328 w 1527683"/>
                <a:gd name="connsiteY4" fmla="*/ 1555040 h 3641849"/>
                <a:gd name="connsiteX5" fmla="*/ 172724 w 1527683"/>
                <a:gd name="connsiteY5" fmla="*/ 1588655 h 3641849"/>
                <a:gd name="connsiteX6" fmla="*/ 217061 w 1527683"/>
                <a:gd name="connsiteY6" fmla="*/ 1666225 h 3641849"/>
                <a:gd name="connsiteX7" fmla="*/ 286337 w 1527683"/>
                <a:gd name="connsiteY7" fmla="*/ 1653297 h 3641849"/>
                <a:gd name="connsiteX8" fmla="*/ 305733 w 1527683"/>
                <a:gd name="connsiteY8" fmla="*/ 1622268 h 3641849"/>
                <a:gd name="connsiteX9" fmla="*/ 319589 w 1527683"/>
                <a:gd name="connsiteY9" fmla="*/ 1557627 h 3641849"/>
                <a:gd name="connsiteX10" fmla="*/ 258626 w 1527683"/>
                <a:gd name="connsiteY10" fmla="*/ 1511084 h 3641849"/>
                <a:gd name="connsiteX11" fmla="*/ 214290 w 1527683"/>
                <a:gd name="connsiteY11" fmla="*/ 1485227 h 3641849"/>
                <a:gd name="connsiteX12" fmla="*/ 153328 w 1527683"/>
                <a:gd name="connsiteY12" fmla="*/ 1495570 h 3641849"/>
                <a:gd name="connsiteX13" fmla="*/ 330674 w 1527683"/>
                <a:gd name="connsiteY13" fmla="*/ 1299057 h 3641849"/>
                <a:gd name="connsiteX14" fmla="*/ 178267 w 1527683"/>
                <a:gd name="connsiteY14" fmla="*/ 1151672 h 3641849"/>
                <a:gd name="connsiteX15" fmla="*/ 239230 w 1527683"/>
                <a:gd name="connsiteY15" fmla="*/ 1089617 h 3641849"/>
                <a:gd name="connsiteX16" fmla="*/ 172725 w 1527683"/>
                <a:gd name="connsiteY16" fmla="*/ 1050829 h 3641849"/>
                <a:gd name="connsiteX17" fmla="*/ 214290 w 1527683"/>
                <a:gd name="connsiteY17" fmla="*/ 1019802 h 3641849"/>
                <a:gd name="connsiteX18" fmla="*/ 167184 w 1527683"/>
                <a:gd name="connsiteY18" fmla="*/ 993947 h 3641849"/>
                <a:gd name="connsiteX19" fmla="*/ 167183 w 1527683"/>
                <a:gd name="connsiteY19" fmla="*/ 794845 h 3641849"/>
                <a:gd name="connsiteX20" fmla="*/ 205978 w 1527683"/>
                <a:gd name="connsiteY20" fmla="*/ 779332 h 3641849"/>
                <a:gd name="connsiteX21" fmla="*/ 92365 w 1527683"/>
                <a:gd name="connsiteY21" fmla="*/ 551792 h 3641849"/>
                <a:gd name="connsiteX22" fmla="*/ 89594 w 1527683"/>
                <a:gd name="connsiteY22" fmla="*/ 551792 h 3641849"/>
                <a:gd name="connsiteX23" fmla="*/ 139472 w 1527683"/>
                <a:gd name="connsiteY23" fmla="*/ 469048 h 3641849"/>
                <a:gd name="connsiteX24" fmla="*/ 156098 w 1527683"/>
                <a:gd name="connsiteY24" fmla="*/ 378550 h 3641849"/>
                <a:gd name="connsiteX25" fmla="*/ 81279 w 1527683"/>
                <a:gd name="connsiteY25" fmla="*/ 319079 h 3641849"/>
                <a:gd name="connsiteX26" fmla="*/ 72967 w 1527683"/>
                <a:gd name="connsiteY26" fmla="*/ 251851 h 3641849"/>
                <a:gd name="connsiteX27" fmla="*/ 128387 w 1527683"/>
                <a:gd name="connsiteY27" fmla="*/ 158764 h 3641849"/>
                <a:gd name="connsiteX28" fmla="*/ 147785 w 1527683"/>
                <a:gd name="connsiteY28" fmla="*/ 135494 h 3641849"/>
                <a:gd name="connsiteX29" fmla="*/ 161640 w 1527683"/>
                <a:gd name="connsiteY29" fmla="*/ 117394 h 3641849"/>
                <a:gd name="connsiteX30" fmla="*/ 169953 w 1527683"/>
                <a:gd name="connsiteY30" fmla="*/ 73438 h 3641849"/>
                <a:gd name="connsiteX31" fmla="*/ 194892 w 1527683"/>
                <a:gd name="connsiteY31" fmla="*/ 101880 h 3641849"/>
                <a:gd name="connsiteX32" fmla="*/ 225374 w 1527683"/>
                <a:gd name="connsiteY32" fmla="*/ 88952 h 3641849"/>
                <a:gd name="connsiteX33" fmla="*/ 228144 w 1527683"/>
                <a:gd name="connsiteY33" fmla="*/ 63095 h 3641849"/>
                <a:gd name="connsiteX34" fmla="*/ 236458 w 1527683"/>
                <a:gd name="connsiteY34" fmla="*/ 34652 h 3641849"/>
                <a:gd name="connsiteX35" fmla="*/ 239230 w 1527683"/>
                <a:gd name="connsiteY35" fmla="*/ 3624 h 3641849"/>
                <a:gd name="connsiteX36" fmla="*/ 375010 w 1527683"/>
                <a:gd name="connsiteY36" fmla="*/ 57924 h 3641849"/>
                <a:gd name="connsiteX37" fmla="*/ 405490 w 1527683"/>
                <a:gd name="connsiteY37" fmla="*/ 161352 h 3641849"/>
                <a:gd name="connsiteX38" fmla="*/ 419346 w 1527683"/>
                <a:gd name="connsiteY38" fmla="*/ 184622 h 3641849"/>
                <a:gd name="connsiteX39" fmla="*/ 430430 w 1527683"/>
                <a:gd name="connsiteY39" fmla="*/ 187208 h 3641849"/>
                <a:gd name="connsiteX40" fmla="*/ 544042 w 1527683"/>
                <a:gd name="connsiteY40" fmla="*/ 156181 h 3641849"/>
                <a:gd name="connsiteX41" fmla="*/ 610547 w 1527683"/>
                <a:gd name="connsiteY41" fmla="*/ 166522 h 3641849"/>
                <a:gd name="connsiteX42" fmla="*/ 674281 w 1527683"/>
                <a:gd name="connsiteY42" fmla="*/ 213065 h 3641849"/>
                <a:gd name="connsiteX43" fmla="*/ 688308 w 1527683"/>
                <a:gd name="connsiteY43" fmla="*/ 242621 h 3641849"/>
                <a:gd name="connsiteX44" fmla="*/ 743555 w 1527683"/>
                <a:gd name="connsiteY44" fmla="*/ 277708 h 3641849"/>
                <a:gd name="connsiteX45" fmla="*/ 832229 w 1527683"/>
                <a:gd name="connsiteY45" fmla="*/ 303563 h 3641849"/>
                <a:gd name="connsiteX46" fmla="*/ 904275 w 1527683"/>
                <a:gd name="connsiteY46" fmla="*/ 350106 h 3641849"/>
                <a:gd name="connsiteX47" fmla="*/ 954154 w 1527683"/>
                <a:gd name="connsiteY47" fmla="*/ 401820 h 3641849"/>
                <a:gd name="connsiteX48" fmla="*/ 979093 w 1527683"/>
                <a:gd name="connsiteY48" fmla="*/ 440606 h 3641849"/>
                <a:gd name="connsiteX49" fmla="*/ 1012346 w 1527683"/>
                <a:gd name="connsiteY49" fmla="*/ 466462 h 3641849"/>
                <a:gd name="connsiteX50" fmla="*/ 995718 w 1527683"/>
                <a:gd name="connsiteY50" fmla="*/ 691417 h 3641849"/>
                <a:gd name="connsiteX51" fmla="*/ 868252 w 1527683"/>
                <a:gd name="connsiteY51" fmla="*/ 771575 h 3641849"/>
                <a:gd name="connsiteX52" fmla="*/ 754640 w 1527683"/>
                <a:gd name="connsiteY52" fmla="*/ 779331 h 3641849"/>
                <a:gd name="connsiteX53" fmla="*/ 616087 w 1527683"/>
                <a:gd name="connsiteY53" fmla="*/ 758645 h 3641849"/>
                <a:gd name="connsiteX54" fmla="*/ 524643 w 1527683"/>
                <a:gd name="connsiteY54" fmla="*/ 722445 h 3641849"/>
                <a:gd name="connsiteX55" fmla="*/ 505246 w 1527683"/>
                <a:gd name="connsiteY55" fmla="*/ 750888 h 3641849"/>
                <a:gd name="connsiteX56" fmla="*/ 535888 w 1527683"/>
                <a:gd name="connsiteY56" fmla="*/ 824301 h 3641849"/>
                <a:gd name="connsiteX57" fmla="*/ 541429 w 1527683"/>
                <a:gd name="connsiteY57" fmla="*/ 951000 h 3641849"/>
                <a:gd name="connsiteX58" fmla="*/ 513559 w 1527683"/>
                <a:gd name="connsiteY58" fmla="*/ 1012043 h 3641849"/>
                <a:gd name="connsiteX59" fmla="*/ 568978 w 1527683"/>
                <a:gd name="connsiteY59" fmla="*/ 1032728 h 3641849"/>
                <a:gd name="connsiteX60" fmla="*/ 585606 w 1527683"/>
                <a:gd name="connsiteY60" fmla="*/ 1048242 h 3641849"/>
                <a:gd name="connsiteX61" fmla="*/ 610546 w 1527683"/>
                <a:gd name="connsiteY61" fmla="*/ 1074099 h 3641849"/>
                <a:gd name="connsiteX62" fmla="*/ 607775 w 1527683"/>
                <a:gd name="connsiteY62" fmla="*/ 1076685 h 3641849"/>
                <a:gd name="connsiteX63" fmla="*/ 646568 w 1527683"/>
                <a:gd name="connsiteY63" fmla="*/ 1071514 h 3641849"/>
                <a:gd name="connsiteX64" fmla="*/ 654882 w 1527683"/>
                <a:gd name="connsiteY64" fmla="*/ 1035314 h 3641849"/>
                <a:gd name="connsiteX65" fmla="*/ 616087 w 1527683"/>
                <a:gd name="connsiteY65" fmla="*/ 957743 h 3641849"/>
                <a:gd name="connsiteX66" fmla="*/ 685363 w 1527683"/>
                <a:gd name="connsiteY66" fmla="*/ 911200 h 3641849"/>
                <a:gd name="connsiteX67" fmla="*/ 753135 w 1527683"/>
                <a:gd name="connsiteY67" fmla="*/ 918934 h 3641849"/>
                <a:gd name="connsiteX68" fmla="*/ 776968 w 1527683"/>
                <a:gd name="connsiteY68" fmla="*/ 951001 h 3641849"/>
                <a:gd name="connsiteX69" fmla="*/ 932697 w 1527683"/>
                <a:gd name="connsiteY69" fmla="*/ 1007364 h 3641849"/>
                <a:gd name="connsiteX70" fmla="*/ 918289 w 1527683"/>
                <a:gd name="connsiteY70" fmla="*/ 971687 h 3641849"/>
                <a:gd name="connsiteX71" fmla="*/ 885037 w 1527683"/>
                <a:gd name="connsiteY71" fmla="*/ 932901 h 3641849"/>
                <a:gd name="connsiteX72" fmla="*/ 873953 w 1527683"/>
                <a:gd name="connsiteY72" fmla="*/ 881187 h 3641849"/>
                <a:gd name="connsiteX73" fmla="*/ 912748 w 1527683"/>
                <a:gd name="connsiteY73" fmla="*/ 832060 h 3641849"/>
                <a:gd name="connsiteX74" fmla="*/ 940458 w 1527683"/>
                <a:gd name="connsiteY74" fmla="*/ 803617 h 3641849"/>
                <a:gd name="connsiteX75" fmla="*/ 965398 w 1527683"/>
                <a:gd name="connsiteY75" fmla="*/ 767417 h 3641849"/>
                <a:gd name="connsiteX76" fmla="*/ 1045758 w 1527683"/>
                <a:gd name="connsiteY76" fmla="*/ 762245 h 3641849"/>
                <a:gd name="connsiteX77" fmla="*/ 1051299 w 1527683"/>
                <a:gd name="connsiteY77" fmla="*/ 741560 h 3641849"/>
                <a:gd name="connsiteX78" fmla="*/ 1076239 w 1527683"/>
                <a:gd name="connsiteY78" fmla="*/ 705360 h 3641849"/>
                <a:gd name="connsiteX79" fmla="*/ 1110043 w 1527683"/>
                <a:gd name="connsiteY79" fmla="*/ 687772 h 3641849"/>
                <a:gd name="connsiteX80" fmla="*/ 1167683 w 1527683"/>
                <a:gd name="connsiteY80" fmla="*/ 700189 h 3641849"/>
                <a:gd name="connsiteX81" fmla="*/ 1206476 w 1527683"/>
                <a:gd name="connsiteY81" fmla="*/ 720875 h 3641849"/>
                <a:gd name="connsiteX82" fmla="*/ 1253584 w 1527683"/>
                <a:gd name="connsiteY82" fmla="*/ 728632 h 3641849"/>
                <a:gd name="connsiteX83" fmla="*/ 1253584 w 1527683"/>
                <a:gd name="connsiteY83" fmla="*/ 733803 h 3641849"/>
                <a:gd name="connsiteX84" fmla="*/ 1275753 w 1527683"/>
                <a:gd name="connsiteY84" fmla="*/ 674332 h 3641849"/>
                <a:gd name="connsiteX85" fmla="*/ 1285728 w 1527683"/>
                <a:gd name="connsiteY85" fmla="*/ 640714 h 3641849"/>
                <a:gd name="connsiteX86" fmla="*/ 1292379 w 1527683"/>
                <a:gd name="connsiteY86" fmla="*/ 622618 h 3641849"/>
                <a:gd name="connsiteX87" fmla="*/ 1295316 w 1527683"/>
                <a:gd name="connsiteY87" fmla="*/ 591288 h 3641849"/>
                <a:gd name="connsiteX88" fmla="*/ 1214790 w 1527683"/>
                <a:gd name="connsiteY88" fmla="*/ 545048 h 3641849"/>
                <a:gd name="connsiteX89" fmla="*/ 1200935 w 1527683"/>
                <a:gd name="connsiteY89" fmla="*/ 472648 h 3641849"/>
                <a:gd name="connsiteX90" fmla="*/ 1200935 w 1527683"/>
                <a:gd name="connsiteY90" fmla="*/ 454548 h 3641849"/>
                <a:gd name="connsiteX91" fmla="*/ 1212018 w 1527683"/>
                <a:gd name="connsiteY91" fmla="*/ 431276 h 3641849"/>
                <a:gd name="connsiteX92" fmla="*/ 1214790 w 1527683"/>
                <a:gd name="connsiteY92" fmla="*/ 415762 h 3641849"/>
                <a:gd name="connsiteX93" fmla="*/ 1214789 w 1527683"/>
                <a:gd name="connsiteY93" fmla="*/ 358878 h 3641849"/>
                <a:gd name="connsiteX94" fmla="*/ 1192621 w 1527683"/>
                <a:gd name="connsiteY94" fmla="*/ 335607 h 3641849"/>
                <a:gd name="connsiteX95" fmla="*/ 1164911 w 1527683"/>
                <a:gd name="connsiteY95" fmla="*/ 304578 h 3641849"/>
                <a:gd name="connsiteX96" fmla="*/ 1160743 w 1527683"/>
                <a:gd name="connsiteY96" fmla="*/ 280325 h 3641849"/>
                <a:gd name="connsiteX97" fmla="*/ 1212019 w 1527683"/>
                <a:gd name="connsiteY97" fmla="*/ 258034 h 3641849"/>
                <a:gd name="connsiteX98" fmla="*/ 1265599 w 1527683"/>
                <a:gd name="connsiteY98" fmla="*/ 267906 h 3641849"/>
                <a:gd name="connsiteX99" fmla="*/ 1344383 w 1527683"/>
                <a:gd name="connsiteY99" fmla="*/ 279816 h 3641849"/>
                <a:gd name="connsiteX100" fmla="*/ 1428706 w 1527683"/>
                <a:gd name="connsiteY100" fmla="*/ 349175 h 3641849"/>
                <a:gd name="connsiteX101" fmla="*/ 1490841 w 1527683"/>
                <a:gd name="connsiteY101" fmla="*/ 425271 h 3641849"/>
                <a:gd name="connsiteX102" fmla="*/ 1389870 w 1527683"/>
                <a:gd name="connsiteY102" fmla="*/ 454265 h 3641849"/>
                <a:gd name="connsiteX103" fmla="*/ 1374336 w 1527683"/>
                <a:gd name="connsiteY103" fmla="*/ 501372 h 3641849"/>
                <a:gd name="connsiteX104" fmla="*/ 1432006 w 1527683"/>
                <a:gd name="connsiteY104" fmla="*/ 585862 h 3641849"/>
                <a:gd name="connsiteX105" fmla="*/ 1467540 w 1527683"/>
                <a:gd name="connsiteY105" fmla="*/ 591964 h 3641849"/>
                <a:gd name="connsiteX106" fmla="*/ 1520160 w 1527683"/>
                <a:gd name="connsiteY106" fmla="*/ 598304 h 3641849"/>
                <a:gd name="connsiteX107" fmla="*/ 1515197 w 1527683"/>
                <a:gd name="connsiteY107" fmla="*/ 709079 h 3641849"/>
                <a:gd name="connsiteX108" fmla="*/ 1526266 w 1527683"/>
                <a:gd name="connsiteY108" fmla="*/ 1040047 h 3641849"/>
                <a:gd name="connsiteX109" fmla="*/ 1517398 w 1527683"/>
                <a:gd name="connsiteY109" fmla="*/ 1842646 h 3641849"/>
                <a:gd name="connsiteX110" fmla="*/ 1526265 w 1527683"/>
                <a:gd name="connsiteY110" fmla="*/ 2297728 h 3641849"/>
                <a:gd name="connsiteX111" fmla="*/ 1499817 w 1527683"/>
                <a:gd name="connsiteY111" fmla="*/ 3607693 h 3641849"/>
                <a:gd name="connsiteX112" fmla="*/ 1241390 w 1527683"/>
                <a:gd name="connsiteY112" fmla="*/ 3564098 h 3641849"/>
                <a:gd name="connsiteX113" fmla="*/ 1072912 w 1527683"/>
                <a:gd name="connsiteY113" fmla="*/ 3497903 h 3641849"/>
                <a:gd name="connsiteX114" fmla="*/ 895566 w 1527683"/>
                <a:gd name="connsiteY114" fmla="*/ 3406887 h 3641849"/>
                <a:gd name="connsiteX115" fmla="*/ 797268 w 1527683"/>
                <a:gd name="connsiteY115" fmla="*/ 3326370 h 3641849"/>
                <a:gd name="connsiteX116" fmla="*/ 1091530 w 1527683"/>
                <a:gd name="connsiteY116" fmla="*/ 3018734 h 3641849"/>
                <a:gd name="connsiteX117" fmla="*/ 807776 w 1527683"/>
                <a:gd name="connsiteY117" fmla="*/ 2480910 h 3641849"/>
                <a:gd name="connsiteX118" fmla="*/ 950126 w 1527683"/>
                <a:gd name="connsiteY118" fmla="*/ 2241825 h 3641849"/>
                <a:gd name="connsiteX119" fmla="*/ 763439 w 1527683"/>
                <a:gd name="connsiteY119" fmla="*/ 1703134 h 3641849"/>
                <a:gd name="connsiteX120" fmla="*/ 515155 w 1527683"/>
                <a:gd name="connsiteY120" fmla="*/ 1471456 h 3641849"/>
                <a:gd name="connsiteX121" fmla="*/ 46299 w 1527683"/>
                <a:gd name="connsiteY121" fmla="*/ 2159767 h 3641849"/>
                <a:gd name="connsiteX0" fmla="*/ 46299 w 1527683"/>
                <a:gd name="connsiteY0" fmla="*/ 2159767 h 3641849"/>
                <a:gd name="connsiteX1" fmla="*/ 17546 w 1527683"/>
                <a:gd name="connsiteY1" fmla="*/ 1725696 h 3641849"/>
                <a:gd name="connsiteX2" fmla="*/ 42486 w 1527683"/>
                <a:gd name="connsiteY2" fmla="*/ 1648125 h 3641849"/>
                <a:gd name="connsiteX3" fmla="*/ 142243 w 1527683"/>
                <a:gd name="connsiteY3" fmla="*/ 1536941 h 3641849"/>
                <a:gd name="connsiteX4" fmla="*/ 167182 w 1527683"/>
                <a:gd name="connsiteY4" fmla="*/ 1505912 h 3641849"/>
                <a:gd name="connsiteX5" fmla="*/ 153328 w 1527683"/>
                <a:gd name="connsiteY5" fmla="*/ 1555040 h 3641849"/>
                <a:gd name="connsiteX6" fmla="*/ 172724 w 1527683"/>
                <a:gd name="connsiteY6" fmla="*/ 1588655 h 3641849"/>
                <a:gd name="connsiteX7" fmla="*/ 217061 w 1527683"/>
                <a:gd name="connsiteY7" fmla="*/ 1666225 h 3641849"/>
                <a:gd name="connsiteX8" fmla="*/ 286337 w 1527683"/>
                <a:gd name="connsiteY8" fmla="*/ 1653297 h 3641849"/>
                <a:gd name="connsiteX9" fmla="*/ 305733 w 1527683"/>
                <a:gd name="connsiteY9" fmla="*/ 1622268 h 3641849"/>
                <a:gd name="connsiteX10" fmla="*/ 319589 w 1527683"/>
                <a:gd name="connsiteY10" fmla="*/ 1557627 h 3641849"/>
                <a:gd name="connsiteX11" fmla="*/ 258626 w 1527683"/>
                <a:gd name="connsiteY11" fmla="*/ 1511084 h 3641849"/>
                <a:gd name="connsiteX12" fmla="*/ 214290 w 1527683"/>
                <a:gd name="connsiteY12" fmla="*/ 1485227 h 3641849"/>
                <a:gd name="connsiteX13" fmla="*/ 153328 w 1527683"/>
                <a:gd name="connsiteY13" fmla="*/ 1495570 h 3641849"/>
                <a:gd name="connsiteX14" fmla="*/ 330674 w 1527683"/>
                <a:gd name="connsiteY14" fmla="*/ 1299057 h 3641849"/>
                <a:gd name="connsiteX15" fmla="*/ 178267 w 1527683"/>
                <a:gd name="connsiteY15" fmla="*/ 1151672 h 3641849"/>
                <a:gd name="connsiteX16" fmla="*/ 239230 w 1527683"/>
                <a:gd name="connsiteY16" fmla="*/ 1089617 h 3641849"/>
                <a:gd name="connsiteX17" fmla="*/ 172725 w 1527683"/>
                <a:gd name="connsiteY17" fmla="*/ 1050829 h 3641849"/>
                <a:gd name="connsiteX18" fmla="*/ 214290 w 1527683"/>
                <a:gd name="connsiteY18" fmla="*/ 1019802 h 3641849"/>
                <a:gd name="connsiteX19" fmla="*/ 167184 w 1527683"/>
                <a:gd name="connsiteY19" fmla="*/ 993947 h 3641849"/>
                <a:gd name="connsiteX20" fmla="*/ 167183 w 1527683"/>
                <a:gd name="connsiteY20" fmla="*/ 794845 h 3641849"/>
                <a:gd name="connsiteX21" fmla="*/ 205978 w 1527683"/>
                <a:gd name="connsiteY21" fmla="*/ 779332 h 3641849"/>
                <a:gd name="connsiteX22" fmla="*/ 92365 w 1527683"/>
                <a:gd name="connsiteY22" fmla="*/ 551792 h 3641849"/>
                <a:gd name="connsiteX23" fmla="*/ 89594 w 1527683"/>
                <a:gd name="connsiteY23" fmla="*/ 551792 h 3641849"/>
                <a:gd name="connsiteX24" fmla="*/ 139472 w 1527683"/>
                <a:gd name="connsiteY24" fmla="*/ 469048 h 3641849"/>
                <a:gd name="connsiteX25" fmla="*/ 156098 w 1527683"/>
                <a:gd name="connsiteY25" fmla="*/ 378550 h 3641849"/>
                <a:gd name="connsiteX26" fmla="*/ 81279 w 1527683"/>
                <a:gd name="connsiteY26" fmla="*/ 319079 h 3641849"/>
                <a:gd name="connsiteX27" fmla="*/ 72967 w 1527683"/>
                <a:gd name="connsiteY27" fmla="*/ 251851 h 3641849"/>
                <a:gd name="connsiteX28" fmla="*/ 128387 w 1527683"/>
                <a:gd name="connsiteY28" fmla="*/ 158764 h 3641849"/>
                <a:gd name="connsiteX29" fmla="*/ 147785 w 1527683"/>
                <a:gd name="connsiteY29" fmla="*/ 135494 h 3641849"/>
                <a:gd name="connsiteX30" fmla="*/ 161640 w 1527683"/>
                <a:gd name="connsiteY30" fmla="*/ 117394 h 3641849"/>
                <a:gd name="connsiteX31" fmla="*/ 169953 w 1527683"/>
                <a:gd name="connsiteY31" fmla="*/ 73438 h 3641849"/>
                <a:gd name="connsiteX32" fmla="*/ 194892 w 1527683"/>
                <a:gd name="connsiteY32" fmla="*/ 101880 h 3641849"/>
                <a:gd name="connsiteX33" fmla="*/ 225374 w 1527683"/>
                <a:gd name="connsiteY33" fmla="*/ 88952 h 3641849"/>
                <a:gd name="connsiteX34" fmla="*/ 228144 w 1527683"/>
                <a:gd name="connsiteY34" fmla="*/ 63095 h 3641849"/>
                <a:gd name="connsiteX35" fmla="*/ 236458 w 1527683"/>
                <a:gd name="connsiteY35" fmla="*/ 34652 h 3641849"/>
                <a:gd name="connsiteX36" fmla="*/ 239230 w 1527683"/>
                <a:gd name="connsiteY36" fmla="*/ 3624 h 3641849"/>
                <a:gd name="connsiteX37" fmla="*/ 375010 w 1527683"/>
                <a:gd name="connsiteY37" fmla="*/ 57924 h 3641849"/>
                <a:gd name="connsiteX38" fmla="*/ 405490 w 1527683"/>
                <a:gd name="connsiteY38" fmla="*/ 161352 h 3641849"/>
                <a:gd name="connsiteX39" fmla="*/ 419346 w 1527683"/>
                <a:gd name="connsiteY39" fmla="*/ 184622 h 3641849"/>
                <a:gd name="connsiteX40" fmla="*/ 430430 w 1527683"/>
                <a:gd name="connsiteY40" fmla="*/ 187208 h 3641849"/>
                <a:gd name="connsiteX41" fmla="*/ 544042 w 1527683"/>
                <a:gd name="connsiteY41" fmla="*/ 156181 h 3641849"/>
                <a:gd name="connsiteX42" fmla="*/ 610547 w 1527683"/>
                <a:gd name="connsiteY42" fmla="*/ 166522 h 3641849"/>
                <a:gd name="connsiteX43" fmla="*/ 674281 w 1527683"/>
                <a:gd name="connsiteY43" fmla="*/ 213065 h 3641849"/>
                <a:gd name="connsiteX44" fmla="*/ 688308 w 1527683"/>
                <a:gd name="connsiteY44" fmla="*/ 242621 h 3641849"/>
                <a:gd name="connsiteX45" fmla="*/ 743555 w 1527683"/>
                <a:gd name="connsiteY45" fmla="*/ 277708 h 3641849"/>
                <a:gd name="connsiteX46" fmla="*/ 832229 w 1527683"/>
                <a:gd name="connsiteY46" fmla="*/ 303563 h 3641849"/>
                <a:gd name="connsiteX47" fmla="*/ 904275 w 1527683"/>
                <a:gd name="connsiteY47" fmla="*/ 350106 h 3641849"/>
                <a:gd name="connsiteX48" fmla="*/ 954154 w 1527683"/>
                <a:gd name="connsiteY48" fmla="*/ 401820 h 3641849"/>
                <a:gd name="connsiteX49" fmla="*/ 979093 w 1527683"/>
                <a:gd name="connsiteY49" fmla="*/ 440606 h 3641849"/>
                <a:gd name="connsiteX50" fmla="*/ 1012346 w 1527683"/>
                <a:gd name="connsiteY50" fmla="*/ 466462 h 3641849"/>
                <a:gd name="connsiteX51" fmla="*/ 995718 w 1527683"/>
                <a:gd name="connsiteY51" fmla="*/ 691417 h 3641849"/>
                <a:gd name="connsiteX52" fmla="*/ 868252 w 1527683"/>
                <a:gd name="connsiteY52" fmla="*/ 771575 h 3641849"/>
                <a:gd name="connsiteX53" fmla="*/ 754640 w 1527683"/>
                <a:gd name="connsiteY53" fmla="*/ 779331 h 3641849"/>
                <a:gd name="connsiteX54" fmla="*/ 616087 w 1527683"/>
                <a:gd name="connsiteY54" fmla="*/ 758645 h 3641849"/>
                <a:gd name="connsiteX55" fmla="*/ 524643 w 1527683"/>
                <a:gd name="connsiteY55" fmla="*/ 722445 h 3641849"/>
                <a:gd name="connsiteX56" fmla="*/ 505246 w 1527683"/>
                <a:gd name="connsiteY56" fmla="*/ 750888 h 3641849"/>
                <a:gd name="connsiteX57" fmla="*/ 535888 w 1527683"/>
                <a:gd name="connsiteY57" fmla="*/ 824301 h 3641849"/>
                <a:gd name="connsiteX58" fmla="*/ 541429 w 1527683"/>
                <a:gd name="connsiteY58" fmla="*/ 951000 h 3641849"/>
                <a:gd name="connsiteX59" fmla="*/ 513559 w 1527683"/>
                <a:gd name="connsiteY59" fmla="*/ 1012043 h 3641849"/>
                <a:gd name="connsiteX60" fmla="*/ 568978 w 1527683"/>
                <a:gd name="connsiteY60" fmla="*/ 1032728 h 3641849"/>
                <a:gd name="connsiteX61" fmla="*/ 585606 w 1527683"/>
                <a:gd name="connsiteY61" fmla="*/ 1048242 h 3641849"/>
                <a:gd name="connsiteX62" fmla="*/ 610546 w 1527683"/>
                <a:gd name="connsiteY62" fmla="*/ 1074099 h 3641849"/>
                <a:gd name="connsiteX63" fmla="*/ 607775 w 1527683"/>
                <a:gd name="connsiteY63" fmla="*/ 1076685 h 3641849"/>
                <a:gd name="connsiteX64" fmla="*/ 646568 w 1527683"/>
                <a:gd name="connsiteY64" fmla="*/ 1071514 h 3641849"/>
                <a:gd name="connsiteX65" fmla="*/ 654882 w 1527683"/>
                <a:gd name="connsiteY65" fmla="*/ 1035314 h 3641849"/>
                <a:gd name="connsiteX66" fmla="*/ 616087 w 1527683"/>
                <a:gd name="connsiteY66" fmla="*/ 957743 h 3641849"/>
                <a:gd name="connsiteX67" fmla="*/ 685363 w 1527683"/>
                <a:gd name="connsiteY67" fmla="*/ 911200 h 3641849"/>
                <a:gd name="connsiteX68" fmla="*/ 753135 w 1527683"/>
                <a:gd name="connsiteY68" fmla="*/ 918934 h 3641849"/>
                <a:gd name="connsiteX69" fmla="*/ 776968 w 1527683"/>
                <a:gd name="connsiteY69" fmla="*/ 951001 h 3641849"/>
                <a:gd name="connsiteX70" fmla="*/ 932697 w 1527683"/>
                <a:gd name="connsiteY70" fmla="*/ 1007364 h 3641849"/>
                <a:gd name="connsiteX71" fmla="*/ 918289 w 1527683"/>
                <a:gd name="connsiteY71" fmla="*/ 971687 h 3641849"/>
                <a:gd name="connsiteX72" fmla="*/ 885037 w 1527683"/>
                <a:gd name="connsiteY72" fmla="*/ 932901 h 3641849"/>
                <a:gd name="connsiteX73" fmla="*/ 873953 w 1527683"/>
                <a:gd name="connsiteY73" fmla="*/ 881187 h 3641849"/>
                <a:gd name="connsiteX74" fmla="*/ 912748 w 1527683"/>
                <a:gd name="connsiteY74" fmla="*/ 832060 h 3641849"/>
                <a:gd name="connsiteX75" fmla="*/ 940458 w 1527683"/>
                <a:gd name="connsiteY75" fmla="*/ 803617 h 3641849"/>
                <a:gd name="connsiteX76" fmla="*/ 965398 w 1527683"/>
                <a:gd name="connsiteY76" fmla="*/ 767417 h 3641849"/>
                <a:gd name="connsiteX77" fmla="*/ 1045758 w 1527683"/>
                <a:gd name="connsiteY77" fmla="*/ 762245 h 3641849"/>
                <a:gd name="connsiteX78" fmla="*/ 1051299 w 1527683"/>
                <a:gd name="connsiteY78" fmla="*/ 741560 h 3641849"/>
                <a:gd name="connsiteX79" fmla="*/ 1076239 w 1527683"/>
                <a:gd name="connsiteY79" fmla="*/ 705360 h 3641849"/>
                <a:gd name="connsiteX80" fmla="*/ 1110043 w 1527683"/>
                <a:gd name="connsiteY80" fmla="*/ 687772 h 3641849"/>
                <a:gd name="connsiteX81" fmla="*/ 1167683 w 1527683"/>
                <a:gd name="connsiteY81" fmla="*/ 700189 h 3641849"/>
                <a:gd name="connsiteX82" fmla="*/ 1206476 w 1527683"/>
                <a:gd name="connsiteY82" fmla="*/ 720875 h 3641849"/>
                <a:gd name="connsiteX83" fmla="*/ 1253584 w 1527683"/>
                <a:gd name="connsiteY83" fmla="*/ 728632 h 3641849"/>
                <a:gd name="connsiteX84" fmla="*/ 1253584 w 1527683"/>
                <a:gd name="connsiteY84" fmla="*/ 733803 h 3641849"/>
                <a:gd name="connsiteX85" fmla="*/ 1275753 w 1527683"/>
                <a:gd name="connsiteY85" fmla="*/ 674332 h 3641849"/>
                <a:gd name="connsiteX86" fmla="*/ 1285728 w 1527683"/>
                <a:gd name="connsiteY86" fmla="*/ 640714 h 3641849"/>
                <a:gd name="connsiteX87" fmla="*/ 1292379 w 1527683"/>
                <a:gd name="connsiteY87" fmla="*/ 622618 h 3641849"/>
                <a:gd name="connsiteX88" fmla="*/ 1295316 w 1527683"/>
                <a:gd name="connsiteY88" fmla="*/ 591288 h 3641849"/>
                <a:gd name="connsiteX89" fmla="*/ 1214790 w 1527683"/>
                <a:gd name="connsiteY89" fmla="*/ 545048 h 3641849"/>
                <a:gd name="connsiteX90" fmla="*/ 1200935 w 1527683"/>
                <a:gd name="connsiteY90" fmla="*/ 472648 h 3641849"/>
                <a:gd name="connsiteX91" fmla="*/ 1200935 w 1527683"/>
                <a:gd name="connsiteY91" fmla="*/ 454548 h 3641849"/>
                <a:gd name="connsiteX92" fmla="*/ 1212018 w 1527683"/>
                <a:gd name="connsiteY92" fmla="*/ 431276 h 3641849"/>
                <a:gd name="connsiteX93" fmla="*/ 1214790 w 1527683"/>
                <a:gd name="connsiteY93" fmla="*/ 415762 h 3641849"/>
                <a:gd name="connsiteX94" fmla="*/ 1214789 w 1527683"/>
                <a:gd name="connsiteY94" fmla="*/ 358878 h 3641849"/>
                <a:gd name="connsiteX95" fmla="*/ 1192621 w 1527683"/>
                <a:gd name="connsiteY95" fmla="*/ 335607 h 3641849"/>
                <a:gd name="connsiteX96" fmla="*/ 1164911 w 1527683"/>
                <a:gd name="connsiteY96" fmla="*/ 304578 h 3641849"/>
                <a:gd name="connsiteX97" fmla="*/ 1160743 w 1527683"/>
                <a:gd name="connsiteY97" fmla="*/ 280325 h 3641849"/>
                <a:gd name="connsiteX98" fmla="*/ 1212019 w 1527683"/>
                <a:gd name="connsiteY98" fmla="*/ 258034 h 3641849"/>
                <a:gd name="connsiteX99" fmla="*/ 1265599 w 1527683"/>
                <a:gd name="connsiteY99" fmla="*/ 267906 h 3641849"/>
                <a:gd name="connsiteX100" fmla="*/ 1344383 w 1527683"/>
                <a:gd name="connsiteY100" fmla="*/ 279816 h 3641849"/>
                <a:gd name="connsiteX101" fmla="*/ 1428706 w 1527683"/>
                <a:gd name="connsiteY101" fmla="*/ 349175 h 3641849"/>
                <a:gd name="connsiteX102" fmla="*/ 1490841 w 1527683"/>
                <a:gd name="connsiteY102" fmla="*/ 425271 h 3641849"/>
                <a:gd name="connsiteX103" fmla="*/ 1389870 w 1527683"/>
                <a:gd name="connsiteY103" fmla="*/ 454265 h 3641849"/>
                <a:gd name="connsiteX104" fmla="*/ 1374336 w 1527683"/>
                <a:gd name="connsiteY104" fmla="*/ 501372 h 3641849"/>
                <a:gd name="connsiteX105" fmla="*/ 1432006 w 1527683"/>
                <a:gd name="connsiteY105" fmla="*/ 585862 h 3641849"/>
                <a:gd name="connsiteX106" fmla="*/ 1467540 w 1527683"/>
                <a:gd name="connsiteY106" fmla="*/ 591964 h 3641849"/>
                <a:gd name="connsiteX107" fmla="*/ 1520160 w 1527683"/>
                <a:gd name="connsiteY107" fmla="*/ 598304 h 3641849"/>
                <a:gd name="connsiteX108" fmla="*/ 1515197 w 1527683"/>
                <a:gd name="connsiteY108" fmla="*/ 709079 h 3641849"/>
                <a:gd name="connsiteX109" fmla="*/ 1526266 w 1527683"/>
                <a:gd name="connsiteY109" fmla="*/ 1040047 h 3641849"/>
                <a:gd name="connsiteX110" fmla="*/ 1517398 w 1527683"/>
                <a:gd name="connsiteY110" fmla="*/ 1842646 h 3641849"/>
                <a:gd name="connsiteX111" fmla="*/ 1526265 w 1527683"/>
                <a:gd name="connsiteY111" fmla="*/ 2297728 h 3641849"/>
                <a:gd name="connsiteX112" fmla="*/ 1499817 w 1527683"/>
                <a:gd name="connsiteY112" fmla="*/ 3607693 h 3641849"/>
                <a:gd name="connsiteX113" fmla="*/ 1241390 w 1527683"/>
                <a:gd name="connsiteY113" fmla="*/ 3564098 h 3641849"/>
                <a:gd name="connsiteX114" fmla="*/ 1072912 w 1527683"/>
                <a:gd name="connsiteY114" fmla="*/ 3497903 h 3641849"/>
                <a:gd name="connsiteX115" fmla="*/ 895566 w 1527683"/>
                <a:gd name="connsiteY115" fmla="*/ 3406887 h 3641849"/>
                <a:gd name="connsiteX116" fmla="*/ 797268 w 1527683"/>
                <a:gd name="connsiteY116" fmla="*/ 3326370 h 3641849"/>
                <a:gd name="connsiteX117" fmla="*/ 1091530 w 1527683"/>
                <a:gd name="connsiteY117" fmla="*/ 3018734 h 3641849"/>
                <a:gd name="connsiteX118" fmla="*/ 807776 w 1527683"/>
                <a:gd name="connsiteY118" fmla="*/ 2480910 h 3641849"/>
                <a:gd name="connsiteX119" fmla="*/ 950126 w 1527683"/>
                <a:gd name="connsiteY119" fmla="*/ 2241825 h 3641849"/>
                <a:gd name="connsiteX120" fmla="*/ 763439 w 1527683"/>
                <a:gd name="connsiteY120" fmla="*/ 1703134 h 3641849"/>
                <a:gd name="connsiteX121" fmla="*/ 515155 w 1527683"/>
                <a:gd name="connsiteY121" fmla="*/ 1471456 h 3641849"/>
                <a:gd name="connsiteX122" fmla="*/ 46299 w 1527683"/>
                <a:gd name="connsiteY122" fmla="*/ 2159767 h 3641849"/>
                <a:gd name="connsiteX0" fmla="*/ 46299 w 1527683"/>
                <a:gd name="connsiteY0" fmla="*/ 2159767 h 3641849"/>
                <a:gd name="connsiteX1" fmla="*/ 17546 w 1527683"/>
                <a:gd name="connsiteY1" fmla="*/ 1725696 h 3641849"/>
                <a:gd name="connsiteX2" fmla="*/ 28631 w 1527683"/>
                <a:gd name="connsiteY2" fmla="*/ 1653296 h 3641849"/>
                <a:gd name="connsiteX3" fmla="*/ 142243 w 1527683"/>
                <a:gd name="connsiteY3" fmla="*/ 1536941 h 3641849"/>
                <a:gd name="connsiteX4" fmla="*/ 167182 w 1527683"/>
                <a:gd name="connsiteY4" fmla="*/ 1505912 h 3641849"/>
                <a:gd name="connsiteX5" fmla="*/ 153328 w 1527683"/>
                <a:gd name="connsiteY5" fmla="*/ 1555040 h 3641849"/>
                <a:gd name="connsiteX6" fmla="*/ 172724 w 1527683"/>
                <a:gd name="connsiteY6" fmla="*/ 1588655 h 3641849"/>
                <a:gd name="connsiteX7" fmla="*/ 217061 w 1527683"/>
                <a:gd name="connsiteY7" fmla="*/ 1666225 h 3641849"/>
                <a:gd name="connsiteX8" fmla="*/ 286337 w 1527683"/>
                <a:gd name="connsiteY8" fmla="*/ 1653297 h 3641849"/>
                <a:gd name="connsiteX9" fmla="*/ 305733 w 1527683"/>
                <a:gd name="connsiteY9" fmla="*/ 1622268 h 3641849"/>
                <a:gd name="connsiteX10" fmla="*/ 319589 w 1527683"/>
                <a:gd name="connsiteY10" fmla="*/ 1557627 h 3641849"/>
                <a:gd name="connsiteX11" fmla="*/ 258626 w 1527683"/>
                <a:gd name="connsiteY11" fmla="*/ 1511084 h 3641849"/>
                <a:gd name="connsiteX12" fmla="*/ 214290 w 1527683"/>
                <a:gd name="connsiteY12" fmla="*/ 1485227 h 3641849"/>
                <a:gd name="connsiteX13" fmla="*/ 153328 w 1527683"/>
                <a:gd name="connsiteY13" fmla="*/ 1495570 h 3641849"/>
                <a:gd name="connsiteX14" fmla="*/ 330674 w 1527683"/>
                <a:gd name="connsiteY14" fmla="*/ 1299057 h 3641849"/>
                <a:gd name="connsiteX15" fmla="*/ 178267 w 1527683"/>
                <a:gd name="connsiteY15" fmla="*/ 1151672 h 3641849"/>
                <a:gd name="connsiteX16" fmla="*/ 239230 w 1527683"/>
                <a:gd name="connsiteY16" fmla="*/ 1089617 h 3641849"/>
                <a:gd name="connsiteX17" fmla="*/ 172725 w 1527683"/>
                <a:gd name="connsiteY17" fmla="*/ 1050829 h 3641849"/>
                <a:gd name="connsiteX18" fmla="*/ 214290 w 1527683"/>
                <a:gd name="connsiteY18" fmla="*/ 1019802 h 3641849"/>
                <a:gd name="connsiteX19" fmla="*/ 167184 w 1527683"/>
                <a:gd name="connsiteY19" fmla="*/ 993947 h 3641849"/>
                <a:gd name="connsiteX20" fmla="*/ 167183 w 1527683"/>
                <a:gd name="connsiteY20" fmla="*/ 794845 h 3641849"/>
                <a:gd name="connsiteX21" fmla="*/ 205978 w 1527683"/>
                <a:gd name="connsiteY21" fmla="*/ 779332 h 3641849"/>
                <a:gd name="connsiteX22" fmla="*/ 92365 w 1527683"/>
                <a:gd name="connsiteY22" fmla="*/ 551792 h 3641849"/>
                <a:gd name="connsiteX23" fmla="*/ 89594 w 1527683"/>
                <a:gd name="connsiteY23" fmla="*/ 551792 h 3641849"/>
                <a:gd name="connsiteX24" fmla="*/ 139472 w 1527683"/>
                <a:gd name="connsiteY24" fmla="*/ 469048 h 3641849"/>
                <a:gd name="connsiteX25" fmla="*/ 156098 w 1527683"/>
                <a:gd name="connsiteY25" fmla="*/ 378550 h 3641849"/>
                <a:gd name="connsiteX26" fmla="*/ 81279 w 1527683"/>
                <a:gd name="connsiteY26" fmla="*/ 319079 h 3641849"/>
                <a:gd name="connsiteX27" fmla="*/ 72967 w 1527683"/>
                <a:gd name="connsiteY27" fmla="*/ 251851 h 3641849"/>
                <a:gd name="connsiteX28" fmla="*/ 128387 w 1527683"/>
                <a:gd name="connsiteY28" fmla="*/ 158764 h 3641849"/>
                <a:gd name="connsiteX29" fmla="*/ 147785 w 1527683"/>
                <a:gd name="connsiteY29" fmla="*/ 135494 h 3641849"/>
                <a:gd name="connsiteX30" fmla="*/ 161640 w 1527683"/>
                <a:gd name="connsiteY30" fmla="*/ 117394 h 3641849"/>
                <a:gd name="connsiteX31" fmla="*/ 169953 w 1527683"/>
                <a:gd name="connsiteY31" fmla="*/ 73438 h 3641849"/>
                <a:gd name="connsiteX32" fmla="*/ 194892 w 1527683"/>
                <a:gd name="connsiteY32" fmla="*/ 101880 h 3641849"/>
                <a:gd name="connsiteX33" fmla="*/ 225374 w 1527683"/>
                <a:gd name="connsiteY33" fmla="*/ 88952 h 3641849"/>
                <a:gd name="connsiteX34" fmla="*/ 228144 w 1527683"/>
                <a:gd name="connsiteY34" fmla="*/ 63095 h 3641849"/>
                <a:gd name="connsiteX35" fmla="*/ 236458 w 1527683"/>
                <a:gd name="connsiteY35" fmla="*/ 34652 h 3641849"/>
                <a:gd name="connsiteX36" fmla="*/ 239230 w 1527683"/>
                <a:gd name="connsiteY36" fmla="*/ 3624 h 3641849"/>
                <a:gd name="connsiteX37" fmla="*/ 375010 w 1527683"/>
                <a:gd name="connsiteY37" fmla="*/ 57924 h 3641849"/>
                <a:gd name="connsiteX38" fmla="*/ 405490 w 1527683"/>
                <a:gd name="connsiteY38" fmla="*/ 161352 h 3641849"/>
                <a:gd name="connsiteX39" fmla="*/ 419346 w 1527683"/>
                <a:gd name="connsiteY39" fmla="*/ 184622 h 3641849"/>
                <a:gd name="connsiteX40" fmla="*/ 430430 w 1527683"/>
                <a:gd name="connsiteY40" fmla="*/ 187208 h 3641849"/>
                <a:gd name="connsiteX41" fmla="*/ 544042 w 1527683"/>
                <a:gd name="connsiteY41" fmla="*/ 156181 h 3641849"/>
                <a:gd name="connsiteX42" fmla="*/ 610547 w 1527683"/>
                <a:gd name="connsiteY42" fmla="*/ 166522 h 3641849"/>
                <a:gd name="connsiteX43" fmla="*/ 674281 w 1527683"/>
                <a:gd name="connsiteY43" fmla="*/ 213065 h 3641849"/>
                <a:gd name="connsiteX44" fmla="*/ 688308 w 1527683"/>
                <a:gd name="connsiteY44" fmla="*/ 242621 h 3641849"/>
                <a:gd name="connsiteX45" fmla="*/ 743555 w 1527683"/>
                <a:gd name="connsiteY45" fmla="*/ 277708 h 3641849"/>
                <a:gd name="connsiteX46" fmla="*/ 832229 w 1527683"/>
                <a:gd name="connsiteY46" fmla="*/ 303563 h 3641849"/>
                <a:gd name="connsiteX47" fmla="*/ 904275 w 1527683"/>
                <a:gd name="connsiteY47" fmla="*/ 350106 h 3641849"/>
                <a:gd name="connsiteX48" fmla="*/ 954154 w 1527683"/>
                <a:gd name="connsiteY48" fmla="*/ 401820 h 3641849"/>
                <a:gd name="connsiteX49" fmla="*/ 979093 w 1527683"/>
                <a:gd name="connsiteY49" fmla="*/ 440606 h 3641849"/>
                <a:gd name="connsiteX50" fmla="*/ 1012346 w 1527683"/>
                <a:gd name="connsiteY50" fmla="*/ 466462 h 3641849"/>
                <a:gd name="connsiteX51" fmla="*/ 995718 w 1527683"/>
                <a:gd name="connsiteY51" fmla="*/ 691417 h 3641849"/>
                <a:gd name="connsiteX52" fmla="*/ 868252 w 1527683"/>
                <a:gd name="connsiteY52" fmla="*/ 771575 h 3641849"/>
                <a:gd name="connsiteX53" fmla="*/ 754640 w 1527683"/>
                <a:gd name="connsiteY53" fmla="*/ 779331 h 3641849"/>
                <a:gd name="connsiteX54" fmla="*/ 616087 w 1527683"/>
                <a:gd name="connsiteY54" fmla="*/ 758645 h 3641849"/>
                <a:gd name="connsiteX55" fmla="*/ 524643 w 1527683"/>
                <a:gd name="connsiteY55" fmla="*/ 722445 h 3641849"/>
                <a:gd name="connsiteX56" fmla="*/ 505246 w 1527683"/>
                <a:gd name="connsiteY56" fmla="*/ 750888 h 3641849"/>
                <a:gd name="connsiteX57" fmla="*/ 535888 w 1527683"/>
                <a:gd name="connsiteY57" fmla="*/ 824301 h 3641849"/>
                <a:gd name="connsiteX58" fmla="*/ 541429 w 1527683"/>
                <a:gd name="connsiteY58" fmla="*/ 951000 h 3641849"/>
                <a:gd name="connsiteX59" fmla="*/ 513559 w 1527683"/>
                <a:gd name="connsiteY59" fmla="*/ 1012043 h 3641849"/>
                <a:gd name="connsiteX60" fmla="*/ 568978 w 1527683"/>
                <a:gd name="connsiteY60" fmla="*/ 1032728 h 3641849"/>
                <a:gd name="connsiteX61" fmla="*/ 585606 w 1527683"/>
                <a:gd name="connsiteY61" fmla="*/ 1048242 h 3641849"/>
                <a:gd name="connsiteX62" fmla="*/ 610546 w 1527683"/>
                <a:gd name="connsiteY62" fmla="*/ 1074099 h 3641849"/>
                <a:gd name="connsiteX63" fmla="*/ 607775 w 1527683"/>
                <a:gd name="connsiteY63" fmla="*/ 1076685 h 3641849"/>
                <a:gd name="connsiteX64" fmla="*/ 646568 w 1527683"/>
                <a:gd name="connsiteY64" fmla="*/ 1071514 h 3641849"/>
                <a:gd name="connsiteX65" fmla="*/ 654882 w 1527683"/>
                <a:gd name="connsiteY65" fmla="*/ 1035314 h 3641849"/>
                <a:gd name="connsiteX66" fmla="*/ 616087 w 1527683"/>
                <a:gd name="connsiteY66" fmla="*/ 957743 h 3641849"/>
                <a:gd name="connsiteX67" fmla="*/ 685363 w 1527683"/>
                <a:gd name="connsiteY67" fmla="*/ 911200 h 3641849"/>
                <a:gd name="connsiteX68" fmla="*/ 753135 w 1527683"/>
                <a:gd name="connsiteY68" fmla="*/ 918934 h 3641849"/>
                <a:gd name="connsiteX69" fmla="*/ 776968 w 1527683"/>
                <a:gd name="connsiteY69" fmla="*/ 951001 h 3641849"/>
                <a:gd name="connsiteX70" fmla="*/ 932697 w 1527683"/>
                <a:gd name="connsiteY70" fmla="*/ 1007364 h 3641849"/>
                <a:gd name="connsiteX71" fmla="*/ 918289 w 1527683"/>
                <a:gd name="connsiteY71" fmla="*/ 971687 h 3641849"/>
                <a:gd name="connsiteX72" fmla="*/ 885037 w 1527683"/>
                <a:gd name="connsiteY72" fmla="*/ 932901 h 3641849"/>
                <a:gd name="connsiteX73" fmla="*/ 873953 w 1527683"/>
                <a:gd name="connsiteY73" fmla="*/ 881187 h 3641849"/>
                <a:gd name="connsiteX74" fmla="*/ 912748 w 1527683"/>
                <a:gd name="connsiteY74" fmla="*/ 832060 h 3641849"/>
                <a:gd name="connsiteX75" fmla="*/ 940458 w 1527683"/>
                <a:gd name="connsiteY75" fmla="*/ 803617 h 3641849"/>
                <a:gd name="connsiteX76" fmla="*/ 965398 w 1527683"/>
                <a:gd name="connsiteY76" fmla="*/ 767417 h 3641849"/>
                <a:gd name="connsiteX77" fmla="*/ 1045758 w 1527683"/>
                <a:gd name="connsiteY77" fmla="*/ 762245 h 3641849"/>
                <a:gd name="connsiteX78" fmla="*/ 1051299 w 1527683"/>
                <a:gd name="connsiteY78" fmla="*/ 741560 h 3641849"/>
                <a:gd name="connsiteX79" fmla="*/ 1076239 w 1527683"/>
                <a:gd name="connsiteY79" fmla="*/ 705360 h 3641849"/>
                <a:gd name="connsiteX80" fmla="*/ 1110043 w 1527683"/>
                <a:gd name="connsiteY80" fmla="*/ 687772 h 3641849"/>
                <a:gd name="connsiteX81" fmla="*/ 1167683 w 1527683"/>
                <a:gd name="connsiteY81" fmla="*/ 700189 h 3641849"/>
                <a:gd name="connsiteX82" fmla="*/ 1206476 w 1527683"/>
                <a:gd name="connsiteY82" fmla="*/ 720875 h 3641849"/>
                <a:gd name="connsiteX83" fmla="*/ 1253584 w 1527683"/>
                <a:gd name="connsiteY83" fmla="*/ 728632 h 3641849"/>
                <a:gd name="connsiteX84" fmla="*/ 1253584 w 1527683"/>
                <a:gd name="connsiteY84" fmla="*/ 733803 h 3641849"/>
                <a:gd name="connsiteX85" fmla="*/ 1275753 w 1527683"/>
                <a:gd name="connsiteY85" fmla="*/ 674332 h 3641849"/>
                <a:gd name="connsiteX86" fmla="*/ 1285728 w 1527683"/>
                <a:gd name="connsiteY86" fmla="*/ 640714 h 3641849"/>
                <a:gd name="connsiteX87" fmla="*/ 1292379 w 1527683"/>
                <a:gd name="connsiteY87" fmla="*/ 622618 h 3641849"/>
                <a:gd name="connsiteX88" fmla="*/ 1295316 w 1527683"/>
                <a:gd name="connsiteY88" fmla="*/ 591288 h 3641849"/>
                <a:gd name="connsiteX89" fmla="*/ 1214790 w 1527683"/>
                <a:gd name="connsiteY89" fmla="*/ 545048 h 3641849"/>
                <a:gd name="connsiteX90" fmla="*/ 1200935 w 1527683"/>
                <a:gd name="connsiteY90" fmla="*/ 472648 h 3641849"/>
                <a:gd name="connsiteX91" fmla="*/ 1200935 w 1527683"/>
                <a:gd name="connsiteY91" fmla="*/ 454548 h 3641849"/>
                <a:gd name="connsiteX92" fmla="*/ 1212018 w 1527683"/>
                <a:gd name="connsiteY92" fmla="*/ 431276 h 3641849"/>
                <a:gd name="connsiteX93" fmla="*/ 1214790 w 1527683"/>
                <a:gd name="connsiteY93" fmla="*/ 415762 h 3641849"/>
                <a:gd name="connsiteX94" fmla="*/ 1214789 w 1527683"/>
                <a:gd name="connsiteY94" fmla="*/ 358878 h 3641849"/>
                <a:gd name="connsiteX95" fmla="*/ 1192621 w 1527683"/>
                <a:gd name="connsiteY95" fmla="*/ 335607 h 3641849"/>
                <a:gd name="connsiteX96" fmla="*/ 1164911 w 1527683"/>
                <a:gd name="connsiteY96" fmla="*/ 304578 h 3641849"/>
                <a:gd name="connsiteX97" fmla="*/ 1160743 w 1527683"/>
                <a:gd name="connsiteY97" fmla="*/ 280325 h 3641849"/>
                <a:gd name="connsiteX98" fmla="*/ 1212019 w 1527683"/>
                <a:gd name="connsiteY98" fmla="*/ 258034 h 3641849"/>
                <a:gd name="connsiteX99" fmla="*/ 1265599 w 1527683"/>
                <a:gd name="connsiteY99" fmla="*/ 267906 h 3641849"/>
                <a:gd name="connsiteX100" fmla="*/ 1344383 w 1527683"/>
                <a:gd name="connsiteY100" fmla="*/ 279816 h 3641849"/>
                <a:gd name="connsiteX101" fmla="*/ 1428706 w 1527683"/>
                <a:gd name="connsiteY101" fmla="*/ 349175 h 3641849"/>
                <a:gd name="connsiteX102" fmla="*/ 1490841 w 1527683"/>
                <a:gd name="connsiteY102" fmla="*/ 425271 h 3641849"/>
                <a:gd name="connsiteX103" fmla="*/ 1389870 w 1527683"/>
                <a:gd name="connsiteY103" fmla="*/ 454265 h 3641849"/>
                <a:gd name="connsiteX104" fmla="*/ 1374336 w 1527683"/>
                <a:gd name="connsiteY104" fmla="*/ 501372 h 3641849"/>
                <a:gd name="connsiteX105" fmla="*/ 1432006 w 1527683"/>
                <a:gd name="connsiteY105" fmla="*/ 585862 h 3641849"/>
                <a:gd name="connsiteX106" fmla="*/ 1467540 w 1527683"/>
                <a:gd name="connsiteY106" fmla="*/ 591964 h 3641849"/>
                <a:gd name="connsiteX107" fmla="*/ 1520160 w 1527683"/>
                <a:gd name="connsiteY107" fmla="*/ 598304 h 3641849"/>
                <a:gd name="connsiteX108" fmla="*/ 1515197 w 1527683"/>
                <a:gd name="connsiteY108" fmla="*/ 709079 h 3641849"/>
                <a:gd name="connsiteX109" fmla="*/ 1526266 w 1527683"/>
                <a:gd name="connsiteY109" fmla="*/ 1040047 h 3641849"/>
                <a:gd name="connsiteX110" fmla="*/ 1517398 w 1527683"/>
                <a:gd name="connsiteY110" fmla="*/ 1842646 h 3641849"/>
                <a:gd name="connsiteX111" fmla="*/ 1526265 w 1527683"/>
                <a:gd name="connsiteY111" fmla="*/ 2297728 h 3641849"/>
                <a:gd name="connsiteX112" fmla="*/ 1499817 w 1527683"/>
                <a:gd name="connsiteY112" fmla="*/ 3607693 h 3641849"/>
                <a:gd name="connsiteX113" fmla="*/ 1241390 w 1527683"/>
                <a:gd name="connsiteY113" fmla="*/ 3564098 h 3641849"/>
                <a:gd name="connsiteX114" fmla="*/ 1072912 w 1527683"/>
                <a:gd name="connsiteY114" fmla="*/ 3497903 h 3641849"/>
                <a:gd name="connsiteX115" fmla="*/ 895566 w 1527683"/>
                <a:gd name="connsiteY115" fmla="*/ 3406887 h 3641849"/>
                <a:gd name="connsiteX116" fmla="*/ 797268 w 1527683"/>
                <a:gd name="connsiteY116" fmla="*/ 3326370 h 3641849"/>
                <a:gd name="connsiteX117" fmla="*/ 1091530 w 1527683"/>
                <a:gd name="connsiteY117" fmla="*/ 3018734 h 3641849"/>
                <a:gd name="connsiteX118" fmla="*/ 807776 w 1527683"/>
                <a:gd name="connsiteY118" fmla="*/ 2480910 h 3641849"/>
                <a:gd name="connsiteX119" fmla="*/ 950126 w 1527683"/>
                <a:gd name="connsiteY119" fmla="*/ 2241825 h 3641849"/>
                <a:gd name="connsiteX120" fmla="*/ 763439 w 1527683"/>
                <a:gd name="connsiteY120" fmla="*/ 1703134 h 3641849"/>
                <a:gd name="connsiteX121" fmla="*/ 515155 w 1527683"/>
                <a:gd name="connsiteY121" fmla="*/ 1471456 h 3641849"/>
                <a:gd name="connsiteX122" fmla="*/ 46299 w 1527683"/>
                <a:gd name="connsiteY122" fmla="*/ 2159767 h 3641849"/>
                <a:gd name="connsiteX0" fmla="*/ 46299 w 1527683"/>
                <a:gd name="connsiteY0" fmla="*/ 2159767 h 3641849"/>
                <a:gd name="connsiteX1" fmla="*/ 17546 w 1527683"/>
                <a:gd name="connsiteY1" fmla="*/ 1725696 h 3641849"/>
                <a:gd name="connsiteX2" fmla="*/ 28631 w 1527683"/>
                <a:gd name="connsiteY2" fmla="*/ 1653296 h 3641849"/>
                <a:gd name="connsiteX3" fmla="*/ 142243 w 1527683"/>
                <a:gd name="connsiteY3" fmla="*/ 1536941 h 3641849"/>
                <a:gd name="connsiteX4" fmla="*/ 167182 w 1527683"/>
                <a:gd name="connsiteY4" fmla="*/ 1505912 h 3641849"/>
                <a:gd name="connsiteX5" fmla="*/ 153328 w 1527683"/>
                <a:gd name="connsiteY5" fmla="*/ 1555040 h 3641849"/>
                <a:gd name="connsiteX6" fmla="*/ 172724 w 1527683"/>
                <a:gd name="connsiteY6" fmla="*/ 1588655 h 3641849"/>
                <a:gd name="connsiteX7" fmla="*/ 217061 w 1527683"/>
                <a:gd name="connsiteY7" fmla="*/ 1666225 h 3641849"/>
                <a:gd name="connsiteX8" fmla="*/ 286337 w 1527683"/>
                <a:gd name="connsiteY8" fmla="*/ 1653297 h 3641849"/>
                <a:gd name="connsiteX9" fmla="*/ 305733 w 1527683"/>
                <a:gd name="connsiteY9" fmla="*/ 1622268 h 3641849"/>
                <a:gd name="connsiteX10" fmla="*/ 319589 w 1527683"/>
                <a:gd name="connsiteY10" fmla="*/ 1557627 h 3641849"/>
                <a:gd name="connsiteX11" fmla="*/ 258626 w 1527683"/>
                <a:gd name="connsiteY11" fmla="*/ 1511084 h 3641849"/>
                <a:gd name="connsiteX12" fmla="*/ 214290 w 1527683"/>
                <a:gd name="connsiteY12" fmla="*/ 1485227 h 3641849"/>
                <a:gd name="connsiteX13" fmla="*/ 153328 w 1527683"/>
                <a:gd name="connsiteY13" fmla="*/ 1495570 h 3641849"/>
                <a:gd name="connsiteX14" fmla="*/ 330674 w 1527683"/>
                <a:gd name="connsiteY14" fmla="*/ 1299057 h 3641849"/>
                <a:gd name="connsiteX15" fmla="*/ 178267 w 1527683"/>
                <a:gd name="connsiteY15" fmla="*/ 1151672 h 3641849"/>
                <a:gd name="connsiteX16" fmla="*/ 239230 w 1527683"/>
                <a:gd name="connsiteY16" fmla="*/ 1089617 h 3641849"/>
                <a:gd name="connsiteX17" fmla="*/ 172725 w 1527683"/>
                <a:gd name="connsiteY17" fmla="*/ 1050829 h 3641849"/>
                <a:gd name="connsiteX18" fmla="*/ 214290 w 1527683"/>
                <a:gd name="connsiteY18" fmla="*/ 1019802 h 3641849"/>
                <a:gd name="connsiteX19" fmla="*/ 167184 w 1527683"/>
                <a:gd name="connsiteY19" fmla="*/ 993947 h 3641849"/>
                <a:gd name="connsiteX20" fmla="*/ 167183 w 1527683"/>
                <a:gd name="connsiteY20" fmla="*/ 794845 h 3641849"/>
                <a:gd name="connsiteX21" fmla="*/ 205978 w 1527683"/>
                <a:gd name="connsiteY21" fmla="*/ 779332 h 3641849"/>
                <a:gd name="connsiteX22" fmla="*/ 92365 w 1527683"/>
                <a:gd name="connsiteY22" fmla="*/ 551792 h 3641849"/>
                <a:gd name="connsiteX23" fmla="*/ 89594 w 1527683"/>
                <a:gd name="connsiteY23" fmla="*/ 551792 h 3641849"/>
                <a:gd name="connsiteX24" fmla="*/ 139472 w 1527683"/>
                <a:gd name="connsiteY24" fmla="*/ 469048 h 3641849"/>
                <a:gd name="connsiteX25" fmla="*/ 156098 w 1527683"/>
                <a:gd name="connsiteY25" fmla="*/ 378550 h 3641849"/>
                <a:gd name="connsiteX26" fmla="*/ 81279 w 1527683"/>
                <a:gd name="connsiteY26" fmla="*/ 319079 h 3641849"/>
                <a:gd name="connsiteX27" fmla="*/ 72967 w 1527683"/>
                <a:gd name="connsiteY27" fmla="*/ 251851 h 3641849"/>
                <a:gd name="connsiteX28" fmla="*/ 128387 w 1527683"/>
                <a:gd name="connsiteY28" fmla="*/ 158764 h 3641849"/>
                <a:gd name="connsiteX29" fmla="*/ 147785 w 1527683"/>
                <a:gd name="connsiteY29" fmla="*/ 135494 h 3641849"/>
                <a:gd name="connsiteX30" fmla="*/ 161640 w 1527683"/>
                <a:gd name="connsiteY30" fmla="*/ 117394 h 3641849"/>
                <a:gd name="connsiteX31" fmla="*/ 169953 w 1527683"/>
                <a:gd name="connsiteY31" fmla="*/ 73438 h 3641849"/>
                <a:gd name="connsiteX32" fmla="*/ 194892 w 1527683"/>
                <a:gd name="connsiteY32" fmla="*/ 101880 h 3641849"/>
                <a:gd name="connsiteX33" fmla="*/ 225374 w 1527683"/>
                <a:gd name="connsiteY33" fmla="*/ 88952 h 3641849"/>
                <a:gd name="connsiteX34" fmla="*/ 228144 w 1527683"/>
                <a:gd name="connsiteY34" fmla="*/ 63095 h 3641849"/>
                <a:gd name="connsiteX35" fmla="*/ 236458 w 1527683"/>
                <a:gd name="connsiteY35" fmla="*/ 34652 h 3641849"/>
                <a:gd name="connsiteX36" fmla="*/ 239230 w 1527683"/>
                <a:gd name="connsiteY36" fmla="*/ 3624 h 3641849"/>
                <a:gd name="connsiteX37" fmla="*/ 375010 w 1527683"/>
                <a:gd name="connsiteY37" fmla="*/ 57924 h 3641849"/>
                <a:gd name="connsiteX38" fmla="*/ 405490 w 1527683"/>
                <a:gd name="connsiteY38" fmla="*/ 161352 h 3641849"/>
                <a:gd name="connsiteX39" fmla="*/ 419346 w 1527683"/>
                <a:gd name="connsiteY39" fmla="*/ 184622 h 3641849"/>
                <a:gd name="connsiteX40" fmla="*/ 430430 w 1527683"/>
                <a:gd name="connsiteY40" fmla="*/ 187208 h 3641849"/>
                <a:gd name="connsiteX41" fmla="*/ 544042 w 1527683"/>
                <a:gd name="connsiteY41" fmla="*/ 156181 h 3641849"/>
                <a:gd name="connsiteX42" fmla="*/ 610547 w 1527683"/>
                <a:gd name="connsiteY42" fmla="*/ 166522 h 3641849"/>
                <a:gd name="connsiteX43" fmla="*/ 674281 w 1527683"/>
                <a:gd name="connsiteY43" fmla="*/ 213065 h 3641849"/>
                <a:gd name="connsiteX44" fmla="*/ 688308 w 1527683"/>
                <a:gd name="connsiteY44" fmla="*/ 242621 h 3641849"/>
                <a:gd name="connsiteX45" fmla="*/ 743555 w 1527683"/>
                <a:gd name="connsiteY45" fmla="*/ 277708 h 3641849"/>
                <a:gd name="connsiteX46" fmla="*/ 832229 w 1527683"/>
                <a:gd name="connsiteY46" fmla="*/ 303563 h 3641849"/>
                <a:gd name="connsiteX47" fmla="*/ 904275 w 1527683"/>
                <a:gd name="connsiteY47" fmla="*/ 350106 h 3641849"/>
                <a:gd name="connsiteX48" fmla="*/ 954154 w 1527683"/>
                <a:gd name="connsiteY48" fmla="*/ 401820 h 3641849"/>
                <a:gd name="connsiteX49" fmla="*/ 979093 w 1527683"/>
                <a:gd name="connsiteY49" fmla="*/ 440606 h 3641849"/>
                <a:gd name="connsiteX50" fmla="*/ 1012346 w 1527683"/>
                <a:gd name="connsiteY50" fmla="*/ 466462 h 3641849"/>
                <a:gd name="connsiteX51" fmla="*/ 995718 w 1527683"/>
                <a:gd name="connsiteY51" fmla="*/ 691417 h 3641849"/>
                <a:gd name="connsiteX52" fmla="*/ 868252 w 1527683"/>
                <a:gd name="connsiteY52" fmla="*/ 771575 h 3641849"/>
                <a:gd name="connsiteX53" fmla="*/ 754640 w 1527683"/>
                <a:gd name="connsiteY53" fmla="*/ 779331 h 3641849"/>
                <a:gd name="connsiteX54" fmla="*/ 616087 w 1527683"/>
                <a:gd name="connsiteY54" fmla="*/ 758645 h 3641849"/>
                <a:gd name="connsiteX55" fmla="*/ 524643 w 1527683"/>
                <a:gd name="connsiteY55" fmla="*/ 722445 h 3641849"/>
                <a:gd name="connsiteX56" fmla="*/ 505246 w 1527683"/>
                <a:gd name="connsiteY56" fmla="*/ 750888 h 3641849"/>
                <a:gd name="connsiteX57" fmla="*/ 535888 w 1527683"/>
                <a:gd name="connsiteY57" fmla="*/ 824301 h 3641849"/>
                <a:gd name="connsiteX58" fmla="*/ 541429 w 1527683"/>
                <a:gd name="connsiteY58" fmla="*/ 951000 h 3641849"/>
                <a:gd name="connsiteX59" fmla="*/ 513559 w 1527683"/>
                <a:gd name="connsiteY59" fmla="*/ 1012043 h 3641849"/>
                <a:gd name="connsiteX60" fmla="*/ 568978 w 1527683"/>
                <a:gd name="connsiteY60" fmla="*/ 1032728 h 3641849"/>
                <a:gd name="connsiteX61" fmla="*/ 585606 w 1527683"/>
                <a:gd name="connsiteY61" fmla="*/ 1048242 h 3641849"/>
                <a:gd name="connsiteX62" fmla="*/ 610546 w 1527683"/>
                <a:gd name="connsiteY62" fmla="*/ 1074099 h 3641849"/>
                <a:gd name="connsiteX63" fmla="*/ 607775 w 1527683"/>
                <a:gd name="connsiteY63" fmla="*/ 1076685 h 3641849"/>
                <a:gd name="connsiteX64" fmla="*/ 646568 w 1527683"/>
                <a:gd name="connsiteY64" fmla="*/ 1071514 h 3641849"/>
                <a:gd name="connsiteX65" fmla="*/ 654882 w 1527683"/>
                <a:gd name="connsiteY65" fmla="*/ 1035314 h 3641849"/>
                <a:gd name="connsiteX66" fmla="*/ 616087 w 1527683"/>
                <a:gd name="connsiteY66" fmla="*/ 957743 h 3641849"/>
                <a:gd name="connsiteX67" fmla="*/ 685363 w 1527683"/>
                <a:gd name="connsiteY67" fmla="*/ 911200 h 3641849"/>
                <a:gd name="connsiteX68" fmla="*/ 753135 w 1527683"/>
                <a:gd name="connsiteY68" fmla="*/ 918934 h 3641849"/>
                <a:gd name="connsiteX69" fmla="*/ 776968 w 1527683"/>
                <a:gd name="connsiteY69" fmla="*/ 951001 h 3641849"/>
                <a:gd name="connsiteX70" fmla="*/ 932697 w 1527683"/>
                <a:gd name="connsiteY70" fmla="*/ 1007364 h 3641849"/>
                <a:gd name="connsiteX71" fmla="*/ 918289 w 1527683"/>
                <a:gd name="connsiteY71" fmla="*/ 971687 h 3641849"/>
                <a:gd name="connsiteX72" fmla="*/ 885037 w 1527683"/>
                <a:gd name="connsiteY72" fmla="*/ 932901 h 3641849"/>
                <a:gd name="connsiteX73" fmla="*/ 873953 w 1527683"/>
                <a:gd name="connsiteY73" fmla="*/ 881187 h 3641849"/>
                <a:gd name="connsiteX74" fmla="*/ 912748 w 1527683"/>
                <a:gd name="connsiteY74" fmla="*/ 832060 h 3641849"/>
                <a:gd name="connsiteX75" fmla="*/ 940458 w 1527683"/>
                <a:gd name="connsiteY75" fmla="*/ 803617 h 3641849"/>
                <a:gd name="connsiteX76" fmla="*/ 965398 w 1527683"/>
                <a:gd name="connsiteY76" fmla="*/ 767417 h 3641849"/>
                <a:gd name="connsiteX77" fmla="*/ 1045758 w 1527683"/>
                <a:gd name="connsiteY77" fmla="*/ 762245 h 3641849"/>
                <a:gd name="connsiteX78" fmla="*/ 1051299 w 1527683"/>
                <a:gd name="connsiteY78" fmla="*/ 741560 h 3641849"/>
                <a:gd name="connsiteX79" fmla="*/ 1076239 w 1527683"/>
                <a:gd name="connsiteY79" fmla="*/ 705360 h 3641849"/>
                <a:gd name="connsiteX80" fmla="*/ 1110043 w 1527683"/>
                <a:gd name="connsiteY80" fmla="*/ 687772 h 3641849"/>
                <a:gd name="connsiteX81" fmla="*/ 1167683 w 1527683"/>
                <a:gd name="connsiteY81" fmla="*/ 700189 h 3641849"/>
                <a:gd name="connsiteX82" fmla="*/ 1206476 w 1527683"/>
                <a:gd name="connsiteY82" fmla="*/ 720875 h 3641849"/>
                <a:gd name="connsiteX83" fmla="*/ 1253584 w 1527683"/>
                <a:gd name="connsiteY83" fmla="*/ 728632 h 3641849"/>
                <a:gd name="connsiteX84" fmla="*/ 1253584 w 1527683"/>
                <a:gd name="connsiteY84" fmla="*/ 733803 h 3641849"/>
                <a:gd name="connsiteX85" fmla="*/ 1275753 w 1527683"/>
                <a:gd name="connsiteY85" fmla="*/ 674332 h 3641849"/>
                <a:gd name="connsiteX86" fmla="*/ 1285728 w 1527683"/>
                <a:gd name="connsiteY86" fmla="*/ 640714 h 3641849"/>
                <a:gd name="connsiteX87" fmla="*/ 1292379 w 1527683"/>
                <a:gd name="connsiteY87" fmla="*/ 622618 h 3641849"/>
                <a:gd name="connsiteX88" fmla="*/ 1295316 w 1527683"/>
                <a:gd name="connsiteY88" fmla="*/ 591288 h 3641849"/>
                <a:gd name="connsiteX89" fmla="*/ 1214790 w 1527683"/>
                <a:gd name="connsiteY89" fmla="*/ 545048 h 3641849"/>
                <a:gd name="connsiteX90" fmla="*/ 1200935 w 1527683"/>
                <a:gd name="connsiteY90" fmla="*/ 472648 h 3641849"/>
                <a:gd name="connsiteX91" fmla="*/ 1200935 w 1527683"/>
                <a:gd name="connsiteY91" fmla="*/ 454548 h 3641849"/>
                <a:gd name="connsiteX92" fmla="*/ 1212018 w 1527683"/>
                <a:gd name="connsiteY92" fmla="*/ 431276 h 3641849"/>
                <a:gd name="connsiteX93" fmla="*/ 1214790 w 1527683"/>
                <a:gd name="connsiteY93" fmla="*/ 415762 h 3641849"/>
                <a:gd name="connsiteX94" fmla="*/ 1214789 w 1527683"/>
                <a:gd name="connsiteY94" fmla="*/ 358878 h 3641849"/>
                <a:gd name="connsiteX95" fmla="*/ 1192621 w 1527683"/>
                <a:gd name="connsiteY95" fmla="*/ 335607 h 3641849"/>
                <a:gd name="connsiteX96" fmla="*/ 1164911 w 1527683"/>
                <a:gd name="connsiteY96" fmla="*/ 304578 h 3641849"/>
                <a:gd name="connsiteX97" fmla="*/ 1160743 w 1527683"/>
                <a:gd name="connsiteY97" fmla="*/ 280325 h 3641849"/>
                <a:gd name="connsiteX98" fmla="*/ 1212019 w 1527683"/>
                <a:gd name="connsiteY98" fmla="*/ 258034 h 3641849"/>
                <a:gd name="connsiteX99" fmla="*/ 1265599 w 1527683"/>
                <a:gd name="connsiteY99" fmla="*/ 267906 h 3641849"/>
                <a:gd name="connsiteX100" fmla="*/ 1344383 w 1527683"/>
                <a:gd name="connsiteY100" fmla="*/ 279816 h 3641849"/>
                <a:gd name="connsiteX101" fmla="*/ 1428706 w 1527683"/>
                <a:gd name="connsiteY101" fmla="*/ 349175 h 3641849"/>
                <a:gd name="connsiteX102" fmla="*/ 1490841 w 1527683"/>
                <a:gd name="connsiteY102" fmla="*/ 425271 h 3641849"/>
                <a:gd name="connsiteX103" fmla="*/ 1389870 w 1527683"/>
                <a:gd name="connsiteY103" fmla="*/ 454265 h 3641849"/>
                <a:gd name="connsiteX104" fmla="*/ 1374336 w 1527683"/>
                <a:gd name="connsiteY104" fmla="*/ 501372 h 3641849"/>
                <a:gd name="connsiteX105" fmla="*/ 1432006 w 1527683"/>
                <a:gd name="connsiteY105" fmla="*/ 585862 h 3641849"/>
                <a:gd name="connsiteX106" fmla="*/ 1467540 w 1527683"/>
                <a:gd name="connsiteY106" fmla="*/ 591964 h 3641849"/>
                <a:gd name="connsiteX107" fmla="*/ 1520160 w 1527683"/>
                <a:gd name="connsiteY107" fmla="*/ 598304 h 3641849"/>
                <a:gd name="connsiteX108" fmla="*/ 1515197 w 1527683"/>
                <a:gd name="connsiteY108" fmla="*/ 709079 h 3641849"/>
                <a:gd name="connsiteX109" fmla="*/ 1526266 w 1527683"/>
                <a:gd name="connsiteY109" fmla="*/ 1040047 h 3641849"/>
                <a:gd name="connsiteX110" fmla="*/ 1517398 w 1527683"/>
                <a:gd name="connsiteY110" fmla="*/ 1842646 h 3641849"/>
                <a:gd name="connsiteX111" fmla="*/ 1526265 w 1527683"/>
                <a:gd name="connsiteY111" fmla="*/ 2297728 h 3641849"/>
                <a:gd name="connsiteX112" fmla="*/ 1499817 w 1527683"/>
                <a:gd name="connsiteY112" fmla="*/ 3607693 h 3641849"/>
                <a:gd name="connsiteX113" fmla="*/ 1241390 w 1527683"/>
                <a:gd name="connsiteY113" fmla="*/ 3564098 h 3641849"/>
                <a:gd name="connsiteX114" fmla="*/ 1072912 w 1527683"/>
                <a:gd name="connsiteY114" fmla="*/ 3497903 h 3641849"/>
                <a:gd name="connsiteX115" fmla="*/ 895566 w 1527683"/>
                <a:gd name="connsiteY115" fmla="*/ 3406887 h 3641849"/>
                <a:gd name="connsiteX116" fmla="*/ 797268 w 1527683"/>
                <a:gd name="connsiteY116" fmla="*/ 3326370 h 3641849"/>
                <a:gd name="connsiteX117" fmla="*/ 1091530 w 1527683"/>
                <a:gd name="connsiteY117" fmla="*/ 3018734 h 3641849"/>
                <a:gd name="connsiteX118" fmla="*/ 807776 w 1527683"/>
                <a:gd name="connsiteY118" fmla="*/ 2480910 h 3641849"/>
                <a:gd name="connsiteX119" fmla="*/ 950126 w 1527683"/>
                <a:gd name="connsiteY119" fmla="*/ 2241825 h 3641849"/>
                <a:gd name="connsiteX120" fmla="*/ 763439 w 1527683"/>
                <a:gd name="connsiteY120" fmla="*/ 1703134 h 3641849"/>
                <a:gd name="connsiteX121" fmla="*/ 515155 w 1527683"/>
                <a:gd name="connsiteY121" fmla="*/ 1471456 h 3641849"/>
                <a:gd name="connsiteX122" fmla="*/ 46299 w 1527683"/>
                <a:gd name="connsiteY122" fmla="*/ 2159767 h 3641849"/>
                <a:gd name="connsiteX0" fmla="*/ 95795 w 1577179"/>
                <a:gd name="connsiteY0" fmla="*/ 2159767 h 3641849"/>
                <a:gd name="connsiteX1" fmla="*/ 67042 w 1577179"/>
                <a:gd name="connsiteY1" fmla="*/ 1725696 h 3641849"/>
                <a:gd name="connsiteX2" fmla="*/ 3309 w 1577179"/>
                <a:gd name="connsiteY2" fmla="*/ 1637781 h 3641849"/>
                <a:gd name="connsiteX3" fmla="*/ 191739 w 1577179"/>
                <a:gd name="connsiteY3" fmla="*/ 1536941 h 3641849"/>
                <a:gd name="connsiteX4" fmla="*/ 216678 w 1577179"/>
                <a:gd name="connsiteY4" fmla="*/ 1505912 h 3641849"/>
                <a:gd name="connsiteX5" fmla="*/ 202824 w 1577179"/>
                <a:gd name="connsiteY5" fmla="*/ 1555040 h 3641849"/>
                <a:gd name="connsiteX6" fmla="*/ 222220 w 1577179"/>
                <a:gd name="connsiteY6" fmla="*/ 1588655 h 3641849"/>
                <a:gd name="connsiteX7" fmla="*/ 266557 w 1577179"/>
                <a:gd name="connsiteY7" fmla="*/ 1666225 h 3641849"/>
                <a:gd name="connsiteX8" fmla="*/ 335833 w 1577179"/>
                <a:gd name="connsiteY8" fmla="*/ 1653297 h 3641849"/>
                <a:gd name="connsiteX9" fmla="*/ 355229 w 1577179"/>
                <a:gd name="connsiteY9" fmla="*/ 1622268 h 3641849"/>
                <a:gd name="connsiteX10" fmla="*/ 369085 w 1577179"/>
                <a:gd name="connsiteY10" fmla="*/ 1557627 h 3641849"/>
                <a:gd name="connsiteX11" fmla="*/ 308122 w 1577179"/>
                <a:gd name="connsiteY11" fmla="*/ 1511084 h 3641849"/>
                <a:gd name="connsiteX12" fmla="*/ 263786 w 1577179"/>
                <a:gd name="connsiteY12" fmla="*/ 1485227 h 3641849"/>
                <a:gd name="connsiteX13" fmla="*/ 202824 w 1577179"/>
                <a:gd name="connsiteY13" fmla="*/ 1495570 h 3641849"/>
                <a:gd name="connsiteX14" fmla="*/ 380170 w 1577179"/>
                <a:gd name="connsiteY14" fmla="*/ 1299057 h 3641849"/>
                <a:gd name="connsiteX15" fmla="*/ 227763 w 1577179"/>
                <a:gd name="connsiteY15" fmla="*/ 1151672 h 3641849"/>
                <a:gd name="connsiteX16" fmla="*/ 288726 w 1577179"/>
                <a:gd name="connsiteY16" fmla="*/ 1089617 h 3641849"/>
                <a:gd name="connsiteX17" fmla="*/ 222221 w 1577179"/>
                <a:gd name="connsiteY17" fmla="*/ 1050829 h 3641849"/>
                <a:gd name="connsiteX18" fmla="*/ 263786 w 1577179"/>
                <a:gd name="connsiteY18" fmla="*/ 1019802 h 3641849"/>
                <a:gd name="connsiteX19" fmla="*/ 216680 w 1577179"/>
                <a:gd name="connsiteY19" fmla="*/ 993947 h 3641849"/>
                <a:gd name="connsiteX20" fmla="*/ 216679 w 1577179"/>
                <a:gd name="connsiteY20" fmla="*/ 794845 h 3641849"/>
                <a:gd name="connsiteX21" fmla="*/ 255474 w 1577179"/>
                <a:gd name="connsiteY21" fmla="*/ 779332 h 3641849"/>
                <a:gd name="connsiteX22" fmla="*/ 141861 w 1577179"/>
                <a:gd name="connsiteY22" fmla="*/ 551792 h 3641849"/>
                <a:gd name="connsiteX23" fmla="*/ 139090 w 1577179"/>
                <a:gd name="connsiteY23" fmla="*/ 551792 h 3641849"/>
                <a:gd name="connsiteX24" fmla="*/ 188968 w 1577179"/>
                <a:gd name="connsiteY24" fmla="*/ 469048 h 3641849"/>
                <a:gd name="connsiteX25" fmla="*/ 205594 w 1577179"/>
                <a:gd name="connsiteY25" fmla="*/ 378550 h 3641849"/>
                <a:gd name="connsiteX26" fmla="*/ 130775 w 1577179"/>
                <a:gd name="connsiteY26" fmla="*/ 319079 h 3641849"/>
                <a:gd name="connsiteX27" fmla="*/ 122463 w 1577179"/>
                <a:gd name="connsiteY27" fmla="*/ 251851 h 3641849"/>
                <a:gd name="connsiteX28" fmla="*/ 177883 w 1577179"/>
                <a:gd name="connsiteY28" fmla="*/ 158764 h 3641849"/>
                <a:gd name="connsiteX29" fmla="*/ 197281 w 1577179"/>
                <a:gd name="connsiteY29" fmla="*/ 135494 h 3641849"/>
                <a:gd name="connsiteX30" fmla="*/ 211136 w 1577179"/>
                <a:gd name="connsiteY30" fmla="*/ 117394 h 3641849"/>
                <a:gd name="connsiteX31" fmla="*/ 219449 w 1577179"/>
                <a:gd name="connsiteY31" fmla="*/ 73438 h 3641849"/>
                <a:gd name="connsiteX32" fmla="*/ 244388 w 1577179"/>
                <a:gd name="connsiteY32" fmla="*/ 101880 h 3641849"/>
                <a:gd name="connsiteX33" fmla="*/ 274870 w 1577179"/>
                <a:gd name="connsiteY33" fmla="*/ 88952 h 3641849"/>
                <a:gd name="connsiteX34" fmla="*/ 277640 w 1577179"/>
                <a:gd name="connsiteY34" fmla="*/ 63095 h 3641849"/>
                <a:gd name="connsiteX35" fmla="*/ 285954 w 1577179"/>
                <a:gd name="connsiteY35" fmla="*/ 34652 h 3641849"/>
                <a:gd name="connsiteX36" fmla="*/ 288726 w 1577179"/>
                <a:gd name="connsiteY36" fmla="*/ 3624 h 3641849"/>
                <a:gd name="connsiteX37" fmla="*/ 424506 w 1577179"/>
                <a:gd name="connsiteY37" fmla="*/ 57924 h 3641849"/>
                <a:gd name="connsiteX38" fmla="*/ 454986 w 1577179"/>
                <a:gd name="connsiteY38" fmla="*/ 161352 h 3641849"/>
                <a:gd name="connsiteX39" fmla="*/ 468842 w 1577179"/>
                <a:gd name="connsiteY39" fmla="*/ 184622 h 3641849"/>
                <a:gd name="connsiteX40" fmla="*/ 479926 w 1577179"/>
                <a:gd name="connsiteY40" fmla="*/ 187208 h 3641849"/>
                <a:gd name="connsiteX41" fmla="*/ 593538 w 1577179"/>
                <a:gd name="connsiteY41" fmla="*/ 156181 h 3641849"/>
                <a:gd name="connsiteX42" fmla="*/ 660043 w 1577179"/>
                <a:gd name="connsiteY42" fmla="*/ 166522 h 3641849"/>
                <a:gd name="connsiteX43" fmla="*/ 723777 w 1577179"/>
                <a:gd name="connsiteY43" fmla="*/ 213065 h 3641849"/>
                <a:gd name="connsiteX44" fmla="*/ 737804 w 1577179"/>
                <a:gd name="connsiteY44" fmla="*/ 242621 h 3641849"/>
                <a:gd name="connsiteX45" fmla="*/ 793051 w 1577179"/>
                <a:gd name="connsiteY45" fmla="*/ 277708 h 3641849"/>
                <a:gd name="connsiteX46" fmla="*/ 881725 w 1577179"/>
                <a:gd name="connsiteY46" fmla="*/ 303563 h 3641849"/>
                <a:gd name="connsiteX47" fmla="*/ 953771 w 1577179"/>
                <a:gd name="connsiteY47" fmla="*/ 350106 h 3641849"/>
                <a:gd name="connsiteX48" fmla="*/ 1003650 w 1577179"/>
                <a:gd name="connsiteY48" fmla="*/ 401820 h 3641849"/>
                <a:gd name="connsiteX49" fmla="*/ 1028589 w 1577179"/>
                <a:gd name="connsiteY49" fmla="*/ 440606 h 3641849"/>
                <a:gd name="connsiteX50" fmla="*/ 1061842 w 1577179"/>
                <a:gd name="connsiteY50" fmla="*/ 466462 h 3641849"/>
                <a:gd name="connsiteX51" fmla="*/ 1045214 w 1577179"/>
                <a:gd name="connsiteY51" fmla="*/ 691417 h 3641849"/>
                <a:gd name="connsiteX52" fmla="*/ 917748 w 1577179"/>
                <a:gd name="connsiteY52" fmla="*/ 771575 h 3641849"/>
                <a:gd name="connsiteX53" fmla="*/ 804136 w 1577179"/>
                <a:gd name="connsiteY53" fmla="*/ 779331 h 3641849"/>
                <a:gd name="connsiteX54" fmla="*/ 665583 w 1577179"/>
                <a:gd name="connsiteY54" fmla="*/ 758645 h 3641849"/>
                <a:gd name="connsiteX55" fmla="*/ 574139 w 1577179"/>
                <a:gd name="connsiteY55" fmla="*/ 722445 h 3641849"/>
                <a:gd name="connsiteX56" fmla="*/ 554742 w 1577179"/>
                <a:gd name="connsiteY56" fmla="*/ 750888 h 3641849"/>
                <a:gd name="connsiteX57" fmla="*/ 585384 w 1577179"/>
                <a:gd name="connsiteY57" fmla="*/ 824301 h 3641849"/>
                <a:gd name="connsiteX58" fmla="*/ 590925 w 1577179"/>
                <a:gd name="connsiteY58" fmla="*/ 951000 h 3641849"/>
                <a:gd name="connsiteX59" fmla="*/ 563055 w 1577179"/>
                <a:gd name="connsiteY59" fmla="*/ 1012043 h 3641849"/>
                <a:gd name="connsiteX60" fmla="*/ 618474 w 1577179"/>
                <a:gd name="connsiteY60" fmla="*/ 1032728 h 3641849"/>
                <a:gd name="connsiteX61" fmla="*/ 635102 w 1577179"/>
                <a:gd name="connsiteY61" fmla="*/ 1048242 h 3641849"/>
                <a:gd name="connsiteX62" fmla="*/ 660042 w 1577179"/>
                <a:gd name="connsiteY62" fmla="*/ 1074099 h 3641849"/>
                <a:gd name="connsiteX63" fmla="*/ 657271 w 1577179"/>
                <a:gd name="connsiteY63" fmla="*/ 1076685 h 3641849"/>
                <a:gd name="connsiteX64" fmla="*/ 696064 w 1577179"/>
                <a:gd name="connsiteY64" fmla="*/ 1071514 h 3641849"/>
                <a:gd name="connsiteX65" fmla="*/ 704378 w 1577179"/>
                <a:gd name="connsiteY65" fmla="*/ 1035314 h 3641849"/>
                <a:gd name="connsiteX66" fmla="*/ 665583 w 1577179"/>
                <a:gd name="connsiteY66" fmla="*/ 957743 h 3641849"/>
                <a:gd name="connsiteX67" fmla="*/ 734859 w 1577179"/>
                <a:gd name="connsiteY67" fmla="*/ 911200 h 3641849"/>
                <a:gd name="connsiteX68" fmla="*/ 802631 w 1577179"/>
                <a:gd name="connsiteY68" fmla="*/ 918934 h 3641849"/>
                <a:gd name="connsiteX69" fmla="*/ 826464 w 1577179"/>
                <a:gd name="connsiteY69" fmla="*/ 951001 h 3641849"/>
                <a:gd name="connsiteX70" fmla="*/ 982193 w 1577179"/>
                <a:gd name="connsiteY70" fmla="*/ 1007364 h 3641849"/>
                <a:gd name="connsiteX71" fmla="*/ 967785 w 1577179"/>
                <a:gd name="connsiteY71" fmla="*/ 971687 h 3641849"/>
                <a:gd name="connsiteX72" fmla="*/ 934533 w 1577179"/>
                <a:gd name="connsiteY72" fmla="*/ 932901 h 3641849"/>
                <a:gd name="connsiteX73" fmla="*/ 923449 w 1577179"/>
                <a:gd name="connsiteY73" fmla="*/ 881187 h 3641849"/>
                <a:gd name="connsiteX74" fmla="*/ 962244 w 1577179"/>
                <a:gd name="connsiteY74" fmla="*/ 832060 h 3641849"/>
                <a:gd name="connsiteX75" fmla="*/ 989954 w 1577179"/>
                <a:gd name="connsiteY75" fmla="*/ 803617 h 3641849"/>
                <a:gd name="connsiteX76" fmla="*/ 1014894 w 1577179"/>
                <a:gd name="connsiteY76" fmla="*/ 767417 h 3641849"/>
                <a:gd name="connsiteX77" fmla="*/ 1095254 w 1577179"/>
                <a:gd name="connsiteY77" fmla="*/ 762245 h 3641849"/>
                <a:gd name="connsiteX78" fmla="*/ 1100795 w 1577179"/>
                <a:gd name="connsiteY78" fmla="*/ 741560 h 3641849"/>
                <a:gd name="connsiteX79" fmla="*/ 1125735 w 1577179"/>
                <a:gd name="connsiteY79" fmla="*/ 705360 h 3641849"/>
                <a:gd name="connsiteX80" fmla="*/ 1159539 w 1577179"/>
                <a:gd name="connsiteY80" fmla="*/ 687772 h 3641849"/>
                <a:gd name="connsiteX81" fmla="*/ 1217179 w 1577179"/>
                <a:gd name="connsiteY81" fmla="*/ 700189 h 3641849"/>
                <a:gd name="connsiteX82" fmla="*/ 1255972 w 1577179"/>
                <a:gd name="connsiteY82" fmla="*/ 720875 h 3641849"/>
                <a:gd name="connsiteX83" fmla="*/ 1303080 w 1577179"/>
                <a:gd name="connsiteY83" fmla="*/ 728632 h 3641849"/>
                <a:gd name="connsiteX84" fmla="*/ 1303080 w 1577179"/>
                <a:gd name="connsiteY84" fmla="*/ 733803 h 3641849"/>
                <a:gd name="connsiteX85" fmla="*/ 1325249 w 1577179"/>
                <a:gd name="connsiteY85" fmla="*/ 674332 h 3641849"/>
                <a:gd name="connsiteX86" fmla="*/ 1335224 w 1577179"/>
                <a:gd name="connsiteY86" fmla="*/ 640714 h 3641849"/>
                <a:gd name="connsiteX87" fmla="*/ 1341875 w 1577179"/>
                <a:gd name="connsiteY87" fmla="*/ 622618 h 3641849"/>
                <a:gd name="connsiteX88" fmla="*/ 1344812 w 1577179"/>
                <a:gd name="connsiteY88" fmla="*/ 591288 h 3641849"/>
                <a:gd name="connsiteX89" fmla="*/ 1264286 w 1577179"/>
                <a:gd name="connsiteY89" fmla="*/ 545048 h 3641849"/>
                <a:gd name="connsiteX90" fmla="*/ 1250431 w 1577179"/>
                <a:gd name="connsiteY90" fmla="*/ 472648 h 3641849"/>
                <a:gd name="connsiteX91" fmla="*/ 1250431 w 1577179"/>
                <a:gd name="connsiteY91" fmla="*/ 454548 h 3641849"/>
                <a:gd name="connsiteX92" fmla="*/ 1261514 w 1577179"/>
                <a:gd name="connsiteY92" fmla="*/ 431276 h 3641849"/>
                <a:gd name="connsiteX93" fmla="*/ 1264286 w 1577179"/>
                <a:gd name="connsiteY93" fmla="*/ 415762 h 3641849"/>
                <a:gd name="connsiteX94" fmla="*/ 1264285 w 1577179"/>
                <a:gd name="connsiteY94" fmla="*/ 358878 h 3641849"/>
                <a:gd name="connsiteX95" fmla="*/ 1242117 w 1577179"/>
                <a:gd name="connsiteY95" fmla="*/ 335607 h 3641849"/>
                <a:gd name="connsiteX96" fmla="*/ 1214407 w 1577179"/>
                <a:gd name="connsiteY96" fmla="*/ 304578 h 3641849"/>
                <a:gd name="connsiteX97" fmla="*/ 1210239 w 1577179"/>
                <a:gd name="connsiteY97" fmla="*/ 280325 h 3641849"/>
                <a:gd name="connsiteX98" fmla="*/ 1261515 w 1577179"/>
                <a:gd name="connsiteY98" fmla="*/ 258034 h 3641849"/>
                <a:gd name="connsiteX99" fmla="*/ 1315095 w 1577179"/>
                <a:gd name="connsiteY99" fmla="*/ 267906 h 3641849"/>
                <a:gd name="connsiteX100" fmla="*/ 1393879 w 1577179"/>
                <a:gd name="connsiteY100" fmla="*/ 279816 h 3641849"/>
                <a:gd name="connsiteX101" fmla="*/ 1478202 w 1577179"/>
                <a:gd name="connsiteY101" fmla="*/ 349175 h 3641849"/>
                <a:gd name="connsiteX102" fmla="*/ 1540337 w 1577179"/>
                <a:gd name="connsiteY102" fmla="*/ 425271 h 3641849"/>
                <a:gd name="connsiteX103" fmla="*/ 1439366 w 1577179"/>
                <a:gd name="connsiteY103" fmla="*/ 454265 h 3641849"/>
                <a:gd name="connsiteX104" fmla="*/ 1423832 w 1577179"/>
                <a:gd name="connsiteY104" fmla="*/ 501372 h 3641849"/>
                <a:gd name="connsiteX105" fmla="*/ 1481502 w 1577179"/>
                <a:gd name="connsiteY105" fmla="*/ 585862 h 3641849"/>
                <a:gd name="connsiteX106" fmla="*/ 1517036 w 1577179"/>
                <a:gd name="connsiteY106" fmla="*/ 591964 h 3641849"/>
                <a:gd name="connsiteX107" fmla="*/ 1569656 w 1577179"/>
                <a:gd name="connsiteY107" fmla="*/ 598304 h 3641849"/>
                <a:gd name="connsiteX108" fmla="*/ 1564693 w 1577179"/>
                <a:gd name="connsiteY108" fmla="*/ 709079 h 3641849"/>
                <a:gd name="connsiteX109" fmla="*/ 1575762 w 1577179"/>
                <a:gd name="connsiteY109" fmla="*/ 1040047 h 3641849"/>
                <a:gd name="connsiteX110" fmla="*/ 1566894 w 1577179"/>
                <a:gd name="connsiteY110" fmla="*/ 1842646 h 3641849"/>
                <a:gd name="connsiteX111" fmla="*/ 1575761 w 1577179"/>
                <a:gd name="connsiteY111" fmla="*/ 2297728 h 3641849"/>
                <a:gd name="connsiteX112" fmla="*/ 1549313 w 1577179"/>
                <a:gd name="connsiteY112" fmla="*/ 3607693 h 3641849"/>
                <a:gd name="connsiteX113" fmla="*/ 1290886 w 1577179"/>
                <a:gd name="connsiteY113" fmla="*/ 3564098 h 3641849"/>
                <a:gd name="connsiteX114" fmla="*/ 1122408 w 1577179"/>
                <a:gd name="connsiteY114" fmla="*/ 3497903 h 3641849"/>
                <a:gd name="connsiteX115" fmla="*/ 945062 w 1577179"/>
                <a:gd name="connsiteY115" fmla="*/ 3406887 h 3641849"/>
                <a:gd name="connsiteX116" fmla="*/ 846764 w 1577179"/>
                <a:gd name="connsiteY116" fmla="*/ 3326370 h 3641849"/>
                <a:gd name="connsiteX117" fmla="*/ 1141026 w 1577179"/>
                <a:gd name="connsiteY117" fmla="*/ 3018734 h 3641849"/>
                <a:gd name="connsiteX118" fmla="*/ 857272 w 1577179"/>
                <a:gd name="connsiteY118" fmla="*/ 2480910 h 3641849"/>
                <a:gd name="connsiteX119" fmla="*/ 999622 w 1577179"/>
                <a:gd name="connsiteY119" fmla="*/ 2241825 h 3641849"/>
                <a:gd name="connsiteX120" fmla="*/ 812935 w 1577179"/>
                <a:gd name="connsiteY120" fmla="*/ 1703134 h 3641849"/>
                <a:gd name="connsiteX121" fmla="*/ 564651 w 1577179"/>
                <a:gd name="connsiteY121" fmla="*/ 1471456 h 3641849"/>
                <a:gd name="connsiteX122" fmla="*/ 95795 w 1577179"/>
                <a:gd name="connsiteY122" fmla="*/ 2159767 h 3641849"/>
                <a:gd name="connsiteX0" fmla="*/ 95795 w 1577179"/>
                <a:gd name="connsiteY0" fmla="*/ 2159767 h 3641849"/>
                <a:gd name="connsiteX1" fmla="*/ 67042 w 1577179"/>
                <a:gd name="connsiteY1" fmla="*/ 1725696 h 3641849"/>
                <a:gd name="connsiteX2" fmla="*/ 3309 w 1577179"/>
                <a:gd name="connsiteY2" fmla="*/ 1637781 h 3641849"/>
                <a:gd name="connsiteX3" fmla="*/ 119692 w 1577179"/>
                <a:gd name="connsiteY3" fmla="*/ 1640368 h 3641849"/>
                <a:gd name="connsiteX4" fmla="*/ 191739 w 1577179"/>
                <a:gd name="connsiteY4" fmla="*/ 1536941 h 3641849"/>
                <a:gd name="connsiteX5" fmla="*/ 216678 w 1577179"/>
                <a:gd name="connsiteY5" fmla="*/ 1505912 h 3641849"/>
                <a:gd name="connsiteX6" fmla="*/ 202824 w 1577179"/>
                <a:gd name="connsiteY6" fmla="*/ 1555040 h 3641849"/>
                <a:gd name="connsiteX7" fmla="*/ 222220 w 1577179"/>
                <a:gd name="connsiteY7" fmla="*/ 1588655 h 3641849"/>
                <a:gd name="connsiteX8" fmla="*/ 266557 w 1577179"/>
                <a:gd name="connsiteY8" fmla="*/ 1666225 h 3641849"/>
                <a:gd name="connsiteX9" fmla="*/ 335833 w 1577179"/>
                <a:gd name="connsiteY9" fmla="*/ 1653297 h 3641849"/>
                <a:gd name="connsiteX10" fmla="*/ 355229 w 1577179"/>
                <a:gd name="connsiteY10" fmla="*/ 1622268 h 3641849"/>
                <a:gd name="connsiteX11" fmla="*/ 369085 w 1577179"/>
                <a:gd name="connsiteY11" fmla="*/ 1557627 h 3641849"/>
                <a:gd name="connsiteX12" fmla="*/ 308122 w 1577179"/>
                <a:gd name="connsiteY12" fmla="*/ 1511084 h 3641849"/>
                <a:gd name="connsiteX13" fmla="*/ 263786 w 1577179"/>
                <a:gd name="connsiteY13" fmla="*/ 1485227 h 3641849"/>
                <a:gd name="connsiteX14" fmla="*/ 202824 w 1577179"/>
                <a:gd name="connsiteY14" fmla="*/ 1495570 h 3641849"/>
                <a:gd name="connsiteX15" fmla="*/ 380170 w 1577179"/>
                <a:gd name="connsiteY15" fmla="*/ 1299057 h 3641849"/>
                <a:gd name="connsiteX16" fmla="*/ 227763 w 1577179"/>
                <a:gd name="connsiteY16" fmla="*/ 1151672 h 3641849"/>
                <a:gd name="connsiteX17" fmla="*/ 288726 w 1577179"/>
                <a:gd name="connsiteY17" fmla="*/ 1089617 h 3641849"/>
                <a:gd name="connsiteX18" fmla="*/ 222221 w 1577179"/>
                <a:gd name="connsiteY18" fmla="*/ 1050829 h 3641849"/>
                <a:gd name="connsiteX19" fmla="*/ 263786 w 1577179"/>
                <a:gd name="connsiteY19" fmla="*/ 1019802 h 3641849"/>
                <a:gd name="connsiteX20" fmla="*/ 216680 w 1577179"/>
                <a:gd name="connsiteY20" fmla="*/ 993947 h 3641849"/>
                <a:gd name="connsiteX21" fmla="*/ 216679 w 1577179"/>
                <a:gd name="connsiteY21" fmla="*/ 794845 h 3641849"/>
                <a:gd name="connsiteX22" fmla="*/ 255474 w 1577179"/>
                <a:gd name="connsiteY22" fmla="*/ 779332 h 3641849"/>
                <a:gd name="connsiteX23" fmla="*/ 141861 w 1577179"/>
                <a:gd name="connsiteY23" fmla="*/ 551792 h 3641849"/>
                <a:gd name="connsiteX24" fmla="*/ 139090 w 1577179"/>
                <a:gd name="connsiteY24" fmla="*/ 551792 h 3641849"/>
                <a:gd name="connsiteX25" fmla="*/ 188968 w 1577179"/>
                <a:gd name="connsiteY25" fmla="*/ 469048 h 3641849"/>
                <a:gd name="connsiteX26" fmla="*/ 205594 w 1577179"/>
                <a:gd name="connsiteY26" fmla="*/ 378550 h 3641849"/>
                <a:gd name="connsiteX27" fmla="*/ 130775 w 1577179"/>
                <a:gd name="connsiteY27" fmla="*/ 319079 h 3641849"/>
                <a:gd name="connsiteX28" fmla="*/ 122463 w 1577179"/>
                <a:gd name="connsiteY28" fmla="*/ 251851 h 3641849"/>
                <a:gd name="connsiteX29" fmla="*/ 177883 w 1577179"/>
                <a:gd name="connsiteY29" fmla="*/ 158764 h 3641849"/>
                <a:gd name="connsiteX30" fmla="*/ 197281 w 1577179"/>
                <a:gd name="connsiteY30" fmla="*/ 135494 h 3641849"/>
                <a:gd name="connsiteX31" fmla="*/ 211136 w 1577179"/>
                <a:gd name="connsiteY31" fmla="*/ 117394 h 3641849"/>
                <a:gd name="connsiteX32" fmla="*/ 219449 w 1577179"/>
                <a:gd name="connsiteY32" fmla="*/ 73438 h 3641849"/>
                <a:gd name="connsiteX33" fmla="*/ 244388 w 1577179"/>
                <a:gd name="connsiteY33" fmla="*/ 101880 h 3641849"/>
                <a:gd name="connsiteX34" fmla="*/ 274870 w 1577179"/>
                <a:gd name="connsiteY34" fmla="*/ 88952 h 3641849"/>
                <a:gd name="connsiteX35" fmla="*/ 277640 w 1577179"/>
                <a:gd name="connsiteY35" fmla="*/ 63095 h 3641849"/>
                <a:gd name="connsiteX36" fmla="*/ 285954 w 1577179"/>
                <a:gd name="connsiteY36" fmla="*/ 34652 h 3641849"/>
                <a:gd name="connsiteX37" fmla="*/ 288726 w 1577179"/>
                <a:gd name="connsiteY37" fmla="*/ 3624 h 3641849"/>
                <a:gd name="connsiteX38" fmla="*/ 424506 w 1577179"/>
                <a:gd name="connsiteY38" fmla="*/ 57924 h 3641849"/>
                <a:gd name="connsiteX39" fmla="*/ 454986 w 1577179"/>
                <a:gd name="connsiteY39" fmla="*/ 161352 h 3641849"/>
                <a:gd name="connsiteX40" fmla="*/ 468842 w 1577179"/>
                <a:gd name="connsiteY40" fmla="*/ 184622 h 3641849"/>
                <a:gd name="connsiteX41" fmla="*/ 479926 w 1577179"/>
                <a:gd name="connsiteY41" fmla="*/ 187208 h 3641849"/>
                <a:gd name="connsiteX42" fmla="*/ 593538 w 1577179"/>
                <a:gd name="connsiteY42" fmla="*/ 156181 h 3641849"/>
                <a:gd name="connsiteX43" fmla="*/ 660043 w 1577179"/>
                <a:gd name="connsiteY43" fmla="*/ 166522 h 3641849"/>
                <a:gd name="connsiteX44" fmla="*/ 723777 w 1577179"/>
                <a:gd name="connsiteY44" fmla="*/ 213065 h 3641849"/>
                <a:gd name="connsiteX45" fmla="*/ 737804 w 1577179"/>
                <a:gd name="connsiteY45" fmla="*/ 242621 h 3641849"/>
                <a:gd name="connsiteX46" fmla="*/ 793051 w 1577179"/>
                <a:gd name="connsiteY46" fmla="*/ 277708 h 3641849"/>
                <a:gd name="connsiteX47" fmla="*/ 881725 w 1577179"/>
                <a:gd name="connsiteY47" fmla="*/ 303563 h 3641849"/>
                <a:gd name="connsiteX48" fmla="*/ 953771 w 1577179"/>
                <a:gd name="connsiteY48" fmla="*/ 350106 h 3641849"/>
                <a:gd name="connsiteX49" fmla="*/ 1003650 w 1577179"/>
                <a:gd name="connsiteY49" fmla="*/ 401820 h 3641849"/>
                <a:gd name="connsiteX50" fmla="*/ 1028589 w 1577179"/>
                <a:gd name="connsiteY50" fmla="*/ 440606 h 3641849"/>
                <a:gd name="connsiteX51" fmla="*/ 1061842 w 1577179"/>
                <a:gd name="connsiteY51" fmla="*/ 466462 h 3641849"/>
                <a:gd name="connsiteX52" fmla="*/ 1045214 w 1577179"/>
                <a:gd name="connsiteY52" fmla="*/ 691417 h 3641849"/>
                <a:gd name="connsiteX53" fmla="*/ 917748 w 1577179"/>
                <a:gd name="connsiteY53" fmla="*/ 771575 h 3641849"/>
                <a:gd name="connsiteX54" fmla="*/ 804136 w 1577179"/>
                <a:gd name="connsiteY54" fmla="*/ 779331 h 3641849"/>
                <a:gd name="connsiteX55" fmla="*/ 665583 w 1577179"/>
                <a:gd name="connsiteY55" fmla="*/ 758645 h 3641849"/>
                <a:gd name="connsiteX56" fmla="*/ 574139 w 1577179"/>
                <a:gd name="connsiteY56" fmla="*/ 722445 h 3641849"/>
                <a:gd name="connsiteX57" fmla="*/ 554742 w 1577179"/>
                <a:gd name="connsiteY57" fmla="*/ 750888 h 3641849"/>
                <a:gd name="connsiteX58" fmla="*/ 585384 w 1577179"/>
                <a:gd name="connsiteY58" fmla="*/ 824301 h 3641849"/>
                <a:gd name="connsiteX59" fmla="*/ 590925 w 1577179"/>
                <a:gd name="connsiteY59" fmla="*/ 951000 h 3641849"/>
                <a:gd name="connsiteX60" fmla="*/ 563055 w 1577179"/>
                <a:gd name="connsiteY60" fmla="*/ 1012043 h 3641849"/>
                <a:gd name="connsiteX61" fmla="*/ 618474 w 1577179"/>
                <a:gd name="connsiteY61" fmla="*/ 1032728 h 3641849"/>
                <a:gd name="connsiteX62" fmla="*/ 635102 w 1577179"/>
                <a:gd name="connsiteY62" fmla="*/ 1048242 h 3641849"/>
                <a:gd name="connsiteX63" fmla="*/ 660042 w 1577179"/>
                <a:gd name="connsiteY63" fmla="*/ 1074099 h 3641849"/>
                <a:gd name="connsiteX64" fmla="*/ 657271 w 1577179"/>
                <a:gd name="connsiteY64" fmla="*/ 1076685 h 3641849"/>
                <a:gd name="connsiteX65" fmla="*/ 696064 w 1577179"/>
                <a:gd name="connsiteY65" fmla="*/ 1071514 h 3641849"/>
                <a:gd name="connsiteX66" fmla="*/ 704378 w 1577179"/>
                <a:gd name="connsiteY66" fmla="*/ 1035314 h 3641849"/>
                <a:gd name="connsiteX67" fmla="*/ 665583 w 1577179"/>
                <a:gd name="connsiteY67" fmla="*/ 957743 h 3641849"/>
                <a:gd name="connsiteX68" fmla="*/ 734859 w 1577179"/>
                <a:gd name="connsiteY68" fmla="*/ 911200 h 3641849"/>
                <a:gd name="connsiteX69" fmla="*/ 802631 w 1577179"/>
                <a:gd name="connsiteY69" fmla="*/ 918934 h 3641849"/>
                <a:gd name="connsiteX70" fmla="*/ 826464 w 1577179"/>
                <a:gd name="connsiteY70" fmla="*/ 951001 h 3641849"/>
                <a:gd name="connsiteX71" fmla="*/ 982193 w 1577179"/>
                <a:gd name="connsiteY71" fmla="*/ 1007364 h 3641849"/>
                <a:gd name="connsiteX72" fmla="*/ 967785 w 1577179"/>
                <a:gd name="connsiteY72" fmla="*/ 971687 h 3641849"/>
                <a:gd name="connsiteX73" fmla="*/ 934533 w 1577179"/>
                <a:gd name="connsiteY73" fmla="*/ 932901 h 3641849"/>
                <a:gd name="connsiteX74" fmla="*/ 923449 w 1577179"/>
                <a:gd name="connsiteY74" fmla="*/ 881187 h 3641849"/>
                <a:gd name="connsiteX75" fmla="*/ 962244 w 1577179"/>
                <a:gd name="connsiteY75" fmla="*/ 832060 h 3641849"/>
                <a:gd name="connsiteX76" fmla="*/ 989954 w 1577179"/>
                <a:gd name="connsiteY76" fmla="*/ 803617 h 3641849"/>
                <a:gd name="connsiteX77" fmla="*/ 1014894 w 1577179"/>
                <a:gd name="connsiteY77" fmla="*/ 767417 h 3641849"/>
                <a:gd name="connsiteX78" fmla="*/ 1095254 w 1577179"/>
                <a:gd name="connsiteY78" fmla="*/ 762245 h 3641849"/>
                <a:gd name="connsiteX79" fmla="*/ 1100795 w 1577179"/>
                <a:gd name="connsiteY79" fmla="*/ 741560 h 3641849"/>
                <a:gd name="connsiteX80" fmla="*/ 1125735 w 1577179"/>
                <a:gd name="connsiteY80" fmla="*/ 705360 h 3641849"/>
                <a:gd name="connsiteX81" fmla="*/ 1159539 w 1577179"/>
                <a:gd name="connsiteY81" fmla="*/ 687772 h 3641849"/>
                <a:gd name="connsiteX82" fmla="*/ 1217179 w 1577179"/>
                <a:gd name="connsiteY82" fmla="*/ 700189 h 3641849"/>
                <a:gd name="connsiteX83" fmla="*/ 1255972 w 1577179"/>
                <a:gd name="connsiteY83" fmla="*/ 720875 h 3641849"/>
                <a:gd name="connsiteX84" fmla="*/ 1303080 w 1577179"/>
                <a:gd name="connsiteY84" fmla="*/ 728632 h 3641849"/>
                <a:gd name="connsiteX85" fmla="*/ 1303080 w 1577179"/>
                <a:gd name="connsiteY85" fmla="*/ 733803 h 3641849"/>
                <a:gd name="connsiteX86" fmla="*/ 1325249 w 1577179"/>
                <a:gd name="connsiteY86" fmla="*/ 674332 h 3641849"/>
                <a:gd name="connsiteX87" fmla="*/ 1335224 w 1577179"/>
                <a:gd name="connsiteY87" fmla="*/ 640714 h 3641849"/>
                <a:gd name="connsiteX88" fmla="*/ 1341875 w 1577179"/>
                <a:gd name="connsiteY88" fmla="*/ 622618 h 3641849"/>
                <a:gd name="connsiteX89" fmla="*/ 1344812 w 1577179"/>
                <a:gd name="connsiteY89" fmla="*/ 591288 h 3641849"/>
                <a:gd name="connsiteX90" fmla="*/ 1264286 w 1577179"/>
                <a:gd name="connsiteY90" fmla="*/ 545048 h 3641849"/>
                <a:gd name="connsiteX91" fmla="*/ 1250431 w 1577179"/>
                <a:gd name="connsiteY91" fmla="*/ 472648 h 3641849"/>
                <a:gd name="connsiteX92" fmla="*/ 1250431 w 1577179"/>
                <a:gd name="connsiteY92" fmla="*/ 454548 h 3641849"/>
                <a:gd name="connsiteX93" fmla="*/ 1261514 w 1577179"/>
                <a:gd name="connsiteY93" fmla="*/ 431276 h 3641849"/>
                <a:gd name="connsiteX94" fmla="*/ 1264286 w 1577179"/>
                <a:gd name="connsiteY94" fmla="*/ 415762 h 3641849"/>
                <a:gd name="connsiteX95" fmla="*/ 1264285 w 1577179"/>
                <a:gd name="connsiteY95" fmla="*/ 358878 h 3641849"/>
                <a:gd name="connsiteX96" fmla="*/ 1242117 w 1577179"/>
                <a:gd name="connsiteY96" fmla="*/ 335607 h 3641849"/>
                <a:gd name="connsiteX97" fmla="*/ 1214407 w 1577179"/>
                <a:gd name="connsiteY97" fmla="*/ 304578 h 3641849"/>
                <a:gd name="connsiteX98" fmla="*/ 1210239 w 1577179"/>
                <a:gd name="connsiteY98" fmla="*/ 280325 h 3641849"/>
                <a:gd name="connsiteX99" fmla="*/ 1261515 w 1577179"/>
                <a:gd name="connsiteY99" fmla="*/ 258034 h 3641849"/>
                <a:gd name="connsiteX100" fmla="*/ 1315095 w 1577179"/>
                <a:gd name="connsiteY100" fmla="*/ 267906 h 3641849"/>
                <a:gd name="connsiteX101" fmla="*/ 1393879 w 1577179"/>
                <a:gd name="connsiteY101" fmla="*/ 279816 h 3641849"/>
                <a:gd name="connsiteX102" fmla="*/ 1478202 w 1577179"/>
                <a:gd name="connsiteY102" fmla="*/ 349175 h 3641849"/>
                <a:gd name="connsiteX103" fmla="*/ 1540337 w 1577179"/>
                <a:gd name="connsiteY103" fmla="*/ 425271 h 3641849"/>
                <a:gd name="connsiteX104" fmla="*/ 1439366 w 1577179"/>
                <a:gd name="connsiteY104" fmla="*/ 454265 h 3641849"/>
                <a:gd name="connsiteX105" fmla="*/ 1423832 w 1577179"/>
                <a:gd name="connsiteY105" fmla="*/ 501372 h 3641849"/>
                <a:gd name="connsiteX106" fmla="*/ 1481502 w 1577179"/>
                <a:gd name="connsiteY106" fmla="*/ 585862 h 3641849"/>
                <a:gd name="connsiteX107" fmla="*/ 1517036 w 1577179"/>
                <a:gd name="connsiteY107" fmla="*/ 591964 h 3641849"/>
                <a:gd name="connsiteX108" fmla="*/ 1569656 w 1577179"/>
                <a:gd name="connsiteY108" fmla="*/ 598304 h 3641849"/>
                <a:gd name="connsiteX109" fmla="*/ 1564693 w 1577179"/>
                <a:gd name="connsiteY109" fmla="*/ 709079 h 3641849"/>
                <a:gd name="connsiteX110" fmla="*/ 1575762 w 1577179"/>
                <a:gd name="connsiteY110" fmla="*/ 1040047 h 3641849"/>
                <a:gd name="connsiteX111" fmla="*/ 1566894 w 1577179"/>
                <a:gd name="connsiteY111" fmla="*/ 1842646 h 3641849"/>
                <a:gd name="connsiteX112" fmla="*/ 1575761 w 1577179"/>
                <a:gd name="connsiteY112" fmla="*/ 2297728 h 3641849"/>
                <a:gd name="connsiteX113" fmla="*/ 1549313 w 1577179"/>
                <a:gd name="connsiteY113" fmla="*/ 3607693 h 3641849"/>
                <a:gd name="connsiteX114" fmla="*/ 1290886 w 1577179"/>
                <a:gd name="connsiteY114" fmla="*/ 3564098 h 3641849"/>
                <a:gd name="connsiteX115" fmla="*/ 1122408 w 1577179"/>
                <a:gd name="connsiteY115" fmla="*/ 3497903 h 3641849"/>
                <a:gd name="connsiteX116" fmla="*/ 945062 w 1577179"/>
                <a:gd name="connsiteY116" fmla="*/ 3406887 h 3641849"/>
                <a:gd name="connsiteX117" fmla="*/ 846764 w 1577179"/>
                <a:gd name="connsiteY117" fmla="*/ 3326370 h 3641849"/>
                <a:gd name="connsiteX118" fmla="*/ 1141026 w 1577179"/>
                <a:gd name="connsiteY118" fmla="*/ 3018734 h 3641849"/>
                <a:gd name="connsiteX119" fmla="*/ 857272 w 1577179"/>
                <a:gd name="connsiteY119" fmla="*/ 2480910 h 3641849"/>
                <a:gd name="connsiteX120" fmla="*/ 999622 w 1577179"/>
                <a:gd name="connsiteY120" fmla="*/ 2241825 h 3641849"/>
                <a:gd name="connsiteX121" fmla="*/ 812935 w 1577179"/>
                <a:gd name="connsiteY121" fmla="*/ 1703134 h 3641849"/>
                <a:gd name="connsiteX122" fmla="*/ 564651 w 1577179"/>
                <a:gd name="connsiteY122" fmla="*/ 1471456 h 3641849"/>
                <a:gd name="connsiteX123" fmla="*/ 95795 w 1577179"/>
                <a:gd name="connsiteY123" fmla="*/ 2159767 h 3641849"/>
                <a:gd name="connsiteX0" fmla="*/ 95795 w 1577179"/>
                <a:gd name="connsiteY0" fmla="*/ 2159767 h 3641849"/>
                <a:gd name="connsiteX1" fmla="*/ 67042 w 1577179"/>
                <a:gd name="connsiteY1" fmla="*/ 1725696 h 3641849"/>
                <a:gd name="connsiteX2" fmla="*/ 3309 w 1577179"/>
                <a:gd name="connsiteY2" fmla="*/ 1637781 h 3641849"/>
                <a:gd name="connsiteX3" fmla="*/ 97524 w 1577179"/>
                <a:gd name="connsiteY3" fmla="*/ 1627440 h 3641849"/>
                <a:gd name="connsiteX4" fmla="*/ 191739 w 1577179"/>
                <a:gd name="connsiteY4" fmla="*/ 1536941 h 3641849"/>
                <a:gd name="connsiteX5" fmla="*/ 216678 w 1577179"/>
                <a:gd name="connsiteY5" fmla="*/ 1505912 h 3641849"/>
                <a:gd name="connsiteX6" fmla="*/ 202824 w 1577179"/>
                <a:gd name="connsiteY6" fmla="*/ 1555040 h 3641849"/>
                <a:gd name="connsiteX7" fmla="*/ 222220 w 1577179"/>
                <a:gd name="connsiteY7" fmla="*/ 1588655 h 3641849"/>
                <a:gd name="connsiteX8" fmla="*/ 266557 w 1577179"/>
                <a:gd name="connsiteY8" fmla="*/ 1666225 h 3641849"/>
                <a:gd name="connsiteX9" fmla="*/ 335833 w 1577179"/>
                <a:gd name="connsiteY9" fmla="*/ 1653297 h 3641849"/>
                <a:gd name="connsiteX10" fmla="*/ 355229 w 1577179"/>
                <a:gd name="connsiteY10" fmla="*/ 1622268 h 3641849"/>
                <a:gd name="connsiteX11" fmla="*/ 369085 w 1577179"/>
                <a:gd name="connsiteY11" fmla="*/ 1557627 h 3641849"/>
                <a:gd name="connsiteX12" fmla="*/ 308122 w 1577179"/>
                <a:gd name="connsiteY12" fmla="*/ 1511084 h 3641849"/>
                <a:gd name="connsiteX13" fmla="*/ 263786 w 1577179"/>
                <a:gd name="connsiteY13" fmla="*/ 1485227 h 3641849"/>
                <a:gd name="connsiteX14" fmla="*/ 202824 w 1577179"/>
                <a:gd name="connsiteY14" fmla="*/ 1495570 h 3641849"/>
                <a:gd name="connsiteX15" fmla="*/ 380170 w 1577179"/>
                <a:gd name="connsiteY15" fmla="*/ 1299057 h 3641849"/>
                <a:gd name="connsiteX16" fmla="*/ 227763 w 1577179"/>
                <a:gd name="connsiteY16" fmla="*/ 1151672 h 3641849"/>
                <a:gd name="connsiteX17" fmla="*/ 288726 w 1577179"/>
                <a:gd name="connsiteY17" fmla="*/ 1089617 h 3641849"/>
                <a:gd name="connsiteX18" fmla="*/ 222221 w 1577179"/>
                <a:gd name="connsiteY18" fmla="*/ 1050829 h 3641849"/>
                <a:gd name="connsiteX19" fmla="*/ 263786 w 1577179"/>
                <a:gd name="connsiteY19" fmla="*/ 1019802 h 3641849"/>
                <a:gd name="connsiteX20" fmla="*/ 216680 w 1577179"/>
                <a:gd name="connsiteY20" fmla="*/ 993947 h 3641849"/>
                <a:gd name="connsiteX21" fmla="*/ 216679 w 1577179"/>
                <a:gd name="connsiteY21" fmla="*/ 794845 h 3641849"/>
                <a:gd name="connsiteX22" fmla="*/ 255474 w 1577179"/>
                <a:gd name="connsiteY22" fmla="*/ 779332 h 3641849"/>
                <a:gd name="connsiteX23" fmla="*/ 141861 w 1577179"/>
                <a:gd name="connsiteY23" fmla="*/ 551792 h 3641849"/>
                <a:gd name="connsiteX24" fmla="*/ 139090 w 1577179"/>
                <a:gd name="connsiteY24" fmla="*/ 551792 h 3641849"/>
                <a:gd name="connsiteX25" fmla="*/ 188968 w 1577179"/>
                <a:gd name="connsiteY25" fmla="*/ 469048 h 3641849"/>
                <a:gd name="connsiteX26" fmla="*/ 205594 w 1577179"/>
                <a:gd name="connsiteY26" fmla="*/ 378550 h 3641849"/>
                <a:gd name="connsiteX27" fmla="*/ 130775 w 1577179"/>
                <a:gd name="connsiteY27" fmla="*/ 319079 h 3641849"/>
                <a:gd name="connsiteX28" fmla="*/ 122463 w 1577179"/>
                <a:gd name="connsiteY28" fmla="*/ 251851 h 3641849"/>
                <a:gd name="connsiteX29" fmla="*/ 177883 w 1577179"/>
                <a:gd name="connsiteY29" fmla="*/ 158764 h 3641849"/>
                <a:gd name="connsiteX30" fmla="*/ 197281 w 1577179"/>
                <a:gd name="connsiteY30" fmla="*/ 135494 h 3641849"/>
                <a:gd name="connsiteX31" fmla="*/ 211136 w 1577179"/>
                <a:gd name="connsiteY31" fmla="*/ 117394 h 3641849"/>
                <a:gd name="connsiteX32" fmla="*/ 219449 w 1577179"/>
                <a:gd name="connsiteY32" fmla="*/ 73438 h 3641849"/>
                <a:gd name="connsiteX33" fmla="*/ 244388 w 1577179"/>
                <a:gd name="connsiteY33" fmla="*/ 101880 h 3641849"/>
                <a:gd name="connsiteX34" fmla="*/ 274870 w 1577179"/>
                <a:gd name="connsiteY34" fmla="*/ 88952 h 3641849"/>
                <a:gd name="connsiteX35" fmla="*/ 277640 w 1577179"/>
                <a:gd name="connsiteY35" fmla="*/ 63095 h 3641849"/>
                <a:gd name="connsiteX36" fmla="*/ 285954 w 1577179"/>
                <a:gd name="connsiteY36" fmla="*/ 34652 h 3641849"/>
                <a:gd name="connsiteX37" fmla="*/ 288726 w 1577179"/>
                <a:gd name="connsiteY37" fmla="*/ 3624 h 3641849"/>
                <a:gd name="connsiteX38" fmla="*/ 424506 w 1577179"/>
                <a:gd name="connsiteY38" fmla="*/ 57924 h 3641849"/>
                <a:gd name="connsiteX39" fmla="*/ 454986 w 1577179"/>
                <a:gd name="connsiteY39" fmla="*/ 161352 h 3641849"/>
                <a:gd name="connsiteX40" fmla="*/ 468842 w 1577179"/>
                <a:gd name="connsiteY40" fmla="*/ 184622 h 3641849"/>
                <a:gd name="connsiteX41" fmla="*/ 479926 w 1577179"/>
                <a:gd name="connsiteY41" fmla="*/ 187208 h 3641849"/>
                <a:gd name="connsiteX42" fmla="*/ 593538 w 1577179"/>
                <a:gd name="connsiteY42" fmla="*/ 156181 h 3641849"/>
                <a:gd name="connsiteX43" fmla="*/ 660043 w 1577179"/>
                <a:gd name="connsiteY43" fmla="*/ 166522 h 3641849"/>
                <a:gd name="connsiteX44" fmla="*/ 723777 w 1577179"/>
                <a:gd name="connsiteY44" fmla="*/ 213065 h 3641849"/>
                <a:gd name="connsiteX45" fmla="*/ 737804 w 1577179"/>
                <a:gd name="connsiteY45" fmla="*/ 242621 h 3641849"/>
                <a:gd name="connsiteX46" fmla="*/ 793051 w 1577179"/>
                <a:gd name="connsiteY46" fmla="*/ 277708 h 3641849"/>
                <a:gd name="connsiteX47" fmla="*/ 881725 w 1577179"/>
                <a:gd name="connsiteY47" fmla="*/ 303563 h 3641849"/>
                <a:gd name="connsiteX48" fmla="*/ 953771 w 1577179"/>
                <a:gd name="connsiteY48" fmla="*/ 350106 h 3641849"/>
                <a:gd name="connsiteX49" fmla="*/ 1003650 w 1577179"/>
                <a:gd name="connsiteY49" fmla="*/ 401820 h 3641849"/>
                <a:gd name="connsiteX50" fmla="*/ 1028589 w 1577179"/>
                <a:gd name="connsiteY50" fmla="*/ 440606 h 3641849"/>
                <a:gd name="connsiteX51" fmla="*/ 1061842 w 1577179"/>
                <a:gd name="connsiteY51" fmla="*/ 466462 h 3641849"/>
                <a:gd name="connsiteX52" fmla="*/ 1045214 w 1577179"/>
                <a:gd name="connsiteY52" fmla="*/ 691417 h 3641849"/>
                <a:gd name="connsiteX53" fmla="*/ 917748 w 1577179"/>
                <a:gd name="connsiteY53" fmla="*/ 771575 h 3641849"/>
                <a:gd name="connsiteX54" fmla="*/ 804136 w 1577179"/>
                <a:gd name="connsiteY54" fmla="*/ 779331 h 3641849"/>
                <a:gd name="connsiteX55" fmla="*/ 665583 w 1577179"/>
                <a:gd name="connsiteY55" fmla="*/ 758645 h 3641849"/>
                <a:gd name="connsiteX56" fmla="*/ 574139 w 1577179"/>
                <a:gd name="connsiteY56" fmla="*/ 722445 h 3641849"/>
                <a:gd name="connsiteX57" fmla="*/ 554742 w 1577179"/>
                <a:gd name="connsiteY57" fmla="*/ 750888 h 3641849"/>
                <a:gd name="connsiteX58" fmla="*/ 585384 w 1577179"/>
                <a:gd name="connsiteY58" fmla="*/ 824301 h 3641849"/>
                <a:gd name="connsiteX59" fmla="*/ 590925 w 1577179"/>
                <a:gd name="connsiteY59" fmla="*/ 951000 h 3641849"/>
                <a:gd name="connsiteX60" fmla="*/ 563055 w 1577179"/>
                <a:gd name="connsiteY60" fmla="*/ 1012043 h 3641849"/>
                <a:gd name="connsiteX61" fmla="*/ 618474 w 1577179"/>
                <a:gd name="connsiteY61" fmla="*/ 1032728 h 3641849"/>
                <a:gd name="connsiteX62" fmla="*/ 635102 w 1577179"/>
                <a:gd name="connsiteY62" fmla="*/ 1048242 h 3641849"/>
                <a:gd name="connsiteX63" fmla="*/ 660042 w 1577179"/>
                <a:gd name="connsiteY63" fmla="*/ 1074099 h 3641849"/>
                <a:gd name="connsiteX64" fmla="*/ 657271 w 1577179"/>
                <a:gd name="connsiteY64" fmla="*/ 1076685 h 3641849"/>
                <a:gd name="connsiteX65" fmla="*/ 696064 w 1577179"/>
                <a:gd name="connsiteY65" fmla="*/ 1071514 h 3641849"/>
                <a:gd name="connsiteX66" fmla="*/ 704378 w 1577179"/>
                <a:gd name="connsiteY66" fmla="*/ 1035314 h 3641849"/>
                <a:gd name="connsiteX67" fmla="*/ 665583 w 1577179"/>
                <a:gd name="connsiteY67" fmla="*/ 957743 h 3641849"/>
                <a:gd name="connsiteX68" fmla="*/ 734859 w 1577179"/>
                <a:gd name="connsiteY68" fmla="*/ 911200 h 3641849"/>
                <a:gd name="connsiteX69" fmla="*/ 802631 w 1577179"/>
                <a:gd name="connsiteY69" fmla="*/ 918934 h 3641849"/>
                <a:gd name="connsiteX70" fmla="*/ 826464 w 1577179"/>
                <a:gd name="connsiteY70" fmla="*/ 951001 h 3641849"/>
                <a:gd name="connsiteX71" fmla="*/ 982193 w 1577179"/>
                <a:gd name="connsiteY71" fmla="*/ 1007364 h 3641849"/>
                <a:gd name="connsiteX72" fmla="*/ 967785 w 1577179"/>
                <a:gd name="connsiteY72" fmla="*/ 971687 h 3641849"/>
                <a:gd name="connsiteX73" fmla="*/ 934533 w 1577179"/>
                <a:gd name="connsiteY73" fmla="*/ 932901 h 3641849"/>
                <a:gd name="connsiteX74" fmla="*/ 923449 w 1577179"/>
                <a:gd name="connsiteY74" fmla="*/ 881187 h 3641849"/>
                <a:gd name="connsiteX75" fmla="*/ 962244 w 1577179"/>
                <a:gd name="connsiteY75" fmla="*/ 832060 h 3641849"/>
                <a:gd name="connsiteX76" fmla="*/ 989954 w 1577179"/>
                <a:gd name="connsiteY76" fmla="*/ 803617 h 3641849"/>
                <a:gd name="connsiteX77" fmla="*/ 1014894 w 1577179"/>
                <a:gd name="connsiteY77" fmla="*/ 767417 h 3641849"/>
                <a:gd name="connsiteX78" fmla="*/ 1095254 w 1577179"/>
                <a:gd name="connsiteY78" fmla="*/ 762245 h 3641849"/>
                <a:gd name="connsiteX79" fmla="*/ 1100795 w 1577179"/>
                <a:gd name="connsiteY79" fmla="*/ 741560 h 3641849"/>
                <a:gd name="connsiteX80" fmla="*/ 1125735 w 1577179"/>
                <a:gd name="connsiteY80" fmla="*/ 705360 h 3641849"/>
                <a:gd name="connsiteX81" fmla="*/ 1159539 w 1577179"/>
                <a:gd name="connsiteY81" fmla="*/ 687772 h 3641849"/>
                <a:gd name="connsiteX82" fmla="*/ 1217179 w 1577179"/>
                <a:gd name="connsiteY82" fmla="*/ 700189 h 3641849"/>
                <a:gd name="connsiteX83" fmla="*/ 1255972 w 1577179"/>
                <a:gd name="connsiteY83" fmla="*/ 720875 h 3641849"/>
                <a:gd name="connsiteX84" fmla="*/ 1303080 w 1577179"/>
                <a:gd name="connsiteY84" fmla="*/ 728632 h 3641849"/>
                <a:gd name="connsiteX85" fmla="*/ 1303080 w 1577179"/>
                <a:gd name="connsiteY85" fmla="*/ 733803 h 3641849"/>
                <a:gd name="connsiteX86" fmla="*/ 1325249 w 1577179"/>
                <a:gd name="connsiteY86" fmla="*/ 674332 h 3641849"/>
                <a:gd name="connsiteX87" fmla="*/ 1335224 w 1577179"/>
                <a:gd name="connsiteY87" fmla="*/ 640714 h 3641849"/>
                <a:gd name="connsiteX88" fmla="*/ 1341875 w 1577179"/>
                <a:gd name="connsiteY88" fmla="*/ 622618 h 3641849"/>
                <a:gd name="connsiteX89" fmla="*/ 1344812 w 1577179"/>
                <a:gd name="connsiteY89" fmla="*/ 591288 h 3641849"/>
                <a:gd name="connsiteX90" fmla="*/ 1264286 w 1577179"/>
                <a:gd name="connsiteY90" fmla="*/ 545048 h 3641849"/>
                <a:gd name="connsiteX91" fmla="*/ 1250431 w 1577179"/>
                <a:gd name="connsiteY91" fmla="*/ 472648 h 3641849"/>
                <a:gd name="connsiteX92" fmla="*/ 1250431 w 1577179"/>
                <a:gd name="connsiteY92" fmla="*/ 454548 h 3641849"/>
                <a:gd name="connsiteX93" fmla="*/ 1261514 w 1577179"/>
                <a:gd name="connsiteY93" fmla="*/ 431276 h 3641849"/>
                <a:gd name="connsiteX94" fmla="*/ 1264286 w 1577179"/>
                <a:gd name="connsiteY94" fmla="*/ 415762 h 3641849"/>
                <a:gd name="connsiteX95" fmla="*/ 1264285 w 1577179"/>
                <a:gd name="connsiteY95" fmla="*/ 358878 h 3641849"/>
                <a:gd name="connsiteX96" fmla="*/ 1242117 w 1577179"/>
                <a:gd name="connsiteY96" fmla="*/ 335607 h 3641849"/>
                <a:gd name="connsiteX97" fmla="*/ 1214407 w 1577179"/>
                <a:gd name="connsiteY97" fmla="*/ 304578 h 3641849"/>
                <a:gd name="connsiteX98" fmla="*/ 1210239 w 1577179"/>
                <a:gd name="connsiteY98" fmla="*/ 280325 h 3641849"/>
                <a:gd name="connsiteX99" fmla="*/ 1261515 w 1577179"/>
                <a:gd name="connsiteY99" fmla="*/ 258034 h 3641849"/>
                <a:gd name="connsiteX100" fmla="*/ 1315095 w 1577179"/>
                <a:gd name="connsiteY100" fmla="*/ 267906 h 3641849"/>
                <a:gd name="connsiteX101" fmla="*/ 1393879 w 1577179"/>
                <a:gd name="connsiteY101" fmla="*/ 279816 h 3641849"/>
                <a:gd name="connsiteX102" fmla="*/ 1478202 w 1577179"/>
                <a:gd name="connsiteY102" fmla="*/ 349175 h 3641849"/>
                <a:gd name="connsiteX103" fmla="*/ 1540337 w 1577179"/>
                <a:gd name="connsiteY103" fmla="*/ 425271 h 3641849"/>
                <a:gd name="connsiteX104" fmla="*/ 1439366 w 1577179"/>
                <a:gd name="connsiteY104" fmla="*/ 454265 h 3641849"/>
                <a:gd name="connsiteX105" fmla="*/ 1423832 w 1577179"/>
                <a:gd name="connsiteY105" fmla="*/ 501372 h 3641849"/>
                <a:gd name="connsiteX106" fmla="*/ 1481502 w 1577179"/>
                <a:gd name="connsiteY106" fmla="*/ 585862 h 3641849"/>
                <a:gd name="connsiteX107" fmla="*/ 1517036 w 1577179"/>
                <a:gd name="connsiteY107" fmla="*/ 591964 h 3641849"/>
                <a:gd name="connsiteX108" fmla="*/ 1569656 w 1577179"/>
                <a:gd name="connsiteY108" fmla="*/ 598304 h 3641849"/>
                <a:gd name="connsiteX109" fmla="*/ 1564693 w 1577179"/>
                <a:gd name="connsiteY109" fmla="*/ 709079 h 3641849"/>
                <a:gd name="connsiteX110" fmla="*/ 1575762 w 1577179"/>
                <a:gd name="connsiteY110" fmla="*/ 1040047 h 3641849"/>
                <a:gd name="connsiteX111" fmla="*/ 1566894 w 1577179"/>
                <a:gd name="connsiteY111" fmla="*/ 1842646 h 3641849"/>
                <a:gd name="connsiteX112" fmla="*/ 1575761 w 1577179"/>
                <a:gd name="connsiteY112" fmla="*/ 2297728 h 3641849"/>
                <a:gd name="connsiteX113" fmla="*/ 1549313 w 1577179"/>
                <a:gd name="connsiteY113" fmla="*/ 3607693 h 3641849"/>
                <a:gd name="connsiteX114" fmla="*/ 1290886 w 1577179"/>
                <a:gd name="connsiteY114" fmla="*/ 3564098 h 3641849"/>
                <a:gd name="connsiteX115" fmla="*/ 1122408 w 1577179"/>
                <a:gd name="connsiteY115" fmla="*/ 3497903 h 3641849"/>
                <a:gd name="connsiteX116" fmla="*/ 945062 w 1577179"/>
                <a:gd name="connsiteY116" fmla="*/ 3406887 h 3641849"/>
                <a:gd name="connsiteX117" fmla="*/ 846764 w 1577179"/>
                <a:gd name="connsiteY117" fmla="*/ 3326370 h 3641849"/>
                <a:gd name="connsiteX118" fmla="*/ 1141026 w 1577179"/>
                <a:gd name="connsiteY118" fmla="*/ 3018734 h 3641849"/>
                <a:gd name="connsiteX119" fmla="*/ 857272 w 1577179"/>
                <a:gd name="connsiteY119" fmla="*/ 2480910 h 3641849"/>
                <a:gd name="connsiteX120" fmla="*/ 999622 w 1577179"/>
                <a:gd name="connsiteY120" fmla="*/ 2241825 h 3641849"/>
                <a:gd name="connsiteX121" fmla="*/ 812935 w 1577179"/>
                <a:gd name="connsiteY121" fmla="*/ 1703134 h 3641849"/>
                <a:gd name="connsiteX122" fmla="*/ 564651 w 1577179"/>
                <a:gd name="connsiteY122" fmla="*/ 1471456 h 3641849"/>
                <a:gd name="connsiteX123" fmla="*/ 95795 w 1577179"/>
                <a:gd name="connsiteY123" fmla="*/ 2159767 h 3641849"/>
                <a:gd name="connsiteX0" fmla="*/ 94272 w 1575656"/>
                <a:gd name="connsiteY0" fmla="*/ 2159767 h 3641849"/>
                <a:gd name="connsiteX1" fmla="*/ 65519 w 1575656"/>
                <a:gd name="connsiteY1" fmla="*/ 1725696 h 3641849"/>
                <a:gd name="connsiteX2" fmla="*/ 32267 w 1575656"/>
                <a:gd name="connsiteY2" fmla="*/ 1679153 h 3641849"/>
                <a:gd name="connsiteX3" fmla="*/ 1786 w 1575656"/>
                <a:gd name="connsiteY3" fmla="*/ 1637781 h 3641849"/>
                <a:gd name="connsiteX4" fmla="*/ 96001 w 1575656"/>
                <a:gd name="connsiteY4" fmla="*/ 1627440 h 3641849"/>
                <a:gd name="connsiteX5" fmla="*/ 190216 w 1575656"/>
                <a:gd name="connsiteY5" fmla="*/ 1536941 h 3641849"/>
                <a:gd name="connsiteX6" fmla="*/ 215155 w 1575656"/>
                <a:gd name="connsiteY6" fmla="*/ 1505912 h 3641849"/>
                <a:gd name="connsiteX7" fmla="*/ 201301 w 1575656"/>
                <a:gd name="connsiteY7" fmla="*/ 1555040 h 3641849"/>
                <a:gd name="connsiteX8" fmla="*/ 220697 w 1575656"/>
                <a:gd name="connsiteY8" fmla="*/ 1588655 h 3641849"/>
                <a:gd name="connsiteX9" fmla="*/ 265034 w 1575656"/>
                <a:gd name="connsiteY9" fmla="*/ 1666225 h 3641849"/>
                <a:gd name="connsiteX10" fmla="*/ 334310 w 1575656"/>
                <a:gd name="connsiteY10" fmla="*/ 1653297 h 3641849"/>
                <a:gd name="connsiteX11" fmla="*/ 353706 w 1575656"/>
                <a:gd name="connsiteY11" fmla="*/ 1622268 h 3641849"/>
                <a:gd name="connsiteX12" fmla="*/ 367562 w 1575656"/>
                <a:gd name="connsiteY12" fmla="*/ 1557627 h 3641849"/>
                <a:gd name="connsiteX13" fmla="*/ 306599 w 1575656"/>
                <a:gd name="connsiteY13" fmla="*/ 1511084 h 3641849"/>
                <a:gd name="connsiteX14" fmla="*/ 262263 w 1575656"/>
                <a:gd name="connsiteY14" fmla="*/ 1485227 h 3641849"/>
                <a:gd name="connsiteX15" fmla="*/ 201301 w 1575656"/>
                <a:gd name="connsiteY15" fmla="*/ 1495570 h 3641849"/>
                <a:gd name="connsiteX16" fmla="*/ 378647 w 1575656"/>
                <a:gd name="connsiteY16" fmla="*/ 1299057 h 3641849"/>
                <a:gd name="connsiteX17" fmla="*/ 226240 w 1575656"/>
                <a:gd name="connsiteY17" fmla="*/ 1151672 h 3641849"/>
                <a:gd name="connsiteX18" fmla="*/ 287203 w 1575656"/>
                <a:gd name="connsiteY18" fmla="*/ 1089617 h 3641849"/>
                <a:gd name="connsiteX19" fmla="*/ 220698 w 1575656"/>
                <a:gd name="connsiteY19" fmla="*/ 1050829 h 3641849"/>
                <a:gd name="connsiteX20" fmla="*/ 262263 w 1575656"/>
                <a:gd name="connsiteY20" fmla="*/ 1019802 h 3641849"/>
                <a:gd name="connsiteX21" fmla="*/ 215157 w 1575656"/>
                <a:gd name="connsiteY21" fmla="*/ 993947 h 3641849"/>
                <a:gd name="connsiteX22" fmla="*/ 215156 w 1575656"/>
                <a:gd name="connsiteY22" fmla="*/ 794845 h 3641849"/>
                <a:gd name="connsiteX23" fmla="*/ 253951 w 1575656"/>
                <a:gd name="connsiteY23" fmla="*/ 779332 h 3641849"/>
                <a:gd name="connsiteX24" fmla="*/ 140338 w 1575656"/>
                <a:gd name="connsiteY24" fmla="*/ 551792 h 3641849"/>
                <a:gd name="connsiteX25" fmla="*/ 137567 w 1575656"/>
                <a:gd name="connsiteY25" fmla="*/ 551792 h 3641849"/>
                <a:gd name="connsiteX26" fmla="*/ 187445 w 1575656"/>
                <a:gd name="connsiteY26" fmla="*/ 469048 h 3641849"/>
                <a:gd name="connsiteX27" fmla="*/ 204071 w 1575656"/>
                <a:gd name="connsiteY27" fmla="*/ 378550 h 3641849"/>
                <a:gd name="connsiteX28" fmla="*/ 129252 w 1575656"/>
                <a:gd name="connsiteY28" fmla="*/ 319079 h 3641849"/>
                <a:gd name="connsiteX29" fmla="*/ 120940 w 1575656"/>
                <a:gd name="connsiteY29" fmla="*/ 251851 h 3641849"/>
                <a:gd name="connsiteX30" fmla="*/ 176360 w 1575656"/>
                <a:gd name="connsiteY30" fmla="*/ 158764 h 3641849"/>
                <a:gd name="connsiteX31" fmla="*/ 195758 w 1575656"/>
                <a:gd name="connsiteY31" fmla="*/ 135494 h 3641849"/>
                <a:gd name="connsiteX32" fmla="*/ 209613 w 1575656"/>
                <a:gd name="connsiteY32" fmla="*/ 117394 h 3641849"/>
                <a:gd name="connsiteX33" fmla="*/ 217926 w 1575656"/>
                <a:gd name="connsiteY33" fmla="*/ 73438 h 3641849"/>
                <a:gd name="connsiteX34" fmla="*/ 242865 w 1575656"/>
                <a:gd name="connsiteY34" fmla="*/ 101880 h 3641849"/>
                <a:gd name="connsiteX35" fmla="*/ 273347 w 1575656"/>
                <a:gd name="connsiteY35" fmla="*/ 88952 h 3641849"/>
                <a:gd name="connsiteX36" fmla="*/ 276117 w 1575656"/>
                <a:gd name="connsiteY36" fmla="*/ 63095 h 3641849"/>
                <a:gd name="connsiteX37" fmla="*/ 284431 w 1575656"/>
                <a:gd name="connsiteY37" fmla="*/ 34652 h 3641849"/>
                <a:gd name="connsiteX38" fmla="*/ 287203 w 1575656"/>
                <a:gd name="connsiteY38" fmla="*/ 3624 h 3641849"/>
                <a:gd name="connsiteX39" fmla="*/ 422983 w 1575656"/>
                <a:gd name="connsiteY39" fmla="*/ 57924 h 3641849"/>
                <a:gd name="connsiteX40" fmla="*/ 453463 w 1575656"/>
                <a:gd name="connsiteY40" fmla="*/ 161352 h 3641849"/>
                <a:gd name="connsiteX41" fmla="*/ 467319 w 1575656"/>
                <a:gd name="connsiteY41" fmla="*/ 184622 h 3641849"/>
                <a:gd name="connsiteX42" fmla="*/ 478403 w 1575656"/>
                <a:gd name="connsiteY42" fmla="*/ 187208 h 3641849"/>
                <a:gd name="connsiteX43" fmla="*/ 592015 w 1575656"/>
                <a:gd name="connsiteY43" fmla="*/ 156181 h 3641849"/>
                <a:gd name="connsiteX44" fmla="*/ 658520 w 1575656"/>
                <a:gd name="connsiteY44" fmla="*/ 166522 h 3641849"/>
                <a:gd name="connsiteX45" fmla="*/ 722254 w 1575656"/>
                <a:gd name="connsiteY45" fmla="*/ 213065 h 3641849"/>
                <a:gd name="connsiteX46" fmla="*/ 736281 w 1575656"/>
                <a:gd name="connsiteY46" fmla="*/ 242621 h 3641849"/>
                <a:gd name="connsiteX47" fmla="*/ 791528 w 1575656"/>
                <a:gd name="connsiteY47" fmla="*/ 277708 h 3641849"/>
                <a:gd name="connsiteX48" fmla="*/ 880202 w 1575656"/>
                <a:gd name="connsiteY48" fmla="*/ 303563 h 3641849"/>
                <a:gd name="connsiteX49" fmla="*/ 952248 w 1575656"/>
                <a:gd name="connsiteY49" fmla="*/ 350106 h 3641849"/>
                <a:gd name="connsiteX50" fmla="*/ 1002127 w 1575656"/>
                <a:gd name="connsiteY50" fmla="*/ 401820 h 3641849"/>
                <a:gd name="connsiteX51" fmla="*/ 1027066 w 1575656"/>
                <a:gd name="connsiteY51" fmla="*/ 440606 h 3641849"/>
                <a:gd name="connsiteX52" fmla="*/ 1060319 w 1575656"/>
                <a:gd name="connsiteY52" fmla="*/ 466462 h 3641849"/>
                <a:gd name="connsiteX53" fmla="*/ 1043691 w 1575656"/>
                <a:gd name="connsiteY53" fmla="*/ 691417 h 3641849"/>
                <a:gd name="connsiteX54" fmla="*/ 916225 w 1575656"/>
                <a:gd name="connsiteY54" fmla="*/ 771575 h 3641849"/>
                <a:gd name="connsiteX55" fmla="*/ 802613 w 1575656"/>
                <a:gd name="connsiteY55" fmla="*/ 779331 h 3641849"/>
                <a:gd name="connsiteX56" fmla="*/ 664060 w 1575656"/>
                <a:gd name="connsiteY56" fmla="*/ 758645 h 3641849"/>
                <a:gd name="connsiteX57" fmla="*/ 572616 w 1575656"/>
                <a:gd name="connsiteY57" fmla="*/ 722445 h 3641849"/>
                <a:gd name="connsiteX58" fmla="*/ 553219 w 1575656"/>
                <a:gd name="connsiteY58" fmla="*/ 750888 h 3641849"/>
                <a:gd name="connsiteX59" fmla="*/ 583861 w 1575656"/>
                <a:gd name="connsiteY59" fmla="*/ 824301 h 3641849"/>
                <a:gd name="connsiteX60" fmla="*/ 589402 w 1575656"/>
                <a:gd name="connsiteY60" fmla="*/ 951000 h 3641849"/>
                <a:gd name="connsiteX61" fmla="*/ 561532 w 1575656"/>
                <a:gd name="connsiteY61" fmla="*/ 1012043 h 3641849"/>
                <a:gd name="connsiteX62" fmla="*/ 616951 w 1575656"/>
                <a:gd name="connsiteY62" fmla="*/ 1032728 h 3641849"/>
                <a:gd name="connsiteX63" fmla="*/ 633579 w 1575656"/>
                <a:gd name="connsiteY63" fmla="*/ 1048242 h 3641849"/>
                <a:gd name="connsiteX64" fmla="*/ 658519 w 1575656"/>
                <a:gd name="connsiteY64" fmla="*/ 1074099 h 3641849"/>
                <a:gd name="connsiteX65" fmla="*/ 655748 w 1575656"/>
                <a:gd name="connsiteY65" fmla="*/ 1076685 h 3641849"/>
                <a:gd name="connsiteX66" fmla="*/ 694541 w 1575656"/>
                <a:gd name="connsiteY66" fmla="*/ 1071514 h 3641849"/>
                <a:gd name="connsiteX67" fmla="*/ 702855 w 1575656"/>
                <a:gd name="connsiteY67" fmla="*/ 1035314 h 3641849"/>
                <a:gd name="connsiteX68" fmla="*/ 664060 w 1575656"/>
                <a:gd name="connsiteY68" fmla="*/ 957743 h 3641849"/>
                <a:gd name="connsiteX69" fmla="*/ 733336 w 1575656"/>
                <a:gd name="connsiteY69" fmla="*/ 911200 h 3641849"/>
                <a:gd name="connsiteX70" fmla="*/ 801108 w 1575656"/>
                <a:gd name="connsiteY70" fmla="*/ 918934 h 3641849"/>
                <a:gd name="connsiteX71" fmla="*/ 824941 w 1575656"/>
                <a:gd name="connsiteY71" fmla="*/ 951001 h 3641849"/>
                <a:gd name="connsiteX72" fmla="*/ 980670 w 1575656"/>
                <a:gd name="connsiteY72" fmla="*/ 1007364 h 3641849"/>
                <a:gd name="connsiteX73" fmla="*/ 966262 w 1575656"/>
                <a:gd name="connsiteY73" fmla="*/ 971687 h 3641849"/>
                <a:gd name="connsiteX74" fmla="*/ 933010 w 1575656"/>
                <a:gd name="connsiteY74" fmla="*/ 932901 h 3641849"/>
                <a:gd name="connsiteX75" fmla="*/ 921926 w 1575656"/>
                <a:gd name="connsiteY75" fmla="*/ 881187 h 3641849"/>
                <a:gd name="connsiteX76" fmla="*/ 960721 w 1575656"/>
                <a:gd name="connsiteY76" fmla="*/ 832060 h 3641849"/>
                <a:gd name="connsiteX77" fmla="*/ 988431 w 1575656"/>
                <a:gd name="connsiteY77" fmla="*/ 803617 h 3641849"/>
                <a:gd name="connsiteX78" fmla="*/ 1013371 w 1575656"/>
                <a:gd name="connsiteY78" fmla="*/ 767417 h 3641849"/>
                <a:gd name="connsiteX79" fmla="*/ 1093731 w 1575656"/>
                <a:gd name="connsiteY79" fmla="*/ 762245 h 3641849"/>
                <a:gd name="connsiteX80" fmla="*/ 1099272 w 1575656"/>
                <a:gd name="connsiteY80" fmla="*/ 741560 h 3641849"/>
                <a:gd name="connsiteX81" fmla="*/ 1124212 w 1575656"/>
                <a:gd name="connsiteY81" fmla="*/ 705360 h 3641849"/>
                <a:gd name="connsiteX82" fmla="*/ 1158016 w 1575656"/>
                <a:gd name="connsiteY82" fmla="*/ 687772 h 3641849"/>
                <a:gd name="connsiteX83" fmla="*/ 1215656 w 1575656"/>
                <a:gd name="connsiteY83" fmla="*/ 700189 h 3641849"/>
                <a:gd name="connsiteX84" fmla="*/ 1254449 w 1575656"/>
                <a:gd name="connsiteY84" fmla="*/ 720875 h 3641849"/>
                <a:gd name="connsiteX85" fmla="*/ 1301557 w 1575656"/>
                <a:gd name="connsiteY85" fmla="*/ 728632 h 3641849"/>
                <a:gd name="connsiteX86" fmla="*/ 1301557 w 1575656"/>
                <a:gd name="connsiteY86" fmla="*/ 733803 h 3641849"/>
                <a:gd name="connsiteX87" fmla="*/ 1323726 w 1575656"/>
                <a:gd name="connsiteY87" fmla="*/ 674332 h 3641849"/>
                <a:gd name="connsiteX88" fmla="*/ 1333701 w 1575656"/>
                <a:gd name="connsiteY88" fmla="*/ 640714 h 3641849"/>
                <a:gd name="connsiteX89" fmla="*/ 1340352 w 1575656"/>
                <a:gd name="connsiteY89" fmla="*/ 622618 h 3641849"/>
                <a:gd name="connsiteX90" fmla="*/ 1343289 w 1575656"/>
                <a:gd name="connsiteY90" fmla="*/ 591288 h 3641849"/>
                <a:gd name="connsiteX91" fmla="*/ 1262763 w 1575656"/>
                <a:gd name="connsiteY91" fmla="*/ 545048 h 3641849"/>
                <a:gd name="connsiteX92" fmla="*/ 1248908 w 1575656"/>
                <a:gd name="connsiteY92" fmla="*/ 472648 h 3641849"/>
                <a:gd name="connsiteX93" fmla="*/ 1248908 w 1575656"/>
                <a:gd name="connsiteY93" fmla="*/ 454548 h 3641849"/>
                <a:gd name="connsiteX94" fmla="*/ 1259991 w 1575656"/>
                <a:gd name="connsiteY94" fmla="*/ 431276 h 3641849"/>
                <a:gd name="connsiteX95" fmla="*/ 1262763 w 1575656"/>
                <a:gd name="connsiteY95" fmla="*/ 415762 h 3641849"/>
                <a:gd name="connsiteX96" fmla="*/ 1262762 w 1575656"/>
                <a:gd name="connsiteY96" fmla="*/ 358878 h 3641849"/>
                <a:gd name="connsiteX97" fmla="*/ 1240594 w 1575656"/>
                <a:gd name="connsiteY97" fmla="*/ 335607 h 3641849"/>
                <a:gd name="connsiteX98" fmla="*/ 1212884 w 1575656"/>
                <a:gd name="connsiteY98" fmla="*/ 304578 h 3641849"/>
                <a:gd name="connsiteX99" fmla="*/ 1208716 w 1575656"/>
                <a:gd name="connsiteY99" fmla="*/ 280325 h 3641849"/>
                <a:gd name="connsiteX100" fmla="*/ 1259992 w 1575656"/>
                <a:gd name="connsiteY100" fmla="*/ 258034 h 3641849"/>
                <a:gd name="connsiteX101" fmla="*/ 1313572 w 1575656"/>
                <a:gd name="connsiteY101" fmla="*/ 267906 h 3641849"/>
                <a:gd name="connsiteX102" fmla="*/ 1392356 w 1575656"/>
                <a:gd name="connsiteY102" fmla="*/ 279816 h 3641849"/>
                <a:gd name="connsiteX103" fmla="*/ 1476679 w 1575656"/>
                <a:gd name="connsiteY103" fmla="*/ 349175 h 3641849"/>
                <a:gd name="connsiteX104" fmla="*/ 1538814 w 1575656"/>
                <a:gd name="connsiteY104" fmla="*/ 425271 h 3641849"/>
                <a:gd name="connsiteX105" fmla="*/ 1437843 w 1575656"/>
                <a:gd name="connsiteY105" fmla="*/ 454265 h 3641849"/>
                <a:gd name="connsiteX106" fmla="*/ 1422309 w 1575656"/>
                <a:gd name="connsiteY106" fmla="*/ 501372 h 3641849"/>
                <a:gd name="connsiteX107" fmla="*/ 1479979 w 1575656"/>
                <a:gd name="connsiteY107" fmla="*/ 585862 h 3641849"/>
                <a:gd name="connsiteX108" fmla="*/ 1515513 w 1575656"/>
                <a:gd name="connsiteY108" fmla="*/ 591964 h 3641849"/>
                <a:gd name="connsiteX109" fmla="*/ 1568133 w 1575656"/>
                <a:gd name="connsiteY109" fmla="*/ 598304 h 3641849"/>
                <a:gd name="connsiteX110" fmla="*/ 1563170 w 1575656"/>
                <a:gd name="connsiteY110" fmla="*/ 709079 h 3641849"/>
                <a:gd name="connsiteX111" fmla="*/ 1574239 w 1575656"/>
                <a:gd name="connsiteY111" fmla="*/ 1040047 h 3641849"/>
                <a:gd name="connsiteX112" fmla="*/ 1565371 w 1575656"/>
                <a:gd name="connsiteY112" fmla="*/ 1842646 h 3641849"/>
                <a:gd name="connsiteX113" fmla="*/ 1574238 w 1575656"/>
                <a:gd name="connsiteY113" fmla="*/ 2297728 h 3641849"/>
                <a:gd name="connsiteX114" fmla="*/ 1547790 w 1575656"/>
                <a:gd name="connsiteY114" fmla="*/ 3607693 h 3641849"/>
                <a:gd name="connsiteX115" fmla="*/ 1289363 w 1575656"/>
                <a:gd name="connsiteY115" fmla="*/ 3564098 h 3641849"/>
                <a:gd name="connsiteX116" fmla="*/ 1120885 w 1575656"/>
                <a:gd name="connsiteY116" fmla="*/ 3497903 h 3641849"/>
                <a:gd name="connsiteX117" fmla="*/ 943539 w 1575656"/>
                <a:gd name="connsiteY117" fmla="*/ 3406887 h 3641849"/>
                <a:gd name="connsiteX118" fmla="*/ 845241 w 1575656"/>
                <a:gd name="connsiteY118" fmla="*/ 3326370 h 3641849"/>
                <a:gd name="connsiteX119" fmla="*/ 1139503 w 1575656"/>
                <a:gd name="connsiteY119" fmla="*/ 3018734 h 3641849"/>
                <a:gd name="connsiteX120" fmla="*/ 855749 w 1575656"/>
                <a:gd name="connsiteY120" fmla="*/ 2480910 h 3641849"/>
                <a:gd name="connsiteX121" fmla="*/ 998099 w 1575656"/>
                <a:gd name="connsiteY121" fmla="*/ 2241825 h 3641849"/>
                <a:gd name="connsiteX122" fmla="*/ 811412 w 1575656"/>
                <a:gd name="connsiteY122" fmla="*/ 1703134 h 3641849"/>
                <a:gd name="connsiteX123" fmla="*/ 563128 w 1575656"/>
                <a:gd name="connsiteY123" fmla="*/ 1471456 h 3641849"/>
                <a:gd name="connsiteX124" fmla="*/ 94272 w 1575656"/>
                <a:gd name="connsiteY124" fmla="*/ 2159767 h 3641849"/>
                <a:gd name="connsiteX0" fmla="*/ 92486 w 1573870"/>
                <a:gd name="connsiteY0" fmla="*/ 2159767 h 3641849"/>
                <a:gd name="connsiteX1" fmla="*/ 63733 w 1573870"/>
                <a:gd name="connsiteY1" fmla="*/ 1725696 h 3641849"/>
                <a:gd name="connsiteX2" fmla="*/ 30481 w 1573870"/>
                <a:gd name="connsiteY2" fmla="*/ 1679153 h 3641849"/>
                <a:gd name="connsiteX3" fmla="*/ 0 w 1573870"/>
                <a:gd name="connsiteY3" fmla="*/ 1637781 h 3641849"/>
                <a:gd name="connsiteX4" fmla="*/ 27710 w 1573870"/>
                <a:gd name="connsiteY4" fmla="*/ 1635196 h 3641849"/>
                <a:gd name="connsiteX5" fmla="*/ 94215 w 1573870"/>
                <a:gd name="connsiteY5" fmla="*/ 1627440 h 3641849"/>
                <a:gd name="connsiteX6" fmla="*/ 188430 w 1573870"/>
                <a:gd name="connsiteY6" fmla="*/ 1536941 h 3641849"/>
                <a:gd name="connsiteX7" fmla="*/ 213369 w 1573870"/>
                <a:gd name="connsiteY7" fmla="*/ 1505912 h 3641849"/>
                <a:gd name="connsiteX8" fmla="*/ 199515 w 1573870"/>
                <a:gd name="connsiteY8" fmla="*/ 1555040 h 3641849"/>
                <a:gd name="connsiteX9" fmla="*/ 218911 w 1573870"/>
                <a:gd name="connsiteY9" fmla="*/ 1588655 h 3641849"/>
                <a:gd name="connsiteX10" fmla="*/ 263248 w 1573870"/>
                <a:gd name="connsiteY10" fmla="*/ 1666225 h 3641849"/>
                <a:gd name="connsiteX11" fmla="*/ 332524 w 1573870"/>
                <a:gd name="connsiteY11" fmla="*/ 1653297 h 3641849"/>
                <a:gd name="connsiteX12" fmla="*/ 351920 w 1573870"/>
                <a:gd name="connsiteY12" fmla="*/ 1622268 h 3641849"/>
                <a:gd name="connsiteX13" fmla="*/ 365776 w 1573870"/>
                <a:gd name="connsiteY13" fmla="*/ 1557627 h 3641849"/>
                <a:gd name="connsiteX14" fmla="*/ 304813 w 1573870"/>
                <a:gd name="connsiteY14" fmla="*/ 1511084 h 3641849"/>
                <a:gd name="connsiteX15" fmla="*/ 260477 w 1573870"/>
                <a:gd name="connsiteY15" fmla="*/ 1485227 h 3641849"/>
                <a:gd name="connsiteX16" fmla="*/ 199515 w 1573870"/>
                <a:gd name="connsiteY16" fmla="*/ 1495570 h 3641849"/>
                <a:gd name="connsiteX17" fmla="*/ 376861 w 1573870"/>
                <a:gd name="connsiteY17" fmla="*/ 1299057 h 3641849"/>
                <a:gd name="connsiteX18" fmla="*/ 224454 w 1573870"/>
                <a:gd name="connsiteY18" fmla="*/ 1151672 h 3641849"/>
                <a:gd name="connsiteX19" fmla="*/ 285417 w 1573870"/>
                <a:gd name="connsiteY19" fmla="*/ 1089617 h 3641849"/>
                <a:gd name="connsiteX20" fmla="*/ 218912 w 1573870"/>
                <a:gd name="connsiteY20" fmla="*/ 1050829 h 3641849"/>
                <a:gd name="connsiteX21" fmla="*/ 260477 w 1573870"/>
                <a:gd name="connsiteY21" fmla="*/ 1019802 h 3641849"/>
                <a:gd name="connsiteX22" fmla="*/ 213371 w 1573870"/>
                <a:gd name="connsiteY22" fmla="*/ 993947 h 3641849"/>
                <a:gd name="connsiteX23" fmla="*/ 213370 w 1573870"/>
                <a:gd name="connsiteY23" fmla="*/ 794845 h 3641849"/>
                <a:gd name="connsiteX24" fmla="*/ 252165 w 1573870"/>
                <a:gd name="connsiteY24" fmla="*/ 779332 h 3641849"/>
                <a:gd name="connsiteX25" fmla="*/ 138552 w 1573870"/>
                <a:gd name="connsiteY25" fmla="*/ 551792 h 3641849"/>
                <a:gd name="connsiteX26" fmla="*/ 135781 w 1573870"/>
                <a:gd name="connsiteY26" fmla="*/ 551792 h 3641849"/>
                <a:gd name="connsiteX27" fmla="*/ 185659 w 1573870"/>
                <a:gd name="connsiteY27" fmla="*/ 469048 h 3641849"/>
                <a:gd name="connsiteX28" fmla="*/ 202285 w 1573870"/>
                <a:gd name="connsiteY28" fmla="*/ 378550 h 3641849"/>
                <a:gd name="connsiteX29" fmla="*/ 127466 w 1573870"/>
                <a:gd name="connsiteY29" fmla="*/ 319079 h 3641849"/>
                <a:gd name="connsiteX30" fmla="*/ 119154 w 1573870"/>
                <a:gd name="connsiteY30" fmla="*/ 251851 h 3641849"/>
                <a:gd name="connsiteX31" fmla="*/ 174574 w 1573870"/>
                <a:gd name="connsiteY31" fmla="*/ 158764 h 3641849"/>
                <a:gd name="connsiteX32" fmla="*/ 193972 w 1573870"/>
                <a:gd name="connsiteY32" fmla="*/ 135494 h 3641849"/>
                <a:gd name="connsiteX33" fmla="*/ 207827 w 1573870"/>
                <a:gd name="connsiteY33" fmla="*/ 117394 h 3641849"/>
                <a:gd name="connsiteX34" fmla="*/ 216140 w 1573870"/>
                <a:gd name="connsiteY34" fmla="*/ 73438 h 3641849"/>
                <a:gd name="connsiteX35" fmla="*/ 241079 w 1573870"/>
                <a:gd name="connsiteY35" fmla="*/ 101880 h 3641849"/>
                <a:gd name="connsiteX36" fmla="*/ 271561 w 1573870"/>
                <a:gd name="connsiteY36" fmla="*/ 88952 h 3641849"/>
                <a:gd name="connsiteX37" fmla="*/ 274331 w 1573870"/>
                <a:gd name="connsiteY37" fmla="*/ 63095 h 3641849"/>
                <a:gd name="connsiteX38" fmla="*/ 282645 w 1573870"/>
                <a:gd name="connsiteY38" fmla="*/ 34652 h 3641849"/>
                <a:gd name="connsiteX39" fmla="*/ 285417 w 1573870"/>
                <a:gd name="connsiteY39" fmla="*/ 3624 h 3641849"/>
                <a:gd name="connsiteX40" fmla="*/ 421197 w 1573870"/>
                <a:gd name="connsiteY40" fmla="*/ 57924 h 3641849"/>
                <a:gd name="connsiteX41" fmla="*/ 451677 w 1573870"/>
                <a:gd name="connsiteY41" fmla="*/ 161352 h 3641849"/>
                <a:gd name="connsiteX42" fmla="*/ 465533 w 1573870"/>
                <a:gd name="connsiteY42" fmla="*/ 184622 h 3641849"/>
                <a:gd name="connsiteX43" fmla="*/ 476617 w 1573870"/>
                <a:gd name="connsiteY43" fmla="*/ 187208 h 3641849"/>
                <a:gd name="connsiteX44" fmla="*/ 590229 w 1573870"/>
                <a:gd name="connsiteY44" fmla="*/ 156181 h 3641849"/>
                <a:gd name="connsiteX45" fmla="*/ 656734 w 1573870"/>
                <a:gd name="connsiteY45" fmla="*/ 166522 h 3641849"/>
                <a:gd name="connsiteX46" fmla="*/ 720468 w 1573870"/>
                <a:gd name="connsiteY46" fmla="*/ 213065 h 3641849"/>
                <a:gd name="connsiteX47" fmla="*/ 734495 w 1573870"/>
                <a:gd name="connsiteY47" fmla="*/ 242621 h 3641849"/>
                <a:gd name="connsiteX48" fmla="*/ 789742 w 1573870"/>
                <a:gd name="connsiteY48" fmla="*/ 277708 h 3641849"/>
                <a:gd name="connsiteX49" fmla="*/ 878416 w 1573870"/>
                <a:gd name="connsiteY49" fmla="*/ 303563 h 3641849"/>
                <a:gd name="connsiteX50" fmla="*/ 950462 w 1573870"/>
                <a:gd name="connsiteY50" fmla="*/ 350106 h 3641849"/>
                <a:gd name="connsiteX51" fmla="*/ 1000341 w 1573870"/>
                <a:gd name="connsiteY51" fmla="*/ 401820 h 3641849"/>
                <a:gd name="connsiteX52" fmla="*/ 1025280 w 1573870"/>
                <a:gd name="connsiteY52" fmla="*/ 440606 h 3641849"/>
                <a:gd name="connsiteX53" fmla="*/ 1058533 w 1573870"/>
                <a:gd name="connsiteY53" fmla="*/ 466462 h 3641849"/>
                <a:gd name="connsiteX54" fmla="*/ 1041905 w 1573870"/>
                <a:gd name="connsiteY54" fmla="*/ 691417 h 3641849"/>
                <a:gd name="connsiteX55" fmla="*/ 914439 w 1573870"/>
                <a:gd name="connsiteY55" fmla="*/ 771575 h 3641849"/>
                <a:gd name="connsiteX56" fmla="*/ 800827 w 1573870"/>
                <a:gd name="connsiteY56" fmla="*/ 779331 h 3641849"/>
                <a:gd name="connsiteX57" fmla="*/ 662274 w 1573870"/>
                <a:gd name="connsiteY57" fmla="*/ 758645 h 3641849"/>
                <a:gd name="connsiteX58" fmla="*/ 570830 w 1573870"/>
                <a:gd name="connsiteY58" fmla="*/ 722445 h 3641849"/>
                <a:gd name="connsiteX59" fmla="*/ 551433 w 1573870"/>
                <a:gd name="connsiteY59" fmla="*/ 750888 h 3641849"/>
                <a:gd name="connsiteX60" fmla="*/ 582075 w 1573870"/>
                <a:gd name="connsiteY60" fmla="*/ 824301 h 3641849"/>
                <a:gd name="connsiteX61" fmla="*/ 587616 w 1573870"/>
                <a:gd name="connsiteY61" fmla="*/ 951000 h 3641849"/>
                <a:gd name="connsiteX62" fmla="*/ 559746 w 1573870"/>
                <a:gd name="connsiteY62" fmla="*/ 1012043 h 3641849"/>
                <a:gd name="connsiteX63" fmla="*/ 615165 w 1573870"/>
                <a:gd name="connsiteY63" fmla="*/ 1032728 h 3641849"/>
                <a:gd name="connsiteX64" fmla="*/ 631793 w 1573870"/>
                <a:gd name="connsiteY64" fmla="*/ 1048242 h 3641849"/>
                <a:gd name="connsiteX65" fmla="*/ 656733 w 1573870"/>
                <a:gd name="connsiteY65" fmla="*/ 1074099 h 3641849"/>
                <a:gd name="connsiteX66" fmla="*/ 653962 w 1573870"/>
                <a:gd name="connsiteY66" fmla="*/ 1076685 h 3641849"/>
                <a:gd name="connsiteX67" fmla="*/ 692755 w 1573870"/>
                <a:gd name="connsiteY67" fmla="*/ 1071514 h 3641849"/>
                <a:gd name="connsiteX68" fmla="*/ 701069 w 1573870"/>
                <a:gd name="connsiteY68" fmla="*/ 1035314 h 3641849"/>
                <a:gd name="connsiteX69" fmla="*/ 662274 w 1573870"/>
                <a:gd name="connsiteY69" fmla="*/ 957743 h 3641849"/>
                <a:gd name="connsiteX70" fmla="*/ 731550 w 1573870"/>
                <a:gd name="connsiteY70" fmla="*/ 911200 h 3641849"/>
                <a:gd name="connsiteX71" fmla="*/ 799322 w 1573870"/>
                <a:gd name="connsiteY71" fmla="*/ 918934 h 3641849"/>
                <a:gd name="connsiteX72" fmla="*/ 823155 w 1573870"/>
                <a:gd name="connsiteY72" fmla="*/ 951001 h 3641849"/>
                <a:gd name="connsiteX73" fmla="*/ 978884 w 1573870"/>
                <a:gd name="connsiteY73" fmla="*/ 1007364 h 3641849"/>
                <a:gd name="connsiteX74" fmla="*/ 964476 w 1573870"/>
                <a:gd name="connsiteY74" fmla="*/ 971687 h 3641849"/>
                <a:gd name="connsiteX75" fmla="*/ 931224 w 1573870"/>
                <a:gd name="connsiteY75" fmla="*/ 932901 h 3641849"/>
                <a:gd name="connsiteX76" fmla="*/ 920140 w 1573870"/>
                <a:gd name="connsiteY76" fmla="*/ 881187 h 3641849"/>
                <a:gd name="connsiteX77" fmla="*/ 958935 w 1573870"/>
                <a:gd name="connsiteY77" fmla="*/ 832060 h 3641849"/>
                <a:gd name="connsiteX78" fmla="*/ 986645 w 1573870"/>
                <a:gd name="connsiteY78" fmla="*/ 803617 h 3641849"/>
                <a:gd name="connsiteX79" fmla="*/ 1011585 w 1573870"/>
                <a:gd name="connsiteY79" fmla="*/ 767417 h 3641849"/>
                <a:gd name="connsiteX80" fmla="*/ 1091945 w 1573870"/>
                <a:gd name="connsiteY80" fmla="*/ 762245 h 3641849"/>
                <a:gd name="connsiteX81" fmla="*/ 1097486 w 1573870"/>
                <a:gd name="connsiteY81" fmla="*/ 741560 h 3641849"/>
                <a:gd name="connsiteX82" fmla="*/ 1122426 w 1573870"/>
                <a:gd name="connsiteY82" fmla="*/ 705360 h 3641849"/>
                <a:gd name="connsiteX83" fmla="*/ 1156230 w 1573870"/>
                <a:gd name="connsiteY83" fmla="*/ 687772 h 3641849"/>
                <a:gd name="connsiteX84" fmla="*/ 1213870 w 1573870"/>
                <a:gd name="connsiteY84" fmla="*/ 700189 h 3641849"/>
                <a:gd name="connsiteX85" fmla="*/ 1252663 w 1573870"/>
                <a:gd name="connsiteY85" fmla="*/ 720875 h 3641849"/>
                <a:gd name="connsiteX86" fmla="*/ 1299771 w 1573870"/>
                <a:gd name="connsiteY86" fmla="*/ 728632 h 3641849"/>
                <a:gd name="connsiteX87" fmla="*/ 1299771 w 1573870"/>
                <a:gd name="connsiteY87" fmla="*/ 733803 h 3641849"/>
                <a:gd name="connsiteX88" fmla="*/ 1321940 w 1573870"/>
                <a:gd name="connsiteY88" fmla="*/ 674332 h 3641849"/>
                <a:gd name="connsiteX89" fmla="*/ 1331915 w 1573870"/>
                <a:gd name="connsiteY89" fmla="*/ 640714 h 3641849"/>
                <a:gd name="connsiteX90" fmla="*/ 1338566 w 1573870"/>
                <a:gd name="connsiteY90" fmla="*/ 622618 h 3641849"/>
                <a:gd name="connsiteX91" fmla="*/ 1341503 w 1573870"/>
                <a:gd name="connsiteY91" fmla="*/ 591288 h 3641849"/>
                <a:gd name="connsiteX92" fmla="*/ 1260977 w 1573870"/>
                <a:gd name="connsiteY92" fmla="*/ 545048 h 3641849"/>
                <a:gd name="connsiteX93" fmla="*/ 1247122 w 1573870"/>
                <a:gd name="connsiteY93" fmla="*/ 472648 h 3641849"/>
                <a:gd name="connsiteX94" fmla="*/ 1247122 w 1573870"/>
                <a:gd name="connsiteY94" fmla="*/ 454548 h 3641849"/>
                <a:gd name="connsiteX95" fmla="*/ 1258205 w 1573870"/>
                <a:gd name="connsiteY95" fmla="*/ 431276 h 3641849"/>
                <a:gd name="connsiteX96" fmla="*/ 1260977 w 1573870"/>
                <a:gd name="connsiteY96" fmla="*/ 415762 h 3641849"/>
                <a:gd name="connsiteX97" fmla="*/ 1260976 w 1573870"/>
                <a:gd name="connsiteY97" fmla="*/ 358878 h 3641849"/>
                <a:gd name="connsiteX98" fmla="*/ 1238808 w 1573870"/>
                <a:gd name="connsiteY98" fmla="*/ 335607 h 3641849"/>
                <a:gd name="connsiteX99" fmla="*/ 1211098 w 1573870"/>
                <a:gd name="connsiteY99" fmla="*/ 304578 h 3641849"/>
                <a:gd name="connsiteX100" fmla="*/ 1206930 w 1573870"/>
                <a:gd name="connsiteY100" fmla="*/ 280325 h 3641849"/>
                <a:gd name="connsiteX101" fmla="*/ 1258206 w 1573870"/>
                <a:gd name="connsiteY101" fmla="*/ 258034 h 3641849"/>
                <a:gd name="connsiteX102" fmla="*/ 1311786 w 1573870"/>
                <a:gd name="connsiteY102" fmla="*/ 267906 h 3641849"/>
                <a:gd name="connsiteX103" fmla="*/ 1390570 w 1573870"/>
                <a:gd name="connsiteY103" fmla="*/ 279816 h 3641849"/>
                <a:gd name="connsiteX104" fmla="*/ 1474893 w 1573870"/>
                <a:gd name="connsiteY104" fmla="*/ 349175 h 3641849"/>
                <a:gd name="connsiteX105" fmla="*/ 1537028 w 1573870"/>
                <a:gd name="connsiteY105" fmla="*/ 425271 h 3641849"/>
                <a:gd name="connsiteX106" fmla="*/ 1436057 w 1573870"/>
                <a:gd name="connsiteY106" fmla="*/ 454265 h 3641849"/>
                <a:gd name="connsiteX107" fmla="*/ 1420523 w 1573870"/>
                <a:gd name="connsiteY107" fmla="*/ 501372 h 3641849"/>
                <a:gd name="connsiteX108" fmla="*/ 1478193 w 1573870"/>
                <a:gd name="connsiteY108" fmla="*/ 585862 h 3641849"/>
                <a:gd name="connsiteX109" fmla="*/ 1513727 w 1573870"/>
                <a:gd name="connsiteY109" fmla="*/ 591964 h 3641849"/>
                <a:gd name="connsiteX110" fmla="*/ 1566347 w 1573870"/>
                <a:gd name="connsiteY110" fmla="*/ 598304 h 3641849"/>
                <a:gd name="connsiteX111" fmla="*/ 1561384 w 1573870"/>
                <a:gd name="connsiteY111" fmla="*/ 709079 h 3641849"/>
                <a:gd name="connsiteX112" fmla="*/ 1572453 w 1573870"/>
                <a:gd name="connsiteY112" fmla="*/ 1040047 h 3641849"/>
                <a:gd name="connsiteX113" fmla="*/ 1563585 w 1573870"/>
                <a:gd name="connsiteY113" fmla="*/ 1842646 h 3641849"/>
                <a:gd name="connsiteX114" fmla="*/ 1572452 w 1573870"/>
                <a:gd name="connsiteY114" fmla="*/ 2297728 h 3641849"/>
                <a:gd name="connsiteX115" fmla="*/ 1546004 w 1573870"/>
                <a:gd name="connsiteY115" fmla="*/ 3607693 h 3641849"/>
                <a:gd name="connsiteX116" fmla="*/ 1287577 w 1573870"/>
                <a:gd name="connsiteY116" fmla="*/ 3564098 h 3641849"/>
                <a:gd name="connsiteX117" fmla="*/ 1119099 w 1573870"/>
                <a:gd name="connsiteY117" fmla="*/ 3497903 h 3641849"/>
                <a:gd name="connsiteX118" fmla="*/ 941753 w 1573870"/>
                <a:gd name="connsiteY118" fmla="*/ 3406887 h 3641849"/>
                <a:gd name="connsiteX119" fmla="*/ 843455 w 1573870"/>
                <a:gd name="connsiteY119" fmla="*/ 3326370 h 3641849"/>
                <a:gd name="connsiteX120" fmla="*/ 1137717 w 1573870"/>
                <a:gd name="connsiteY120" fmla="*/ 3018734 h 3641849"/>
                <a:gd name="connsiteX121" fmla="*/ 853963 w 1573870"/>
                <a:gd name="connsiteY121" fmla="*/ 2480910 h 3641849"/>
                <a:gd name="connsiteX122" fmla="*/ 996313 w 1573870"/>
                <a:gd name="connsiteY122" fmla="*/ 2241825 h 3641849"/>
                <a:gd name="connsiteX123" fmla="*/ 809626 w 1573870"/>
                <a:gd name="connsiteY123" fmla="*/ 1703134 h 3641849"/>
                <a:gd name="connsiteX124" fmla="*/ 561342 w 1573870"/>
                <a:gd name="connsiteY124" fmla="*/ 1471456 h 3641849"/>
                <a:gd name="connsiteX125" fmla="*/ 92486 w 1573870"/>
                <a:gd name="connsiteY125" fmla="*/ 2159767 h 3641849"/>
                <a:gd name="connsiteX0" fmla="*/ 92486 w 1573870"/>
                <a:gd name="connsiteY0" fmla="*/ 2159767 h 3641849"/>
                <a:gd name="connsiteX1" fmla="*/ 63733 w 1573870"/>
                <a:gd name="connsiteY1" fmla="*/ 1725696 h 3641849"/>
                <a:gd name="connsiteX2" fmla="*/ 30481 w 1573870"/>
                <a:gd name="connsiteY2" fmla="*/ 1679153 h 3641849"/>
                <a:gd name="connsiteX3" fmla="*/ 0 w 1573870"/>
                <a:gd name="connsiteY3" fmla="*/ 1637781 h 3641849"/>
                <a:gd name="connsiteX4" fmla="*/ 27710 w 1573870"/>
                <a:gd name="connsiteY4" fmla="*/ 1635196 h 3641849"/>
                <a:gd name="connsiteX5" fmla="*/ 94215 w 1573870"/>
                <a:gd name="connsiteY5" fmla="*/ 1627440 h 3641849"/>
                <a:gd name="connsiteX6" fmla="*/ 188430 w 1573870"/>
                <a:gd name="connsiteY6" fmla="*/ 1536941 h 3641849"/>
                <a:gd name="connsiteX7" fmla="*/ 213369 w 1573870"/>
                <a:gd name="connsiteY7" fmla="*/ 1505912 h 3641849"/>
                <a:gd name="connsiteX8" fmla="*/ 199515 w 1573870"/>
                <a:gd name="connsiteY8" fmla="*/ 1555040 h 3641849"/>
                <a:gd name="connsiteX9" fmla="*/ 218911 w 1573870"/>
                <a:gd name="connsiteY9" fmla="*/ 1588655 h 3641849"/>
                <a:gd name="connsiteX10" fmla="*/ 263248 w 1573870"/>
                <a:gd name="connsiteY10" fmla="*/ 1666225 h 3641849"/>
                <a:gd name="connsiteX11" fmla="*/ 332524 w 1573870"/>
                <a:gd name="connsiteY11" fmla="*/ 1653297 h 3641849"/>
                <a:gd name="connsiteX12" fmla="*/ 351920 w 1573870"/>
                <a:gd name="connsiteY12" fmla="*/ 1622268 h 3641849"/>
                <a:gd name="connsiteX13" fmla="*/ 365776 w 1573870"/>
                <a:gd name="connsiteY13" fmla="*/ 1557627 h 3641849"/>
                <a:gd name="connsiteX14" fmla="*/ 304813 w 1573870"/>
                <a:gd name="connsiteY14" fmla="*/ 1511084 h 3641849"/>
                <a:gd name="connsiteX15" fmla="*/ 260477 w 1573870"/>
                <a:gd name="connsiteY15" fmla="*/ 1485227 h 3641849"/>
                <a:gd name="connsiteX16" fmla="*/ 199515 w 1573870"/>
                <a:gd name="connsiteY16" fmla="*/ 1495570 h 3641849"/>
                <a:gd name="connsiteX17" fmla="*/ 376861 w 1573870"/>
                <a:gd name="connsiteY17" fmla="*/ 1299057 h 3641849"/>
                <a:gd name="connsiteX18" fmla="*/ 224454 w 1573870"/>
                <a:gd name="connsiteY18" fmla="*/ 1151672 h 3641849"/>
                <a:gd name="connsiteX19" fmla="*/ 285417 w 1573870"/>
                <a:gd name="connsiteY19" fmla="*/ 1089617 h 3641849"/>
                <a:gd name="connsiteX20" fmla="*/ 218912 w 1573870"/>
                <a:gd name="connsiteY20" fmla="*/ 1050829 h 3641849"/>
                <a:gd name="connsiteX21" fmla="*/ 260477 w 1573870"/>
                <a:gd name="connsiteY21" fmla="*/ 1019802 h 3641849"/>
                <a:gd name="connsiteX22" fmla="*/ 213371 w 1573870"/>
                <a:gd name="connsiteY22" fmla="*/ 993947 h 3641849"/>
                <a:gd name="connsiteX23" fmla="*/ 213370 w 1573870"/>
                <a:gd name="connsiteY23" fmla="*/ 794845 h 3641849"/>
                <a:gd name="connsiteX24" fmla="*/ 252165 w 1573870"/>
                <a:gd name="connsiteY24" fmla="*/ 779332 h 3641849"/>
                <a:gd name="connsiteX25" fmla="*/ 138552 w 1573870"/>
                <a:gd name="connsiteY25" fmla="*/ 551792 h 3641849"/>
                <a:gd name="connsiteX26" fmla="*/ 135781 w 1573870"/>
                <a:gd name="connsiteY26" fmla="*/ 551792 h 3641849"/>
                <a:gd name="connsiteX27" fmla="*/ 185659 w 1573870"/>
                <a:gd name="connsiteY27" fmla="*/ 469048 h 3641849"/>
                <a:gd name="connsiteX28" fmla="*/ 202285 w 1573870"/>
                <a:gd name="connsiteY28" fmla="*/ 378550 h 3641849"/>
                <a:gd name="connsiteX29" fmla="*/ 127466 w 1573870"/>
                <a:gd name="connsiteY29" fmla="*/ 319079 h 3641849"/>
                <a:gd name="connsiteX30" fmla="*/ 119154 w 1573870"/>
                <a:gd name="connsiteY30" fmla="*/ 251851 h 3641849"/>
                <a:gd name="connsiteX31" fmla="*/ 174574 w 1573870"/>
                <a:gd name="connsiteY31" fmla="*/ 158764 h 3641849"/>
                <a:gd name="connsiteX32" fmla="*/ 193972 w 1573870"/>
                <a:gd name="connsiteY32" fmla="*/ 135494 h 3641849"/>
                <a:gd name="connsiteX33" fmla="*/ 207827 w 1573870"/>
                <a:gd name="connsiteY33" fmla="*/ 117394 h 3641849"/>
                <a:gd name="connsiteX34" fmla="*/ 216140 w 1573870"/>
                <a:gd name="connsiteY34" fmla="*/ 73438 h 3641849"/>
                <a:gd name="connsiteX35" fmla="*/ 241079 w 1573870"/>
                <a:gd name="connsiteY35" fmla="*/ 101880 h 3641849"/>
                <a:gd name="connsiteX36" fmla="*/ 271561 w 1573870"/>
                <a:gd name="connsiteY36" fmla="*/ 88952 h 3641849"/>
                <a:gd name="connsiteX37" fmla="*/ 274331 w 1573870"/>
                <a:gd name="connsiteY37" fmla="*/ 63095 h 3641849"/>
                <a:gd name="connsiteX38" fmla="*/ 282645 w 1573870"/>
                <a:gd name="connsiteY38" fmla="*/ 34652 h 3641849"/>
                <a:gd name="connsiteX39" fmla="*/ 285417 w 1573870"/>
                <a:gd name="connsiteY39" fmla="*/ 3624 h 3641849"/>
                <a:gd name="connsiteX40" fmla="*/ 421197 w 1573870"/>
                <a:gd name="connsiteY40" fmla="*/ 57924 h 3641849"/>
                <a:gd name="connsiteX41" fmla="*/ 451677 w 1573870"/>
                <a:gd name="connsiteY41" fmla="*/ 161352 h 3641849"/>
                <a:gd name="connsiteX42" fmla="*/ 465533 w 1573870"/>
                <a:gd name="connsiteY42" fmla="*/ 184622 h 3641849"/>
                <a:gd name="connsiteX43" fmla="*/ 476617 w 1573870"/>
                <a:gd name="connsiteY43" fmla="*/ 187208 h 3641849"/>
                <a:gd name="connsiteX44" fmla="*/ 590229 w 1573870"/>
                <a:gd name="connsiteY44" fmla="*/ 156181 h 3641849"/>
                <a:gd name="connsiteX45" fmla="*/ 656734 w 1573870"/>
                <a:gd name="connsiteY45" fmla="*/ 166522 h 3641849"/>
                <a:gd name="connsiteX46" fmla="*/ 720468 w 1573870"/>
                <a:gd name="connsiteY46" fmla="*/ 213065 h 3641849"/>
                <a:gd name="connsiteX47" fmla="*/ 734495 w 1573870"/>
                <a:gd name="connsiteY47" fmla="*/ 242621 h 3641849"/>
                <a:gd name="connsiteX48" fmla="*/ 789742 w 1573870"/>
                <a:gd name="connsiteY48" fmla="*/ 277708 h 3641849"/>
                <a:gd name="connsiteX49" fmla="*/ 878416 w 1573870"/>
                <a:gd name="connsiteY49" fmla="*/ 303563 h 3641849"/>
                <a:gd name="connsiteX50" fmla="*/ 950462 w 1573870"/>
                <a:gd name="connsiteY50" fmla="*/ 350106 h 3641849"/>
                <a:gd name="connsiteX51" fmla="*/ 1000341 w 1573870"/>
                <a:gd name="connsiteY51" fmla="*/ 401820 h 3641849"/>
                <a:gd name="connsiteX52" fmla="*/ 1025280 w 1573870"/>
                <a:gd name="connsiteY52" fmla="*/ 440606 h 3641849"/>
                <a:gd name="connsiteX53" fmla="*/ 1058533 w 1573870"/>
                <a:gd name="connsiteY53" fmla="*/ 466462 h 3641849"/>
                <a:gd name="connsiteX54" fmla="*/ 1041905 w 1573870"/>
                <a:gd name="connsiteY54" fmla="*/ 691417 h 3641849"/>
                <a:gd name="connsiteX55" fmla="*/ 914439 w 1573870"/>
                <a:gd name="connsiteY55" fmla="*/ 771575 h 3641849"/>
                <a:gd name="connsiteX56" fmla="*/ 800827 w 1573870"/>
                <a:gd name="connsiteY56" fmla="*/ 779331 h 3641849"/>
                <a:gd name="connsiteX57" fmla="*/ 662274 w 1573870"/>
                <a:gd name="connsiteY57" fmla="*/ 758645 h 3641849"/>
                <a:gd name="connsiteX58" fmla="*/ 570830 w 1573870"/>
                <a:gd name="connsiteY58" fmla="*/ 722445 h 3641849"/>
                <a:gd name="connsiteX59" fmla="*/ 551433 w 1573870"/>
                <a:gd name="connsiteY59" fmla="*/ 750888 h 3641849"/>
                <a:gd name="connsiteX60" fmla="*/ 582075 w 1573870"/>
                <a:gd name="connsiteY60" fmla="*/ 824301 h 3641849"/>
                <a:gd name="connsiteX61" fmla="*/ 587616 w 1573870"/>
                <a:gd name="connsiteY61" fmla="*/ 951000 h 3641849"/>
                <a:gd name="connsiteX62" fmla="*/ 559746 w 1573870"/>
                <a:gd name="connsiteY62" fmla="*/ 1012043 h 3641849"/>
                <a:gd name="connsiteX63" fmla="*/ 615165 w 1573870"/>
                <a:gd name="connsiteY63" fmla="*/ 1032728 h 3641849"/>
                <a:gd name="connsiteX64" fmla="*/ 631793 w 1573870"/>
                <a:gd name="connsiteY64" fmla="*/ 1048242 h 3641849"/>
                <a:gd name="connsiteX65" fmla="*/ 656733 w 1573870"/>
                <a:gd name="connsiteY65" fmla="*/ 1074099 h 3641849"/>
                <a:gd name="connsiteX66" fmla="*/ 653962 w 1573870"/>
                <a:gd name="connsiteY66" fmla="*/ 1076685 h 3641849"/>
                <a:gd name="connsiteX67" fmla="*/ 692755 w 1573870"/>
                <a:gd name="connsiteY67" fmla="*/ 1071514 h 3641849"/>
                <a:gd name="connsiteX68" fmla="*/ 701069 w 1573870"/>
                <a:gd name="connsiteY68" fmla="*/ 1035314 h 3641849"/>
                <a:gd name="connsiteX69" fmla="*/ 662274 w 1573870"/>
                <a:gd name="connsiteY69" fmla="*/ 957743 h 3641849"/>
                <a:gd name="connsiteX70" fmla="*/ 731550 w 1573870"/>
                <a:gd name="connsiteY70" fmla="*/ 911200 h 3641849"/>
                <a:gd name="connsiteX71" fmla="*/ 799322 w 1573870"/>
                <a:gd name="connsiteY71" fmla="*/ 918934 h 3641849"/>
                <a:gd name="connsiteX72" fmla="*/ 823155 w 1573870"/>
                <a:gd name="connsiteY72" fmla="*/ 951001 h 3641849"/>
                <a:gd name="connsiteX73" fmla="*/ 978884 w 1573870"/>
                <a:gd name="connsiteY73" fmla="*/ 1007364 h 3641849"/>
                <a:gd name="connsiteX74" fmla="*/ 964476 w 1573870"/>
                <a:gd name="connsiteY74" fmla="*/ 971687 h 3641849"/>
                <a:gd name="connsiteX75" fmla="*/ 931224 w 1573870"/>
                <a:gd name="connsiteY75" fmla="*/ 932901 h 3641849"/>
                <a:gd name="connsiteX76" fmla="*/ 920140 w 1573870"/>
                <a:gd name="connsiteY76" fmla="*/ 881187 h 3641849"/>
                <a:gd name="connsiteX77" fmla="*/ 958935 w 1573870"/>
                <a:gd name="connsiteY77" fmla="*/ 832060 h 3641849"/>
                <a:gd name="connsiteX78" fmla="*/ 986645 w 1573870"/>
                <a:gd name="connsiteY78" fmla="*/ 803617 h 3641849"/>
                <a:gd name="connsiteX79" fmla="*/ 1011585 w 1573870"/>
                <a:gd name="connsiteY79" fmla="*/ 767417 h 3641849"/>
                <a:gd name="connsiteX80" fmla="*/ 1091945 w 1573870"/>
                <a:gd name="connsiteY80" fmla="*/ 762245 h 3641849"/>
                <a:gd name="connsiteX81" fmla="*/ 1097486 w 1573870"/>
                <a:gd name="connsiteY81" fmla="*/ 741560 h 3641849"/>
                <a:gd name="connsiteX82" fmla="*/ 1122426 w 1573870"/>
                <a:gd name="connsiteY82" fmla="*/ 705360 h 3641849"/>
                <a:gd name="connsiteX83" fmla="*/ 1156230 w 1573870"/>
                <a:gd name="connsiteY83" fmla="*/ 687772 h 3641849"/>
                <a:gd name="connsiteX84" fmla="*/ 1213870 w 1573870"/>
                <a:gd name="connsiteY84" fmla="*/ 700189 h 3641849"/>
                <a:gd name="connsiteX85" fmla="*/ 1252663 w 1573870"/>
                <a:gd name="connsiteY85" fmla="*/ 720875 h 3641849"/>
                <a:gd name="connsiteX86" fmla="*/ 1299771 w 1573870"/>
                <a:gd name="connsiteY86" fmla="*/ 728632 h 3641849"/>
                <a:gd name="connsiteX87" fmla="*/ 1299771 w 1573870"/>
                <a:gd name="connsiteY87" fmla="*/ 733803 h 3641849"/>
                <a:gd name="connsiteX88" fmla="*/ 1321940 w 1573870"/>
                <a:gd name="connsiteY88" fmla="*/ 674332 h 3641849"/>
                <a:gd name="connsiteX89" fmla="*/ 1331915 w 1573870"/>
                <a:gd name="connsiteY89" fmla="*/ 640714 h 3641849"/>
                <a:gd name="connsiteX90" fmla="*/ 1338566 w 1573870"/>
                <a:gd name="connsiteY90" fmla="*/ 622618 h 3641849"/>
                <a:gd name="connsiteX91" fmla="*/ 1341503 w 1573870"/>
                <a:gd name="connsiteY91" fmla="*/ 591288 h 3641849"/>
                <a:gd name="connsiteX92" fmla="*/ 1260977 w 1573870"/>
                <a:gd name="connsiteY92" fmla="*/ 545048 h 3641849"/>
                <a:gd name="connsiteX93" fmla="*/ 1247122 w 1573870"/>
                <a:gd name="connsiteY93" fmla="*/ 472648 h 3641849"/>
                <a:gd name="connsiteX94" fmla="*/ 1247122 w 1573870"/>
                <a:gd name="connsiteY94" fmla="*/ 454548 h 3641849"/>
                <a:gd name="connsiteX95" fmla="*/ 1258205 w 1573870"/>
                <a:gd name="connsiteY95" fmla="*/ 431276 h 3641849"/>
                <a:gd name="connsiteX96" fmla="*/ 1260977 w 1573870"/>
                <a:gd name="connsiteY96" fmla="*/ 415762 h 3641849"/>
                <a:gd name="connsiteX97" fmla="*/ 1260976 w 1573870"/>
                <a:gd name="connsiteY97" fmla="*/ 358878 h 3641849"/>
                <a:gd name="connsiteX98" fmla="*/ 1238808 w 1573870"/>
                <a:gd name="connsiteY98" fmla="*/ 335607 h 3641849"/>
                <a:gd name="connsiteX99" fmla="*/ 1211098 w 1573870"/>
                <a:gd name="connsiteY99" fmla="*/ 304578 h 3641849"/>
                <a:gd name="connsiteX100" fmla="*/ 1206930 w 1573870"/>
                <a:gd name="connsiteY100" fmla="*/ 280325 h 3641849"/>
                <a:gd name="connsiteX101" fmla="*/ 1258206 w 1573870"/>
                <a:gd name="connsiteY101" fmla="*/ 258034 h 3641849"/>
                <a:gd name="connsiteX102" fmla="*/ 1311786 w 1573870"/>
                <a:gd name="connsiteY102" fmla="*/ 267906 h 3641849"/>
                <a:gd name="connsiteX103" fmla="*/ 1390570 w 1573870"/>
                <a:gd name="connsiteY103" fmla="*/ 279816 h 3641849"/>
                <a:gd name="connsiteX104" fmla="*/ 1474893 w 1573870"/>
                <a:gd name="connsiteY104" fmla="*/ 349175 h 3641849"/>
                <a:gd name="connsiteX105" fmla="*/ 1537028 w 1573870"/>
                <a:gd name="connsiteY105" fmla="*/ 425271 h 3641849"/>
                <a:gd name="connsiteX106" fmla="*/ 1436057 w 1573870"/>
                <a:gd name="connsiteY106" fmla="*/ 454265 h 3641849"/>
                <a:gd name="connsiteX107" fmla="*/ 1420523 w 1573870"/>
                <a:gd name="connsiteY107" fmla="*/ 501372 h 3641849"/>
                <a:gd name="connsiteX108" fmla="*/ 1478193 w 1573870"/>
                <a:gd name="connsiteY108" fmla="*/ 585862 h 3641849"/>
                <a:gd name="connsiteX109" fmla="*/ 1513727 w 1573870"/>
                <a:gd name="connsiteY109" fmla="*/ 591964 h 3641849"/>
                <a:gd name="connsiteX110" fmla="*/ 1566347 w 1573870"/>
                <a:gd name="connsiteY110" fmla="*/ 598304 h 3641849"/>
                <a:gd name="connsiteX111" fmla="*/ 1561384 w 1573870"/>
                <a:gd name="connsiteY111" fmla="*/ 709079 h 3641849"/>
                <a:gd name="connsiteX112" fmla="*/ 1572453 w 1573870"/>
                <a:gd name="connsiteY112" fmla="*/ 1040047 h 3641849"/>
                <a:gd name="connsiteX113" fmla="*/ 1563585 w 1573870"/>
                <a:gd name="connsiteY113" fmla="*/ 1842646 h 3641849"/>
                <a:gd name="connsiteX114" fmla="*/ 1572452 w 1573870"/>
                <a:gd name="connsiteY114" fmla="*/ 2297728 h 3641849"/>
                <a:gd name="connsiteX115" fmla="*/ 1546004 w 1573870"/>
                <a:gd name="connsiteY115" fmla="*/ 3607693 h 3641849"/>
                <a:gd name="connsiteX116" fmla="*/ 1287577 w 1573870"/>
                <a:gd name="connsiteY116" fmla="*/ 3564098 h 3641849"/>
                <a:gd name="connsiteX117" fmla="*/ 1119099 w 1573870"/>
                <a:gd name="connsiteY117" fmla="*/ 3497903 h 3641849"/>
                <a:gd name="connsiteX118" fmla="*/ 941753 w 1573870"/>
                <a:gd name="connsiteY118" fmla="*/ 3406887 h 3641849"/>
                <a:gd name="connsiteX119" fmla="*/ 843455 w 1573870"/>
                <a:gd name="connsiteY119" fmla="*/ 3326370 h 3641849"/>
                <a:gd name="connsiteX120" fmla="*/ 1137717 w 1573870"/>
                <a:gd name="connsiteY120" fmla="*/ 3018734 h 3641849"/>
                <a:gd name="connsiteX121" fmla="*/ 853963 w 1573870"/>
                <a:gd name="connsiteY121" fmla="*/ 2480910 h 3641849"/>
                <a:gd name="connsiteX122" fmla="*/ 996313 w 1573870"/>
                <a:gd name="connsiteY122" fmla="*/ 2241825 h 3641849"/>
                <a:gd name="connsiteX123" fmla="*/ 809626 w 1573870"/>
                <a:gd name="connsiteY123" fmla="*/ 1703134 h 3641849"/>
                <a:gd name="connsiteX124" fmla="*/ 561342 w 1573870"/>
                <a:gd name="connsiteY124" fmla="*/ 1471456 h 3641849"/>
                <a:gd name="connsiteX125" fmla="*/ 92486 w 1573870"/>
                <a:gd name="connsiteY125" fmla="*/ 2159767 h 3641849"/>
                <a:gd name="connsiteX0" fmla="*/ 92486 w 1573870"/>
                <a:gd name="connsiteY0" fmla="*/ 2159767 h 3641849"/>
                <a:gd name="connsiteX1" fmla="*/ 63733 w 1573870"/>
                <a:gd name="connsiteY1" fmla="*/ 1725696 h 3641849"/>
                <a:gd name="connsiteX2" fmla="*/ 30481 w 1573870"/>
                <a:gd name="connsiteY2" fmla="*/ 1679153 h 3641849"/>
                <a:gd name="connsiteX3" fmla="*/ 0 w 1573870"/>
                <a:gd name="connsiteY3" fmla="*/ 1637781 h 3641849"/>
                <a:gd name="connsiteX4" fmla="*/ 24938 w 1573870"/>
                <a:gd name="connsiteY4" fmla="*/ 1642953 h 3641849"/>
                <a:gd name="connsiteX5" fmla="*/ 94215 w 1573870"/>
                <a:gd name="connsiteY5" fmla="*/ 1627440 h 3641849"/>
                <a:gd name="connsiteX6" fmla="*/ 188430 w 1573870"/>
                <a:gd name="connsiteY6" fmla="*/ 1536941 h 3641849"/>
                <a:gd name="connsiteX7" fmla="*/ 213369 w 1573870"/>
                <a:gd name="connsiteY7" fmla="*/ 1505912 h 3641849"/>
                <a:gd name="connsiteX8" fmla="*/ 199515 w 1573870"/>
                <a:gd name="connsiteY8" fmla="*/ 1555040 h 3641849"/>
                <a:gd name="connsiteX9" fmla="*/ 218911 w 1573870"/>
                <a:gd name="connsiteY9" fmla="*/ 1588655 h 3641849"/>
                <a:gd name="connsiteX10" fmla="*/ 263248 w 1573870"/>
                <a:gd name="connsiteY10" fmla="*/ 1666225 h 3641849"/>
                <a:gd name="connsiteX11" fmla="*/ 332524 w 1573870"/>
                <a:gd name="connsiteY11" fmla="*/ 1653297 h 3641849"/>
                <a:gd name="connsiteX12" fmla="*/ 351920 w 1573870"/>
                <a:gd name="connsiteY12" fmla="*/ 1622268 h 3641849"/>
                <a:gd name="connsiteX13" fmla="*/ 365776 w 1573870"/>
                <a:gd name="connsiteY13" fmla="*/ 1557627 h 3641849"/>
                <a:gd name="connsiteX14" fmla="*/ 304813 w 1573870"/>
                <a:gd name="connsiteY14" fmla="*/ 1511084 h 3641849"/>
                <a:gd name="connsiteX15" fmla="*/ 260477 w 1573870"/>
                <a:gd name="connsiteY15" fmla="*/ 1485227 h 3641849"/>
                <a:gd name="connsiteX16" fmla="*/ 199515 w 1573870"/>
                <a:gd name="connsiteY16" fmla="*/ 1495570 h 3641849"/>
                <a:gd name="connsiteX17" fmla="*/ 376861 w 1573870"/>
                <a:gd name="connsiteY17" fmla="*/ 1299057 h 3641849"/>
                <a:gd name="connsiteX18" fmla="*/ 224454 w 1573870"/>
                <a:gd name="connsiteY18" fmla="*/ 1151672 h 3641849"/>
                <a:gd name="connsiteX19" fmla="*/ 285417 w 1573870"/>
                <a:gd name="connsiteY19" fmla="*/ 1089617 h 3641849"/>
                <a:gd name="connsiteX20" fmla="*/ 218912 w 1573870"/>
                <a:gd name="connsiteY20" fmla="*/ 1050829 h 3641849"/>
                <a:gd name="connsiteX21" fmla="*/ 260477 w 1573870"/>
                <a:gd name="connsiteY21" fmla="*/ 1019802 h 3641849"/>
                <a:gd name="connsiteX22" fmla="*/ 213371 w 1573870"/>
                <a:gd name="connsiteY22" fmla="*/ 993947 h 3641849"/>
                <a:gd name="connsiteX23" fmla="*/ 213370 w 1573870"/>
                <a:gd name="connsiteY23" fmla="*/ 794845 h 3641849"/>
                <a:gd name="connsiteX24" fmla="*/ 252165 w 1573870"/>
                <a:gd name="connsiteY24" fmla="*/ 779332 h 3641849"/>
                <a:gd name="connsiteX25" fmla="*/ 138552 w 1573870"/>
                <a:gd name="connsiteY25" fmla="*/ 551792 h 3641849"/>
                <a:gd name="connsiteX26" fmla="*/ 135781 w 1573870"/>
                <a:gd name="connsiteY26" fmla="*/ 551792 h 3641849"/>
                <a:gd name="connsiteX27" fmla="*/ 185659 w 1573870"/>
                <a:gd name="connsiteY27" fmla="*/ 469048 h 3641849"/>
                <a:gd name="connsiteX28" fmla="*/ 202285 w 1573870"/>
                <a:gd name="connsiteY28" fmla="*/ 378550 h 3641849"/>
                <a:gd name="connsiteX29" fmla="*/ 127466 w 1573870"/>
                <a:gd name="connsiteY29" fmla="*/ 319079 h 3641849"/>
                <a:gd name="connsiteX30" fmla="*/ 119154 w 1573870"/>
                <a:gd name="connsiteY30" fmla="*/ 251851 h 3641849"/>
                <a:gd name="connsiteX31" fmla="*/ 174574 w 1573870"/>
                <a:gd name="connsiteY31" fmla="*/ 158764 h 3641849"/>
                <a:gd name="connsiteX32" fmla="*/ 193972 w 1573870"/>
                <a:gd name="connsiteY32" fmla="*/ 135494 h 3641849"/>
                <a:gd name="connsiteX33" fmla="*/ 207827 w 1573870"/>
                <a:gd name="connsiteY33" fmla="*/ 117394 h 3641849"/>
                <a:gd name="connsiteX34" fmla="*/ 216140 w 1573870"/>
                <a:gd name="connsiteY34" fmla="*/ 73438 h 3641849"/>
                <a:gd name="connsiteX35" fmla="*/ 241079 w 1573870"/>
                <a:gd name="connsiteY35" fmla="*/ 101880 h 3641849"/>
                <a:gd name="connsiteX36" fmla="*/ 271561 w 1573870"/>
                <a:gd name="connsiteY36" fmla="*/ 88952 h 3641849"/>
                <a:gd name="connsiteX37" fmla="*/ 274331 w 1573870"/>
                <a:gd name="connsiteY37" fmla="*/ 63095 h 3641849"/>
                <a:gd name="connsiteX38" fmla="*/ 282645 w 1573870"/>
                <a:gd name="connsiteY38" fmla="*/ 34652 h 3641849"/>
                <a:gd name="connsiteX39" fmla="*/ 285417 w 1573870"/>
                <a:gd name="connsiteY39" fmla="*/ 3624 h 3641849"/>
                <a:gd name="connsiteX40" fmla="*/ 421197 w 1573870"/>
                <a:gd name="connsiteY40" fmla="*/ 57924 h 3641849"/>
                <a:gd name="connsiteX41" fmla="*/ 451677 w 1573870"/>
                <a:gd name="connsiteY41" fmla="*/ 161352 h 3641849"/>
                <a:gd name="connsiteX42" fmla="*/ 465533 w 1573870"/>
                <a:gd name="connsiteY42" fmla="*/ 184622 h 3641849"/>
                <a:gd name="connsiteX43" fmla="*/ 476617 w 1573870"/>
                <a:gd name="connsiteY43" fmla="*/ 187208 h 3641849"/>
                <a:gd name="connsiteX44" fmla="*/ 590229 w 1573870"/>
                <a:gd name="connsiteY44" fmla="*/ 156181 h 3641849"/>
                <a:gd name="connsiteX45" fmla="*/ 656734 w 1573870"/>
                <a:gd name="connsiteY45" fmla="*/ 166522 h 3641849"/>
                <a:gd name="connsiteX46" fmla="*/ 720468 w 1573870"/>
                <a:gd name="connsiteY46" fmla="*/ 213065 h 3641849"/>
                <a:gd name="connsiteX47" fmla="*/ 734495 w 1573870"/>
                <a:gd name="connsiteY47" fmla="*/ 242621 h 3641849"/>
                <a:gd name="connsiteX48" fmla="*/ 789742 w 1573870"/>
                <a:gd name="connsiteY48" fmla="*/ 277708 h 3641849"/>
                <a:gd name="connsiteX49" fmla="*/ 878416 w 1573870"/>
                <a:gd name="connsiteY49" fmla="*/ 303563 h 3641849"/>
                <a:gd name="connsiteX50" fmla="*/ 950462 w 1573870"/>
                <a:gd name="connsiteY50" fmla="*/ 350106 h 3641849"/>
                <a:gd name="connsiteX51" fmla="*/ 1000341 w 1573870"/>
                <a:gd name="connsiteY51" fmla="*/ 401820 h 3641849"/>
                <a:gd name="connsiteX52" fmla="*/ 1025280 w 1573870"/>
                <a:gd name="connsiteY52" fmla="*/ 440606 h 3641849"/>
                <a:gd name="connsiteX53" fmla="*/ 1058533 w 1573870"/>
                <a:gd name="connsiteY53" fmla="*/ 466462 h 3641849"/>
                <a:gd name="connsiteX54" fmla="*/ 1041905 w 1573870"/>
                <a:gd name="connsiteY54" fmla="*/ 691417 h 3641849"/>
                <a:gd name="connsiteX55" fmla="*/ 914439 w 1573870"/>
                <a:gd name="connsiteY55" fmla="*/ 771575 h 3641849"/>
                <a:gd name="connsiteX56" fmla="*/ 800827 w 1573870"/>
                <a:gd name="connsiteY56" fmla="*/ 779331 h 3641849"/>
                <a:gd name="connsiteX57" fmla="*/ 662274 w 1573870"/>
                <a:gd name="connsiteY57" fmla="*/ 758645 h 3641849"/>
                <a:gd name="connsiteX58" fmla="*/ 570830 w 1573870"/>
                <a:gd name="connsiteY58" fmla="*/ 722445 h 3641849"/>
                <a:gd name="connsiteX59" fmla="*/ 551433 w 1573870"/>
                <a:gd name="connsiteY59" fmla="*/ 750888 h 3641849"/>
                <a:gd name="connsiteX60" fmla="*/ 582075 w 1573870"/>
                <a:gd name="connsiteY60" fmla="*/ 824301 h 3641849"/>
                <a:gd name="connsiteX61" fmla="*/ 587616 w 1573870"/>
                <a:gd name="connsiteY61" fmla="*/ 951000 h 3641849"/>
                <a:gd name="connsiteX62" fmla="*/ 559746 w 1573870"/>
                <a:gd name="connsiteY62" fmla="*/ 1012043 h 3641849"/>
                <a:gd name="connsiteX63" fmla="*/ 615165 w 1573870"/>
                <a:gd name="connsiteY63" fmla="*/ 1032728 h 3641849"/>
                <a:gd name="connsiteX64" fmla="*/ 631793 w 1573870"/>
                <a:gd name="connsiteY64" fmla="*/ 1048242 h 3641849"/>
                <a:gd name="connsiteX65" fmla="*/ 656733 w 1573870"/>
                <a:gd name="connsiteY65" fmla="*/ 1074099 h 3641849"/>
                <a:gd name="connsiteX66" fmla="*/ 653962 w 1573870"/>
                <a:gd name="connsiteY66" fmla="*/ 1076685 h 3641849"/>
                <a:gd name="connsiteX67" fmla="*/ 692755 w 1573870"/>
                <a:gd name="connsiteY67" fmla="*/ 1071514 h 3641849"/>
                <a:gd name="connsiteX68" fmla="*/ 701069 w 1573870"/>
                <a:gd name="connsiteY68" fmla="*/ 1035314 h 3641849"/>
                <a:gd name="connsiteX69" fmla="*/ 662274 w 1573870"/>
                <a:gd name="connsiteY69" fmla="*/ 957743 h 3641849"/>
                <a:gd name="connsiteX70" fmla="*/ 731550 w 1573870"/>
                <a:gd name="connsiteY70" fmla="*/ 911200 h 3641849"/>
                <a:gd name="connsiteX71" fmla="*/ 799322 w 1573870"/>
                <a:gd name="connsiteY71" fmla="*/ 918934 h 3641849"/>
                <a:gd name="connsiteX72" fmla="*/ 823155 w 1573870"/>
                <a:gd name="connsiteY72" fmla="*/ 951001 h 3641849"/>
                <a:gd name="connsiteX73" fmla="*/ 978884 w 1573870"/>
                <a:gd name="connsiteY73" fmla="*/ 1007364 h 3641849"/>
                <a:gd name="connsiteX74" fmla="*/ 964476 w 1573870"/>
                <a:gd name="connsiteY74" fmla="*/ 971687 h 3641849"/>
                <a:gd name="connsiteX75" fmla="*/ 931224 w 1573870"/>
                <a:gd name="connsiteY75" fmla="*/ 932901 h 3641849"/>
                <a:gd name="connsiteX76" fmla="*/ 920140 w 1573870"/>
                <a:gd name="connsiteY76" fmla="*/ 881187 h 3641849"/>
                <a:gd name="connsiteX77" fmla="*/ 958935 w 1573870"/>
                <a:gd name="connsiteY77" fmla="*/ 832060 h 3641849"/>
                <a:gd name="connsiteX78" fmla="*/ 986645 w 1573870"/>
                <a:gd name="connsiteY78" fmla="*/ 803617 h 3641849"/>
                <a:gd name="connsiteX79" fmla="*/ 1011585 w 1573870"/>
                <a:gd name="connsiteY79" fmla="*/ 767417 h 3641849"/>
                <a:gd name="connsiteX80" fmla="*/ 1091945 w 1573870"/>
                <a:gd name="connsiteY80" fmla="*/ 762245 h 3641849"/>
                <a:gd name="connsiteX81" fmla="*/ 1097486 w 1573870"/>
                <a:gd name="connsiteY81" fmla="*/ 741560 h 3641849"/>
                <a:gd name="connsiteX82" fmla="*/ 1122426 w 1573870"/>
                <a:gd name="connsiteY82" fmla="*/ 705360 h 3641849"/>
                <a:gd name="connsiteX83" fmla="*/ 1156230 w 1573870"/>
                <a:gd name="connsiteY83" fmla="*/ 687772 h 3641849"/>
                <a:gd name="connsiteX84" fmla="*/ 1213870 w 1573870"/>
                <a:gd name="connsiteY84" fmla="*/ 700189 h 3641849"/>
                <a:gd name="connsiteX85" fmla="*/ 1252663 w 1573870"/>
                <a:gd name="connsiteY85" fmla="*/ 720875 h 3641849"/>
                <a:gd name="connsiteX86" fmla="*/ 1299771 w 1573870"/>
                <a:gd name="connsiteY86" fmla="*/ 728632 h 3641849"/>
                <a:gd name="connsiteX87" fmla="*/ 1299771 w 1573870"/>
                <a:gd name="connsiteY87" fmla="*/ 733803 h 3641849"/>
                <a:gd name="connsiteX88" fmla="*/ 1321940 w 1573870"/>
                <a:gd name="connsiteY88" fmla="*/ 674332 h 3641849"/>
                <a:gd name="connsiteX89" fmla="*/ 1331915 w 1573870"/>
                <a:gd name="connsiteY89" fmla="*/ 640714 h 3641849"/>
                <a:gd name="connsiteX90" fmla="*/ 1338566 w 1573870"/>
                <a:gd name="connsiteY90" fmla="*/ 622618 h 3641849"/>
                <a:gd name="connsiteX91" fmla="*/ 1341503 w 1573870"/>
                <a:gd name="connsiteY91" fmla="*/ 591288 h 3641849"/>
                <a:gd name="connsiteX92" fmla="*/ 1260977 w 1573870"/>
                <a:gd name="connsiteY92" fmla="*/ 545048 h 3641849"/>
                <a:gd name="connsiteX93" fmla="*/ 1247122 w 1573870"/>
                <a:gd name="connsiteY93" fmla="*/ 472648 h 3641849"/>
                <a:gd name="connsiteX94" fmla="*/ 1247122 w 1573870"/>
                <a:gd name="connsiteY94" fmla="*/ 454548 h 3641849"/>
                <a:gd name="connsiteX95" fmla="*/ 1258205 w 1573870"/>
                <a:gd name="connsiteY95" fmla="*/ 431276 h 3641849"/>
                <a:gd name="connsiteX96" fmla="*/ 1260977 w 1573870"/>
                <a:gd name="connsiteY96" fmla="*/ 415762 h 3641849"/>
                <a:gd name="connsiteX97" fmla="*/ 1260976 w 1573870"/>
                <a:gd name="connsiteY97" fmla="*/ 358878 h 3641849"/>
                <a:gd name="connsiteX98" fmla="*/ 1238808 w 1573870"/>
                <a:gd name="connsiteY98" fmla="*/ 335607 h 3641849"/>
                <a:gd name="connsiteX99" fmla="*/ 1211098 w 1573870"/>
                <a:gd name="connsiteY99" fmla="*/ 304578 h 3641849"/>
                <a:gd name="connsiteX100" fmla="*/ 1206930 w 1573870"/>
                <a:gd name="connsiteY100" fmla="*/ 280325 h 3641849"/>
                <a:gd name="connsiteX101" fmla="*/ 1258206 w 1573870"/>
                <a:gd name="connsiteY101" fmla="*/ 258034 h 3641849"/>
                <a:gd name="connsiteX102" fmla="*/ 1311786 w 1573870"/>
                <a:gd name="connsiteY102" fmla="*/ 267906 h 3641849"/>
                <a:gd name="connsiteX103" fmla="*/ 1390570 w 1573870"/>
                <a:gd name="connsiteY103" fmla="*/ 279816 h 3641849"/>
                <a:gd name="connsiteX104" fmla="*/ 1474893 w 1573870"/>
                <a:gd name="connsiteY104" fmla="*/ 349175 h 3641849"/>
                <a:gd name="connsiteX105" fmla="*/ 1537028 w 1573870"/>
                <a:gd name="connsiteY105" fmla="*/ 425271 h 3641849"/>
                <a:gd name="connsiteX106" fmla="*/ 1436057 w 1573870"/>
                <a:gd name="connsiteY106" fmla="*/ 454265 h 3641849"/>
                <a:gd name="connsiteX107" fmla="*/ 1420523 w 1573870"/>
                <a:gd name="connsiteY107" fmla="*/ 501372 h 3641849"/>
                <a:gd name="connsiteX108" fmla="*/ 1478193 w 1573870"/>
                <a:gd name="connsiteY108" fmla="*/ 585862 h 3641849"/>
                <a:gd name="connsiteX109" fmla="*/ 1513727 w 1573870"/>
                <a:gd name="connsiteY109" fmla="*/ 591964 h 3641849"/>
                <a:gd name="connsiteX110" fmla="*/ 1566347 w 1573870"/>
                <a:gd name="connsiteY110" fmla="*/ 598304 h 3641849"/>
                <a:gd name="connsiteX111" fmla="*/ 1561384 w 1573870"/>
                <a:gd name="connsiteY111" fmla="*/ 709079 h 3641849"/>
                <a:gd name="connsiteX112" fmla="*/ 1572453 w 1573870"/>
                <a:gd name="connsiteY112" fmla="*/ 1040047 h 3641849"/>
                <a:gd name="connsiteX113" fmla="*/ 1563585 w 1573870"/>
                <a:gd name="connsiteY113" fmla="*/ 1842646 h 3641849"/>
                <a:gd name="connsiteX114" fmla="*/ 1572452 w 1573870"/>
                <a:gd name="connsiteY114" fmla="*/ 2297728 h 3641849"/>
                <a:gd name="connsiteX115" fmla="*/ 1546004 w 1573870"/>
                <a:gd name="connsiteY115" fmla="*/ 3607693 h 3641849"/>
                <a:gd name="connsiteX116" fmla="*/ 1287577 w 1573870"/>
                <a:gd name="connsiteY116" fmla="*/ 3564098 h 3641849"/>
                <a:gd name="connsiteX117" fmla="*/ 1119099 w 1573870"/>
                <a:gd name="connsiteY117" fmla="*/ 3497903 h 3641849"/>
                <a:gd name="connsiteX118" fmla="*/ 941753 w 1573870"/>
                <a:gd name="connsiteY118" fmla="*/ 3406887 h 3641849"/>
                <a:gd name="connsiteX119" fmla="*/ 843455 w 1573870"/>
                <a:gd name="connsiteY119" fmla="*/ 3326370 h 3641849"/>
                <a:gd name="connsiteX120" fmla="*/ 1137717 w 1573870"/>
                <a:gd name="connsiteY120" fmla="*/ 3018734 h 3641849"/>
                <a:gd name="connsiteX121" fmla="*/ 853963 w 1573870"/>
                <a:gd name="connsiteY121" fmla="*/ 2480910 h 3641849"/>
                <a:gd name="connsiteX122" fmla="*/ 996313 w 1573870"/>
                <a:gd name="connsiteY122" fmla="*/ 2241825 h 3641849"/>
                <a:gd name="connsiteX123" fmla="*/ 809626 w 1573870"/>
                <a:gd name="connsiteY123" fmla="*/ 1703134 h 3641849"/>
                <a:gd name="connsiteX124" fmla="*/ 561342 w 1573870"/>
                <a:gd name="connsiteY124" fmla="*/ 1471456 h 3641849"/>
                <a:gd name="connsiteX125" fmla="*/ 92486 w 1573870"/>
                <a:gd name="connsiteY125" fmla="*/ 2159767 h 3641849"/>
                <a:gd name="connsiteX0" fmla="*/ 92486 w 1573870"/>
                <a:gd name="connsiteY0" fmla="*/ 2159767 h 3641849"/>
                <a:gd name="connsiteX1" fmla="*/ 63733 w 1573870"/>
                <a:gd name="connsiteY1" fmla="*/ 1725696 h 3641849"/>
                <a:gd name="connsiteX2" fmla="*/ 30481 w 1573870"/>
                <a:gd name="connsiteY2" fmla="*/ 1679153 h 3641849"/>
                <a:gd name="connsiteX3" fmla="*/ 0 w 1573870"/>
                <a:gd name="connsiteY3" fmla="*/ 1637781 h 3641849"/>
                <a:gd name="connsiteX4" fmla="*/ 22167 w 1573870"/>
                <a:gd name="connsiteY4" fmla="*/ 1650710 h 3641849"/>
                <a:gd name="connsiteX5" fmla="*/ 94215 w 1573870"/>
                <a:gd name="connsiteY5" fmla="*/ 1627440 h 3641849"/>
                <a:gd name="connsiteX6" fmla="*/ 188430 w 1573870"/>
                <a:gd name="connsiteY6" fmla="*/ 1536941 h 3641849"/>
                <a:gd name="connsiteX7" fmla="*/ 213369 w 1573870"/>
                <a:gd name="connsiteY7" fmla="*/ 1505912 h 3641849"/>
                <a:gd name="connsiteX8" fmla="*/ 199515 w 1573870"/>
                <a:gd name="connsiteY8" fmla="*/ 1555040 h 3641849"/>
                <a:gd name="connsiteX9" fmla="*/ 218911 w 1573870"/>
                <a:gd name="connsiteY9" fmla="*/ 1588655 h 3641849"/>
                <a:gd name="connsiteX10" fmla="*/ 263248 w 1573870"/>
                <a:gd name="connsiteY10" fmla="*/ 1666225 h 3641849"/>
                <a:gd name="connsiteX11" fmla="*/ 332524 w 1573870"/>
                <a:gd name="connsiteY11" fmla="*/ 1653297 h 3641849"/>
                <a:gd name="connsiteX12" fmla="*/ 351920 w 1573870"/>
                <a:gd name="connsiteY12" fmla="*/ 1622268 h 3641849"/>
                <a:gd name="connsiteX13" fmla="*/ 365776 w 1573870"/>
                <a:gd name="connsiteY13" fmla="*/ 1557627 h 3641849"/>
                <a:gd name="connsiteX14" fmla="*/ 304813 w 1573870"/>
                <a:gd name="connsiteY14" fmla="*/ 1511084 h 3641849"/>
                <a:gd name="connsiteX15" fmla="*/ 260477 w 1573870"/>
                <a:gd name="connsiteY15" fmla="*/ 1485227 h 3641849"/>
                <a:gd name="connsiteX16" fmla="*/ 199515 w 1573870"/>
                <a:gd name="connsiteY16" fmla="*/ 1495570 h 3641849"/>
                <a:gd name="connsiteX17" fmla="*/ 376861 w 1573870"/>
                <a:gd name="connsiteY17" fmla="*/ 1299057 h 3641849"/>
                <a:gd name="connsiteX18" fmla="*/ 224454 w 1573870"/>
                <a:gd name="connsiteY18" fmla="*/ 1151672 h 3641849"/>
                <a:gd name="connsiteX19" fmla="*/ 285417 w 1573870"/>
                <a:gd name="connsiteY19" fmla="*/ 1089617 h 3641849"/>
                <a:gd name="connsiteX20" fmla="*/ 218912 w 1573870"/>
                <a:gd name="connsiteY20" fmla="*/ 1050829 h 3641849"/>
                <a:gd name="connsiteX21" fmla="*/ 260477 w 1573870"/>
                <a:gd name="connsiteY21" fmla="*/ 1019802 h 3641849"/>
                <a:gd name="connsiteX22" fmla="*/ 213371 w 1573870"/>
                <a:gd name="connsiteY22" fmla="*/ 993947 h 3641849"/>
                <a:gd name="connsiteX23" fmla="*/ 213370 w 1573870"/>
                <a:gd name="connsiteY23" fmla="*/ 794845 h 3641849"/>
                <a:gd name="connsiteX24" fmla="*/ 252165 w 1573870"/>
                <a:gd name="connsiteY24" fmla="*/ 779332 h 3641849"/>
                <a:gd name="connsiteX25" fmla="*/ 138552 w 1573870"/>
                <a:gd name="connsiteY25" fmla="*/ 551792 h 3641849"/>
                <a:gd name="connsiteX26" fmla="*/ 135781 w 1573870"/>
                <a:gd name="connsiteY26" fmla="*/ 551792 h 3641849"/>
                <a:gd name="connsiteX27" fmla="*/ 185659 w 1573870"/>
                <a:gd name="connsiteY27" fmla="*/ 469048 h 3641849"/>
                <a:gd name="connsiteX28" fmla="*/ 202285 w 1573870"/>
                <a:gd name="connsiteY28" fmla="*/ 378550 h 3641849"/>
                <a:gd name="connsiteX29" fmla="*/ 127466 w 1573870"/>
                <a:gd name="connsiteY29" fmla="*/ 319079 h 3641849"/>
                <a:gd name="connsiteX30" fmla="*/ 119154 w 1573870"/>
                <a:gd name="connsiteY30" fmla="*/ 251851 h 3641849"/>
                <a:gd name="connsiteX31" fmla="*/ 174574 w 1573870"/>
                <a:gd name="connsiteY31" fmla="*/ 158764 h 3641849"/>
                <a:gd name="connsiteX32" fmla="*/ 193972 w 1573870"/>
                <a:gd name="connsiteY32" fmla="*/ 135494 h 3641849"/>
                <a:gd name="connsiteX33" fmla="*/ 207827 w 1573870"/>
                <a:gd name="connsiteY33" fmla="*/ 117394 h 3641849"/>
                <a:gd name="connsiteX34" fmla="*/ 216140 w 1573870"/>
                <a:gd name="connsiteY34" fmla="*/ 73438 h 3641849"/>
                <a:gd name="connsiteX35" fmla="*/ 241079 w 1573870"/>
                <a:gd name="connsiteY35" fmla="*/ 101880 h 3641849"/>
                <a:gd name="connsiteX36" fmla="*/ 271561 w 1573870"/>
                <a:gd name="connsiteY36" fmla="*/ 88952 h 3641849"/>
                <a:gd name="connsiteX37" fmla="*/ 274331 w 1573870"/>
                <a:gd name="connsiteY37" fmla="*/ 63095 h 3641849"/>
                <a:gd name="connsiteX38" fmla="*/ 282645 w 1573870"/>
                <a:gd name="connsiteY38" fmla="*/ 34652 h 3641849"/>
                <a:gd name="connsiteX39" fmla="*/ 285417 w 1573870"/>
                <a:gd name="connsiteY39" fmla="*/ 3624 h 3641849"/>
                <a:gd name="connsiteX40" fmla="*/ 421197 w 1573870"/>
                <a:gd name="connsiteY40" fmla="*/ 57924 h 3641849"/>
                <a:gd name="connsiteX41" fmla="*/ 451677 w 1573870"/>
                <a:gd name="connsiteY41" fmla="*/ 161352 h 3641849"/>
                <a:gd name="connsiteX42" fmla="*/ 465533 w 1573870"/>
                <a:gd name="connsiteY42" fmla="*/ 184622 h 3641849"/>
                <a:gd name="connsiteX43" fmla="*/ 476617 w 1573870"/>
                <a:gd name="connsiteY43" fmla="*/ 187208 h 3641849"/>
                <a:gd name="connsiteX44" fmla="*/ 590229 w 1573870"/>
                <a:gd name="connsiteY44" fmla="*/ 156181 h 3641849"/>
                <a:gd name="connsiteX45" fmla="*/ 656734 w 1573870"/>
                <a:gd name="connsiteY45" fmla="*/ 166522 h 3641849"/>
                <a:gd name="connsiteX46" fmla="*/ 720468 w 1573870"/>
                <a:gd name="connsiteY46" fmla="*/ 213065 h 3641849"/>
                <a:gd name="connsiteX47" fmla="*/ 734495 w 1573870"/>
                <a:gd name="connsiteY47" fmla="*/ 242621 h 3641849"/>
                <a:gd name="connsiteX48" fmla="*/ 789742 w 1573870"/>
                <a:gd name="connsiteY48" fmla="*/ 277708 h 3641849"/>
                <a:gd name="connsiteX49" fmla="*/ 878416 w 1573870"/>
                <a:gd name="connsiteY49" fmla="*/ 303563 h 3641849"/>
                <a:gd name="connsiteX50" fmla="*/ 950462 w 1573870"/>
                <a:gd name="connsiteY50" fmla="*/ 350106 h 3641849"/>
                <a:gd name="connsiteX51" fmla="*/ 1000341 w 1573870"/>
                <a:gd name="connsiteY51" fmla="*/ 401820 h 3641849"/>
                <a:gd name="connsiteX52" fmla="*/ 1025280 w 1573870"/>
                <a:gd name="connsiteY52" fmla="*/ 440606 h 3641849"/>
                <a:gd name="connsiteX53" fmla="*/ 1058533 w 1573870"/>
                <a:gd name="connsiteY53" fmla="*/ 466462 h 3641849"/>
                <a:gd name="connsiteX54" fmla="*/ 1041905 w 1573870"/>
                <a:gd name="connsiteY54" fmla="*/ 691417 h 3641849"/>
                <a:gd name="connsiteX55" fmla="*/ 914439 w 1573870"/>
                <a:gd name="connsiteY55" fmla="*/ 771575 h 3641849"/>
                <a:gd name="connsiteX56" fmla="*/ 800827 w 1573870"/>
                <a:gd name="connsiteY56" fmla="*/ 779331 h 3641849"/>
                <a:gd name="connsiteX57" fmla="*/ 662274 w 1573870"/>
                <a:gd name="connsiteY57" fmla="*/ 758645 h 3641849"/>
                <a:gd name="connsiteX58" fmla="*/ 570830 w 1573870"/>
                <a:gd name="connsiteY58" fmla="*/ 722445 h 3641849"/>
                <a:gd name="connsiteX59" fmla="*/ 551433 w 1573870"/>
                <a:gd name="connsiteY59" fmla="*/ 750888 h 3641849"/>
                <a:gd name="connsiteX60" fmla="*/ 582075 w 1573870"/>
                <a:gd name="connsiteY60" fmla="*/ 824301 h 3641849"/>
                <a:gd name="connsiteX61" fmla="*/ 587616 w 1573870"/>
                <a:gd name="connsiteY61" fmla="*/ 951000 h 3641849"/>
                <a:gd name="connsiteX62" fmla="*/ 559746 w 1573870"/>
                <a:gd name="connsiteY62" fmla="*/ 1012043 h 3641849"/>
                <a:gd name="connsiteX63" fmla="*/ 615165 w 1573870"/>
                <a:gd name="connsiteY63" fmla="*/ 1032728 h 3641849"/>
                <a:gd name="connsiteX64" fmla="*/ 631793 w 1573870"/>
                <a:gd name="connsiteY64" fmla="*/ 1048242 h 3641849"/>
                <a:gd name="connsiteX65" fmla="*/ 656733 w 1573870"/>
                <a:gd name="connsiteY65" fmla="*/ 1074099 h 3641849"/>
                <a:gd name="connsiteX66" fmla="*/ 653962 w 1573870"/>
                <a:gd name="connsiteY66" fmla="*/ 1076685 h 3641849"/>
                <a:gd name="connsiteX67" fmla="*/ 692755 w 1573870"/>
                <a:gd name="connsiteY67" fmla="*/ 1071514 h 3641849"/>
                <a:gd name="connsiteX68" fmla="*/ 701069 w 1573870"/>
                <a:gd name="connsiteY68" fmla="*/ 1035314 h 3641849"/>
                <a:gd name="connsiteX69" fmla="*/ 662274 w 1573870"/>
                <a:gd name="connsiteY69" fmla="*/ 957743 h 3641849"/>
                <a:gd name="connsiteX70" fmla="*/ 731550 w 1573870"/>
                <a:gd name="connsiteY70" fmla="*/ 911200 h 3641849"/>
                <a:gd name="connsiteX71" fmla="*/ 799322 w 1573870"/>
                <a:gd name="connsiteY71" fmla="*/ 918934 h 3641849"/>
                <a:gd name="connsiteX72" fmla="*/ 823155 w 1573870"/>
                <a:gd name="connsiteY72" fmla="*/ 951001 h 3641849"/>
                <a:gd name="connsiteX73" fmla="*/ 978884 w 1573870"/>
                <a:gd name="connsiteY73" fmla="*/ 1007364 h 3641849"/>
                <a:gd name="connsiteX74" fmla="*/ 964476 w 1573870"/>
                <a:gd name="connsiteY74" fmla="*/ 971687 h 3641849"/>
                <a:gd name="connsiteX75" fmla="*/ 931224 w 1573870"/>
                <a:gd name="connsiteY75" fmla="*/ 932901 h 3641849"/>
                <a:gd name="connsiteX76" fmla="*/ 920140 w 1573870"/>
                <a:gd name="connsiteY76" fmla="*/ 881187 h 3641849"/>
                <a:gd name="connsiteX77" fmla="*/ 958935 w 1573870"/>
                <a:gd name="connsiteY77" fmla="*/ 832060 h 3641849"/>
                <a:gd name="connsiteX78" fmla="*/ 986645 w 1573870"/>
                <a:gd name="connsiteY78" fmla="*/ 803617 h 3641849"/>
                <a:gd name="connsiteX79" fmla="*/ 1011585 w 1573870"/>
                <a:gd name="connsiteY79" fmla="*/ 767417 h 3641849"/>
                <a:gd name="connsiteX80" fmla="*/ 1091945 w 1573870"/>
                <a:gd name="connsiteY80" fmla="*/ 762245 h 3641849"/>
                <a:gd name="connsiteX81" fmla="*/ 1097486 w 1573870"/>
                <a:gd name="connsiteY81" fmla="*/ 741560 h 3641849"/>
                <a:gd name="connsiteX82" fmla="*/ 1122426 w 1573870"/>
                <a:gd name="connsiteY82" fmla="*/ 705360 h 3641849"/>
                <a:gd name="connsiteX83" fmla="*/ 1156230 w 1573870"/>
                <a:gd name="connsiteY83" fmla="*/ 687772 h 3641849"/>
                <a:gd name="connsiteX84" fmla="*/ 1213870 w 1573870"/>
                <a:gd name="connsiteY84" fmla="*/ 700189 h 3641849"/>
                <a:gd name="connsiteX85" fmla="*/ 1252663 w 1573870"/>
                <a:gd name="connsiteY85" fmla="*/ 720875 h 3641849"/>
                <a:gd name="connsiteX86" fmla="*/ 1299771 w 1573870"/>
                <a:gd name="connsiteY86" fmla="*/ 728632 h 3641849"/>
                <a:gd name="connsiteX87" fmla="*/ 1299771 w 1573870"/>
                <a:gd name="connsiteY87" fmla="*/ 733803 h 3641849"/>
                <a:gd name="connsiteX88" fmla="*/ 1321940 w 1573870"/>
                <a:gd name="connsiteY88" fmla="*/ 674332 h 3641849"/>
                <a:gd name="connsiteX89" fmla="*/ 1331915 w 1573870"/>
                <a:gd name="connsiteY89" fmla="*/ 640714 h 3641849"/>
                <a:gd name="connsiteX90" fmla="*/ 1338566 w 1573870"/>
                <a:gd name="connsiteY90" fmla="*/ 622618 h 3641849"/>
                <a:gd name="connsiteX91" fmla="*/ 1341503 w 1573870"/>
                <a:gd name="connsiteY91" fmla="*/ 591288 h 3641849"/>
                <a:gd name="connsiteX92" fmla="*/ 1260977 w 1573870"/>
                <a:gd name="connsiteY92" fmla="*/ 545048 h 3641849"/>
                <a:gd name="connsiteX93" fmla="*/ 1247122 w 1573870"/>
                <a:gd name="connsiteY93" fmla="*/ 472648 h 3641849"/>
                <a:gd name="connsiteX94" fmla="*/ 1247122 w 1573870"/>
                <a:gd name="connsiteY94" fmla="*/ 454548 h 3641849"/>
                <a:gd name="connsiteX95" fmla="*/ 1258205 w 1573870"/>
                <a:gd name="connsiteY95" fmla="*/ 431276 h 3641849"/>
                <a:gd name="connsiteX96" fmla="*/ 1260977 w 1573870"/>
                <a:gd name="connsiteY96" fmla="*/ 415762 h 3641849"/>
                <a:gd name="connsiteX97" fmla="*/ 1260976 w 1573870"/>
                <a:gd name="connsiteY97" fmla="*/ 358878 h 3641849"/>
                <a:gd name="connsiteX98" fmla="*/ 1238808 w 1573870"/>
                <a:gd name="connsiteY98" fmla="*/ 335607 h 3641849"/>
                <a:gd name="connsiteX99" fmla="*/ 1211098 w 1573870"/>
                <a:gd name="connsiteY99" fmla="*/ 304578 h 3641849"/>
                <a:gd name="connsiteX100" fmla="*/ 1206930 w 1573870"/>
                <a:gd name="connsiteY100" fmla="*/ 280325 h 3641849"/>
                <a:gd name="connsiteX101" fmla="*/ 1258206 w 1573870"/>
                <a:gd name="connsiteY101" fmla="*/ 258034 h 3641849"/>
                <a:gd name="connsiteX102" fmla="*/ 1311786 w 1573870"/>
                <a:gd name="connsiteY102" fmla="*/ 267906 h 3641849"/>
                <a:gd name="connsiteX103" fmla="*/ 1390570 w 1573870"/>
                <a:gd name="connsiteY103" fmla="*/ 279816 h 3641849"/>
                <a:gd name="connsiteX104" fmla="*/ 1474893 w 1573870"/>
                <a:gd name="connsiteY104" fmla="*/ 349175 h 3641849"/>
                <a:gd name="connsiteX105" fmla="*/ 1537028 w 1573870"/>
                <a:gd name="connsiteY105" fmla="*/ 425271 h 3641849"/>
                <a:gd name="connsiteX106" fmla="*/ 1436057 w 1573870"/>
                <a:gd name="connsiteY106" fmla="*/ 454265 h 3641849"/>
                <a:gd name="connsiteX107" fmla="*/ 1420523 w 1573870"/>
                <a:gd name="connsiteY107" fmla="*/ 501372 h 3641849"/>
                <a:gd name="connsiteX108" fmla="*/ 1478193 w 1573870"/>
                <a:gd name="connsiteY108" fmla="*/ 585862 h 3641849"/>
                <a:gd name="connsiteX109" fmla="*/ 1513727 w 1573870"/>
                <a:gd name="connsiteY109" fmla="*/ 591964 h 3641849"/>
                <a:gd name="connsiteX110" fmla="*/ 1566347 w 1573870"/>
                <a:gd name="connsiteY110" fmla="*/ 598304 h 3641849"/>
                <a:gd name="connsiteX111" fmla="*/ 1561384 w 1573870"/>
                <a:gd name="connsiteY111" fmla="*/ 709079 h 3641849"/>
                <a:gd name="connsiteX112" fmla="*/ 1572453 w 1573870"/>
                <a:gd name="connsiteY112" fmla="*/ 1040047 h 3641849"/>
                <a:gd name="connsiteX113" fmla="*/ 1563585 w 1573870"/>
                <a:gd name="connsiteY113" fmla="*/ 1842646 h 3641849"/>
                <a:gd name="connsiteX114" fmla="*/ 1572452 w 1573870"/>
                <a:gd name="connsiteY114" fmla="*/ 2297728 h 3641849"/>
                <a:gd name="connsiteX115" fmla="*/ 1546004 w 1573870"/>
                <a:gd name="connsiteY115" fmla="*/ 3607693 h 3641849"/>
                <a:gd name="connsiteX116" fmla="*/ 1287577 w 1573870"/>
                <a:gd name="connsiteY116" fmla="*/ 3564098 h 3641849"/>
                <a:gd name="connsiteX117" fmla="*/ 1119099 w 1573870"/>
                <a:gd name="connsiteY117" fmla="*/ 3497903 h 3641849"/>
                <a:gd name="connsiteX118" fmla="*/ 941753 w 1573870"/>
                <a:gd name="connsiteY118" fmla="*/ 3406887 h 3641849"/>
                <a:gd name="connsiteX119" fmla="*/ 843455 w 1573870"/>
                <a:gd name="connsiteY119" fmla="*/ 3326370 h 3641849"/>
                <a:gd name="connsiteX120" fmla="*/ 1137717 w 1573870"/>
                <a:gd name="connsiteY120" fmla="*/ 3018734 h 3641849"/>
                <a:gd name="connsiteX121" fmla="*/ 853963 w 1573870"/>
                <a:gd name="connsiteY121" fmla="*/ 2480910 h 3641849"/>
                <a:gd name="connsiteX122" fmla="*/ 996313 w 1573870"/>
                <a:gd name="connsiteY122" fmla="*/ 2241825 h 3641849"/>
                <a:gd name="connsiteX123" fmla="*/ 809626 w 1573870"/>
                <a:gd name="connsiteY123" fmla="*/ 1703134 h 3641849"/>
                <a:gd name="connsiteX124" fmla="*/ 561342 w 1573870"/>
                <a:gd name="connsiteY124" fmla="*/ 1471456 h 3641849"/>
                <a:gd name="connsiteX125" fmla="*/ 92486 w 1573870"/>
                <a:gd name="connsiteY125" fmla="*/ 2159767 h 3641849"/>
                <a:gd name="connsiteX0" fmla="*/ 92486 w 1573870"/>
                <a:gd name="connsiteY0" fmla="*/ 2159767 h 3641849"/>
                <a:gd name="connsiteX1" fmla="*/ 63733 w 1573870"/>
                <a:gd name="connsiteY1" fmla="*/ 1725696 h 3641849"/>
                <a:gd name="connsiteX2" fmla="*/ 30481 w 1573870"/>
                <a:gd name="connsiteY2" fmla="*/ 1679153 h 3641849"/>
                <a:gd name="connsiteX3" fmla="*/ 0 w 1573870"/>
                <a:gd name="connsiteY3" fmla="*/ 1637781 h 3641849"/>
                <a:gd name="connsiteX4" fmla="*/ 22167 w 1573870"/>
                <a:gd name="connsiteY4" fmla="*/ 1650710 h 3641849"/>
                <a:gd name="connsiteX5" fmla="*/ 66504 w 1573870"/>
                <a:gd name="connsiteY5" fmla="*/ 1650711 h 3641849"/>
                <a:gd name="connsiteX6" fmla="*/ 94215 w 1573870"/>
                <a:gd name="connsiteY6" fmla="*/ 1627440 h 3641849"/>
                <a:gd name="connsiteX7" fmla="*/ 188430 w 1573870"/>
                <a:gd name="connsiteY7" fmla="*/ 1536941 h 3641849"/>
                <a:gd name="connsiteX8" fmla="*/ 213369 w 1573870"/>
                <a:gd name="connsiteY8" fmla="*/ 1505912 h 3641849"/>
                <a:gd name="connsiteX9" fmla="*/ 199515 w 1573870"/>
                <a:gd name="connsiteY9" fmla="*/ 1555040 h 3641849"/>
                <a:gd name="connsiteX10" fmla="*/ 218911 w 1573870"/>
                <a:gd name="connsiteY10" fmla="*/ 1588655 h 3641849"/>
                <a:gd name="connsiteX11" fmla="*/ 263248 w 1573870"/>
                <a:gd name="connsiteY11" fmla="*/ 1666225 h 3641849"/>
                <a:gd name="connsiteX12" fmla="*/ 332524 w 1573870"/>
                <a:gd name="connsiteY12" fmla="*/ 1653297 h 3641849"/>
                <a:gd name="connsiteX13" fmla="*/ 351920 w 1573870"/>
                <a:gd name="connsiteY13" fmla="*/ 1622268 h 3641849"/>
                <a:gd name="connsiteX14" fmla="*/ 365776 w 1573870"/>
                <a:gd name="connsiteY14" fmla="*/ 1557627 h 3641849"/>
                <a:gd name="connsiteX15" fmla="*/ 304813 w 1573870"/>
                <a:gd name="connsiteY15" fmla="*/ 1511084 h 3641849"/>
                <a:gd name="connsiteX16" fmla="*/ 260477 w 1573870"/>
                <a:gd name="connsiteY16" fmla="*/ 1485227 h 3641849"/>
                <a:gd name="connsiteX17" fmla="*/ 199515 w 1573870"/>
                <a:gd name="connsiteY17" fmla="*/ 1495570 h 3641849"/>
                <a:gd name="connsiteX18" fmla="*/ 376861 w 1573870"/>
                <a:gd name="connsiteY18" fmla="*/ 1299057 h 3641849"/>
                <a:gd name="connsiteX19" fmla="*/ 224454 w 1573870"/>
                <a:gd name="connsiteY19" fmla="*/ 1151672 h 3641849"/>
                <a:gd name="connsiteX20" fmla="*/ 285417 w 1573870"/>
                <a:gd name="connsiteY20" fmla="*/ 1089617 h 3641849"/>
                <a:gd name="connsiteX21" fmla="*/ 218912 w 1573870"/>
                <a:gd name="connsiteY21" fmla="*/ 1050829 h 3641849"/>
                <a:gd name="connsiteX22" fmla="*/ 260477 w 1573870"/>
                <a:gd name="connsiteY22" fmla="*/ 1019802 h 3641849"/>
                <a:gd name="connsiteX23" fmla="*/ 213371 w 1573870"/>
                <a:gd name="connsiteY23" fmla="*/ 993947 h 3641849"/>
                <a:gd name="connsiteX24" fmla="*/ 213370 w 1573870"/>
                <a:gd name="connsiteY24" fmla="*/ 794845 h 3641849"/>
                <a:gd name="connsiteX25" fmla="*/ 252165 w 1573870"/>
                <a:gd name="connsiteY25" fmla="*/ 779332 h 3641849"/>
                <a:gd name="connsiteX26" fmla="*/ 138552 w 1573870"/>
                <a:gd name="connsiteY26" fmla="*/ 551792 h 3641849"/>
                <a:gd name="connsiteX27" fmla="*/ 135781 w 1573870"/>
                <a:gd name="connsiteY27" fmla="*/ 551792 h 3641849"/>
                <a:gd name="connsiteX28" fmla="*/ 185659 w 1573870"/>
                <a:gd name="connsiteY28" fmla="*/ 469048 h 3641849"/>
                <a:gd name="connsiteX29" fmla="*/ 202285 w 1573870"/>
                <a:gd name="connsiteY29" fmla="*/ 378550 h 3641849"/>
                <a:gd name="connsiteX30" fmla="*/ 127466 w 1573870"/>
                <a:gd name="connsiteY30" fmla="*/ 319079 h 3641849"/>
                <a:gd name="connsiteX31" fmla="*/ 119154 w 1573870"/>
                <a:gd name="connsiteY31" fmla="*/ 251851 h 3641849"/>
                <a:gd name="connsiteX32" fmla="*/ 174574 w 1573870"/>
                <a:gd name="connsiteY32" fmla="*/ 158764 h 3641849"/>
                <a:gd name="connsiteX33" fmla="*/ 193972 w 1573870"/>
                <a:gd name="connsiteY33" fmla="*/ 135494 h 3641849"/>
                <a:gd name="connsiteX34" fmla="*/ 207827 w 1573870"/>
                <a:gd name="connsiteY34" fmla="*/ 117394 h 3641849"/>
                <a:gd name="connsiteX35" fmla="*/ 216140 w 1573870"/>
                <a:gd name="connsiteY35" fmla="*/ 73438 h 3641849"/>
                <a:gd name="connsiteX36" fmla="*/ 241079 w 1573870"/>
                <a:gd name="connsiteY36" fmla="*/ 101880 h 3641849"/>
                <a:gd name="connsiteX37" fmla="*/ 271561 w 1573870"/>
                <a:gd name="connsiteY37" fmla="*/ 88952 h 3641849"/>
                <a:gd name="connsiteX38" fmla="*/ 274331 w 1573870"/>
                <a:gd name="connsiteY38" fmla="*/ 63095 h 3641849"/>
                <a:gd name="connsiteX39" fmla="*/ 282645 w 1573870"/>
                <a:gd name="connsiteY39" fmla="*/ 34652 h 3641849"/>
                <a:gd name="connsiteX40" fmla="*/ 285417 w 1573870"/>
                <a:gd name="connsiteY40" fmla="*/ 3624 h 3641849"/>
                <a:gd name="connsiteX41" fmla="*/ 421197 w 1573870"/>
                <a:gd name="connsiteY41" fmla="*/ 57924 h 3641849"/>
                <a:gd name="connsiteX42" fmla="*/ 451677 w 1573870"/>
                <a:gd name="connsiteY42" fmla="*/ 161352 h 3641849"/>
                <a:gd name="connsiteX43" fmla="*/ 465533 w 1573870"/>
                <a:gd name="connsiteY43" fmla="*/ 184622 h 3641849"/>
                <a:gd name="connsiteX44" fmla="*/ 476617 w 1573870"/>
                <a:gd name="connsiteY44" fmla="*/ 187208 h 3641849"/>
                <a:gd name="connsiteX45" fmla="*/ 590229 w 1573870"/>
                <a:gd name="connsiteY45" fmla="*/ 156181 h 3641849"/>
                <a:gd name="connsiteX46" fmla="*/ 656734 w 1573870"/>
                <a:gd name="connsiteY46" fmla="*/ 166522 h 3641849"/>
                <a:gd name="connsiteX47" fmla="*/ 720468 w 1573870"/>
                <a:gd name="connsiteY47" fmla="*/ 213065 h 3641849"/>
                <a:gd name="connsiteX48" fmla="*/ 734495 w 1573870"/>
                <a:gd name="connsiteY48" fmla="*/ 242621 h 3641849"/>
                <a:gd name="connsiteX49" fmla="*/ 789742 w 1573870"/>
                <a:gd name="connsiteY49" fmla="*/ 277708 h 3641849"/>
                <a:gd name="connsiteX50" fmla="*/ 878416 w 1573870"/>
                <a:gd name="connsiteY50" fmla="*/ 303563 h 3641849"/>
                <a:gd name="connsiteX51" fmla="*/ 950462 w 1573870"/>
                <a:gd name="connsiteY51" fmla="*/ 350106 h 3641849"/>
                <a:gd name="connsiteX52" fmla="*/ 1000341 w 1573870"/>
                <a:gd name="connsiteY52" fmla="*/ 401820 h 3641849"/>
                <a:gd name="connsiteX53" fmla="*/ 1025280 w 1573870"/>
                <a:gd name="connsiteY53" fmla="*/ 440606 h 3641849"/>
                <a:gd name="connsiteX54" fmla="*/ 1058533 w 1573870"/>
                <a:gd name="connsiteY54" fmla="*/ 466462 h 3641849"/>
                <a:gd name="connsiteX55" fmla="*/ 1041905 w 1573870"/>
                <a:gd name="connsiteY55" fmla="*/ 691417 h 3641849"/>
                <a:gd name="connsiteX56" fmla="*/ 914439 w 1573870"/>
                <a:gd name="connsiteY56" fmla="*/ 771575 h 3641849"/>
                <a:gd name="connsiteX57" fmla="*/ 800827 w 1573870"/>
                <a:gd name="connsiteY57" fmla="*/ 779331 h 3641849"/>
                <a:gd name="connsiteX58" fmla="*/ 662274 w 1573870"/>
                <a:gd name="connsiteY58" fmla="*/ 758645 h 3641849"/>
                <a:gd name="connsiteX59" fmla="*/ 570830 w 1573870"/>
                <a:gd name="connsiteY59" fmla="*/ 722445 h 3641849"/>
                <a:gd name="connsiteX60" fmla="*/ 551433 w 1573870"/>
                <a:gd name="connsiteY60" fmla="*/ 750888 h 3641849"/>
                <a:gd name="connsiteX61" fmla="*/ 582075 w 1573870"/>
                <a:gd name="connsiteY61" fmla="*/ 824301 h 3641849"/>
                <a:gd name="connsiteX62" fmla="*/ 587616 w 1573870"/>
                <a:gd name="connsiteY62" fmla="*/ 951000 h 3641849"/>
                <a:gd name="connsiteX63" fmla="*/ 559746 w 1573870"/>
                <a:gd name="connsiteY63" fmla="*/ 1012043 h 3641849"/>
                <a:gd name="connsiteX64" fmla="*/ 615165 w 1573870"/>
                <a:gd name="connsiteY64" fmla="*/ 1032728 h 3641849"/>
                <a:gd name="connsiteX65" fmla="*/ 631793 w 1573870"/>
                <a:gd name="connsiteY65" fmla="*/ 1048242 h 3641849"/>
                <a:gd name="connsiteX66" fmla="*/ 656733 w 1573870"/>
                <a:gd name="connsiteY66" fmla="*/ 1074099 h 3641849"/>
                <a:gd name="connsiteX67" fmla="*/ 653962 w 1573870"/>
                <a:gd name="connsiteY67" fmla="*/ 1076685 h 3641849"/>
                <a:gd name="connsiteX68" fmla="*/ 692755 w 1573870"/>
                <a:gd name="connsiteY68" fmla="*/ 1071514 h 3641849"/>
                <a:gd name="connsiteX69" fmla="*/ 701069 w 1573870"/>
                <a:gd name="connsiteY69" fmla="*/ 1035314 h 3641849"/>
                <a:gd name="connsiteX70" fmla="*/ 662274 w 1573870"/>
                <a:gd name="connsiteY70" fmla="*/ 957743 h 3641849"/>
                <a:gd name="connsiteX71" fmla="*/ 731550 w 1573870"/>
                <a:gd name="connsiteY71" fmla="*/ 911200 h 3641849"/>
                <a:gd name="connsiteX72" fmla="*/ 799322 w 1573870"/>
                <a:gd name="connsiteY72" fmla="*/ 918934 h 3641849"/>
                <a:gd name="connsiteX73" fmla="*/ 823155 w 1573870"/>
                <a:gd name="connsiteY73" fmla="*/ 951001 h 3641849"/>
                <a:gd name="connsiteX74" fmla="*/ 978884 w 1573870"/>
                <a:gd name="connsiteY74" fmla="*/ 1007364 h 3641849"/>
                <a:gd name="connsiteX75" fmla="*/ 964476 w 1573870"/>
                <a:gd name="connsiteY75" fmla="*/ 971687 h 3641849"/>
                <a:gd name="connsiteX76" fmla="*/ 931224 w 1573870"/>
                <a:gd name="connsiteY76" fmla="*/ 932901 h 3641849"/>
                <a:gd name="connsiteX77" fmla="*/ 920140 w 1573870"/>
                <a:gd name="connsiteY77" fmla="*/ 881187 h 3641849"/>
                <a:gd name="connsiteX78" fmla="*/ 958935 w 1573870"/>
                <a:gd name="connsiteY78" fmla="*/ 832060 h 3641849"/>
                <a:gd name="connsiteX79" fmla="*/ 986645 w 1573870"/>
                <a:gd name="connsiteY79" fmla="*/ 803617 h 3641849"/>
                <a:gd name="connsiteX80" fmla="*/ 1011585 w 1573870"/>
                <a:gd name="connsiteY80" fmla="*/ 767417 h 3641849"/>
                <a:gd name="connsiteX81" fmla="*/ 1091945 w 1573870"/>
                <a:gd name="connsiteY81" fmla="*/ 762245 h 3641849"/>
                <a:gd name="connsiteX82" fmla="*/ 1097486 w 1573870"/>
                <a:gd name="connsiteY82" fmla="*/ 741560 h 3641849"/>
                <a:gd name="connsiteX83" fmla="*/ 1122426 w 1573870"/>
                <a:gd name="connsiteY83" fmla="*/ 705360 h 3641849"/>
                <a:gd name="connsiteX84" fmla="*/ 1156230 w 1573870"/>
                <a:gd name="connsiteY84" fmla="*/ 687772 h 3641849"/>
                <a:gd name="connsiteX85" fmla="*/ 1213870 w 1573870"/>
                <a:gd name="connsiteY85" fmla="*/ 700189 h 3641849"/>
                <a:gd name="connsiteX86" fmla="*/ 1252663 w 1573870"/>
                <a:gd name="connsiteY86" fmla="*/ 720875 h 3641849"/>
                <a:gd name="connsiteX87" fmla="*/ 1299771 w 1573870"/>
                <a:gd name="connsiteY87" fmla="*/ 728632 h 3641849"/>
                <a:gd name="connsiteX88" fmla="*/ 1299771 w 1573870"/>
                <a:gd name="connsiteY88" fmla="*/ 733803 h 3641849"/>
                <a:gd name="connsiteX89" fmla="*/ 1321940 w 1573870"/>
                <a:gd name="connsiteY89" fmla="*/ 674332 h 3641849"/>
                <a:gd name="connsiteX90" fmla="*/ 1331915 w 1573870"/>
                <a:gd name="connsiteY90" fmla="*/ 640714 h 3641849"/>
                <a:gd name="connsiteX91" fmla="*/ 1338566 w 1573870"/>
                <a:gd name="connsiteY91" fmla="*/ 622618 h 3641849"/>
                <a:gd name="connsiteX92" fmla="*/ 1341503 w 1573870"/>
                <a:gd name="connsiteY92" fmla="*/ 591288 h 3641849"/>
                <a:gd name="connsiteX93" fmla="*/ 1260977 w 1573870"/>
                <a:gd name="connsiteY93" fmla="*/ 545048 h 3641849"/>
                <a:gd name="connsiteX94" fmla="*/ 1247122 w 1573870"/>
                <a:gd name="connsiteY94" fmla="*/ 472648 h 3641849"/>
                <a:gd name="connsiteX95" fmla="*/ 1247122 w 1573870"/>
                <a:gd name="connsiteY95" fmla="*/ 454548 h 3641849"/>
                <a:gd name="connsiteX96" fmla="*/ 1258205 w 1573870"/>
                <a:gd name="connsiteY96" fmla="*/ 431276 h 3641849"/>
                <a:gd name="connsiteX97" fmla="*/ 1260977 w 1573870"/>
                <a:gd name="connsiteY97" fmla="*/ 415762 h 3641849"/>
                <a:gd name="connsiteX98" fmla="*/ 1260976 w 1573870"/>
                <a:gd name="connsiteY98" fmla="*/ 358878 h 3641849"/>
                <a:gd name="connsiteX99" fmla="*/ 1238808 w 1573870"/>
                <a:gd name="connsiteY99" fmla="*/ 335607 h 3641849"/>
                <a:gd name="connsiteX100" fmla="*/ 1211098 w 1573870"/>
                <a:gd name="connsiteY100" fmla="*/ 304578 h 3641849"/>
                <a:gd name="connsiteX101" fmla="*/ 1206930 w 1573870"/>
                <a:gd name="connsiteY101" fmla="*/ 280325 h 3641849"/>
                <a:gd name="connsiteX102" fmla="*/ 1258206 w 1573870"/>
                <a:gd name="connsiteY102" fmla="*/ 258034 h 3641849"/>
                <a:gd name="connsiteX103" fmla="*/ 1311786 w 1573870"/>
                <a:gd name="connsiteY103" fmla="*/ 267906 h 3641849"/>
                <a:gd name="connsiteX104" fmla="*/ 1390570 w 1573870"/>
                <a:gd name="connsiteY104" fmla="*/ 279816 h 3641849"/>
                <a:gd name="connsiteX105" fmla="*/ 1474893 w 1573870"/>
                <a:gd name="connsiteY105" fmla="*/ 349175 h 3641849"/>
                <a:gd name="connsiteX106" fmla="*/ 1537028 w 1573870"/>
                <a:gd name="connsiteY106" fmla="*/ 425271 h 3641849"/>
                <a:gd name="connsiteX107" fmla="*/ 1436057 w 1573870"/>
                <a:gd name="connsiteY107" fmla="*/ 454265 h 3641849"/>
                <a:gd name="connsiteX108" fmla="*/ 1420523 w 1573870"/>
                <a:gd name="connsiteY108" fmla="*/ 501372 h 3641849"/>
                <a:gd name="connsiteX109" fmla="*/ 1478193 w 1573870"/>
                <a:gd name="connsiteY109" fmla="*/ 585862 h 3641849"/>
                <a:gd name="connsiteX110" fmla="*/ 1513727 w 1573870"/>
                <a:gd name="connsiteY110" fmla="*/ 591964 h 3641849"/>
                <a:gd name="connsiteX111" fmla="*/ 1566347 w 1573870"/>
                <a:gd name="connsiteY111" fmla="*/ 598304 h 3641849"/>
                <a:gd name="connsiteX112" fmla="*/ 1561384 w 1573870"/>
                <a:gd name="connsiteY112" fmla="*/ 709079 h 3641849"/>
                <a:gd name="connsiteX113" fmla="*/ 1572453 w 1573870"/>
                <a:gd name="connsiteY113" fmla="*/ 1040047 h 3641849"/>
                <a:gd name="connsiteX114" fmla="*/ 1563585 w 1573870"/>
                <a:gd name="connsiteY114" fmla="*/ 1842646 h 3641849"/>
                <a:gd name="connsiteX115" fmla="*/ 1572452 w 1573870"/>
                <a:gd name="connsiteY115" fmla="*/ 2297728 h 3641849"/>
                <a:gd name="connsiteX116" fmla="*/ 1546004 w 1573870"/>
                <a:gd name="connsiteY116" fmla="*/ 3607693 h 3641849"/>
                <a:gd name="connsiteX117" fmla="*/ 1287577 w 1573870"/>
                <a:gd name="connsiteY117" fmla="*/ 3564098 h 3641849"/>
                <a:gd name="connsiteX118" fmla="*/ 1119099 w 1573870"/>
                <a:gd name="connsiteY118" fmla="*/ 3497903 h 3641849"/>
                <a:gd name="connsiteX119" fmla="*/ 941753 w 1573870"/>
                <a:gd name="connsiteY119" fmla="*/ 3406887 h 3641849"/>
                <a:gd name="connsiteX120" fmla="*/ 843455 w 1573870"/>
                <a:gd name="connsiteY120" fmla="*/ 3326370 h 3641849"/>
                <a:gd name="connsiteX121" fmla="*/ 1137717 w 1573870"/>
                <a:gd name="connsiteY121" fmla="*/ 3018734 h 3641849"/>
                <a:gd name="connsiteX122" fmla="*/ 853963 w 1573870"/>
                <a:gd name="connsiteY122" fmla="*/ 2480910 h 3641849"/>
                <a:gd name="connsiteX123" fmla="*/ 996313 w 1573870"/>
                <a:gd name="connsiteY123" fmla="*/ 2241825 h 3641849"/>
                <a:gd name="connsiteX124" fmla="*/ 809626 w 1573870"/>
                <a:gd name="connsiteY124" fmla="*/ 1703134 h 3641849"/>
                <a:gd name="connsiteX125" fmla="*/ 561342 w 1573870"/>
                <a:gd name="connsiteY125" fmla="*/ 1471456 h 3641849"/>
                <a:gd name="connsiteX126" fmla="*/ 92486 w 1573870"/>
                <a:gd name="connsiteY126" fmla="*/ 2159767 h 3641849"/>
                <a:gd name="connsiteX0" fmla="*/ 92486 w 1573870"/>
                <a:gd name="connsiteY0" fmla="*/ 2159767 h 3641849"/>
                <a:gd name="connsiteX1" fmla="*/ 63733 w 1573870"/>
                <a:gd name="connsiteY1" fmla="*/ 1725696 h 3641849"/>
                <a:gd name="connsiteX2" fmla="*/ 38793 w 1573870"/>
                <a:gd name="connsiteY2" fmla="*/ 1689496 h 3641849"/>
                <a:gd name="connsiteX3" fmla="*/ 30481 w 1573870"/>
                <a:gd name="connsiteY3" fmla="*/ 1679153 h 3641849"/>
                <a:gd name="connsiteX4" fmla="*/ 0 w 1573870"/>
                <a:gd name="connsiteY4" fmla="*/ 1637781 h 3641849"/>
                <a:gd name="connsiteX5" fmla="*/ 22167 w 1573870"/>
                <a:gd name="connsiteY5" fmla="*/ 1650710 h 3641849"/>
                <a:gd name="connsiteX6" fmla="*/ 66504 w 1573870"/>
                <a:gd name="connsiteY6" fmla="*/ 1650711 h 3641849"/>
                <a:gd name="connsiteX7" fmla="*/ 94215 w 1573870"/>
                <a:gd name="connsiteY7" fmla="*/ 1627440 h 3641849"/>
                <a:gd name="connsiteX8" fmla="*/ 188430 w 1573870"/>
                <a:gd name="connsiteY8" fmla="*/ 1536941 h 3641849"/>
                <a:gd name="connsiteX9" fmla="*/ 213369 w 1573870"/>
                <a:gd name="connsiteY9" fmla="*/ 1505912 h 3641849"/>
                <a:gd name="connsiteX10" fmla="*/ 199515 w 1573870"/>
                <a:gd name="connsiteY10" fmla="*/ 1555040 h 3641849"/>
                <a:gd name="connsiteX11" fmla="*/ 218911 w 1573870"/>
                <a:gd name="connsiteY11" fmla="*/ 1588655 h 3641849"/>
                <a:gd name="connsiteX12" fmla="*/ 263248 w 1573870"/>
                <a:gd name="connsiteY12" fmla="*/ 1666225 h 3641849"/>
                <a:gd name="connsiteX13" fmla="*/ 332524 w 1573870"/>
                <a:gd name="connsiteY13" fmla="*/ 1653297 h 3641849"/>
                <a:gd name="connsiteX14" fmla="*/ 351920 w 1573870"/>
                <a:gd name="connsiteY14" fmla="*/ 1622268 h 3641849"/>
                <a:gd name="connsiteX15" fmla="*/ 365776 w 1573870"/>
                <a:gd name="connsiteY15" fmla="*/ 1557627 h 3641849"/>
                <a:gd name="connsiteX16" fmla="*/ 304813 w 1573870"/>
                <a:gd name="connsiteY16" fmla="*/ 1511084 h 3641849"/>
                <a:gd name="connsiteX17" fmla="*/ 260477 w 1573870"/>
                <a:gd name="connsiteY17" fmla="*/ 1485227 h 3641849"/>
                <a:gd name="connsiteX18" fmla="*/ 199515 w 1573870"/>
                <a:gd name="connsiteY18" fmla="*/ 1495570 h 3641849"/>
                <a:gd name="connsiteX19" fmla="*/ 376861 w 1573870"/>
                <a:gd name="connsiteY19" fmla="*/ 1299057 h 3641849"/>
                <a:gd name="connsiteX20" fmla="*/ 224454 w 1573870"/>
                <a:gd name="connsiteY20" fmla="*/ 1151672 h 3641849"/>
                <a:gd name="connsiteX21" fmla="*/ 285417 w 1573870"/>
                <a:gd name="connsiteY21" fmla="*/ 1089617 h 3641849"/>
                <a:gd name="connsiteX22" fmla="*/ 218912 w 1573870"/>
                <a:gd name="connsiteY22" fmla="*/ 1050829 h 3641849"/>
                <a:gd name="connsiteX23" fmla="*/ 260477 w 1573870"/>
                <a:gd name="connsiteY23" fmla="*/ 1019802 h 3641849"/>
                <a:gd name="connsiteX24" fmla="*/ 213371 w 1573870"/>
                <a:gd name="connsiteY24" fmla="*/ 993947 h 3641849"/>
                <a:gd name="connsiteX25" fmla="*/ 213370 w 1573870"/>
                <a:gd name="connsiteY25" fmla="*/ 794845 h 3641849"/>
                <a:gd name="connsiteX26" fmla="*/ 252165 w 1573870"/>
                <a:gd name="connsiteY26" fmla="*/ 779332 h 3641849"/>
                <a:gd name="connsiteX27" fmla="*/ 138552 w 1573870"/>
                <a:gd name="connsiteY27" fmla="*/ 551792 h 3641849"/>
                <a:gd name="connsiteX28" fmla="*/ 135781 w 1573870"/>
                <a:gd name="connsiteY28" fmla="*/ 551792 h 3641849"/>
                <a:gd name="connsiteX29" fmla="*/ 185659 w 1573870"/>
                <a:gd name="connsiteY29" fmla="*/ 469048 h 3641849"/>
                <a:gd name="connsiteX30" fmla="*/ 202285 w 1573870"/>
                <a:gd name="connsiteY30" fmla="*/ 378550 h 3641849"/>
                <a:gd name="connsiteX31" fmla="*/ 127466 w 1573870"/>
                <a:gd name="connsiteY31" fmla="*/ 319079 h 3641849"/>
                <a:gd name="connsiteX32" fmla="*/ 119154 w 1573870"/>
                <a:gd name="connsiteY32" fmla="*/ 251851 h 3641849"/>
                <a:gd name="connsiteX33" fmla="*/ 174574 w 1573870"/>
                <a:gd name="connsiteY33" fmla="*/ 158764 h 3641849"/>
                <a:gd name="connsiteX34" fmla="*/ 193972 w 1573870"/>
                <a:gd name="connsiteY34" fmla="*/ 135494 h 3641849"/>
                <a:gd name="connsiteX35" fmla="*/ 207827 w 1573870"/>
                <a:gd name="connsiteY35" fmla="*/ 117394 h 3641849"/>
                <a:gd name="connsiteX36" fmla="*/ 216140 w 1573870"/>
                <a:gd name="connsiteY36" fmla="*/ 73438 h 3641849"/>
                <a:gd name="connsiteX37" fmla="*/ 241079 w 1573870"/>
                <a:gd name="connsiteY37" fmla="*/ 101880 h 3641849"/>
                <a:gd name="connsiteX38" fmla="*/ 271561 w 1573870"/>
                <a:gd name="connsiteY38" fmla="*/ 88952 h 3641849"/>
                <a:gd name="connsiteX39" fmla="*/ 274331 w 1573870"/>
                <a:gd name="connsiteY39" fmla="*/ 63095 h 3641849"/>
                <a:gd name="connsiteX40" fmla="*/ 282645 w 1573870"/>
                <a:gd name="connsiteY40" fmla="*/ 34652 h 3641849"/>
                <a:gd name="connsiteX41" fmla="*/ 285417 w 1573870"/>
                <a:gd name="connsiteY41" fmla="*/ 3624 h 3641849"/>
                <a:gd name="connsiteX42" fmla="*/ 421197 w 1573870"/>
                <a:gd name="connsiteY42" fmla="*/ 57924 h 3641849"/>
                <a:gd name="connsiteX43" fmla="*/ 451677 w 1573870"/>
                <a:gd name="connsiteY43" fmla="*/ 161352 h 3641849"/>
                <a:gd name="connsiteX44" fmla="*/ 465533 w 1573870"/>
                <a:gd name="connsiteY44" fmla="*/ 184622 h 3641849"/>
                <a:gd name="connsiteX45" fmla="*/ 476617 w 1573870"/>
                <a:gd name="connsiteY45" fmla="*/ 187208 h 3641849"/>
                <a:gd name="connsiteX46" fmla="*/ 590229 w 1573870"/>
                <a:gd name="connsiteY46" fmla="*/ 156181 h 3641849"/>
                <a:gd name="connsiteX47" fmla="*/ 656734 w 1573870"/>
                <a:gd name="connsiteY47" fmla="*/ 166522 h 3641849"/>
                <a:gd name="connsiteX48" fmla="*/ 720468 w 1573870"/>
                <a:gd name="connsiteY48" fmla="*/ 213065 h 3641849"/>
                <a:gd name="connsiteX49" fmla="*/ 734495 w 1573870"/>
                <a:gd name="connsiteY49" fmla="*/ 242621 h 3641849"/>
                <a:gd name="connsiteX50" fmla="*/ 789742 w 1573870"/>
                <a:gd name="connsiteY50" fmla="*/ 277708 h 3641849"/>
                <a:gd name="connsiteX51" fmla="*/ 878416 w 1573870"/>
                <a:gd name="connsiteY51" fmla="*/ 303563 h 3641849"/>
                <a:gd name="connsiteX52" fmla="*/ 950462 w 1573870"/>
                <a:gd name="connsiteY52" fmla="*/ 350106 h 3641849"/>
                <a:gd name="connsiteX53" fmla="*/ 1000341 w 1573870"/>
                <a:gd name="connsiteY53" fmla="*/ 401820 h 3641849"/>
                <a:gd name="connsiteX54" fmla="*/ 1025280 w 1573870"/>
                <a:gd name="connsiteY54" fmla="*/ 440606 h 3641849"/>
                <a:gd name="connsiteX55" fmla="*/ 1058533 w 1573870"/>
                <a:gd name="connsiteY55" fmla="*/ 466462 h 3641849"/>
                <a:gd name="connsiteX56" fmla="*/ 1041905 w 1573870"/>
                <a:gd name="connsiteY56" fmla="*/ 691417 h 3641849"/>
                <a:gd name="connsiteX57" fmla="*/ 914439 w 1573870"/>
                <a:gd name="connsiteY57" fmla="*/ 771575 h 3641849"/>
                <a:gd name="connsiteX58" fmla="*/ 800827 w 1573870"/>
                <a:gd name="connsiteY58" fmla="*/ 779331 h 3641849"/>
                <a:gd name="connsiteX59" fmla="*/ 662274 w 1573870"/>
                <a:gd name="connsiteY59" fmla="*/ 758645 h 3641849"/>
                <a:gd name="connsiteX60" fmla="*/ 570830 w 1573870"/>
                <a:gd name="connsiteY60" fmla="*/ 722445 h 3641849"/>
                <a:gd name="connsiteX61" fmla="*/ 551433 w 1573870"/>
                <a:gd name="connsiteY61" fmla="*/ 750888 h 3641849"/>
                <a:gd name="connsiteX62" fmla="*/ 582075 w 1573870"/>
                <a:gd name="connsiteY62" fmla="*/ 824301 h 3641849"/>
                <a:gd name="connsiteX63" fmla="*/ 587616 w 1573870"/>
                <a:gd name="connsiteY63" fmla="*/ 951000 h 3641849"/>
                <a:gd name="connsiteX64" fmla="*/ 559746 w 1573870"/>
                <a:gd name="connsiteY64" fmla="*/ 1012043 h 3641849"/>
                <a:gd name="connsiteX65" fmla="*/ 615165 w 1573870"/>
                <a:gd name="connsiteY65" fmla="*/ 1032728 h 3641849"/>
                <a:gd name="connsiteX66" fmla="*/ 631793 w 1573870"/>
                <a:gd name="connsiteY66" fmla="*/ 1048242 h 3641849"/>
                <a:gd name="connsiteX67" fmla="*/ 656733 w 1573870"/>
                <a:gd name="connsiteY67" fmla="*/ 1074099 h 3641849"/>
                <a:gd name="connsiteX68" fmla="*/ 653962 w 1573870"/>
                <a:gd name="connsiteY68" fmla="*/ 1076685 h 3641849"/>
                <a:gd name="connsiteX69" fmla="*/ 692755 w 1573870"/>
                <a:gd name="connsiteY69" fmla="*/ 1071514 h 3641849"/>
                <a:gd name="connsiteX70" fmla="*/ 701069 w 1573870"/>
                <a:gd name="connsiteY70" fmla="*/ 1035314 h 3641849"/>
                <a:gd name="connsiteX71" fmla="*/ 662274 w 1573870"/>
                <a:gd name="connsiteY71" fmla="*/ 957743 h 3641849"/>
                <a:gd name="connsiteX72" fmla="*/ 731550 w 1573870"/>
                <a:gd name="connsiteY72" fmla="*/ 911200 h 3641849"/>
                <a:gd name="connsiteX73" fmla="*/ 799322 w 1573870"/>
                <a:gd name="connsiteY73" fmla="*/ 918934 h 3641849"/>
                <a:gd name="connsiteX74" fmla="*/ 823155 w 1573870"/>
                <a:gd name="connsiteY74" fmla="*/ 951001 h 3641849"/>
                <a:gd name="connsiteX75" fmla="*/ 978884 w 1573870"/>
                <a:gd name="connsiteY75" fmla="*/ 1007364 h 3641849"/>
                <a:gd name="connsiteX76" fmla="*/ 964476 w 1573870"/>
                <a:gd name="connsiteY76" fmla="*/ 971687 h 3641849"/>
                <a:gd name="connsiteX77" fmla="*/ 931224 w 1573870"/>
                <a:gd name="connsiteY77" fmla="*/ 932901 h 3641849"/>
                <a:gd name="connsiteX78" fmla="*/ 920140 w 1573870"/>
                <a:gd name="connsiteY78" fmla="*/ 881187 h 3641849"/>
                <a:gd name="connsiteX79" fmla="*/ 958935 w 1573870"/>
                <a:gd name="connsiteY79" fmla="*/ 832060 h 3641849"/>
                <a:gd name="connsiteX80" fmla="*/ 986645 w 1573870"/>
                <a:gd name="connsiteY80" fmla="*/ 803617 h 3641849"/>
                <a:gd name="connsiteX81" fmla="*/ 1011585 w 1573870"/>
                <a:gd name="connsiteY81" fmla="*/ 767417 h 3641849"/>
                <a:gd name="connsiteX82" fmla="*/ 1091945 w 1573870"/>
                <a:gd name="connsiteY82" fmla="*/ 762245 h 3641849"/>
                <a:gd name="connsiteX83" fmla="*/ 1097486 w 1573870"/>
                <a:gd name="connsiteY83" fmla="*/ 741560 h 3641849"/>
                <a:gd name="connsiteX84" fmla="*/ 1122426 w 1573870"/>
                <a:gd name="connsiteY84" fmla="*/ 705360 h 3641849"/>
                <a:gd name="connsiteX85" fmla="*/ 1156230 w 1573870"/>
                <a:gd name="connsiteY85" fmla="*/ 687772 h 3641849"/>
                <a:gd name="connsiteX86" fmla="*/ 1213870 w 1573870"/>
                <a:gd name="connsiteY86" fmla="*/ 700189 h 3641849"/>
                <a:gd name="connsiteX87" fmla="*/ 1252663 w 1573870"/>
                <a:gd name="connsiteY87" fmla="*/ 720875 h 3641849"/>
                <a:gd name="connsiteX88" fmla="*/ 1299771 w 1573870"/>
                <a:gd name="connsiteY88" fmla="*/ 728632 h 3641849"/>
                <a:gd name="connsiteX89" fmla="*/ 1299771 w 1573870"/>
                <a:gd name="connsiteY89" fmla="*/ 733803 h 3641849"/>
                <a:gd name="connsiteX90" fmla="*/ 1321940 w 1573870"/>
                <a:gd name="connsiteY90" fmla="*/ 674332 h 3641849"/>
                <a:gd name="connsiteX91" fmla="*/ 1331915 w 1573870"/>
                <a:gd name="connsiteY91" fmla="*/ 640714 h 3641849"/>
                <a:gd name="connsiteX92" fmla="*/ 1338566 w 1573870"/>
                <a:gd name="connsiteY92" fmla="*/ 622618 h 3641849"/>
                <a:gd name="connsiteX93" fmla="*/ 1341503 w 1573870"/>
                <a:gd name="connsiteY93" fmla="*/ 591288 h 3641849"/>
                <a:gd name="connsiteX94" fmla="*/ 1260977 w 1573870"/>
                <a:gd name="connsiteY94" fmla="*/ 545048 h 3641849"/>
                <a:gd name="connsiteX95" fmla="*/ 1247122 w 1573870"/>
                <a:gd name="connsiteY95" fmla="*/ 472648 h 3641849"/>
                <a:gd name="connsiteX96" fmla="*/ 1247122 w 1573870"/>
                <a:gd name="connsiteY96" fmla="*/ 454548 h 3641849"/>
                <a:gd name="connsiteX97" fmla="*/ 1258205 w 1573870"/>
                <a:gd name="connsiteY97" fmla="*/ 431276 h 3641849"/>
                <a:gd name="connsiteX98" fmla="*/ 1260977 w 1573870"/>
                <a:gd name="connsiteY98" fmla="*/ 415762 h 3641849"/>
                <a:gd name="connsiteX99" fmla="*/ 1260976 w 1573870"/>
                <a:gd name="connsiteY99" fmla="*/ 358878 h 3641849"/>
                <a:gd name="connsiteX100" fmla="*/ 1238808 w 1573870"/>
                <a:gd name="connsiteY100" fmla="*/ 335607 h 3641849"/>
                <a:gd name="connsiteX101" fmla="*/ 1211098 w 1573870"/>
                <a:gd name="connsiteY101" fmla="*/ 304578 h 3641849"/>
                <a:gd name="connsiteX102" fmla="*/ 1206930 w 1573870"/>
                <a:gd name="connsiteY102" fmla="*/ 280325 h 3641849"/>
                <a:gd name="connsiteX103" fmla="*/ 1258206 w 1573870"/>
                <a:gd name="connsiteY103" fmla="*/ 258034 h 3641849"/>
                <a:gd name="connsiteX104" fmla="*/ 1311786 w 1573870"/>
                <a:gd name="connsiteY104" fmla="*/ 267906 h 3641849"/>
                <a:gd name="connsiteX105" fmla="*/ 1390570 w 1573870"/>
                <a:gd name="connsiteY105" fmla="*/ 279816 h 3641849"/>
                <a:gd name="connsiteX106" fmla="*/ 1474893 w 1573870"/>
                <a:gd name="connsiteY106" fmla="*/ 349175 h 3641849"/>
                <a:gd name="connsiteX107" fmla="*/ 1537028 w 1573870"/>
                <a:gd name="connsiteY107" fmla="*/ 425271 h 3641849"/>
                <a:gd name="connsiteX108" fmla="*/ 1436057 w 1573870"/>
                <a:gd name="connsiteY108" fmla="*/ 454265 h 3641849"/>
                <a:gd name="connsiteX109" fmla="*/ 1420523 w 1573870"/>
                <a:gd name="connsiteY109" fmla="*/ 501372 h 3641849"/>
                <a:gd name="connsiteX110" fmla="*/ 1478193 w 1573870"/>
                <a:gd name="connsiteY110" fmla="*/ 585862 h 3641849"/>
                <a:gd name="connsiteX111" fmla="*/ 1513727 w 1573870"/>
                <a:gd name="connsiteY111" fmla="*/ 591964 h 3641849"/>
                <a:gd name="connsiteX112" fmla="*/ 1566347 w 1573870"/>
                <a:gd name="connsiteY112" fmla="*/ 598304 h 3641849"/>
                <a:gd name="connsiteX113" fmla="*/ 1561384 w 1573870"/>
                <a:gd name="connsiteY113" fmla="*/ 709079 h 3641849"/>
                <a:gd name="connsiteX114" fmla="*/ 1572453 w 1573870"/>
                <a:gd name="connsiteY114" fmla="*/ 1040047 h 3641849"/>
                <a:gd name="connsiteX115" fmla="*/ 1563585 w 1573870"/>
                <a:gd name="connsiteY115" fmla="*/ 1842646 h 3641849"/>
                <a:gd name="connsiteX116" fmla="*/ 1572452 w 1573870"/>
                <a:gd name="connsiteY116" fmla="*/ 2297728 h 3641849"/>
                <a:gd name="connsiteX117" fmla="*/ 1546004 w 1573870"/>
                <a:gd name="connsiteY117" fmla="*/ 3607693 h 3641849"/>
                <a:gd name="connsiteX118" fmla="*/ 1287577 w 1573870"/>
                <a:gd name="connsiteY118" fmla="*/ 3564098 h 3641849"/>
                <a:gd name="connsiteX119" fmla="*/ 1119099 w 1573870"/>
                <a:gd name="connsiteY119" fmla="*/ 3497903 h 3641849"/>
                <a:gd name="connsiteX120" fmla="*/ 941753 w 1573870"/>
                <a:gd name="connsiteY120" fmla="*/ 3406887 h 3641849"/>
                <a:gd name="connsiteX121" fmla="*/ 843455 w 1573870"/>
                <a:gd name="connsiteY121" fmla="*/ 3326370 h 3641849"/>
                <a:gd name="connsiteX122" fmla="*/ 1137717 w 1573870"/>
                <a:gd name="connsiteY122" fmla="*/ 3018734 h 3641849"/>
                <a:gd name="connsiteX123" fmla="*/ 853963 w 1573870"/>
                <a:gd name="connsiteY123" fmla="*/ 2480910 h 3641849"/>
                <a:gd name="connsiteX124" fmla="*/ 996313 w 1573870"/>
                <a:gd name="connsiteY124" fmla="*/ 2241825 h 3641849"/>
                <a:gd name="connsiteX125" fmla="*/ 809626 w 1573870"/>
                <a:gd name="connsiteY125" fmla="*/ 1703134 h 3641849"/>
                <a:gd name="connsiteX126" fmla="*/ 561342 w 1573870"/>
                <a:gd name="connsiteY126" fmla="*/ 1471456 h 3641849"/>
                <a:gd name="connsiteX127" fmla="*/ 92486 w 1573870"/>
                <a:gd name="connsiteY127" fmla="*/ 2159767 h 3641849"/>
                <a:gd name="connsiteX0" fmla="*/ 92486 w 1573870"/>
                <a:gd name="connsiteY0" fmla="*/ 2159767 h 3641849"/>
                <a:gd name="connsiteX1" fmla="*/ 63733 w 1573870"/>
                <a:gd name="connsiteY1" fmla="*/ 1725696 h 3641849"/>
                <a:gd name="connsiteX2" fmla="*/ 38793 w 1573870"/>
                <a:gd name="connsiteY2" fmla="*/ 1689496 h 3641849"/>
                <a:gd name="connsiteX3" fmla="*/ 30481 w 1573870"/>
                <a:gd name="connsiteY3" fmla="*/ 1679153 h 3641849"/>
                <a:gd name="connsiteX4" fmla="*/ 0 w 1573870"/>
                <a:gd name="connsiteY4" fmla="*/ 1637781 h 3641849"/>
                <a:gd name="connsiteX5" fmla="*/ 22167 w 1573870"/>
                <a:gd name="connsiteY5" fmla="*/ 1663638 h 3641849"/>
                <a:gd name="connsiteX6" fmla="*/ 66504 w 1573870"/>
                <a:gd name="connsiteY6" fmla="*/ 1650711 h 3641849"/>
                <a:gd name="connsiteX7" fmla="*/ 94215 w 1573870"/>
                <a:gd name="connsiteY7" fmla="*/ 1627440 h 3641849"/>
                <a:gd name="connsiteX8" fmla="*/ 188430 w 1573870"/>
                <a:gd name="connsiteY8" fmla="*/ 1536941 h 3641849"/>
                <a:gd name="connsiteX9" fmla="*/ 213369 w 1573870"/>
                <a:gd name="connsiteY9" fmla="*/ 1505912 h 3641849"/>
                <a:gd name="connsiteX10" fmla="*/ 199515 w 1573870"/>
                <a:gd name="connsiteY10" fmla="*/ 1555040 h 3641849"/>
                <a:gd name="connsiteX11" fmla="*/ 218911 w 1573870"/>
                <a:gd name="connsiteY11" fmla="*/ 1588655 h 3641849"/>
                <a:gd name="connsiteX12" fmla="*/ 263248 w 1573870"/>
                <a:gd name="connsiteY12" fmla="*/ 1666225 h 3641849"/>
                <a:gd name="connsiteX13" fmla="*/ 332524 w 1573870"/>
                <a:gd name="connsiteY13" fmla="*/ 1653297 h 3641849"/>
                <a:gd name="connsiteX14" fmla="*/ 351920 w 1573870"/>
                <a:gd name="connsiteY14" fmla="*/ 1622268 h 3641849"/>
                <a:gd name="connsiteX15" fmla="*/ 365776 w 1573870"/>
                <a:gd name="connsiteY15" fmla="*/ 1557627 h 3641849"/>
                <a:gd name="connsiteX16" fmla="*/ 304813 w 1573870"/>
                <a:gd name="connsiteY16" fmla="*/ 1511084 h 3641849"/>
                <a:gd name="connsiteX17" fmla="*/ 260477 w 1573870"/>
                <a:gd name="connsiteY17" fmla="*/ 1485227 h 3641849"/>
                <a:gd name="connsiteX18" fmla="*/ 199515 w 1573870"/>
                <a:gd name="connsiteY18" fmla="*/ 1495570 h 3641849"/>
                <a:gd name="connsiteX19" fmla="*/ 376861 w 1573870"/>
                <a:gd name="connsiteY19" fmla="*/ 1299057 h 3641849"/>
                <a:gd name="connsiteX20" fmla="*/ 224454 w 1573870"/>
                <a:gd name="connsiteY20" fmla="*/ 1151672 h 3641849"/>
                <a:gd name="connsiteX21" fmla="*/ 285417 w 1573870"/>
                <a:gd name="connsiteY21" fmla="*/ 1089617 h 3641849"/>
                <a:gd name="connsiteX22" fmla="*/ 218912 w 1573870"/>
                <a:gd name="connsiteY22" fmla="*/ 1050829 h 3641849"/>
                <a:gd name="connsiteX23" fmla="*/ 260477 w 1573870"/>
                <a:gd name="connsiteY23" fmla="*/ 1019802 h 3641849"/>
                <a:gd name="connsiteX24" fmla="*/ 213371 w 1573870"/>
                <a:gd name="connsiteY24" fmla="*/ 993947 h 3641849"/>
                <a:gd name="connsiteX25" fmla="*/ 213370 w 1573870"/>
                <a:gd name="connsiteY25" fmla="*/ 794845 h 3641849"/>
                <a:gd name="connsiteX26" fmla="*/ 252165 w 1573870"/>
                <a:gd name="connsiteY26" fmla="*/ 779332 h 3641849"/>
                <a:gd name="connsiteX27" fmla="*/ 138552 w 1573870"/>
                <a:gd name="connsiteY27" fmla="*/ 551792 h 3641849"/>
                <a:gd name="connsiteX28" fmla="*/ 135781 w 1573870"/>
                <a:gd name="connsiteY28" fmla="*/ 551792 h 3641849"/>
                <a:gd name="connsiteX29" fmla="*/ 185659 w 1573870"/>
                <a:gd name="connsiteY29" fmla="*/ 469048 h 3641849"/>
                <a:gd name="connsiteX30" fmla="*/ 202285 w 1573870"/>
                <a:gd name="connsiteY30" fmla="*/ 378550 h 3641849"/>
                <a:gd name="connsiteX31" fmla="*/ 127466 w 1573870"/>
                <a:gd name="connsiteY31" fmla="*/ 319079 h 3641849"/>
                <a:gd name="connsiteX32" fmla="*/ 119154 w 1573870"/>
                <a:gd name="connsiteY32" fmla="*/ 251851 h 3641849"/>
                <a:gd name="connsiteX33" fmla="*/ 174574 w 1573870"/>
                <a:gd name="connsiteY33" fmla="*/ 158764 h 3641849"/>
                <a:gd name="connsiteX34" fmla="*/ 193972 w 1573870"/>
                <a:gd name="connsiteY34" fmla="*/ 135494 h 3641849"/>
                <a:gd name="connsiteX35" fmla="*/ 207827 w 1573870"/>
                <a:gd name="connsiteY35" fmla="*/ 117394 h 3641849"/>
                <a:gd name="connsiteX36" fmla="*/ 216140 w 1573870"/>
                <a:gd name="connsiteY36" fmla="*/ 73438 h 3641849"/>
                <a:gd name="connsiteX37" fmla="*/ 241079 w 1573870"/>
                <a:gd name="connsiteY37" fmla="*/ 101880 h 3641849"/>
                <a:gd name="connsiteX38" fmla="*/ 271561 w 1573870"/>
                <a:gd name="connsiteY38" fmla="*/ 88952 h 3641849"/>
                <a:gd name="connsiteX39" fmla="*/ 274331 w 1573870"/>
                <a:gd name="connsiteY39" fmla="*/ 63095 h 3641849"/>
                <a:gd name="connsiteX40" fmla="*/ 282645 w 1573870"/>
                <a:gd name="connsiteY40" fmla="*/ 34652 h 3641849"/>
                <a:gd name="connsiteX41" fmla="*/ 285417 w 1573870"/>
                <a:gd name="connsiteY41" fmla="*/ 3624 h 3641849"/>
                <a:gd name="connsiteX42" fmla="*/ 421197 w 1573870"/>
                <a:gd name="connsiteY42" fmla="*/ 57924 h 3641849"/>
                <a:gd name="connsiteX43" fmla="*/ 451677 w 1573870"/>
                <a:gd name="connsiteY43" fmla="*/ 161352 h 3641849"/>
                <a:gd name="connsiteX44" fmla="*/ 465533 w 1573870"/>
                <a:gd name="connsiteY44" fmla="*/ 184622 h 3641849"/>
                <a:gd name="connsiteX45" fmla="*/ 476617 w 1573870"/>
                <a:gd name="connsiteY45" fmla="*/ 187208 h 3641849"/>
                <a:gd name="connsiteX46" fmla="*/ 590229 w 1573870"/>
                <a:gd name="connsiteY46" fmla="*/ 156181 h 3641849"/>
                <a:gd name="connsiteX47" fmla="*/ 656734 w 1573870"/>
                <a:gd name="connsiteY47" fmla="*/ 166522 h 3641849"/>
                <a:gd name="connsiteX48" fmla="*/ 720468 w 1573870"/>
                <a:gd name="connsiteY48" fmla="*/ 213065 h 3641849"/>
                <a:gd name="connsiteX49" fmla="*/ 734495 w 1573870"/>
                <a:gd name="connsiteY49" fmla="*/ 242621 h 3641849"/>
                <a:gd name="connsiteX50" fmla="*/ 789742 w 1573870"/>
                <a:gd name="connsiteY50" fmla="*/ 277708 h 3641849"/>
                <a:gd name="connsiteX51" fmla="*/ 878416 w 1573870"/>
                <a:gd name="connsiteY51" fmla="*/ 303563 h 3641849"/>
                <a:gd name="connsiteX52" fmla="*/ 950462 w 1573870"/>
                <a:gd name="connsiteY52" fmla="*/ 350106 h 3641849"/>
                <a:gd name="connsiteX53" fmla="*/ 1000341 w 1573870"/>
                <a:gd name="connsiteY53" fmla="*/ 401820 h 3641849"/>
                <a:gd name="connsiteX54" fmla="*/ 1025280 w 1573870"/>
                <a:gd name="connsiteY54" fmla="*/ 440606 h 3641849"/>
                <a:gd name="connsiteX55" fmla="*/ 1058533 w 1573870"/>
                <a:gd name="connsiteY55" fmla="*/ 466462 h 3641849"/>
                <a:gd name="connsiteX56" fmla="*/ 1041905 w 1573870"/>
                <a:gd name="connsiteY56" fmla="*/ 691417 h 3641849"/>
                <a:gd name="connsiteX57" fmla="*/ 914439 w 1573870"/>
                <a:gd name="connsiteY57" fmla="*/ 771575 h 3641849"/>
                <a:gd name="connsiteX58" fmla="*/ 800827 w 1573870"/>
                <a:gd name="connsiteY58" fmla="*/ 779331 h 3641849"/>
                <a:gd name="connsiteX59" fmla="*/ 662274 w 1573870"/>
                <a:gd name="connsiteY59" fmla="*/ 758645 h 3641849"/>
                <a:gd name="connsiteX60" fmla="*/ 570830 w 1573870"/>
                <a:gd name="connsiteY60" fmla="*/ 722445 h 3641849"/>
                <a:gd name="connsiteX61" fmla="*/ 551433 w 1573870"/>
                <a:gd name="connsiteY61" fmla="*/ 750888 h 3641849"/>
                <a:gd name="connsiteX62" fmla="*/ 582075 w 1573870"/>
                <a:gd name="connsiteY62" fmla="*/ 824301 h 3641849"/>
                <a:gd name="connsiteX63" fmla="*/ 587616 w 1573870"/>
                <a:gd name="connsiteY63" fmla="*/ 951000 h 3641849"/>
                <a:gd name="connsiteX64" fmla="*/ 559746 w 1573870"/>
                <a:gd name="connsiteY64" fmla="*/ 1012043 h 3641849"/>
                <a:gd name="connsiteX65" fmla="*/ 615165 w 1573870"/>
                <a:gd name="connsiteY65" fmla="*/ 1032728 h 3641849"/>
                <a:gd name="connsiteX66" fmla="*/ 631793 w 1573870"/>
                <a:gd name="connsiteY66" fmla="*/ 1048242 h 3641849"/>
                <a:gd name="connsiteX67" fmla="*/ 656733 w 1573870"/>
                <a:gd name="connsiteY67" fmla="*/ 1074099 h 3641849"/>
                <a:gd name="connsiteX68" fmla="*/ 653962 w 1573870"/>
                <a:gd name="connsiteY68" fmla="*/ 1076685 h 3641849"/>
                <a:gd name="connsiteX69" fmla="*/ 692755 w 1573870"/>
                <a:gd name="connsiteY69" fmla="*/ 1071514 h 3641849"/>
                <a:gd name="connsiteX70" fmla="*/ 701069 w 1573870"/>
                <a:gd name="connsiteY70" fmla="*/ 1035314 h 3641849"/>
                <a:gd name="connsiteX71" fmla="*/ 662274 w 1573870"/>
                <a:gd name="connsiteY71" fmla="*/ 957743 h 3641849"/>
                <a:gd name="connsiteX72" fmla="*/ 731550 w 1573870"/>
                <a:gd name="connsiteY72" fmla="*/ 911200 h 3641849"/>
                <a:gd name="connsiteX73" fmla="*/ 799322 w 1573870"/>
                <a:gd name="connsiteY73" fmla="*/ 918934 h 3641849"/>
                <a:gd name="connsiteX74" fmla="*/ 823155 w 1573870"/>
                <a:gd name="connsiteY74" fmla="*/ 951001 h 3641849"/>
                <a:gd name="connsiteX75" fmla="*/ 978884 w 1573870"/>
                <a:gd name="connsiteY75" fmla="*/ 1007364 h 3641849"/>
                <a:gd name="connsiteX76" fmla="*/ 964476 w 1573870"/>
                <a:gd name="connsiteY76" fmla="*/ 971687 h 3641849"/>
                <a:gd name="connsiteX77" fmla="*/ 931224 w 1573870"/>
                <a:gd name="connsiteY77" fmla="*/ 932901 h 3641849"/>
                <a:gd name="connsiteX78" fmla="*/ 920140 w 1573870"/>
                <a:gd name="connsiteY78" fmla="*/ 881187 h 3641849"/>
                <a:gd name="connsiteX79" fmla="*/ 958935 w 1573870"/>
                <a:gd name="connsiteY79" fmla="*/ 832060 h 3641849"/>
                <a:gd name="connsiteX80" fmla="*/ 986645 w 1573870"/>
                <a:gd name="connsiteY80" fmla="*/ 803617 h 3641849"/>
                <a:gd name="connsiteX81" fmla="*/ 1011585 w 1573870"/>
                <a:gd name="connsiteY81" fmla="*/ 767417 h 3641849"/>
                <a:gd name="connsiteX82" fmla="*/ 1091945 w 1573870"/>
                <a:gd name="connsiteY82" fmla="*/ 762245 h 3641849"/>
                <a:gd name="connsiteX83" fmla="*/ 1097486 w 1573870"/>
                <a:gd name="connsiteY83" fmla="*/ 741560 h 3641849"/>
                <a:gd name="connsiteX84" fmla="*/ 1122426 w 1573870"/>
                <a:gd name="connsiteY84" fmla="*/ 705360 h 3641849"/>
                <a:gd name="connsiteX85" fmla="*/ 1156230 w 1573870"/>
                <a:gd name="connsiteY85" fmla="*/ 687772 h 3641849"/>
                <a:gd name="connsiteX86" fmla="*/ 1213870 w 1573870"/>
                <a:gd name="connsiteY86" fmla="*/ 700189 h 3641849"/>
                <a:gd name="connsiteX87" fmla="*/ 1252663 w 1573870"/>
                <a:gd name="connsiteY87" fmla="*/ 720875 h 3641849"/>
                <a:gd name="connsiteX88" fmla="*/ 1299771 w 1573870"/>
                <a:gd name="connsiteY88" fmla="*/ 728632 h 3641849"/>
                <a:gd name="connsiteX89" fmla="*/ 1299771 w 1573870"/>
                <a:gd name="connsiteY89" fmla="*/ 733803 h 3641849"/>
                <a:gd name="connsiteX90" fmla="*/ 1321940 w 1573870"/>
                <a:gd name="connsiteY90" fmla="*/ 674332 h 3641849"/>
                <a:gd name="connsiteX91" fmla="*/ 1331915 w 1573870"/>
                <a:gd name="connsiteY91" fmla="*/ 640714 h 3641849"/>
                <a:gd name="connsiteX92" fmla="*/ 1338566 w 1573870"/>
                <a:gd name="connsiteY92" fmla="*/ 622618 h 3641849"/>
                <a:gd name="connsiteX93" fmla="*/ 1341503 w 1573870"/>
                <a:gd name="connsiteY93" fmla="*/ 591288 h 3641849"/>
                <a:gd name="connsiteX94" fmla="*/ 1260977 w 1573870"/>
                <a:gd name="connsiteY94" fmla="*/ 545048 h 3641849"/>
                <a:gd name="connsiteX95" fmla="*/ 1247122 w 1573870"/>
                <a:gd name="connsiteY95" fmla="*/ 472648 h 3641849"/>
                <a:gd name="connsiteX96" fmla="*/ 1247122 w 1573870"/>
                <a:gd name="connsiteY96" fmla="*/ 454548 h 3641849"/>
                <a:gd name="connsiteX97" fmla="*/ 1258205 w 1573870"/>
                <a:gd name="connsiteY97" fmla="*/ 431276 h 3641849"/>
                <a:gd name="connsiteX98" fmla="*/ 1260977 w 1573870"/>
                <a:gd name="connsiteY98" fmla="*/ 415762 h 3641849"/>
                <a:gd name="connsiteX99" fmla="*/ 1260976 w 1573870"/>
                <a:gd name="connsiteY99" fmla="*/ 358878 h 3641849"/>
                <a:gd name="connsiteX100" fmla="*/ 1238808 w 1573870"/>
                <a:gd name="connsiteY100" fmla="*/ 335607 h 3641849"/>
                <a:gd name="connsiteX101" fmla="*/ 1211098 w 1573870"/>
                <a:gd name="connsiteY101" fmla="*/ 304578 h 3641849"/>
                <a:gd name="connsiteX102" fmla="*/ 1206930 w 1573870"/>
                <a:gd name="connsiteY102" fmla="*/ 280325 h 3641849"/>
                <a:gd name="connsiteX103" fmla="*/ 1258206 w 1573870"/>
                <a:gd name="connsiteY103" fmla="*/ 258034 h 3641849"/>
                <a:gd name="connsiteX104" fmla="*/ 1311786 w 1573870"/>
                <a:gd name="connsiteY104" fmla="*/ 267906 h 3641849"/>
                <a:gd name="connsiteX105" fmla="*/ 1390570 w 1573870"/>
                <a:gd name="connsiteY105" fmla="*/ 279816 h 3641849"/>
                <a:gd name="connsiteX106" fmla="*/ 1474893 w 1573870"/>
                <a:gd name="connsiteY106" fmla="*/ 349175 h 3641849"/>
                <a:gd name="connsiteX107" fmla="*/ 1537028 w 1573870"/>
                <a:gd name="connsiteY107" fmla="*/ 425271 h 3641849"/>
                <a:gd name="connsiteX108" fmla="*/ 1436057 w 1573870"/>
                <a:gd name="connsiteY108" fmla="*/ 454265 h 3641849"/>
                <a:gd name="connsiteX109" fmla="*/ 1420523 w 1573870"/>
                <a:gd name="connsiteY109" fmla="*/ 501372 h 3641849"/>
                <a:gd name="connsiteX110" fmla="*/ 1478193 w 1573870"/>
                <a:gd name="connsiteY110" fmla="*/ 585862 h 3641849"/>
                <a:gd name="connsiteX111" fmla="*/ 1513727 w 1573870"/>
                <a:gd name="connsiteY111" fmla="*/ 591964 h 3641849"/>
                <a:gd name="connsiteX112" fmla="*/ 1566347 w 1573870"/>
                <a:gd name="connsiteY112" fmla="*/ 598304 h 3641849"/>
                <a:gd name="connsiteX113" fmla="*/ 1561384 w 1573870"/>
                <a:gd name="connsiteY113" fmla="*/ 709079 h 3641849"/>
                <a:gd name="connsiteX114" fmla="*/ 1572453 w 1573870"/>
                <a:gd name="connsiteY114" fmla="*/ 1040047 h 3641849"/>
                <a:gd name="connsiteX115" fmla="*/ 1563585 w 1573870"/>
                <a:gd name="connsiteY115" fmla="*/ 1842646 h 3641849"/>
                <a:gd name="connsiteX116" fmla="*/ 1572452 w 1573870"/>
                <a:gd name="connsiteY116" fmla="*/ 2297728 h 3641849"/>
                <a:gd name="connsiteX117" fmla="*/ 1546004 w 1573870"/>
                <a:gd name="connsiteY117" fmla="*/ 3607693 h 3641849"/>
                <a:gd name="connsiteX118" fmla="*/ 1287577 w 1573870"/>
                <a:gd name="connsiteY118" fmla="*/ 3564098 h 3641849"/>
                <a:gd name="connsiteX119" fmla="*/ 1119099 w 1573870"/>
                <a:gd name="connsiteY119" fmla="*/ 3497903 h 3641849"/>
                <a:gd name="connsiteX120" fmla="*/ 941753 w 1573870"/>
                <a:gd name="connsiteY120" fmla="*/ 3406887 h 3641849"/>
                <a:gd name="connsiteX121" fmla="*/ 843455 w 1573870"/>
                <a:gd name="connsiteY121" fmla="*/ 3326370 h 3641849"/>
                <a:gd name="connsiteX122" fmla="*/ 1137717 w 1573870"/>
                <a:gd name="connsiteY122" fmla="*/ 3018734 h 3641849"/>
                <a:gd name="connsiteX123" fmla="*/ 853963 w 1573870"/>
                <a:gd name="connsiteY123" fmla="*/ 2480910 h 3641849"/>
                <a:gd name="connsiteX124" fmla="*/ 996313 w 1573870"/>
                <a:gd name="connsiteY124" fmla="*/ 2241825 h 3641849"/>
                <a:gd name="connsiteX125" fmla="*/ 809626 w 1573870"/>
                <a:gd name="connsiteY125" fmla="*/ 1703134 h 3641849"/>
                <a:gd name="connsiteX126" fmla="*/ 561342 w 1573870"/>
                <a:gd name="connsiteY126" fmla="*/ 1471456 h 3641849"/>
                <a:gd name="connsiteX127" fmla="*/ 92486 w 1573870"/>
                <a:gd name="connsiteY127" fmla="*/ 2159767 h 3641849"/>
                <a:gd name="connsiteX0" fmla="*/ 92486 w 1573870"/>
                <a:gd name="connsiteY0" fmla="*/ 2159767 h 3641849"/>
                <a:gd name="connsiteX1" fmla="*/ 63733 w 1573870"/>
                <a:gd name="connsiteY1" fmla="*/ 1725696 h 3641849"/>
                <a:gd name="connsiteX2" fmla="*/ 38793 w 1573870"/>
                <a:gd name="connsiteY2" fmla="*/ 1689496 h 3641849"/>
                <a:gd name="connsiteX3" fmla="*/ 30481 w 1573870"/>
                <a:gd name="connsiteY3" fmla="*/ 1679153 h 3641849"/>
                <a:gd name="connsiteX4" fmla="*/ 0 w 1573870"/>
                <a:gd name="connsiteY4" fmla="*/ 1637781 h 3641849"/>
                <a:gd name="connsiteX5" fmla="*/ 24938 w 1573870"/>
                <a:gd name="connsiteY5" fmla="*/ 1645538 h 3641849"/>
                <a:gd name="connsiteX6" fmla="*/ 66504 w 1573870"/>
                <a:gd name="connsiteY6" fmla="*/ 1650711 h 3641849"/>
                <a:gd name="connsiteX7" fmla="*/ 94215 w 1573870"/>
                <a:gd name="connsiteY7" fmla="*/ 1627440 h 3641849"/>
                <a:gd name="connsiteX8" fmla="*/ 188430 w 1573870"/>
                <a:gd name="connsiteY8" fmla="*/ 1536941 h 3641849"/>
                <a:gd name="connsiteX9" fmla="*/ 213369 w 1573870"/>
                <a:gd name="connsiteY9" fmla="*/ 1505912 h 3641849"/>
                <a:gd name="connsiteX10" fmla="*/ 199515 w 1573870"/>
                <a:gd name="connsiteY10" fmla="*/ 1555040 h 3641849"/>
                <a:gd name="connsiteX11" fmla="*/ 218911 w 1573870"/>
                <a:gd name="connsiteY11" fmla="*/ 1588655 h 3641849"/>
                <a:gd name="connsiteX12" fmla="*/ 263248 w 1573870"/>
                <a:gd name="connsiteY12" fmla="*/ 1666225 h 3641849"/>
                <a:gd name="connsiteX13" fmla="*/ 332524 w 1573870"/>
                <a:gd name="connsiteY13" fmla="*/ 1653297 h 3641849"/>
                <a:gd name="connsiteX14" fmla="*/ 351920 w 1573870"/>
                <a:gd name="connsiteY14" fmla="*/ 1622268 h 3641849"/>
                <a:gd name="connsiteX15" fmla="*/ 365776 w 1573870"/>
                <a:gd name="connsiteY15" fmla="*/ 1557627 h 3641849"/>
                <a:gd name="connsiteX16" fmla="*/ 304813 w 1573870"/>
                <a:gd name="connsiteY16" fmla="*/ 1511084 h 3641849"/>
                <a:gd name="connsiteX17" fmla="*/ 260477 w 1573870"/>
                <a:gd name="connsiteY17" fmla="*/ 1485227 h 3641849"/>
                <a:gd name="connsiteX18" fmla="*/ 199515 w 1573870"/>
                <a:gd name="connsiteY18" fmla="*/ 1495570 h 3641849"/>
                <a:gd name="connsiteX19" fmla="*/ 376861 w 1573870"/>
                <a:gd name="connsiteY19" fmla="*/ 1299057 h 3641849"/>
                <a:gd name="connsiteX20" fmla="*/ 224454 w 1573870"/>
                <a:gd name="connsiteY20" fmla="*/ 1151672 h 3641849"/>
                <a:gd name="connsiteX21" fmla="*/ 285417 w 1573870"/>
                <a:gd name="connsiteY21" fmla="*/ 1089617 h 3641849"/>
                <a:gd name="connsiteX22" fmla="*/ 218912 w 1573870"/>
                <a:gd name="connsiteY22" fmla="*/ 1050829 h 3641849"/>
                <a:gd name="connsiteX23" fmla="*/ 260477 w 1573870"/>
                <a:gd name="connsiteY23" fmla="*/ 1019802 h 3641849"/>
                <a:gd name="connsiteX24" fmla="*/ 213371 w 1573870"/>
                <a:gd name="connsiteY24" fmla="*/ 993947 h 3641849"/>
                <a:gd name="connsiteX25" fmla="*/ 213370 w 1573870"/>
                <a:gd name="connsiteY25" fmla="*/ 794845 h 3641849"/>
                <a:gd name="connsiteX26" fmla="*/ 252165 w 1573870"/>
                <a:gd name="connsiteY26" fmla="*/ 779332 h 3641849"/>
                <a:gd name="connsiteX27" fmla="*/ 138552 w 1573870"/>
                <a:gd name="connsiteY27" fmla="*/ 551792 h 3641849"/>
                <a:gd name="connsiteX28" fmla="*/ 135781 w 1573870"/>
                <a:gd name="connsiteY28" fmla="*/ 551792 h 3641849"/>
                <a:gd name="connsiteX29" fmla="*/ 185659 w 1573870"/>
                <a:gd name="connsiteY29" fmla="*/ 469048 h 3641849"/>
                <a:gd name="connsiteX30" fmla="*/ 202285 w 1573870"/>
                <a:gd name="connsiteY30" fmla="*/ 378550 h 3641849"/>
                <a:gd name="connsiteX31" fmla="*/ 127466 w 1573870"/>
                <a:gd name="connsiteY31" fmla="*/ 319079 h 3641849"/>
                <a:gd name="connsiteX32" fmla="*/ 119154 w 1573870"/>
                <a:gd name="connsiteY32" fmla="*/ 251851 h 3641849"/>
                <a:gd name="connsiteX33" fmla="*/ 174574 w 1573870"/>
                <a:gd name="connsiteY33" fmla="*/ 158764 h 3641849"/>
                <a:gd name="connsiteX34" fmla="*/ 193972 w 1573870"/>
                <a:gd name="connsiteY34" fmla="*/ 135494 h 3641849"/>
                <a:gd name="connsiteX35" fmla="*/ 207827 w 1573870"/>
                <a:gd name="connsiteY35" fmla="*/ 117394 h 3641849"/>
                <a:gd name="connsiteX36" fmla="*/ 216140 w 1573870"/>
                <a:gd name="connsiteY36" fmla="*/ 73438 h 3641849"/>
                <a:gd name="connsiteX37" fmla="*/ 241079 w 1573870"/>
                <a:gd name="connsiteY37" fmla="*/ 101880 h 3641849"/>
                <a:gd name="connsiteX38" fmla="*/ 271561 w 1573870"/>
                <a:gd name="connsiteY38" fmla="*/ 88952 h 3641849"/>
                <a:gd name="connsiteX39" fmla="*/ 274331 w 1573870"/>
                <a:gd name="connsiteY39" fmla="*/ 63095 h 3641849"/>
                <a:gd name="connsiteX40" fmla="*/ 282645 w 1573870"/>
                <a:gd name="connsiteY40" fmla="*/ 34652 h 3641849"/>
                <a:gd name="connsiteX41" fmla="*/ 285417 w 1573870"/>
                <a:gd name="connsiteY41" fmla="*/ 3624 h 3641849"/>
                <a:gd name="connsiteX42" fmla="*/ 421197 w 1573870"/>
                <a:gd name="connsiteY42" fmla="*/ 57924 h 3641849"/>
                <a:gd name="connsiteX43" fmla="*/ 451677 w 1573870"/>
                <a:gd name="connsiteY43" fmla="*/ 161352 h 3641849"/>
                <a:gd name="connsiteX44" fmla="*/ 465533 w 1573870"/>
                <a:gd name="connsiteY44" fmla="*/ 184622 h 3641849"/>
                <a:gd name="connsiteX45" fmla="*/ 476617 w 1573870"/>
                <a:gd name="connsiteY45" fmla="*/ 187208 h 3641849"/>
                <a:gd name="connsiteX46" fmla="*/ 590229 w 1573870"/>
                <a:gd name="connsiteY46" fmla="*/ 156181 h 3641849"/>
                <a:gd name="connsiteX47" fmla="*/ 656734 w 1573870"/>
                <a:gd name="connsiteY47" fmla="*/ 166522 h 3641849"/>
                <a:gd name="connsiteX48" fmla="*/ 720468 w 1573870"/>
                <a:gd name="connsiteY48" fmla="*/ 213065 h 3641849"/>
                <a:gd name="connsiteX49" fmla="*/ 734495 w 1573870"/>
                <a:gd name="connsiteY49" fmla="*/ 242621 h 3641849"/>
                <a:gd name="connsiteX50" fmla="*/ 789742 w 1573870"/>
                <a:gd name="connsiteY50" fmla="*/ 277708 h 3641849"/>
                <a:gd name="connsiteX51" fmla="*/ 878416 w 1573870"/>
                <a:gd name="connsiteY51" fmla="*/ 303563 h 3641849"/>
                <a:gd name="connsiteX52" fmla="*/ 950462 w 1573870"/>
                <a:gd name="connsiteY52" fmla="*/ 350106 h 3641849"/>
                <a:gd name="connsiteX53" fmla="*/ 1000341 w 1573870"/>
                <a:gd name="connsiteY53" fmla="*/ 401820 h 3641849"/>
                <a:gd name="connsiteX54" fmla="*/ 1025280 w 1573870"/>
                <a:gd name="connsiteY54" fmla="*/ 440606 h 3641849"/>
                <a:gd name="connsiteX55" fmla="*/ 1058533 w 1573870"/>
                <a:gd name="connsiteY55" fmla="*/ 466462 h 3641849"/>
                <a:gd name="connsiteX56" fmla="*/ 1041905 w 1573870"/>
                <a:gd name="connsiteY56" fmla="*/ 691417 h 3641849"/>
                <a:gd name="connsiteX57" fmla="*/ 914439 w 1573870"/>
                <a:gd name="connsiteY57" fmla="*/ 771575 h 3641849"/>
                <a:gd name="connsiteX58" fmla="*/ 800827 w 1573870"/>
                <a:gd name="connsiteY58" fmla="*/ 779331 h 3641849"/>
                <a:gd name="connsiteX59" fmla="*/ 662274 w 1573870"/>
                <a:gd name="connsiteY59" fmla="*/ 758645 h 3641849"/>
                <a:gd name="connsiteX60" fmla="*/ 570830 w 1573870"/>
                <a:gd name="connsiteY60" fmla="*/ 722445 h 3641849"/>
                <a:gd name="connsiteX61" fmla="*/ 551433 w 1573870"/>
                <a:gd name="connsiteY61" fmla="*/ 750888 h 3641849"/>
                <a:gd name="connsiteX62" fmla="*/ 582075 w 1573870"/>
                <a:gd name="connsiteY62" fmla="*/ 824301 h 3641849"/>
                <a:gd name="connsiteX63" fmla="*/ 587616 w 1573870"/>
                <a:gd name="connsiteY63" fmla="*/ 951000 h 3641849"/>
                <a:gd name="connsiteX64" fmla="*/ 559746 w 1573870"/>
                <a:gd name="connsiteY64" fmla="*/ 1012043 h 3641849"/>
                <a:gd name="connsiteX65" fmla="*/ 615165 w 1573870"/>
                <a:gd name="connsiteY65" fmla="*/ 1032728 h 3641849"/>
                <a:gd name="connsiteX66" fmla="*/ 631793 w 1573870"/>
                <a:gd name="connsiteY66" fmla="*/ 1048242 h 3641849"/>
                <a:gd name="connsiteX67" fmla="*/ 656733 w 1573870"/>
                <a:gd name="connsiteY67" fmla="*/ 1074099 h 3641849"/>
                <a:gd name="connsiteX68" fmla="*/ 653962 w 1573870"/>
                <a:gd name="connsiteY68" fmla="*/ 1076685 h 3641849"/>
                <a:gd name="connsiteX69" fmla="*/ 692755 w 1573870"/>
                <a:gd name="connsiteY69" fmla="*/ 1071514 h 3641849"/>
                <a:gd name="connsiteX70" fmla="*/ 701069 w 1573870"/>
                <a:gd name="connsiteY70" fmla="*/ 1035314 h 3641849"/>
                <a:gd name="connsiteX71" fmla="*/ 662274 w 1573870"/>
                <a:gd name="connsiteY71" fmla="*/ 957743 h 3641849"/>
                <a:gd name="connsiteX72" fmla="*/ 731550 w 1573870"/>
                <a:gd name="connsiteY72" fmla="*/ 911200 h 3641849"/>
                <a:gd name="connsiteX73" fmla="*/ 799322 w 1573870"/>
                <a:gd name="connsiteY73" fmla="*/ 918934 h 3641849"/>
                <a:gd name="connsiteX74" fmla="*/ 823155 w 1573870"/>
                <a:gd name="connsiteY74" fmla="*/ 951001 h 3641849"/>
                <a:gd name="connsiteX75" fmla="*/ 978884 w 1573870"/>
                <a:gd name="connsiteY75" fmla="*/ 1007364 h 3641849"/>
                <a:gd name="connsiteX76" fmla="*/ 964476 w 1573870"/>
                <a:gd name="connsiteY76" fmla="*/ 971687 h 3641849"/>
                <a:gd name="connsiteX77" fmla="*/ 931224 w 1573870"/>
                <a:gd name="connsiteY77" fmla="*/ 932901 h 3641849"/>
                <a:gd name="connsiteX78" fmla="*/ 920140 w 1573870"/>
                <a:gd name="connsiteY78" fmla="*/ 881187 h 3641849"/>
                <a:gd name="connsiteX79" fmla="*/ 958935 w 1573870"/>
                <a:gd name="connsiteY79" fmla="*/ 832060 h 3641849"/>
                <a:gd name="connsiteX80" fmla="*/ 986645 w 1573870"/>
                <a:gd name="connsiteY80" fmla="*/ 803617 h 3641849"/>
                <a:gd name="connsiteX81" fmla="*/ 1011585 w 1573870"/>
                <a:gd name="connsiteY81" fmla="*/ 767417 h 3641849"/>
                <a:gd name="connsiteX82" fmla="*/ 1091945 w 1573870"/>
                <a:gd name="connsiteY82" fmla="*/ 762245 h 3641849"/>
                <a:gd name="connsiteX83" fmla="*/ 1097486 w 1573870"/>
                <a:gd name="connsiteY83" fmla="*/ 741560 h 3641849"/>
                <a:gd name="connsiteX84" fmla="*/ 1122426 w 1573870"/>
                <a:gd name="connsiteY84" fmla="*/ 705360 h 3641849"/>
                <a:gd name="connsiteX85" fmla="*/ 1156230 w 1573870"/>
                <a:gd name="connsiteY85" fmla="*/ 687772 h 3641849"/>
                <a:gd name="connsiteX86" fmla="*/ 1213870 w 1573870"/>
                <a:gd name="connsiteY86" fmla="*/ 700189 h 3641849"/>
                <a:gd name="connsiteX87" fmla="*/ 1252663 w 1573870"/>
                <a:gd name="connsiteY87" fmla="*/ 720875 h 3641849"/>
                <a:gd name="connsiteX88" fmla="*/ 1299771 w 1573870"/>
                <a:gd name="connsiteY88" fmla="*/ 728632 h 3641849"/>
                <a:gd name="connsiteX89" fmla="*/ 1299771 w 1573870"/>
                <a:gd name="connsiteY89" fmla="*/ 733803 h 3641849"/>
                <a:gd name="connsiteX90" fmla="*/ 1321940 w 1573870"/>
                <a:gd name="connsiteY90" fmla="*/ 674332 h 3641849"/>
                <a:gd name="connsiteX91" fmla="*/ 1331915 w 1573870"/>
                <a:gd name="connsiteY91" fmla="*/ 640714 h 3641849"/>
                <a:gd name="connsiteX92" fmla="*/ 1338566 w 1573870"/>
                <a:gd name="connsiteY92" fmla="*/ 622618 h 3641849"/>
                <a:gd name="connsiteX93" fmla="*/ 1341503 w 1573870"/>
                <a:gd name="connsiteY93" fmla="*/ 591288 h 3641849"/>
                <a:gd name="connsiteX94" fmla="*/ 1260977 w 1573870"/>
                <a:gd name="connsiteY94" fmla="*/ 545048 h 3641849"/>
                <a:gd name="connsiteX95" fmla="*/ 1247122 w 1573870"/>
                <a:gd name="connsiteY95" fmla="*/ 472648 h 3641849"/>
                <a:gd name="connsiteX96" fmla="*/ 1247122 w 1573870"/>
                <a:gd name="connsiteY96" fmla="*/ 454548 h 3641849"/>
                <a:gd name="connsiteX97" fmla="*/ 1258205 w 1573870"/>
                <a:gd name="connsiteY97" fmla="*/ 431276 h 3641849"/>
                <a:gd name="connsiteX98" fmla="*/ 1260977 w 1573870"/>
                <a:gd name="connsiteY98" fmla="*/ 415762 h 3641849"/>
                <a:gd name="connsiteX99" fmla="*/ 1260976 w 1573870"/>
                <a:gd name="connsiteY99" fmla="*/ 358878 h 3641849"/>
                <a:gd name="connsiteX100" fmla="*/ 1238808 w 1573870"/>
                <a:gd name="connsiteY100" fmla="*/ 335607 h 3641849"/>
                <a:gd name="connsiteX101" fmla="*/ 1211098 w 1573870"/>
                <a:gd name="connsiteY101" fmla="*/ 304578 h 3641849"/>
                <a:gd name="connsiteX102" fmla="*/ 1206930 w 1573870"/>
                <a:gd name="connsiteY102" fmla="*/ 280325 h 3641849"/>
                <a:gd name="connsiteX103" fmla="*/ 1258206 w 1573870"/>
                <a:gd name="connsiteY103" fmla="*/ 258034 h 3641849"/>
                <a:gd name="connsiteX104" fmla="*/ 1311786 w 1573870"/>
                <a:gd name="connsiteY104" fmla="*/ 267906 h 3641849"/>
                <a:gd name="connsiteX105" fmla="*/ 1390570 w 1573870"/>
                <a:gd name="connsiteY105" fmla="*/ 279816 h 3641849"/>
                <a:gd name="connsiteX106" fmla="*/ 1474893 w 1573870"/>
                <a:gd name="connsiteY106" fmla="*/ 349175 h 3641849"/>
                <a:gd name="connsiteX107" fmla="*/ 1537028 w 1573870"/>
                <a:gd name="connsiteY107" fmla="*/ 425271 h 3641849"/>
                <a:gd name="connsiteX108" fmla="*/ 1436057 w 1573870"/>
                <a:gd name="connsiteY108" fmla="*/ 454265 h 3641849"/>
                <a:gd name="connsiteX109" fmla="*/ 1420523 w 1573870"/>
                <a:gd name="connsiteY109" fmla="*/ 501372 h 3641849"/>
                <a:gd name="connsiteX110" fmla="*/ 1478193 w 1573870"/>
                <a:gd name="connsiteY110" fmla="*/ 585862 h 3641849"/>
                <a:gd name="connsiteX111" fmla="*/ 1513727 w 1573870"/>
                <a:gd name="connsiteY111" fmla="*/ 591964 h 3641849"/>
                <a:gd name="connsiteX112" fmla="*/ 1566347 w 1573870"/>
                <a:gd name="connsiteY112" fmla="*/ 598304 h 3641849"/>
                <a:gd name="connsiteX113" fmla="*/ 1561384 w 1573870"/>
                <a:gd name="connsiteY113" fmla="*/ 709079 h 3641849"/>
                <a:gd name="connsiteX114" fmla="*/ 1572453 w 1573870"/>
                <a:gd name="connsiteY114" fmla="*/ 1040047 h 3641849"/>
                <a:gd name="connsiteX115" fmla="*/ 1563585 w 1573870"/>
                <a:gd name="connsiteY115" fmla="*/ 1842646 h 3641849"/>
                <a:gd name="connsiteX116" fmla="*/ 1572452 w 1573870"/>
                <a:gd name="connsiteY116" fmla="*/ 2297728 h 3641849"/>
                <a:gd name="connsiteX117" fmla="*/ 1546004 w 1573870"/>
                <a:gd name="connsiteY117" fmla="*/ 3607693 h 3641849"/>
                <a:gd name="connsiteX118" fmla="*/ 1287577 w 1573870"/>
                <a:gd name="connsiteY118" fmla="*/ 3564098 h 3641849"/>
                <a:gd name="connsiteX119" fmla="*/ 1119099 w 1573870"/>
                <a:gd name="connsiteY119" fmla="*/ 3497903 h 3641849"/>
                <a:gd name="connsiteX120" fmla="*/ 941753 w 1573870"/>
                <a:gd name="connsiteY120" fmla="*/ 3406887 h 3641849"/>
                <a:gd name="connsiteX121" fmla="*/ 843455 w 1573870"/>
                <a:gd name="connsiteY121" fmla="*/ 3326370 h 3641849"/>
                <a:gd name="connsiteX122" fmla="*/ 1137717 w 1573870"/>
                <a:gd name="connsiteY122" fmla="*/ 3018734 h 3641849"/>
                <a:gd name="connsiteX123" fmla="*/ 853963 w 1573870"/>
                <a:gd name="connsiteY123" fmla="*/ 2480910 h 3641849"/>
                <a:gd name="connsiteX124" fmla="*/ 996313 w 1573870"/>
                <a:gd name="connsiteY124" fmla="*/ 2241825 h 3641849"/>
                <a:gd name="connsiteX125" fmla="*/ 809626 w 1573870"/>
                <a:gd name="connsiteY125" fmla="*/ 1703134 h 3641849"/>
                <a:gd name="connsiteX126" fmla="*/ 561342 w 1573870"/>
                <a:gd name="connsiteY126" fmla="*/ 1471456 h 3641849"/>
                <a:gd name="connsiteX127" fmla="*/ 92486 w 1573870"/>
                <a:gd name="connsiteY127" fmla="*/ 2159767 h 3641849"/>
                <a:gd name="connsiteX0" fmla="*/ 97003 w 1578387"/>
                <a:gd name="connsiteY0" fmla="*/ 2159767 h 3641849"/>
                <a:gd name="connsiteX1" fmla="*/ 68250 w 1578387"/>
                <a:gd name="connsiteY1" fmla="*/ 1725696 h 3641849"/>
                <a:gd name="connsiteX2" fmla="*/ 43310 w 1578387"/>
                <a:gd name="connsiteY2" fmla="*/ 1689496 h 3641849"/>
                <a:gd name="connsiteX3" fmla="*/ 34998 w 1578387"/>
                <a:gd name="connsiteY3" fmla="*/ 1679153 h 3641849"/>
                <a:gd name="connsiteX4" fmla="*/ 4517 w 1578387"/>
                <a:gd name="connsiteY4" fmla="*/ 1637781 h 3641849"/>
                <a:gd name="connsiteX5" fmla="*/ 4515 w 1578387"/>
                <a:gd name="connsiteY5" fmla="*/ 1645538 h 3641849"/>
                <a:gd name="connsiteX6" fmla="*/ 71021 w 1578387"/>
                <a:gd name="connsiteY6" fmla="*/ 1650711 h 3641849"/>
                <a:gd name="connsiteX7" fmla="*/ 98732 w 1578387"/>
                <a:gd name="connsiteY7" fmla="*/ 1627440 h 3641849"/>
                <a:gd name="connsiteX8" fmla="*/ 192947 w 1578387"/>
                <a:gd name="connsiteY8" fmla="*/ 1536941 h 3641849"/>
                <a:gd name="connsiteX9" fmla="*/ 217886 w 1578387"/>
                <a:gd name="connsiteY9" fmla="*/ 1505912 h 3641849"/>
                <a:gd name="connsiteX10" fmla="*/ 204032 w 1578387"/>
                <a:gd name="connsiteY10" fmla="*/ 1555040 h 3641849"/>
                <a:gd name="connsiteX11" fmla="*/ 223428 w 1578387"/>
                <a:gd name="connsiteY11" fmla="*/ 1588655 h 3641849"/>
                <a:gd name="connsiteX12" fmla="*/ 267765 w 1578387"/>
                <a:gd name="connsiteY12" fmla="*/ 1666225 h 3641849"/>
                <a:gd name="connsiteX13" fmla="*/ 337041 w 1578387"/>
                <a:gd name="connsiteY13" fmla="*/ 1653297 h 3641849"/>
                <a:gd name="connsiteX14" fmla="*/ 356437 w 1578387"/>
                <a:gd name="connsiteY14" fmla="*/ 1622268 h 3641849"/>
                <a:gd name="connsiteX15" fmla="*/ 370293 w 1578387"/>
                <a:gd name="connsiteY15" fmla="*/ 1557627 h 3641849"/>
                <a:gd name="connsiteX16" fmla="*/ 309330 w 1578387"/>
                <a:gd name="connsiteY16" fmla="*/ 1511084 h 3641849"/>
                <a:gd name="connsiteX17" fmla="*/ 264994 w 1578387"/>
                <a:gd name="connsiteY17" fmla="*/ 1485227 h 3641849"/>
                <a:gd name="connsiteX18" fmla="*/ 204032 w 1578387"/>
                <a:gd name="connsiteY18" fmla="*/ 1495570 h 3641849"/>
                <a:gd name="connsiteX19" fmla="*/ 381378 w 1578387"/>
                <a:gd name="connsiteY19" fmla="*/ 1299057 h 3641849"/>
                <a:gd name="connsiteX20" fmla="*/ 228971 w 1578387"/>
                <a:gd name="connsiteY20" fmla="*/ 1151672 h 3641849"/>
                <a:gd name="connsiteX21" fmla="*/ 289934 w 1578387"/>
                <a:gd name="connsiteY21" fmla="*/ 1089617 h 3641849"/>
                <a:gd name="connsiteX22" fmla="*/ 223429 w 1578387"/>
                <a:gd name="connsiteY22" fmla="*/ 1050829 h 3641849"/>
                <a:gd name="connsiteX23" fmla="*/ 264994 w 1578387"/>
                <a:gd name="connsiteY23" fmla="*/ 1019802 h 3641849"/>
                <a:gd name="connsiteX24" fmla="*/ 217888 w 1578387"/>
                <a:gd name="connsiteY24" fmla="*/ 993947 h 3641849"/>
                <a:gd name="connsiteX25" fmla="*/ 217887 w 1578387"/>
                <a:gd name="connsiteY25" fmla="*/ 794845 h 3641849"/>
                <a:gd name="connsiteX26" fmla="*/ 256682 w 1578387"/>
                <a:gd name="connsiteY26" fmla="*/ 779332 h 3641849"/>
                <a:gd name="connsiteX27" fmla="*/ 143069 w 1578387"/>
                <a:gd name="connsiteY27" fmla="*/ 551792 h 3641849"/>
                <a:gd name="connsiteX28" fmla="*/ 140298 w 1578387"/>
                <a:gd name="connsiteY28" fmla="*/ 551792 h 3641849"/>
                <a:gd name="connsiteX29" fmla="*/ 190176 w 1578387"/>
                <a:gd name="connsiteY29" fmla="*/ 469048 h 3641849"/>
                <a:gd name="connsiteX30" fmla="*/ 206802 w 1578387"/>
                <a:gd name="connsiteY30" fmla="*/ 378550 h 3641849"/>
                <a:gd name="connsiteX31" fmla="*/ 131983 w 1578387"/>
                <a:gd name="connsiteY31" fmla="*/ 319079 h 3641849"/>
                <a:gd name="connsiteX32" fmla="*/ 123671 w 1578387"/>
                <a:gd name="connsiteY32" fmla="*/ 251851 h 3641849"/>
                <a:gd name="connsiteX33" fmla="*/ 179091 w 1578387"/>
                <a:gd name="connsiteY33" fmla="*/ 158764 h 3641849"/>
                <a:gd name="connsiteX34" fmla="*/ 198489 w 1578387"/>
                <a:gd name="connsiteY34" fmla="*/ 135494 h 3641849"/>
                <a:gd name="connsiteX35" fmla="*/ 212344 w 1578387"/>
                <a:gd name="connsiteY35" fmla="*/ 117394 h 3641849"/>
                <a:gd name="connsiteX36" fmla="*/ 220657 w 1578387"/>
                <a:gd name="connsiteY36" fmla="*/ 73438 h 3641849"/>
                <a:gd name="connsiteX37" fmla="*/ 245596 w 1578387"/>
                <a:gd name="connsiteY37" fmla="*/ 101880 h 3641849"/>
                <a:gd name="connsiteX38" fmla="*/ 276078 w 1578387"/>
                <a:gd name="connsiteY38" fmla="*/ 88952 h 3641849"/>
                <a:gd name="connsiteX39" fmla="*/ 278848 w 1578387"/>
                <a:gd name="connsiteY39" fmla="*/ 63095 h 3641849"/>
                <a:gd name="connsiteX40" fmla="*/ 287162 w 1578387"/>
                <a:gd name="connsiteY40" fmla="*/ 34652 h 3641849"/>
                <a:gd name="connsiteX41" fmla="*/ 289934 w 1578387"/>
                <a:gd name="connsiteY41" fmla="*/ 3624 h 3641849"/>
                <a:gd name="connsiteX42" fmla="*/ 425714 w 1578387"/>
                <a:gd name="connsiteY42" fmla="*/ 57924 h 3641849"/>
                <a:gd name="connsiteX43" fmla="*/ 456194 w 1578387"/>
                <a:gd name="connsiteY43" fmla="*/ 161352 h 3641849"/>
                <a:gd name="connsiteX44" fmla="*/ 470050 w 1578387"/>
                <a:gd name="connsiteY44" fmla="*/ 184622 h 3641849"/>
                <a:gd name="connsiteX45" fmla="*/ 481134 w 1578387"/>
                <a:gd name="connsiteY45" fmla="*/ 187208 h 3641849"/>
                <a:gd name="connsiteX46" fmla="*/ 594746 w 1578387"/>
                <a:gd name="connsiteY46" fmla="*/ 156181 h 3641849"/>
                <a:gd name="connsiteX47" fmla="*/ 661251 w 1578387"/>
                <a:gd name="connsiteY47" fmla="*/ 166522 h 3641849"/>
                <a:gd name="connsiteX48" fmla="*/ 724985 w 1578387"/>
                <a:gd name="connsiteY48" fmla="*/ 213065 h 3641849"/>
                <a:gd name="connsiteX49" fmla="*/ 739012 w 1578387"/>
                <a:gd name="connsiteY49" fmla="*/ 242621 h 3641849"/>
                <a:gd name="connsiteX50" fmla="*/ 794259 w 1578387"/>
                <a:gd name="connsiteY50" fmla="*/ 277708 h 3641849"/>
                <a:gd name="connsiteX51" fmla="*/ 882933 w 1578387"/>
                <a:gd name="connsiteY51" fmla="*/ 303563 h 3641849"/>
                <a:gd name="connsiteX52" fmla="*/ 954979 w 1578387"/>
                <a:gd name="connsiteY52" fmla="*/ 350106 h 3641849"/>
                <a:gd name="connsiteX53" fmla="*/ 1004858 w 1578387"/>
                <a:gd name="connsiteY53" fmla="*/ 401820 h 3641849"/>
                <a:gd name="connsiteX54" fmla="*/ 1029797 w 1578387"/>
                <a:gd name="connsiteY54" fmla="*/ 440606 h 3641849"/>
                <a:gd name="connsiteX55" fmla="*/ 1063050 w 1578387"/>
                <a:gd name="connsiteY55" fmla="*/ 466462 h 3641849"/>
                <a:gd name="connsiteX56" fmla="*/ 1046422 w 1578387"/>
                <a:gd name="connsiteY56" fmla="*/ 691417 h 3641849"/>
                <a:gd name="connsiteX57" fmla="*/ 918956 w 1578387"/>
                <a:gd name="connsiteY57" fmla="*/ 771575 h 3641849"/>
                <a:gd name="connsiteX58" fmla="*/ 805344 w 1578387"/>
                <a:gd name="connsiteY58" fmla="*/ 779331 h 3641849"/>
                <a:gd name="connsiteX59" fmla="*/ 666791 w 1578387"/>
                <a:gd name="connsiteY59" fmla="*/ 758645 h 3641849"/>
                <a:gd name="connsiteX60" fmla="*/ 575347 w 1578387"/>
                <a:gd name="connsiteY60" fmla="*/ 722445 h 3641849"/>
                <a:gd name="connsiteX61" fmla="*/ 555950 w 1578387"/>
                <a:gd name="connsiteY61" fmla="*/ 750888 h 3641849"/>
                <a:gd name="connsiteX62" fmla="*/ 586592 w 1578387"/>
                <a:gd name="connsiteY62" fmla="*/ 824301 h 3641849"/>
                <a:gd name="connsiteX63" fmla="*/ 592133 w 1578387"/>
                <a:gd name="connsiteY63" fmla="*/ 951000 h 3641849"/>
                <a:gd name="connsiteX64" fmla="*/ 564263 w 1578387"/>
                <a:gd name="connsiteY64" fmla="*/ 1012043 h 3641849"/>
                <a:gd name="connsiteX65" fmla="*/ 619682 w 1578387"/>
                <a:gd name="connsiteY65" fmla="*/ 1032728 h 3641849"/>
                <a:gd name="connsiteX66" fmla="*/ 636310 w 1578387"/>
                <a:gd name="connsiteY66" fmla="*/ 1048242 h 3641849"/>
                <a:gd name="connsiteX67" fmla="*/ 661250 w 1578387"/>
                <a:gd name="connsiteY67" fmla="*/ 1074099 h 3641849"/>
                <a:gd name="connsiteX68" fmla="*/ 658479 w 1578387"/>
                <a:gd name="connsiteY68" fmla="*/ 1076685 h 3641849"/>
                <a:gd name="connsiteX69" fmla="*/ 697272 w 1578387"/>
                <a:gd name="connsiteY69" fmla="*/ 1071514 h 3641849"/>
                <a:gd name="connsiteX70" fmla="*/ 705586 w 1578387"/>
                <a:gd name="connsiteY70" fmla="*/ 1035314 h 3641849"/>
                <a:gd name="connsiteX71" fmla="*/ 666791 w 1578387"/>
                <a:gd name="connsiteY71" fmla="*/ 957743 h 3641849"/>
                <a:gd name="connsiteX72" fmla="*/ 736067 w 1578387"/>
                <a:gd name="connsiteY72" fmla="*/ 911200 h 3641849"/>
                <a:gd name="connsiteX73" fmla="*/ 803839 w 1578387"/>
                <a:gd name="connsiteY73" fmla="*/ 918934 h 3641849"/>
                <a:gd name="connsiteX74" fmla="*/ 827672 w 1578387"/>
                <a:gd name="connsiteY74" fmla="*/ 951001 h 3641849"/>
                <a:gd name="connsiteX75" fmla="*/ 983401 w 1578387"/>
                <a:gd name="connsiteY75" fmla="*/ 1007364 h 3641849"/>
                <a:gd name="connsiteX76" fmla="*/ 968993 w 1578387"/>
                <a:gd name="connsiteY76" fmla="*/ 971687 h 3641849"/>
                <a:gd name="connsiteX77" fmla="*/ 935741 w 1578387"/>
                <a:gd name="connsiteY77" fmla="*/ 932901 h 3641849"/>
                <a:gd name="connsiteX78" fmla="*/ 924657 w 1578387"/>
                <a:gd name="connsiteY78" fmla="*/ 881187 h 3641849"/>
                <a:gd name="connsiteX79" fmla="*/ 963452 w 1578387"/>
                <a:gd name="connsiteY79" fmla="*/ 832060 h 3641849"/>
                <a:gd name="connsiteX80" fmla="*/ 991162 w 1578387"/>
                <a:gd name="connsiteY80" fmla="*/ 803617 h 3641849"/>
                <a:gd name="connsiteX81" fmla="*/ 1016102 w 1578387"/>
                <a:gd name="connsiteY81" fmla="*/ 767417 h 3641849"/>
                <a:gd name="connsiteX82" fmla="*/ 1096462 w 1578387"/>
                <a:gd name="connsiteY82" fmla="*/ 762245 h 3641849"/>
                <a:gd name="connsiteX83" fmla="*/ 1102003 w 1578387"/>
                <a:gd name="connsiteY83" fmla="*/ 741560 h 3641849"/>
                <a:gd name="connsiteX84" fmla="*/ 1126943 w 1578387"/>
                <a:gd name="connsiteY84" fmla="*/ 705360 h 3641849"/>
                <a:gd name="connsiteX85" fmla="*/ 1160747 w 1578387"/>
                <a:gd name="connsiteY85" fmla="*/ 687772 h 3641849"/>
                <a:gd name="connsiteX86" fmla="*/ 1218387 w 1578387"/>
                <a:gd name="connsiteY86" fmla="*/ 700189 h 3641849"/>
                <a:gd name="connsiteX87" fmla="*/ 1257180 w 1578387"/>
                <a:gd name="connsiteY87" fmla="*/ 720875 h 3641849"/>
                <a:gd name="connsiteX88" fmla="*/ 1304288 w 1578387"/>
                <a:gd name="connsiteY88" fmla="*/ 728632 h 3641849"/>
                <a:gd name="connsiteX89" fmla="*/ 1304288 w 1578387"/>
                <a:gd name="connsiteY89" fmla="*/ 733803 h 3641849"/>
                <a:gd name="connsiteX90" fmla="*/ 1326457 w 1578387"/>
                <a:gd name="connsiteY90" fmla="*/ 674332 h 3641849"/>
                <a:gd name="connsiteX91" fmla="*/ 1336432 w 1578387"/>
                <a:gd name="connsiteY91" fmla="*/ 640714 h 3641849"/>
                <a:gd name="connsiteX92" fmla="*/ 1343083 w 1578387"/>
                <a:gd name="connsiteY92" fmla="*/ 622618 h 3641849"/>
                <a:gd name="connsiteX93" fmla="*/ 1346020 w 1578387"/>
                <a:gd name="connsiteY93" fmla="*/ 591288 h 3641849"/>
                <a:gd name="connsiteX94" fmla="*/ 1265494 w 1578387"/>
                <a:gd name="connsiteY94" fmla="*/ 545048 h 3641849"/>
                <a:gd name="connsiteX95" fmla="*/ 1251639 w 1578387"/>
                <a:gd name="connsiteY95" fmla="*/ 472648 h 3641849"/>
                <a:gd name="connsiteX96" fmla="*/ 1251639 w 1578387"/>
                <a:gd name="connsiteY96" fmla="*/ 454548 h 3641849"/>
                <a:gd name="connsiteX97" fmla="*/ 1262722 w 1578387"/>
                <a:gd name="connsiteY97" fmla="*/ 431276 h 3641849"/>
                <a:gd name="connsiteX98" fmla="*/ 1265494 w 1578387"/>
                <a:gd name="connsiteY98" fmla="*/ 415762 h 3641849"/>
                <a:gd name="connsiteX99" fmla="*/ 1265493 w 1578387"/>
                <a:gd name="connsiteY99" fmla="*/ 358878 h 3641849"/>
                <a:gd name="connsiteX100" fmla="*/ 1243325 w 1578387"/>
                <a:gd name="connsiteY100" fmla="*/ 335607 h 3641849"/>
                <a:gd name="connsiteX101" fmla="*/ 1215615 w 1578387"/>
                <a:gd name="connsiteY101" fmla="*/ 304578 h 3641849"/>
                <a:gd name="connsiteX102" fmla="*/ 1211447 w 1578387"/>
                <a:gd name="connsiteY102" fmla="*/ 280325 h 3641849"/>
                <a:gd name="connsiteX103" fmla="*/ 1262723 w 1578387"/>
                <a:gd name="connsiteY103" fmla="*/ 258034 h 3641849"/>
                <a:gd name="connsiteX104" fmla="*/ 1316303 w 1578387"/>
                <a:gd name="connsiteY104" fmla="*/ 267906 h 3641849"/>
                <a:gd name="connsiteX105" fmla="*/ 1395087 w 1578387"/>
                <a:gd name="connsiteY105" fmla="*/ 279816 h 3641849"/>
                <a:gd name="connsiteX106" fmla="*/ 1479410 w 1578387"/>
                <a:gd name="connsiteY106" fmla="*/ 349175 h 3641849"/>
                <a:gd name="connsiteX107" fmla="*/ 1541545 w 1578387"/>
                <a:gd name="connsiteY107" fmla="*/ 425271 h 3641849"/>
                <a:gd name="connsiteX108" fmla="*/ 1440574 w 1578387"/>
                <a:gd name="connsiteY108" fmla="*/ 454265 h 3641849"/>
                <a:gd name="connsiteX109" fmla="*/ 1425040 w 1578387"/>
                <a:gd name="connsiteY109" fmla="*/ 501372 h 3641849"/>
                <a:gd name="connsiteX110" fmla="*/ 1482710 w 1578387"/>
                <a:gd name="connsiteY110" fmla="*/ 585862 h 3641849"/>
                <a:gd name="connsiteX111" fmla="*/ 1518244 w 1578387"/>
                <a:gd name="connsiteY111" fmla="*/ 591964 h 3641849"/>
                <a:gd name="connsiteX112" fmla="*/ 1570864 w 1578387"/>
                <a:gd name="connsiteY112" fmla="*/ 598304 h 3641849"/>
                <a:gd name="connsiteX113" fmla="*/ 1565901 w 1578387"/>
                <a:gd name="connsiteY113" fmla="*/ 709079 h 3641849"/>
                <a:gd name="connsiteX114" fmla="*/ 1576970 w 1578387"/>
                <a:gd name="connsiteY114" fmla="*/ 1040047 h 3641849"/>
                <a:gd name="connsiteX115" fmla="*/ 1568102 w 1578387"/>
                <a:gd name="connsiteY115" fmla="*/ 1842646 h 3641849"/>
                <a:gd name="connsiteX116" fmla="*/ 1576969 w 1578387"/>
                <a:gd name="connsiteY116" fmla="*/ 2297728 h 3641849"/>
                <a:gd name="connsiteX117" fmla="*/ 1550521 w 1578387"/>
                <a:gd name="connsiteY117" fmla="*/ 3607693 h 3641849"/>
                <a:gd name="connsiteX118" fmla="*/ 1292094 w 1578387"/>
                <a:gd name="connsiteY118" fmla="*/ 3564098 h 3641849"/>
                <a:gd name="connsiteX119" fmla="*/ 1123616 w 1578387"/>
                <a:gd name="connsiteY119" fmla="*/ 3497903 h 3641849"/>
                <a:gd name="connsiteX120" fmla="*/ 946270 w 1578387"/>
                <a:gd name="connsiteY120" fmla="*/ 3406887 h 3641849"/>
                <a:gd name="connsiteX121" fmla="*/ 847972 w 1578387"/>
                <a:gd name="connsiteY121" fmla="*/ 3326370 h 3641849"/>
                <a:gd name="connsiteX122" fmla="*/ 1142234 w 1578387"/>
                <a:gd name="connsiteY122" fmla="*/ 3018734 h 3641849"/>
                <a:gd name="connsiteX123" fmla="*/ 858480 w 1578387"/>
                <a:gd name="connsiteY123" fmla="*/ 2480910 h 3641849"/>
                <a:gd name="connsiteX124" fmla="*/ 1000830 w 1578387"/>
                <a:gd name="connsiteY124" fmla="*/ 2241825 h 3641849"/>
                <a:gd name="connsiteX125" fmla="*/ 814143 w 1578387"/>
                <a:gd name="connsiteY125" fmla="*/ 1703134 h 3641849"/>
                <a:gd name="connsiteX126" fmla="*/ 565859 w 1578387"/>
                <a:gd name="connsiteY126" fmla="*/ 1471456 h 3641849"/>
                <a:gd name="connsiteX127" fmla="*/ 97003 w 1578387"/>
                <a:gd name="connsiteY127" fmla="*/ 2159767 h 3641849"/>
                <a:gd name="connsiteX0" fmla="*/ 97003 w 1578387"/>
                <a:gd name="connsiteY0" fmla="*/ 2159767 h 3641849"/>
                <a:gd name="connsiteX1" fmla="*/ 68250 w 1578387"/>
                <a:gd name="connsiteY1" fmla="*/ 1725696 h 3641849"/>
                <a:gd name="connsiteX2" fmla="*/ 43310 w 1578387"/>
                <a:gd name="connsiteY2" fmla="*/ 1689496 h 3641849"/>
                <a:gd name="connsiteX3" fmla="*/ 23914 w 1578387"/>
                <a:gd name="connsiteY3" fmla="*/ 1679153 h 3641849"/>
                <a:gd name="connsiteX4" fmla="*/ 4517 w 1578387"/>
                <a:gd name="connsiteY4" fmla="*/ 1637781 h 3641849"/>
                <a:gd name="connsiteX5" fmla="*/ 4515 w 1578387"/>
                <a:gd name="connsiteY5" fmla="*/ 1645538 h 3641849"/>
                <a:gd name="connsiteX6" fmla="*/ 71021 w 1578387"/>
                <a:gd name="connsiteY6" fmla="*/ 1650711 h 3641849"/>
                <a:gd name="connsiteX7" fmla="*/ 98732 w 1578387"/>
                <a:gd name="connsiteY7" fmla="*/ 1627440 h 3641849"/>
                <a:gd name="connsiteX8" fmla="*/ 192947 w 1578387"/>
                <a:gd name="connsiteY8" fmla="*/ 1536941 h 3641849"/>
                <a:gd name="connsiteX9" fmla="*/ 217886 w 1578387"/>
                <a:gd name="connsiteY9" fmla="*/ 1505912 h 3641849"/>
                <a:gd name="connsiteX10" fmla="*/ 204032 w 1578387"/>
                <a:gd name="connsiteY10" fmla="*/ 1555040 h 3641849"/>
                <a:gd name="connsiteX11" fmla="*/ 223428 w 1578387"/>
                <a:gd name="connsiteY11" fmla="*/ 1588655 h 3641849"/>
                <a:gd name="connsiteX12" fmla="*/ 267765 w 1578387"/>
                <a:gd name="connsiteY12" fmla="*/ 1666225 h 3641849"/>
                <a:gd name="connsiteX13" fmla="*/ 337041 w 1578387"/>
                <a:gd name="connsiteY13" fmla="*/ 1653297 h 3641849"/>
                <a:gd name="connsiteX14" fmla="*/ 356437 w 1578387"/>
                <a:gd name="connsiteY14" fmla="*/ 1622268 h 3641849"/>
                <a:gd name="connsiteX15" fmla="*/ 370293 w 1578387"/>
                <a:gd name="connsiteY15" fmla="*/ 1557627 h 3641849"/>
                <a:gd name="connsiteX16" fmla="*/ 309330 w 1578387"/>
                <a:gd name="connsiteY16" fmla="*/ 1511084 h 3641849"/>
                <a:gd name="connsiteX17" fmla="*/ 264994 w 1578387"/>
                <a:gd name="connsiteY17" fmla="*/ 1485227 h 3641849"/>
                <a:gd name="connsiteX18" fmla="*/ 204032 w 1578387"/>
                <a:gd name="connsiteY18" fmla="*/ 1495570 h 3641849"/>
                <a:gd name="connsiteX19" fmla="*/ 381378 w 1578387"/>
                <a:gd name="connsiteY19" fmla="*/ 1299057 h 3641849"/>
                <a:gd name="connsiteX20" fmla="*/ 228971 w 1578387"/>
                <a:gd name="connsiteY20" fmla="*/ 1151672 h 3641849"/>
                <a:gd name="connsiteX21" fmla="*/ 289934 w 1578387"/>
                <a:gd name="connsiteY21" fmla="*/ 1089617 h 3641849"/>
                <a:gd name="connsiteX22" fmla="*/ 223429 w 1578387"/>
                <a:gd name="connsiteY22" fmla="*/ 1050829 h 3641849"/>
                <a:gd name="connsiteX23" fmla="*/ 264994 w 1578387"/>
                <a:gd name="connsiteY23" fmla="*/ 1019802 h 3641849"/>
                <a:gd name="connsiteX24" fmla="*/ 217888 w 1578387"/>
                <a:gd name="connsiteY24" fmla="*/ 993947 h 3641849"/>
                <a:gd name="connsiteX25" fmla="*/ 217887 w 1578387"/>
                <a:gd name="connsiteY25" fmla="*/ 794845 h 3641849"/>
                <a:gd name="connsiteX26" fmla="*/ 256682 w 1578387"/>
                <a:gd name="connsiteY26" fmla="*/ 779332 h 3641849"/>
                <a:gd name="connsiteX27" fmla="*/ 143069 w 1578387"/>
                <a:gd name="connsiteY27" fmla="*/ 551792 h 3641849"/>
                <a:gd name="connsiteX28" fmla="*/ 140298 w 1578387"/>
                <a:gd name="connsiteY28" fmla="*/ 551792 h 3641849"/>
                <a:gd name="connsiteX29" fmla="*/ 190176 w 1578387"/>
                <a:gd name="connsiteY29" fmla="*/ 469048 h 3641849"/>
                <a:gd name="connsiteX30" fmla="*/ 206802 w 1578387"/>
                <a:gd name="connsiteY30" fmla="*/ 378550 h 3641849"/>
                <a:gd name="connsiteX31" fmla="*/ 131983 w 1578387"/>
                <a:gd name="connsiteY31" fmla="*/ 319079 h 3641849"/>
                <a:gd name="connsiteX32" fmla="*/ 123671 w 1578387"/>
                <a:gd name="connsiteY32" fmla="*/ 251851 h 3641849"/>
                <a:gd name="connsiteX33" fmla="*/ 179091 w 1578387"/>
                <a:gd name="connsiteY33" fmla="*/ 158764 h 3641849"/>
                <a:gd name="connsiteX34" fmla="*/ 198489 w 1578387"/>
                <a:gd name="connsiteY34" fmla="*/ 135494 h 3641849"/>
                <a:gd name="connsiteX35" fmla="*/ 212344 w 1578387"/>
                <a:gd name="connsiteY35" fmla="*/ 117394 h 3641849"/>
                <a:gd name="connsiteX36" fmla="*/ 220657 w 1578387"/>
                <a:gd name="connsiteY36" fmla="*/ 73438 h 3641849"/>
                <a:gd name="connsiteX37" fmla="*/ 245596 w 1578387"/>
                <a:gd name="connsiteY37" fmla="*/ 101880 h 3641849"/>
                <a:gd name="connsiteX38" fmla="*/ 276078 w 1578387"/>
                <a:gd name="connsiteY38" fmla="*/ 88952 h 3641849"/>
                <a:gd name="connsiteX39" fmla="*/ 278848 w 1578387"/>
                <a:gd name="connsiteY39" fmla="*/ 63095 h 3641849"/>
                <a:gd name="connsiteX40" fmla="*/ 287162 w 1578387"/>
                <a:gd name="connsiteY40" fmla="*/ 34652 h 3641849"/>
                <a:gd name="connsiteX41" fmla="*/ 289934 w 1578387"/>
                <a:gd name="connsiteY41" fmla="*/ 3624 h 3641849"/>
                <a:gd name="connsiteX42" fmla="*/ 425714 w 1578387"/>
                <a:gd name="connsiteY42" fmla="*/ 57924 h 3641849"/>
                <a:gd name="connsiteX43" fmla="*/ 456194 w 1578387"/>
                <a:gd name="connsiteY43" fmla="*/ 161352 h 3641849"/>
                <a:gd name="connsiteX44" fmla="*/ 470050 w 1578387"/>
                <a:gd name="connsiteY44" fmla="*/ 184622 h 3641849"/>
                <a:gd name="connsiteX45" fmla="*/ 481134 w 1578387"/>
                <a:gd name="connsiteY45" fmla="*/ 187208 h 3641849"/>
                <a:gd name="connsiteX46" fmla="*/ 594746 w 1578387"/>
                <a:gd name="connsiteY46" fmla="*/ 156181 h 3641849"/>
                <a:gd name="connsiteX47" fmla="*/ 661251 w 1578387"/>
                <a:gd name="connsiteY47" fmla="*/ 166522 h 3641849"/>
                <a:gd name="connsiteX48" fmla="*/ 724985 w 1578387"/>
                <a:gd name="connsiteY48" fmla="*/ 213065 h 3641849"/>
                <a:gd name="connsiteX49" fmla="*/ 739012 w 1578387"/>
                <a:gd name="connsiteY49" fmla="*/ 242621 h 3641849"/>
                <a:gd name="connsiteX50" fmla="*/ 794259 w 1578387"/>
                <a:gd name="connsiteY50" fmla="*/ 277708 h 3641849"/>
                <a:gd name="connsiteX51" fmla="*/ 882933 w 1578387"/>
                <a:gd name="connsiteY51" fmla="*/ 303563 h 3641849"/>
                <a:gd name="connsiteX52" fmla="*/ 954979 w 1578387"/>
                <a:gd name="connsiteY52" fmla="*/ 350106 h 3641849"/>
                <a:gd name="connsiteX53" fmla="*/ 1004858 w 1578387"/>
                <a:gd name="connsiteY53" fmla="*/ 401820 h 3641849"/>
                <a:gd name="connsiteX54" fmla="*/ 1029797 w 1578387"/>
                <a:gd name="connsiteY54" fmla="*/ 440606 h 3641849"/>
                <a:gd name="connsiteX55" fmla="*/ 1063050 w 1578387"/>
                <a:gd name="connsiteY55" fmla="*/ 466462 h 3641849"/>
                <a:gd name="connsiteX56" fmla="*/ 1046422 w 1578387"/>
                <a:gd name="connsiteY56" fmla="*/ 691417 h 3641849"/>
                <a:gd name="connsiteX57" fmla="*/ 918956 w 1578387"/>
                <a:gd name="connsiteY57" fmla="*/ 771575 h 3641849"/>
                <a:gd name="connsiteX58" fmla="*/ 805344 w 1578387"/>
                <a:gd name="connsiteY58" fmla="*/ 779331 h 3641849"/>
                <a:gd name="connsiteX59" fmla="*/ 666791 w 1578387"/>
                <a:gd name="connsiteY59" fmla="*/ 758645 h 3641849"/>
                <a:gd name="connsiteX60" fmla="*/ 575347 w 1578387"/>
                <a:gd name="connsiteY60" fmla="*/ 722445 h 3641849"/>
                <a:gd name="connsiteX61" fmla="*/ 555950 w 1578387"/>
                <a:gd name="connsiteY61" fmla="*/ 750888 h 3641849"/>
                <a:gd name="connsiteX62" fmla="*/ 586592 w 1578387"/>
                <a:gd name="connsiteY62" fmla="*/ 824301 h 3641849"/>
                <a:gd name="connsiteX63" fmla="*/ 592133 w 1578387"/>
                <a:gd name="connsiteY63" fmla="*/ 951000 h 3641849"/>
                <a:gd name="connsiteX64" fmla="*/ 564263 w 1578387"/>
                <a:gd name="connsiteY64" fmla="*/ 1012043 h 3641849"/>
                <a:gd name="connsiteX65" fmla="*/ 619682 w 1578387"/>
                <a:gd name="connsiteY65" fmla="*/ 1032728 h 3641849"/>
                <a:gd name="connsiteX66" fmla="*/ 636310 w 1578387"/>
                <a:gd name="connsiteY66" fmla="*/ 1048242 h 3641849"/>
                <a:gd name="connsiteX67" fmla="*/ 661250 w 1578387"/>
                <a:gd name="connsiteY67" fmla="*/ 1074099 h 3641849"/>
                <a:gd name="connsiteX68" fmla="*/ 658479 w 1578387"/>
                <a:gd name="connsiteY68" fmla="*/ 1076685 h 3641849"/>
                <a:gd name="connsiteX69" fmla="*/ 697272 w 1578387"/>
                <a:gd name="connsiteY69" fmla="*/ 1071514 h 3641849"/>
                <a:gd name="connsiteX70" fmla="*/ 705586 w 1578387"/>
                <a:gd name="connsiteY70" fmla="*/ 1035314 h 3641849"/>
                <a:gd name="connsiteX71" fmla="*/ 666791 w 1578387"/>
                <a:gd name="connsiteY71" fmla="*/ 957743 h 3641849"/>
                <a:gd name="connsiteX72" fmla="*/ 736067 w 1578387"/>
                <a:gd name="connsiteY72" fmla="*/ 911200 h 3641849"/>
                <a:gd name="connsiteX73" fmla="*/ 803839 w 1578387"/>
                <a:gd name="connsiteY73" fmla="*/ 918934 h 3641849"/>
                <a:gd name="connsiteX74" fmla="*/ 827672 w 1578387"/>
                <a:gd name="connsiteY74" fmla="*/ 951001 h 3641849"/>
                <a:gd name="connsiteX75" fmla="*/ 983401 w 1578387"/>
                <a:gd name="connsiteY75" fmla="*/ 1007364 h 3641849"/>
                <a:gd name="connsiteX76" fmla="*/ 968993 w 1578387"/>
                <a:gd name="connsiteY76" fmla="*/ 971687 h 3641849"/>
                <a:gd name="connsiteX77" fmla="*/ 935741 w 1578387"/>
                <a:gd name="connsiteY77" fmla="*/ 932901 h 3641849"/>
                <a:gd name="connsiteX78" fmla="*/ 924657 w 1578387"/>
                <a:gd name="connsiteY78" fmla="*/ 881187 h 3641849"/>
                <a:gd name="connsiteX79" fmla="*/ 963452 w 1578387"/>
                <a:gd name="connsiteY79" fmla="*/ 832060 h 3641849"/>
                <a:gd name="connsiteX80" fmla="*/ 991162 w 1578387"/>
                <a:gd name="connsiteY80" fmla="*/ 803617 h 3641849"/>
                <a:gd name="connsiteX81" fmla="*/ 1016102 w 1578387"/>
                <a:gd name="connsiteY81" fmla="*/ 767417 h 3641849"/>
                <a:gd name="connsiteX82" fmla="*/ 1096462 w 1578387"/>
                <a:gd name="connsiteY82" fmla="*/ 762245 h 3641849"/>
                <a:gd name="connsiteX83" fmla="*/ 1102003 w 1578387"/>
                <a:gd name="connsiteY83" fmla="*/ 741560 h 3641849"/>
                <a:gd name="connsiteX84" fmla="*/ 1126943 w 1578387"/>
                <a:gd name="connsiteY84" fmla="*/ 705360 h 3641849"/>
                <a:gd name="connsiteX85" fmla="*/ 1160747 w 1578387"/>
                <a:gd name="connsiteY85" fmla="*/ 687772 h 3641849"/>
                <a:gd name="connsiteX86" fmla="*/ 1218387 w 1578387"/>
                <a:gd name="connsiteY86" fmla="*/ 700189 h 3641849"/>
                <a:gd name="connsiteX87" fmla="*/ 1257180 w 1578387"/>
                <a:gd name="connsiteY87" fmla="*/ 720875 h 3641849"/>
                <a:gd name="connsiteX88" fmla="*/ 1304288 w 1578387"/>
                <a:gd name="connsiteY88" fmla="*/ 728632 h 3641849"/>
                <a:gd name="connsiteX89" fmla="*/ 1304288 w 1578387"/>
                <a:gd name="connsiteY89" fmla="*/ 733803 h 3641849"/>
                <a:gd name="connsiteX90" fmla="*/ 1326457 w 1578387"/>
                <a:gd name="connsiteY90" fmla="*/ 674332 h 3641849"/>
                <a:gd name="connsiteX91" fmla="*/ 1336432 w 1578387"/>
                <a:gd name="connsiteY91" fmla="*/ 640714 h 3641849"/>
                <a:gd name="connsiteX92" fmla="*/ 1343083 w 1578387"/>
                <a:gd name="connsiteY92" fmla="*/ 622618 h 3641849"/>
                <a:gd name="connsiteX93" fmla="*/ 1346020 w 1578387"/>
                <a:gd name="connsiteY93" fmla="*/ 591288 h 3641849"/>
                <a:gd name="connsiteX94" fmla="*/ 1265494 w 1578387"/>
                <a:gd name="connsiteY94" fmla="*/ 545048 h 3641849"/>
                <a:gd name="connsiteX95" fmla="*/ 1251639 w 1578387"/>
                <a:gd name="connsiteY95" fmla="*/ 472648 h 3641849"/>
                <a:gd name="connsiteX96" fmla="*/ 1251639 w 1578387"/>
                <a:gd name="connsiteY96" fmla="*/ 454548 h 3641849"/>
                <a:gd name="connsiteX97" fmla="*/ 1262722 w 1578387"/>
                <a:gd name="connsiteY97" fmla="*/ 431276 h 3641849"/>
                <a:gd name="connsiteX98" fmla="*/ 1265494 w 1578387"/>
                <a:gd name="connsiteY98" fmla="*/ 415762 h 3641849"/>
                <a:gd name="connsiteX99" fmla="*/ 1265493 w 1578387"/>
                <a:gd name="connsiteY99" fmla="*/ 358878 h 3641849"/>
                <a:gd name="connsiteX100" fmla="*/ 1243325 w 1578387"/>
                <a:gd name="connsiteY100" fmla="*/ 335607 h 3641849"/>
                <a:gd name="connsiteX101" fmla="*/ 1215615 w 1578387"/>
                <a:gd name="connsiteY101" fmla="*/ 304578 h 3641849"/>
                <a:gd name="connsiteX102" fmla="*/ 1211447 w 1578387"/>
                <a:gd name="connsiteY102" fmla="*/ 280325 h 3641849"/>
                <a:gd name="connsiteX103" fmla="*/ 1262723 w 1578387"/>
                <a:gd name="connsiteY103" fmla="*/ 258034 h 3641849"/>
                <a:gd name="connsiteX104" fmla="*/ 1316303 w 1578387"/>
                <a:gd name="connsiteY104" fmla="*/ 267906 h 3641849"/>
                <a:gd name="connsiteX105" fmla="*/ 1395087 w 1578387"/>
                <a:gd name="connsiteY105" fmla="*/ 279816 h 3641849"/>
                <a:gd name="connsiteX106" fmla="*/ 1479410 w 1578387"/>
                <a:gd name="connsiteY106" fmla="*/ 349175 h 3641849"/>
                <a:gd name="connsiteX107" fmla="*/ 1541545 w 1578387"/>
                <a:gd name="connsiteY107" fmla="*/ 425271 h 3641849"/>
                <a:gd name="connsiteX108" fmla="*/ 1440574 w 1578387"/>
                <a:gd name="connsiteY108" fmla="*/ 454265 h 3641849"/>
                <a:gd name="connsiteX109" fmla="*/ 1425040 w 1578387"/>
                <a:gd name="connsiteY109" fmla="*/ 501372 h 3641849"/>
                <a:gd name="connsiteX110" fmla="*/ 1482710 w 1578387"/>
                <a:gd name="connsiteY110" fmla="*/ 585862 h 3641849"/>
                <a:gd name="connsiteX111" fmla="*/ 1518244 w 1578387"/>
                <a:gd name="connsiteY111" fmla="*/ 591964 h 3641849"/>
                <a:gd name="connsiteX112" fmla="*/ 1570864 w 1578387"/>
                <a:gd name="connsiteY112" fmla="*/ 598304 h 3641849"/>
                <a:gd name="connsiteX113" fmla="*/ 1565901 w 1578387"/>
                <a:gd name="connsiteY113" fmla="*/ 709079 h 3641849"/>
                <a:gd name="connsiteX114" fmla="*/ 1576970 w 1578387"/>
                <a:gd name="connsiteY114" fmla="*/ 1040047 h 3641849"/>
                <a:gd name="connsiteX115" fmla="*/ 1568102 w 1578387"/>
                <a:gd name="connsiteY115" fmla="*/ 1842646 h 3641849"/>
                <a:gd name="connsiteX116" fmla="*/ 1576969 w 1578387"/>
                <a:gd name="connsiteY116" fmla="*/ 2297728 h 3641849"/>
                <a:gd name="connsiteX117" fmla="*/ 1550521 w 1578387"/>
                <a:gd name="connsiteY117" fmla="*/ 3607693 h 3641849"/>
                <a:gd name="connsiteX118" fmla="*/ 1292094 w 1578387"/>
                <a:gd name="connsiteY118" fmla="*/ 3564098 h 3641849"/>
                <a:gd name="connsiteX119" fmla="*/ 1123616 w 1578387"/>
                <a:gd name="connsiteY119" fmla="*/ 3497903 h 3641849"/>
                <a:gd name="connsiteX120" fmla="*/ 946270 w 1578387"/>
                <a:gd name="connsiteY120" fmla="*/ 3406887 h 3641849"/>
                <a:gd name="connsiteX121" fmla="*/ 847972 w 1578387"/>
                <a:gd name="connsiteY121" fmla="*/ 3326370 h 3641849"/>
                <a:gd name="connsiteX122" fmla="*/ 1142234 w 1578387"/>
                <a:gd name="connsiteY122" fmla="*/ 3018734 h 3641849"/>
                <a:gd name="connsiteX123" fmla="*/ 858480 w 1578387"/>
                <a:gd name="connsiteY123" fmla="*/ 2480910 h 3641849"/>
                <a:gd name="connsiteX124" fmla="*/ 1000830 w 1578387"/>
                <a:gd name="connsiteY124" fmla="*/ 2241825 h 3641849"/>
                <a:gd name="connsiteX125" fmla="*/ 814143 w 1578387"/>
                <a:gd name="connsiteY125" fmla="*/ 1703134 h 3641849"/>
                <a:gd name="connsiteX126" fmla="*/ 565859 w 1578387"/>
                <a:gd name="connsiteY126" fmla="*/ 1471456 h 3641849"/>
                <a:gd name="connsiteX127" fmla="*/ 97003 w 1578387"/>
                <a:gd name="connsiteY127" fmla="*/ 2159767 h 3641849"/>
                <a:gd name="connsiteX0" fmla="*/ 103851 w 1585235"/>
                <a:gd name="connsiteY0" fmla="*/ 2159767 h 3641849"/>
                <a:gd name="connsiteX1" fmla="*/ 75098 w 1585235"/>
                <a:gd name="connsiteY1" fmla="*/ 1725696 h 3641849"/>
                <a:gd name="connsiteX2" fmla="*/ 50158 w 1585235"/>
                <a:gd name="connsiteY2" fmla="*/ 1689496 h 3641849"/>
                <a:gd name="connsiteX3" fmla="*/ 30762 w 1585235"/>
                <a:gd name="connsiteY3" fmla="*/ 1679153 h 3641849"/>
                <a:gd name="connsiteX4" fmla="*/ 11365 w 1585235"/>
                <a:gd name="connsiteY4" fmla="*/ 1637781 h 3641849"/>
                <a:gd name="connsiteX5" fmla="*/ 3050 w 1585235"/>
                <a:gd name="connsiteY5" fmla="*/ 1645538 h 3641849"/>
                <a:gd name="connsiteX6" fmla="*/ 77869 w 1585235"/>
                <a:gd name="connsiteY6" fmla="*/ 1650711 h 3641849"/>
                <a:gd name="connsiteX7" fmla="*/ 105580 w 1585235"/>
                <a:gd name="connsiteY7" fmla="*/ 1627440 h 3641849"/>
                <a:gd name="connsiteX8" fmla="*/ 199795 w 1585235"/>
                <a:gd name="connsiteY8" fmla="*/ 1536941 h 3641849"/>
                <a:gd name="connsiteX9" fmla="*/ 224734 w 1585235"/>
                <a:gd name="connsiteY9" fmla="*/ 1505912 h 3641849"/>
                <a:gd name="connsiteX10" fmla="*/ 210880 w 1585235"/>
                <a:gd name="connsiteY10" fmla="*/ 1555040 h 3641849"/>
                <a:gd name="connsiteX11" fmla="*/ 230276 w 1585235"/>
                <a:gd name="connsiteY11" fmla="*/ 1588655 h 3641849"/>
                <a:gd name="connsiteX12" fmla="*/ 274613 w 1585235"/>
                <a:gd name="connsiteY12" fmla="*/ 1666225 h 3641849"/>
                <a:gd name="connsiteX13" fmla="*/ 343889 w 1585235"/>
                <a:gd name="connsiteY13" fmla="*/ 1653297 h 3641849"/>
                <a:gd name="connsiteX14" fmla="*/ 363285 w 1585235"/>
                <a:gd name="connsiteY14" fmla="*/ 1622268 h 3641849"/>
                <a:gd name="connsiteX15" fmla="*/ 377141 w 1585235"/>
                <a:gd name="connsiteY15" fmla="*/ 1557627 h 3641849"/>
                <a:gd name="connsiteX16" fmla="*/ 316178 w 1585235"/>
                <a:gd name="connsiteY16" fmla="*/ 1511084 h 3641849"/>
                <a:gd name="connsiteX17" fmla="*/ 271842 w 1585235"/>
                <a:gd name="connsiteY17" fmla="*/ 1485227 h 3641849"/>
                <a:gd name="connsiteX18" fmla="*/ 210880 w 1585235"/>
                <a:gd name="connsiteY18" fmla="*/ 1495570 h 3641849"/>
                <a:gd name="connsiteX19" fmla="*/ 388226 w 1585235"/>
                <a:gd name="connsiteY19" fmla="*/ 1299057 h 3641849"/>
                <a:gd name="connsiteX20" fmla="*/ 235819 w 1585235"/>
                <a:gd name="connsiteY20" fmla="*/ 1151672 h 3641849"/>
                <a:gd name="connsiteX21" fmla="*/ 296782 w 1585235"/>
                <a:gd name="connsiteY21" fmla="*/ 1089617 h 3641849"/>
                <a:gd name="connsiteX22" fmla="*/ 230277 w 1585235"/>
                <a:gd name="connsiteY22" fmla="*/ 1050829 h 3641849"/>
                <a:gd name="connsiteX23" fmla="*/ 271842 w 1585235"/>
                <a:gd name="connsiteY23" fmla="*/ 1019802 h 3641849"/>
                <a:gd name="connsiteX24" fmla="*/ 224736 w 1585235"/>
                <a:gd name="connsiteY24" fmla="*/ 993947 h 3641849"/>
                <a:gd name="connsiteX25" fmla="*/ 224735 w 1585235"/>
                <a:gd name="connsiteY25" fmla="*/ 794845 h 3641849"/>
                <a:gd name="connsiteX26" fmla="*/ 263530 w 1585235"/>
                <a:gd name="connsiteY26" fmla="*/ 779332 h 3641849"/>
                <a:gd name="connsiteX27" fmla="*/ 149917 w 1585235"/>
                <a:gd name="connsiteY27" fmla="*/ 551792 h 3641849"/>
                <a:gd name="connsiteX28" fmla="*/ 147146 w 1585235"/>
                <a:gd name="connsiteY28" fmla="*/ 551792 h 3641849"/>
                <a:gd name="connsiteX29" fmla="*/ 197024 w 1585235"/>
                <a:gd name="connsiteY29" fmla="*/ 469048 h 3641849"/>
                <a:gd name="connsiteX30" fmla="*/ 213650 w 1585235"/>
                <a:gd name="connsiteY30" fmla="*/ 378550 h 3641849"/>
                <a:gd name="connsiteX31" fmla="*/ 138831 w 1585235"/>
                <a:gd name="connsiteY31" fmla="*/ 319079 h 3641849"/>
                <a:gd name="connsiteX32" fmla="*/ 130519 w 1585235"/>
                <a:gd name="connsiteY32" fmla="*/ 251851 h 3641849"/>
                <a:gd name="connsiteX33" fmla="*/ 185939 w 1585235"/>
                <a:gd name="connsiteY33" fmla="*/ 158764 h 3641849"/>
                <a:gd name="connsiteX34" fmla="*/ 205337 w 1585235"/>
                <a:gd name="connsiteY34" fmla="*/ 135494 h 3641849"/>
                <a:gd name="connsiteX35" fmla="*/ 219192 w 1585235"/>
                <a:gd name="connsiteY35" fmla="*/ 117394 h 3641849"/>
                <a:gd name="connsiteX36" fmla="*/ 227505 w 1585235"/>
                <a:gd name="connsiteY36" fmla="*/ 73438 h 3641849"/>
                <a:gd name="connsiteX37" fmla="*/ 252444 w 1585235"/>
                <a:gd name="connsiteY37" fmla="*/ 101880 h 3641849"/>
                <a:gd name="connsiteX38" fmla="*/ 282926 w 1585235"/>
                <a:gd name="connsiteY38" fmla="*/ 88952 h 3641849"/>
                <a:gd name="connsiteX39" fmla="*/ 285696 w 1585235"/>
                <a:gd name="connsiteY39" fmla="*/ 63095 h 3641849"/>
                <a:gd name="connsiteX40" fmla="*/ 294010 w 1585235"/>
                <a:gd name="connsiteY40" fmla="*/ 34652 h 3641849"/>
                <a:gd name="connsiteX41" fmla="*/ 296782 w 1585235"/>
                <a:gd name="connsiteY41" fmla="*/ 3624 h 3641849"/>
                <a:gd name="connsiteX42" fmla="*/ 432562 w 1585235"/>
                <a:gd name="connsiteY42" fmla="*/ 57924 h 3641849"/>
                <a:gd name="connsiteX43" fmla="*/ 463042 w 1585235"/>
                <a:gd name="connsiteY43" fmla="*/ 161352 h 3641849"/>
                <a:gd name="connsiteX44" fmla="*/ 476898 w 1585235"/>
                <a:gd name="connsiteY44" fmla="*/ 184622 h 3641849"/>
                <a:gd name="connsiteX45" fmla="*/ 487982 w 1585235"/>
                <a:gd name="connsiteY45" fmla="*/ 187208 h 3641849"/>
                <a:gd name="connsiteX46" fmla="*/ 601594 w 1585235"/>
                <a:gd name="connsiteY46" fmla="*/ 156181 h 3641849"/>
                <a:gd name="connsiteX47" fmla="*/ 668099 w 1585235"/>
                <a:gd name="connsiteY47" fmla="*/ 166522 h 3641849"/>
                <a:gd name="connsiteX48" fmla="*/ 731833 w 1585235"/>
                <a:gd name="connsiteY48" fmla="*/ 213065 h 3641849"/>
                <a:gd name="connsiteX49" fmla="*/ 745860 w 1585235"/>
                <a:gd name="connsiteY49" fmla="*/ 242621 h 3641849"/>
                <a:gd name="connsiteX50" fmla="*/ 801107 w 1585235"/>
                <a:gd name="connsiteY50" fmla="*/ 277708 h 3641849"/>
                <a:gd name="connsiteX51" fmla="*/ 889781 w 1585235"/>
                <a:gd name="connsiteY51" fmla="*/ 303563 h 3641849"/>
                <a:gd name="connsiteX52" fmla="*/ 961827 w 1585235"/>
                <a:gd name="connsiteY52" fmla="*/ 350106 h 3641849"/>
                <a:gd name="connsiteX53" fmla="*/ 1011706 w 1585235"/>
                <a:gd name="connsiteY53" fmla="*/ 401820 h 3641849"/>
                <a:gd name="connsiteX54" fmla="*/ 1036645 w 1585235"/>
                <a:gd name="connsiteY54" fmla="*/ 440606 h 3641849"/>
                <a:gd name="connsiteX55" fmla="*/ 1069898 w 1585235"/>
                <a:gd name="connsiteY55" fmla="*/ 466462 h 3641849"/>
                <a:gd name="connsiteX56" fmla="*/ 1053270 w 1585235"/>
                <a:gd name="connsiteY56" fmla="*/ 691417 h 3641849"/>
                <a:gd name="connsiteX57" fmla="*/ 925804 w 1585235"/>
                <a:gd name="connsiteY57" fmla="*/ 771575 h 3641849"/>
                <a:gd name="connsiteX58" fmla="*/ 812192 w 1585235"/>
                <a:gd name="connsiteY58" fmla="*/ 779331 h 3641849"/>
                <a:gd name="connsiteX59" fmla="*/ 673639 w 1585235"/>
                <a:gd name="connsiteY59" fmla="*/ 758645 h 3641849"/>
                <a:gd name="connsiteX60" fmla="*/ 582195 w 1585235"/>
                <a:gd name="connsiteY60" fmla="*/ 722445 h 3641849"/>
                <a:gd name="connsiteX61" fmla="*/ 562798 w 1585235"/>
                <a:gd name="connsiteY61" fmla="*/ 750888 h 3641849"/>
                <a:gd name="connsiteX62" fmla="*/ 593440 w 1585235"/>
                <a:gd name="connsiteY62" fmla="*/ 824301 h 3641849"/>
                <a:gd name="connsiteX63" fmla="*/ 598981 w 1585235"/>
                <a:gd name="connsiteY63" fmla="*/ 951000 h 3641849"/>
                <a:gd name="connsiteX64" fmla="*/ 571111 w 1585235"/>
                <a:gd name="connsiteY64" fmla="*/ 1012043 h 3641849"/>
                <a:gd name="connsiteX65" fmla="*/ 626530 w 1585235"/>
                <a:gd name="connsiteY65" fmla="*/ 1032728 h 3641849"/>
                <a:gd name="connsiteX66" fmla="*/ 643158 w 1585235"/>
                <a:gd name="connsiteY66" fmla="*/ 1048242 h 3641849"/>
                <a:gd name="connsiteX67" fmla="*/ 668098 w 1585235"/>
                <a:gd name="connsiteY67" fmla="*/ 1074099 h 3641849"/>
                <a:gd name="connsiteX68" fmla="*/ 665327 w 1585235"/>
                <a:gd name="connsiteY68" fmla="*/ 1076685 h 3641849"/>
                <a:gd name="connsiteX69" fmla="*/ 704120 w 1585235"/>
                <a:gd name="connsiteY69" fmla="*/ 1071514 h 3641849"/>
                <a:gd name="connsiteX70" fmla="*/ 712434 w 1585235"/>
                <a:gd name="connsiteY70" fmla="*/ 1035314 h 3641849"/>
                <a:gd name="connsiteX71" fmla="*/ 673639 w 1585235"/>
                <a:gd name="connsiteY71" fmla="*/ 957743 h 3641849"/>
                <a:gd name="connsiteX72" fmla="*/ 742915 w 1585235"/>
                <a:gd name="connsiteY72" fmla="*/ 911200 h 3641849"/>
                <a:gd name="connsiteX73" fmla="*/ 810687 w 1585235"/>
                <a:gd name="connsiteY73" fmla="*/ 918934 h 3641849"/>
                <a:gd name="connsiteX74" fmla="*/ 834520 w 1585235"/>
                <a:gd name="connsiteY74" fmla="*/ 951001 h 3641849"/>
                <a:gd name="connsiteX75" fmla="*/ 990249 w 1585235"/>
                <a:gd name="connsiteY75" fmla="*/ 1007364 h 3641849"/>
                <a:gd name="connsiteX76" fmla="*/ 975841 w 1585235"/>
                <a:gd name="connsiteY76" fmla="*/ 971687 h 3641849"/>
                <a:gd name="connsiteX77" fmla="*/ 942589 w 1585235"/>
                <a:gd name="connsiteY77" fmla="*/ 932901 h 3641849"/>
                <a:gd name="connsiteX78" fmla="*/ 931505 w 1585235"/>
                <a:gd name="connsiteY78" fmla="*/ 881187 h 3641849"/>
                <a:gd name="connsiteX79" fmla="*/ 970300 w 1585235"/>
                <a:gd name="connsiteY79" fmla="*/ 832060 h 3641849"/>
                <a:gd name="connsiteX80" fmla="*/ 998010 w 1585235"/>
                <a:gd name="connsiteY80" fmla="*/ 803617 h 3641849"/>
                <a:gd name="connsiteX81" fmla="*/ 1022950 w 1585235"/>
                <a:gd name="connsiteY81" fmla="*/ 767417 h 3641849"/>
                <a:gd name="connsiteX82" fmla="*/ 1103310 w 1585235"/>
                <a:gd name="connsiteY82" fmla="*/ 762245 h 3641849"/>
                <a:gd name="connsiteX83" fmla="*/ 1108851 w 1585235"/>
                <a:gd name="connsiteY83" fmla="*/ 741560 h 3641849"/>
                <a:gd name="connsiteX84" fmla="*/ 1133791 w 1585235"/>
                <a:gd name="connsiteY84" fmla="*/ 705360 h 3641849"/>
                <a:gd name="connsiteX85" fmla="*/ 1167595 w 1585235"/>
                <a:gd name="connsiteY85" fmla="*/ 687772 h 3641849"/>
                <a:gd name="connsiteX86" fmla="*/ 1225235 w 1585235"/>
                <a:gd name="connsiteY86" fmla="*/ 700189 h 3641849"/>
                <a:gd name="connsiteX87" fmla="*/ 1264028 w 1585235"/>
                <a:gd name="connsiteY87" fmla="*/ 720875 h 3641849"/>
                <a:gd name="connsiteX88" fmla="*/ 1311136 w 1585235"/>
                <a:gd name="connsiteY88" fmla="*/ 728632 h 3641849"/>
                <a:gd name="connsiteX89" fmla="*/ 1311136 w 1585235"/>
                <a:gd name="connsiteY89" fmla="*/ 733803 h 3641849"/>
                <a:gd name="connsiteX90" fmla="*/ 1333305 w 1585235"/>
                <a:gd name="connsiteY90" fmla="*/ 674332 h 3641849"/>
                <a:gd name="connsiteX91" fmla="*/ 1343280 w 1585235"/>
                <a:gd name="connsiteY91" fmla="*/ 640714 h 3641849"/>
                <a:gd name="connsiteX92" fmla="*/ 1349931 w 1585235"/>
                <a:gd name="connsiteY92" fmla="*/ 622618 h 3641849"/>
                <a:gd name="connsiteX93" fmla="*/ 1352868 w 1585235"/>
                <a:gd name="connsiteY93" fmla="*/ 591288 h 3641849"/>
                <a:gd name="connsiteX94" fmla="*/ 1272342 w 1585235"/>
                <a:gd name="connsiteY94" fmla="*/ 545048 h 3641849"/>
                <a:gd name="connsiteX95" fmla="*/ 1258487 w 1585235"/>
                <a:gd name="connsiteY95" fmla="*/ 472648 h 3641849"/>
                <a:gd name="connsiteX96" fmla="*/ 1258487 w 1585235"/>
                <a:gd name="connsiteY96" fmla="*/ 454548 h 3641849"/>
                <a:gd name="connsiteX97" fmla="*/ 1269570 w 1585235"/>
                <a:gd name="connsiteY97" fmla="*/ 431276 h 3641849"/>
                <a:gd name="connsiteX98" fmla="*/ 1272342 w 1585235"/>
                <a:gd name="connsiteY98" fmla="*/ 415762 h 3641849"/>
                <a:gd name="connsiteX99" fmla="*/ 1272341 w 1585235"/>
                <a:gd name="connsiteY99" fmla="*/ 358878 h 3641849"/>
                <a:gd name="connsiteX100" fmla="*/ 1250173 w 1585235"/>
                <a:gd name="connsiteY100" fmla="*/ 335607 h 3641849"/>
                <a:gd name="connsiteX101" fmla="*/ 1222463 w 1585235"/>
                <a:gd name="connsiteY101" fmla="*/ 304578 h 3641849"/>
                <a:gd name="connsiteX102" fmla="*/ 1218295 w 1585235"/>
                <a:gd name="connsiteY102" fmla="*/ 280325 h 3641849"/>
                <a:gd name="connsiteX103" fmla="*/ 1269571 w 1585235"/>
                <a:gd name="connsiteY103" fmla="*/ 258034 h 3641849"/>
                <a:gd name="connsiteX104" fmla="*/ 1323151 w 1585235"/>
                <a:gd name="connsiteY104" fmla="*/ 267906 h 3641849"/>
                <a:gd name="connsiteX105" fmla="*/ 1401935 w 1585235"/>
                <a:gd name="connsiteY105" fmla="*/ 279816 h 3641849"/>
                <a:gd name="connsiteX106" fmla="*/ 1486258 w 1585235"/>
                <a:gd name="connsiteY106" fmla="*/ 349175 h 3641849"/>
                <a:gd name="connsiteX107" fmla="*/ 1548393 w 1585235"/>
                <a:gd name="connsiteY107" fmla="*/ 425271 h 3641849"/>
                <a:gd name="connsiteX108" fmla="*/ 1447422 w 1585235"/>
                <a:gd name="connsiteY108" fmla="*/ 454265 h 3641849"/>
                <a:gd name="connsiteX109" fmla="*/ 1431888 w 1585235"/>
                <a:gd name="connsiteY109" fmla="*/ 501372 h 3641849"/>
                <a:gd name="connsiteX110" fmla="*/ 1489558 w 1585235"/>
                <a:gd name="connsiteY110" fmla="*/ 585862 h 3641849"/>
                <a:gd name="connsiteX111" fmla="*/ 1525092 w 1585235"/>
                <a:gd name="connsiteY111" fmla="*/ 591964 h 3641849"/>
                <a:gd name="connsiteX112" fmla="*/ 1577712 w 1585235"/>
                <a:gd name="connsiteY112" fmla="*/ 598304 h 3641849"/>
                <a:gd name="connsiteX113" fmla="*/ 1572749 w 1585235"/>
                <a:gd name="connsiteY113" fmla="*/ 709079 h 3641849"/>
                <a:gd name="connsiteX114" fmla="*/ 1583818 w 1585235"/>
                <a:gd name="connsiteY114" fmla="*/ 1040047 h 3641849"/>
                <a:gd name="connsiteX115" fmla="*/ 1574950 w 1585235"/>
                <a:gd name="connsiteY115" fmla="*/ 1842646 h 3641849"/>
                <a:gd name="connsiteX116" fmla="*/ 1583817 w 1585235"/>
                <a:gd name="connsiteY116" fmla="*/ 2297728 h 3641849"/>
                <a:gd name="connsiteX117" fmla="*/ 1557369 w 1585235"/>
                <a:gd name="connsiteY117" fmla="*/ 3607693 h 3641849"/>
                <a:gd name="connsiteX118" fmla="*/ 1298942 w 1585235"/>
                <a:gd name="connsiteY118" fmla="*/ 3564098 h 3641849"/>
                <a:gd name="connsiteX119" fmla="*/ 1130464 w 1585235"/>
                <a:gd name="connsiteY119" fmla="*/ 3497903 h 3641849"/>
                <a:gd name="connsiteX120" fmla="*/ 953118 w 1585235"/>
                <a:gd name="connsiteY120" fmla="*/ 3406887 h 3641849"/>
                <a:gd name="connsiteX121" fmla="*/ 854820 w 1585235"/>
                <a:gd name="connsiteY121" fmla="*/ 3326370 h 3641849"/>
                <a:gd name="connsiteX122" fmla="*/ 1149082 w 1585235"/>
                <a:gd name="connsiteY122" fmla="*/ 3018734 h 3641849"/>
                <a:gd name="connsiteX123" fmla="*/ 865328 w 1585235"/>
                <a:gd name="connsiteY123" fmla="*/ 2480910 h 3641849"/>
                <a:gd name="connsiteX124" fmla="*/ 1007678 w 1585235"/>
                <a:gd name="connsiteY124" fmla="*/ 2241825 h 3641849"/>
                <a:gd name="connsiteX125" fmla="*/ 820991 w 1585235"/>
                <a:gd name="connsiteY125" fmla="*/ 1703134 h 3641849"/>
                <a:gd name="connsiteX126" fmla="*/ 572707 w 1585235"/>
                <a:gd name="connsiteY126" fmla="*/ 1471456 h 3641849"/>
                <a:gd name="connsiteX127" fmla="*/ 103851 w 1585235"/>
                <a:gd name="connsiteY127" fmla="*/ 2159767 h 3641849"/>
                <a:gd name="connsiteX0" fmla="*/ 172846 w 1654230"/>
                <a:gd name="connsiteY0" fmla="*/ 2159767 h 3641849"/>
                <a:gd name="connsiteX1" fmla="*/ 144093 w 1654230"/>
                <a:gd name="connsiteY1" fmla="*/ 1725696 h 3641849"/>
                <a:gd name="connsiteX2" fmla="*/ 119153 w 1654230"/>
                <a:gd name="connsiteY2" fmla="*/ 1689496 h 3641849"/>
                <a:gd name="connsiteX3" fmla="*/ 99757 w 1654230"/>
                <a:gd name="connsiteY3" fmla="*/ 1679153 h 3641849"/>
                <a:gd name="connsiteX4" fmla="*/ 0 w 1654230"/>
                <a:gd name="connsiteY4" fmla="*/ 1686909 h 3641849"/>
                <a:gd name="connsiteX5" fmla="*/ 72045 w 1654230"/>
                <a:gd name="connsiteY5" fmla="*/ 1645538 h 3641849"/>
                <a:gd name="connsiteX6" fmla="*/ 146864 w 1654230"/>
                <a:gd name="connsiteY6" fmla="*/ 1650711 h 3641849"/>
                <a:gd name="connsiteX7" fmla="*/ 174575 w 1654230"/>
                <a:gd name="connsiteY7" fmla="*/ 1627440 h 3641849"/>
                <a:gd name="connsiteX8" fmla="*/ 268790 w 1654230"/>
                <a:gd name="connsiteY8" fmla="*/ 1536941 h 3641849"/>
                <a:gd name="connsiteX9" fmla="*/ 293729 w 1654230"/>
                <a:gd name="connsiteY9" fmla="*/ 1505912 h 3641849"/>
                <a:gd name="connsiteX10" fmla="*/ 279875 w 1654230"/>
                <a:gd name="connsiteY10" fmla="*/ 1555040 h 3641849"/>
                <a:gd name="connsiteX11" fmla="*/ 299271 w 1654230"/>
                <a:gd name="connsiteY11" fmla="*/ 1588655 h 3641849"/>
                <a:gd name="connsiteX12" fmla="*/ 343608 w 1654230"/>
                <a:gd name="connsiteY12" fmla="*/ 1666225 h 3641849"/>
                <a:gd name="connsiteX13" fmla="*/ 412884 w 1654230"/>
                <a:gd name="connsiteY13" fmla="*/ 1653297 h 3641849"/>
                <a:gd name="connsiteX14" fmla="*/ 432280 w 1654230"/>
                <a:gd name="connsiteY14" fmla="*/ 1622268 h 3641849"/>
                <a:gd name="connsiteX15" fmla="*/ 446136 w 1654230"/>
                <a:gd name="connsiteY15" fmla="*/ 1557627 h 3641849"/>
                <a:gd name="connsiteX16" fmla="*/ 385173 w 1654230"/>
                <a:gd name="connsiteY16" fmla="*/ 1511084 h 3641849"/>
                <a:gd name="connsiteX17" fmla="*/ 340837 w 1654230"/>
                <a:gd name="connsiteY17" fmla="*/ 1485227 h 3641849"/>
                <a:gd name="connsiteX18" fmla="*/ 279875 w 1654230"/>
                <a:gd name="connsiteY18" fmla="*/ 1495570 h 3641849"/>
                <a:gd name="connsiteX19" fmla="*/ 457221 w 1654230"/>
                <a:gd name="connsiteY19" fmla="*/ 1299057 h 3641849"/>
                <a:gd name="connsiteX20" fmla="*/ 304814 w 1654230"/>
                <a:gd name="connsiteY20" fmla="*/ 1151672 h 3641849"/>
                <a:gd name="connsiteX21" fmla="*/ 365777 w 1654230"/>
                <a:gd name="connsiteY21" fmla="*/ 1089617 h 3641849"/>
                <a:gd name="connsiteX22" fmla="*/ 299272 w 1654230"/>
                <a:gd name="connsiteY22" fmla="*/ 1050829 h 3641849"/>
                <a:gd name="connsiteX23" fmla="*/ 340837 w 1654230"/>
                <a:gd name="connsiteY23" fmla="*/ 1019802 h 3641849"/>
                <a:gd name="connsiteX24" fmla="*/ 293731 w 1654230"/>
                <a:gd name="connsiteY24" fmla="*/ 993947 h 3641849"/>
                <a:gd name="connsiteX25" fmla="*/ 293730 w 1654230"/>
                <a:gd name="connsiteY25" fmla="*/ 794845 h 3641849"/>
                <a:gd name="connsiteX26" fmla="*/ 332525 w 1654230"/>
                <a:gd name="connsiteY26" fmla="*/ 779332 h 3641849"/>
                <a:gd name="connsiteX27" fmla="*/ 218912 w 1654230"/>
                <a:gd name="connsiteY27" fmla="*/ 551792 h 3641849"/>
                <a:gd name="connsiteX28" fmla="*/ 216141 w 1654230"/>
                <a:gd name="connsiteY28" fmla="*/ 551792 h 3641849"/>
                <a:gd name="connsiteX29" fmla="*/ 266019 w 1654230"/>
                <a:gd name="connsiteY29" fmla="*/ 469048 h 3641849"/>
                <a:gd name="connsiteX30" fmla="*/ 282645 w 1654230"/>
                <a:gd name="connsiteY30" fmla="*/ 378550 h 3641849"/>
                <a:gd name="connsiteX31" fmla="*/ 207826 w 1654230"/>
                <a:gd name="connsiteY31" fmla="*/ 319079 h 3641849"/>
                <a:gd name="connsiteX32" fmla="*/ 199514 w 1654230"/>
                <a:gd name="connsiteY32" fmla="*/ 251851 h 3641849"/>
                <a:gd name="connsiteX33" fmla="*/ 254934 w 1654230"/>
                <a:gd name="connsiteY33" fmla="*/ 158764 h 3641849"/>
                <a:gd name="connsiteX34" fmla="*/ 274332 w 1654230"/>
                <a:gd name="connsiteY34" fmla="*/ 135494 h 3641849"/>
                <a:gd name="connsiteX35" fmla="*/ 288187 w 1654230"/>
                <a:gd name="connsiteY35" fmla="*/ 117394 h 3641849"/>
                <a:gd name="connsiteX36" fmla="*/ 296500 w 1654230"/>
                <a:gd name="connsiteY36" fmla="*/ 73438 h 3641849"/>
                <a:gd name="connsiteX37" fmla="*/ 321439 w 1654230"/>
                <a:gd name="connsiteY37" fmla="*/ 101880 h 3641849"/>
                <a:gd name="connsiteX38" fmla="*/ 351921 w 1654230"/>
                <a:gd name="connsiteY38" fmla="*/ 88952 h 3641849"/>
                <a:gd name="connsiteX39" fmla="*/ 354691 w 1654230"/>
                <a:gd name="connsiteY39" fmla="*/ 63095 h 3641849"/>
                <a:gd name="connsiteX40" fmla="*/ 363005 w 1654230"/>
                <a:gd name="connsiteY40" fmla="*/ 34652 h 3641849"/>
                <a:gd name="connsiteX41" fmla="*/ 365777 w 1654230"/>
                <a:gd name="connsiteY41" fmla="*/ 3624 h 3641849"/>
                <a:gd name="connsiteX42" fmla="*/ 501557 w 1654230"/>
                <a:gd name="connsiteY42" fmla="*/ 57924 h 3641849"/>
                <a:gd name="connsiteX43" fmla="*/ 532037 w 1654230"/>
                <a:gd name="connsiteY43" fmla="*/ 161352 h 3641849"/>
                <a:gd name="connsiteX44" fmla="*/ 545893 w 1654230"/>
                <a:gd name="connsiteY44" fmla="*/ 184622 h 3641849"/>
                <a:gd name="connsiteX45" fmla="*/ 556977 w 1654230"/>
                <a:gd name="connsiteY45" fmla="*/ 187208 h 3641849"/>
                <a:gd name="connsiteX46" fmla="*/ 670589 w 1654230"/>
                <a:gd name="connsiteY46" fmla="*/ 156181 h 3641849"/>
                <a:gd name="connsiteX47" fmla="*/ 737094 w 1654230"/>
                <a:gd name="connsiteY47" fmla="*/ 166522 h 3641849"/>
                <a:gd name="connsiteX48" fmla="*/ 800828 w 1654230"/>
                <a:gd name="connsiteY48" fmla="*/ 213065 h 3641849"/>
                <a:gd name="connsiteX49" fmla="*/ 814855 w 1654230"/>
                <a:gd name="connsiteY49" fmla="*/ 242621 h 3641849"/>
                <a:gd name="connsiteX50" fmla="*/ 870102 w 1654230"/>
                <a:gd name="connsiteY50" fmla="*/ 277708 h 3641849"/>
                <a:gd name="connsiteX51" fmla="*/ 958776 w 1654230"/>
                <a:gd name="connsiteY51" fmla="*/ 303563 h 3641849"/>
                <a:gd name="connsiteX52" fmla="*/ 1030822 w 1654230"/>
                <a:gd name="connsiteY52" fmla="*/ 350106 h 3641849"/>
                <a:gd name="connsiteX53" fmla="*/ 1080701 w 1654230"/>
                <a:gd name="connsiteY53" fmla="*/ 401820 h 3641849"/>
                <a:gd name="connsiteX54" fmla="*/ 1105640 w 1654230"/>
                <a:gd name="connsiteY54" fmla="*/ 440606 h 3641849"/>
                <a:gd name="connsiteX55" fmla="*/ 1138893 w 1654230"/>
                <a:gd name="connsiteY55" fmla="*/ 466462 h 3641849"/>
                <a:gd name="connsiteX56" fmla="*/ 1122265 w 1654230"/>
                <a:gd name="connsiteY56" fmla="*/ 691417 h 3641849"/>
                <a:gd name="connsiteX57" fmla="*/ 994799 w 1654230"/>
                <a:gd name="connsiteY57" fmla="*/ 771575 h 3641849"/>
                <a:gd name="connsiteX58" fmla="*/ 881187 w 1654230"/>
                <a:gd name="connsiteY58" fmla="*/ 779331 h 3641849"/>
                <a:gd name="connsiteX59" fmla="*/ 742634 w 1654230"/>
                <a:gd name="connsiteY59" fmla="*/ 758645 h 3641849"/>
                <a:gd name="connsiteX60" fmla="*/ 651190 w 1654230"/>
                <a:gd name="connsiteY60" fmla="*/ 722445 h 3641849"/>
                <a:gd name="connsiteX61" fmla="*/ 631793 w 1654230"/>
                <a:gd name="connsiteY61" fmla="*/ 750888 h 3641849"/>
                <a:gd name="connsiteX62" fmla="*/ 662435 w 1654230"/>
                <a:gd name="connsiteY62" fmla="*/ 824301 h 3641849"/>
                <a:gd name="connsiteX63" fmla="*/ 667976 w 1654230"/>
                <a:gd name="connsiteY63" fmla="*/ 951000 h 3641849"/>
                <a:gd name="connsiteX64" fmla="*/ 640106 w 1654230"/>
                <a:gd name="connsiteY64" fmla="*/ 1012043 h 3641849"/>
                <a:gd name="connsiteX65" fmla="*/ 695525 w 1654230"/>
                <a:gd name="connsiteY65" fmla="*/ 1032728 h 3641849"/>
                <a:gd name="connsiteX66" fmla="*/ 712153 w 1654230"/>
                <a:gd name="connsiteY66" fmla="*/ 1048242 h 3641849"/>
                <a:gd name="connsiteX67" fmla="*/ 737093 w 1654230"/>
                <a:gd name="connsiteY67" fmla="*/ 1074099 h 3641849"/>
                <a:gd name="connsiteX68" fmla="*/ 734322 w 1654230"/>
                <a:gd name="connsiteY68" fmla="*/ 1076685 h 3641849"/>
                <a:gd name="connsiteX69" fmla="*/ 773115 w 1654230"/>
                <a:gd name="connsiteY69" fmla="*/ 1071514 h 3641849"/>
                <a:gd name="connsiteX70" fmla="*/ 781429 w 1654230"/>
                <a:gd name="connsiteY70" fmla="*/ 1035314 h 3641849"/>
                <a:gd name="connsiteX71" fmla="*/ 742634 w 1654230"/>
                <a:gd name="connsiteY71" fmla="*/ 957743 h 3641849"/>
                <a:gd name="connsiteX72" fmla="*/ 811910 w 1654230"/>
                <a:gd name="connsiteY72" fmla="*/ 911200 h 3641849"/>
                <a:gd name="connsiteX73" fmla="*/ 879682 w 1654230"/>
                <a:gd name="connsiteY73" fmla="*/ 918934 h 3641849"/>
                <a:gd name="connsiteX74" fmla="*/ 903515 w 1654230"/>
                <a:gd name="connsiteY74" fmla="*/ 951001 h 3641849"/>
                <a:gd name="connsiteX75" fmla="*/ 1059244 w 1654230"/>
                <a:gd name="connsiteY75" fmla="*/ 1007364 h 3641849"/>
                <a:gd name="connsiteX76" fmla="*/ 1044836 w 1654230"/>
                <a:gd name="connsiteY76" fmla="*/ 971687 h 3641849"/>
                <a:gd name="connsiteX77" fmla="*/ 1011584 w 1654230"/>
                <a:gd name="connsiteY77" fmla="*/ 932901 h 3641849"/>
                <a:gd name="connsiteX78" fmla="*/ 1000500 w 1654230"/>
                <a:gd name="connsiteY78" fmla="*/ 881187 h 3641849"/>
                <a:gd name="connsiteX79" fmla="*/ 1039295 w 1654230"/>
                <a:gd name="connsiteY79" fmla="*/ 832060 h 3641849"/>
                <a:gd name="connsiteX80" fmla="*/ 1067005 w 1654230"/>
                <a:gd name="connsiteY80" fmla="*/ 803617 h 3641849"/>
                <a:gd name="connsiteX81" fmla="*/ 1091945 w 1654230"/>
                <a:gd name="connsiteY81" fmla="*/ 767417 h 3641849"/>
                <a:gd name="connsiteX82" fmla="*/ 1172305 w 1654230"/>
                <a:gd name="connsiteY82" fmla="*/ 762245 h 3641849"/>
                <a:gd name="connsiteX83" fmla="*/ 1177846 w 1654230"/>
                <a:gd name="connsiteY83" fmla="*/ 741560 h 3641849"/>
                <a:gd name="connsiteX84" fmla="*/ 1202786 w 1654230"/>
                <a:gd name="connsiteY84" fmla="*/ 705360 h 3641849"/>
                <a:gd name="connsiteX85" fmla="*/ 1236590 w 1654230"/>
                <a:gd name="connsiteY85" fmla="*/ 687772 h 3641849"/>
                <a:gd name="connsiteX86" fmla="*/ 1294230 w 1654230"/>
                <a:gd name="connsiteY86" fmla="*/ 700189 h 3641849"/>
                <a:gd name="connsiteX87" fmla="*/ 1333023 w 1654230"/>
                <a:gd name="connsiteY87" fmla="*/ 720875 h 3641849"/>
                <a:gd name="connsiteX88" fmla="*/ 1380131 w 1654230"/>
                <a:gd name="connsiteY88" fmla="*/ 728632 h 3641849"/>
                <a:gd name="connsiteX89" fmla="*/ 1380131 w 1654230"/>
                <a:gd name="connsiteY89" fmla="*/ 733803 h 3641849"/>
                <a:gd name="connsiteX90" fmla="*/ 1402300 w 1654230"/>
                <a:gd name="connsiteY90" fmla="*/ 674332 h 3641849"/>
                <a:gd name="connsiteX91" fmla="*/ 1412275 w 1654230"/>
                <a:gd name="connsiteY91" fmla="*/ 640714 h 3641849"/>
                <a:gd name="connsiteX92" fmla="*/ 1418926 w 1654230"/>
                <a:gd name="connsiteY92" fmla="*/ 622618 h 3641849"/>
                <a:gd name="connsiteX93" fmla="*/ 1421863 w 1654230"/>
                <a:gd name="connsiteY93" fmla="*/ 591288 h 3641849"/>
                <a:gd name="connsiteX94" fmla="*/ 1341337 w 1654230"/>
                <a:gd name="connsiteY94" fmla="*/ 545048 h 3641849"/>
                <a:gd name="connsiteX95" fmla="*/ 1327482 w 1654230"/>
                <a:gd name="connsiteY95" fmla="*/ 472648 h 3641849"/>
                <a:gd name="connsiteX96" fmla="*/ 1327482 w 1654230"/>
                <a:gd name="connsiteY96" fmla="*/ 454548 h 3641849"/>
                <a:gd name="connsiteX97" fmla="*/ 1338565 w 1654230"/>
                <a:gd name="connsiteY97" fmla="*/ 431276 h 3641849"/>
                <a:gd name="connsiteX98" fmla="*/ 1341337 w 1654230"/>
                <a:gd name="connsiteY98" fmla="*/ 415762 h 3641849"/>
                <a:gd name="connsiteX99" fmla="*/ 1341336 w 1654230"/>
                <a:gd name="connsiteY99" fmla="*/ 358878 h 3641849"/>
                <a:gd name="connsiteX100" fmla="*/ 1319168 w 1654230"/>
                <a:gd name="connsiteY100" fmla="*/ 335607 h 3641849"/>
                <a:gd name="connsiteX101" fmla="*/ 1291458 w 1654230"/>
                <a:gd name="connsiteY101" fmla="*/ 304578 h 3641849"/>
                <a:gd name="connsiteX102" fmla="*/ 1287290 w 1654230"/>
                <a:gd name="connsiteY102" fmla="*/ 280325 h 3641849"/>
                <a:gd name="connsiteX103" fmla="*/ 1338566 w 1654230"/>
                <a:gd name="connsiteY103" fmla="*/ 258034 h 3641849"/>
                <a:gd name="connsiteX104" fmla="*/ 1392146 w 1654230"/>
                <a:gd name="connsiteY104" fmla="*/ 267906 h 3641849"/>
                <a:gd name="connsiteX105" fmla="*/ 1470930 w 1654230"/>
                <a:gd name="connsiteY105" fmla="*/ 279816 h 3641849"/>
                <a:gd name="connsiteX106" fmla="*/ 1555253 w 1654230"/>
                <a:gd name="connsiteY106" fmla="*/ 349175 h 3641849"/>
                <a:gd name="connsiteX107" fmla="*/ 1617388 w 1654230"/>
                <a:gd name="connsiteY107" fmla="*/ 425271 h 3641849"/>
                <a:gd name="connsiteX108" fmla="*/ 1516417 w 1654230"/>
                <a:gd name="connsiteY108" fmla="*/ 454265 h 3641849"/>
                <a:gd name="connsiteX109" fmla="*/ 1500883 w 1654230"/>
                <a:gd name="connsiteY109" fmla="*/ 501372 h 3641849"/>
                <a:gd name="connsiteX110" fmla="*/ 1558553 w 1654230"/>
                <a:gd name="connsiteY110" fmla="*/ 585862 h 3641849"/>
                <a:gd name="connsiteX111" fmla="*/ 1594087 w 1654230"/>
                <a:gd name="connsiteY111" fmla="*/ 591964 h 3641849"/>
                <a:gd name="connsiteX112" fmla="*/ 1646707 w 1654230"/>
                <a:gd name="connsiteY112" fmla="*/ 598304 h 3641849"/>
                <a:gd name="connsiteX113" fmla="*/ 1641744 w 1654230"/>
                <a:gd name="connsiteY113" fmla="*/ 709079 h 3641849"/>
                <a:gd name="connsiteX114" fmla="*/ 1652813 w 1654230"/>
                <a:gd name="connsiteY114" fmla="*/ 1040047 h 3641849"/>
                <a:gd name="connsiteX115" fmla="*/ 1643945 w 1654230"/>
                <a:gd name="connsiteY115" fmla="*/ 1842646 h 3641849"/>
                <a:gd name="connsiteX116" fmla="*/ 1652812 w 1654230"/>
                <a:gd name="connsiteY116" fmla="*/ 2297728 h 3641849"/>
                <a:gd name="connsiteX117" fmla="*/ 1626364 w 1654230"/>
                <a:gd name="connsiteY117" fmla="*/ 3607693 h 3641849"/>
                <a:gd name="connsiteX118" fmla="*/ 1367937 w 1654230"/>
                <a:gd name="connsiteY118" fmla="*/ 3564098 h 3641849"/>
                <a:gd name="connsiteX119" fmla="*/ 1199459 w 1654230"/>
                <a:gd name="connsiteY119" fmla="*/ 3497903 h 3641849"/>
                <a:gd name="connsiteX120" fmla="*/ 1022113 w 1654230"/>
                <a:gd name="connsiteY120" fmla="*/ 3406887 h 3641849"/>
                <a:gd name="connsiteX121" fmla="*/ 923815 w 1654230"/>
                <a:gd name="connsiteY121" fmla="*/ 3326370 h 3641849"/>
                <a:gd name="connsiteX122" fmla="*/ 1218077 w 1654230"/>
                <a:gd name="connsiteY122" fmla="*/ 3018734 h 3641849"/>
                <a:gd name="connsiteX123" fmla="*/ 934323 w 1654230"/>
                <a:gd name="connsiteY123" fmla="*/ 2480910 h 3641849"/>
                <a:gd name="connsiteX124" fmla="*/ 1076673 w 1654230"/>
                <a:gd name="connsiteY124" fmla="*/ 2241825 h 3641849"/>
                <a:gd name="connsiteX125" fmla="*/ 889986 w 1654230"/>
                <a:gd name="connsiteY125" fmla="*/ 1703134 h 3641849"/>
                <a:gd name="connsiteX126" fmla="*/ 641702 w 1654230"/>
                <a:gd name="connsiteY126" fmla="*/ 1471456 h 3641849"/>
                <a:gd name="connsiteX127" fmla="*/ 172846 w 1654230"/>
                <a:gd name="connsiteY127" fmla="*/ 2159767 h 3641849"/>
                <a:gd name="connsiteX0" fmla="*/ 172846 w 1654230"/>
                <a:gd name="connsiteY0" fmla="*/ 2159767 h 3641849"/>
                <a:gd name="connsiteX1" fmla="*/ 144093 w 1654230"/>
                <a:gd name="connsiteY1" fmla="*/ 1725696 h 3641849"/>
                <a:gd name="connsiteX2" fmla="*/ 119153 w 1654230"/>
                <a:gd name="connsiteY2" fmla="*/ 1689496 h 3641849"/>
                <a:gd name="connsiteX3" fmla="*/ 99757 w 1654230"/>
                <a:gd name="connsiteY3" fmla="*/ 1679153 h 3641849"/>
                <a:gd name="connsiteX4" fmla="*/ 0 w 1654230"/>
                <a:gd name="connsiteY4" fmla="*/ 1686909 h 3641849"/>
                <a:gd name="connsiteX5" fmla="*/ 72045 w 1654230"/>
                <a:gd name="connsiteY5" fmla="*/ 1645538 h 3641849"/>
                <a:gd name="connsiteX6" fmla="*/ 146864 w 1654230"/>
                <a:gd name="connsiteY6" fmla="*/ 1650711 h 3641849"/>
                <a:gd name="connsiteX7" fmla="*/ 174575 w 1654230"/>
                <a:gd name="connsiteY7" fmla="*/ 1627440 h 3641849"/>
                <a:gd name="connsiteX8" fmla="*/ 268790 w 1654230"/>
                <a:gd name="connsiteY8" fmla="*/ 1536941 h 3641849"/>
                <a:gd name="connsiteX9" fmla="*/ 293729 w 1654230"/>
                <a:gd name="connsiteY9" fmla="*/ 1505912 h 3641849"/>
                <a:gd name="connsiteX10" fmla="*/ 279875 w 1654230"/>
                <a:gd name="connsiteY10" fmla="*/ 1555040 h 3641849"/>
                <a:gd name="connsiteX11" fmla="*/ 299271 w 1654230"/>
                <a:gd name="connsiteY11" fmla="*/ 1588655 h 3641849"/>
                <a:gd name="connsiteX12" fmla="*/ 343608 w 1654230"/>
                <a:gd name="connsiteY12" fmla="*/ 1666225 h 3641849"/>
                <a:gd name="connsiteX13" fmla="*/ 412884 w 1654230"/>
                <a:gd name="connsiteY13" fmla="*/ 1653297 h 3641849"/>
                <a:gd name="connsiteX14" fmla="*/ 432280 w 1654230"/>
                <a:gd name="connsiteY14" fmla="*/ 1622268 h 3641849"/>
                <a:gd name="connsiteX15" fmla="*/ 446136 w 1654230"/>
                <a:gd name="connsiteY15" fmla="*/ 1557627 h 3641849"/>
                <a:gd name="connsiteX16" fmla="*/ 385173 w 1654230"/>
                <a:gd name="connsiteY16" fmla="*/ 1511084 h 3641849"/>
                <a:gd name="connsiteX17" fmla="*/ 340837 w 1654230"/>
                <a:gd name="connsiteY17" fmla="*/ 1485227 h 3641849"/>
                <a:gd name="connsiteX18" fmla="*/ 279875 w 1654230"/>
                <a:gd name="connsiteY18" fmla="*/ 1495570 h 3641849"/>
                <a:gd name="connsiteX19" fmla="*/ 457221 w 1654230"/>
                <a:gd name="connsiteY19" fmla="*/ 1299057 h 3641849"/>
                <a:gd name="connsiteX20" fmla="*/ 304814 w 1654230"/>
                <a:gd name="connsiteY20" fmla="*/ 1151672 h 3641849"/>
                <a:gd name="connsiteX21" fmla="*/ 365777 w 1654230"/>
                <a:gd name="connsiteY21" fmla="*/ 1089617 h 3641849"/>
                <a:gd name="connsiteX22" fmla="*/ 299272 w 1654230"/>
                <a:gd name="connsiteY22" fmla="*/ 1050829 h 3641849"/>
                <a:gd name="connsiteX23" fmla="*/ 340837 w 1654230"/>
                <a:gd name="connsiteY23" fmla="*/ 1019802 h 3641849"/>
                <a:gd name="connsiteX24" fmla="*/ 293731 w 1654230"/>
                <a:gd name="connsiteY24" fmla="*/ 993947 h 3641849"/>
                <a:gd name="connsiteX25" fmla="*/ 293730 w 1654230"/>
                <a:gd name="connsiteY25" fmla="*/ 794845 h 3641849"/>
                <a:gd name="connsiteX26" fmla="*/ 332525 w 1654230"/>
                <a:gd name="connsiteY26" fmla="*/ 779332 h 3641849"/>
                <a:gd name="connsiteX27" fmla="*/ 218912 w 1654230"/>
                <a:gd name="connsiteY27" fmla="*/ 551792 h 3641849"/>
                <a:gd name="connsiteX28" fmla="*/ 216141 w 1654230"/>
                <a:gd name="connsiteY28" fmla="*/ 551792 h 3641849"/>
                <a:gd name="connsiteX29" fmla="*/ 266019 w 1654230"/>
                <a:gd name="connsiteY29" fmla="*/ 469048 h 3641849"/>
                <a:gd name="connsiteX30" fmla="*/ 282645 w 1654230"/>
                <a:gd name="connsiteY30" fmla="*/ 378550 h 3641849"/>
                <a:gd name="connsiteX31" fmla="*/ 207826 w 1654230"/>
                <a:gd name="connsiteY31" fmla="*/ 319079 h 3641849"/>
                <a:gd name="connsiteX32" fmla="*/ 199514 w 1654230"/>
                <a:gd name="connsiteY32" fmla="*/ 251851 h 3641849"/>
                <a:gd name="connsiteX33" fmla="*/ 254934 w 1654230"/>
                <a:gd name="connsiteY33" fmla="*/ 158764 h 3641849"/>
                <a:gd name="connsiteX34" fmla="*/ 274332 w 1654230"/>
                <a:gd name="connsiteY34" fmla="*/ 135494 h 3641849"/>
                <a:gd name="connsiteX35" fmla="*/ 288187 w 1654230"/>
                <a:gd name="connsiteY35" fmla="*/ 117394 h 3641849"/>
                <a:gd name="connsiteX36" fmla="*/ 296500 w 1654230"/>
                <a:gd name="connsiteY36" fmla="*/ 73438 h 3641849"/>
                <a:gd name="connsiteX37" fmla="*/ 321439 w 1654230"/>
                <a:gd name="connsiteY37" fmla="*/ 101880 h 3641849"/>
                <a:gd name="connsiteX38" fmla="*/ 351921 w 1654230"/>
                <a:gd name="connsiteY38" fmla="*/ 88952 h 3641849"/>
                <a:gd name="connsiteX39" fmla="*/ 354691 w 1654230"/>
                <a:gd name="connsiteY39" fmla="*/ 63095 h 3641849"/>
                <a:gd name="connsiteX40" fmla="*/ 363005 w 1654230"/>
                <a:gd name="connsiteY40" fmla="*/ 34652 h 3641849"/>
                <a:gd name="connsiteX41" fmla="*/ 365777 w 1654230"/>
                <a:gd name="connsiteY41" fmla="*/ 3624 h 3641849"/>
                <a:gd name="connsiteX42" fmla="*/ 501557 w 1654230"/>
                <a:gd name="connsiteY42" fmla="*/ 57924 h 3641849"/>
                <a:gd name="connsiteX43" fmla="*/ 532037 w 1654230"/>
                <a:gd name="connsiteY43" fmla="*/ 161352 h 3641849"/>
                <a:gd name="connsiteX44" fmla="*/ 545893 w 1654230"/>
                <a:gd name="connsiteY44" fmla="*/ 184622 h 3641849"/>
                <a:gd name="connsiteX45" fmla="*/ 556977 w 1654230"/>
                <a:gd name="connsiteY45" fmla="*/ 187208 h 3641849"/>
                <a:gd name="connsiteX46" fmla="*/ 670589 w 1654230"/>
                <a:gd name="connsiteY46" fmla="*/ 156181 h 3641849"/>
                <a:gd name="connsiteX47" fmla="*/ 737094 w 1654230"/>
                <a:gd name="connsiteY47" fmla="*/ 166522 h 3641849"/>
                <a:gd name="connsiteX48" fmla="*/ 800828 w 1654230"/>
                <a:gd name="connsiteY48" fmla="*/ 213065 h 3641849"/>
                <a:gd name="connsiteX49" fmla="*/ 814855 w 1654230"/>
                <a:gd name="connsiteY49" fmla="*/ 242621 h 3641849"/>
                <a:gd name="connsiteX50" fmla="*/ 870102 w 1654230"/>
                <a:gd name="connsiteY50" fmla="*/ 277708 h 3641849"/>
                <a:gd name="connsiteX51" fmla="*/ 958776 w 1654230"/>
                <a:gd name="connsiteY51" fmla="*/ 303563 h 3641849"/>
                <a:gd name="connsiteX52" fmla="*/ 1030822 w 1654230"/>
                <a:gd name="connsiteY52" fmla="*/ 350106 h 3641849"/>
                <a:gd name="connsiteX53" fmla="*/ 1080701 w 1654230"/>
                <a:gd name="connsiteY53" fmla="*/ 401820 h 3641849"/>
                <a:gd name="connsiteX54" fmla="*/ 1105640 w 1654230"/>
                <a:gd name="connsiteY54" fmla="*/ 440606 h 3641849"/>
                <a:gd name="connsiteX55" fmla="*/ 1138893 w 1654230"/>
                <a:gd name="connsiteY55" fmla="*/ 466462 h 3641849"/>
                <a:gd name="connsiteX56" fmla="*/ 1122265 w 1654230"/>
                <a:gd name="connsiteY56" fmla="*/ 691417 h 3641849"/>
                <a:gd name="connsiteX57" fmla="*/ 994799 w 1654230"/>
                <a:gd name="connsiteY57" fmla="*/ 771575 h 3641849"/>
                <a:gd name="connsiteX58" fmla="*/ 881187 w 1654230"/>
                <a:gd name="connsiteY58" fmla="*/ 779331 h 3641849"/>
                <a:gd name="connsiteX59" fmla="*/ 742634 w 1654230"/>
                <a:gd name="connsiteY59" fmla="*/ 758645 h 3641849"/>
                <a:gd name="connsiteX60" fmla="*/ 651190 w 1654230"/>
                <a:gd name="connsiteY60" fmla="*/ 722445 h 3641849"/>
                <a:gd name="connsiteX61" fmla="*/ 631793 w 1654230"/>
                <a:gd name="connsiteY61" fmla="*/ 750888 h 3641849"/>
                <a:gd name="connsiteX62" fmla="*/ 662435 w 1654230"/>
                <a:gd name="connsiteY62" fmla="*/ 824301 h 3641849"/>
                <a:gd name="connsiteX63" fmla="*/ 667976 w 1654230"/>
                <a:gd name="connsiteY63" fmla="*/ 951000 h 3641849"/>
                <a:gd name="connsiteX64" fmla="*/ 640106 w 1654230"/>
                <a:gd name="connsiteY64" fmla="*/ 1012043 h 3641849"/>
                <a:gd name="connsiteX65" fmla="*/ 695525 w 1654230"/>
                <a:gd name="connsiteY65" fmla="*/ 1032728 h 3641849"/>
                <a:gd name="connsiteX66" fmla="*/ 712153 w 1654230"/>
                <a:gd name="connsiteY66" fmla="*/ 1048242 h 3641849"/>
                <a:gd name="connsiteX67" fmla="*/ 737093 w 1654230"/>
                <a:gd name="connsiteY67" fmla="*/ 1074099 h 3641849"/>
                <a:gd name="connsiteX68" fmla="*/ 734322 w 1654230"/>
                <a:gd name="connsiteY68" fmla="*/ 1076685 h 3641849"/>
                <a:gd name="connsiteX69" fmla="*/ 773115 w 1654230"/>
                <a:gd name="connsiteY69" fmla="*/ 1071514 h 3641849"/>
                <a:gd name="connsiteX70" fmla="*/ 781429 w 1654230"/>
                <a:gd name="connsiteY70" fmla="*/ 1035314 h 3641849"/>
                <a:gd name="connsiteX71" fmla="*/ 742634 w 1654230"/>
                <a:gd name="connsiteY71" fmla="*/ 957743 h 3641849"/>
                <a:gd name="connsiteX72" fmla="*/ 811910 w 1654230"/>
                <a:gd name="connsiteY72" fmla="*/ 911200 h 3641849"/>
                <a:gd name="connsiteX73" fmla="*/ 879682 w 1654230"/>
                <a:gd name="connsiteY73" fmla="*/ 918934 h 3641849"/>
                <a:gd name="connsiteX74" fmla="*/ 903515 w 1654230"/>
                <a:gd name="connsiteY74" fmla="*/ 951001 h 3641849"/>
                <a:gd name="connsiteX75" fmla="*/ 1059244 w 1654230"/>
                <a:gd name="connsiteY75" fmla="*/ 1007364 h 3641849"/>
                <a:gd name="connsiteX76" fmla="*/ 1044836 w 1654230"/>
                <a:gd name="connsiteY76" fmla="*/ 971687 h 3641849"/>
                <a:gd name="connsiteX77" fmla="*/ 1011584 w 1654230"/>
                <a:gd name="connsiteY77" fmla="*/ 932901 h 3641849"/>
                <a:gd name="connsiteX78" fmla="*/ 1000500 w 1654230"/>
                <a:gd name="connsiteY78" fmla="*/ 881187 h 3641849"/>
                <a:gd name="connsiteX79" fmla="*/ 1039295 w 1654230"/>
                <a:gd name="connsiteY79" fmla="*/ 832060 h 3641849"/>
                <a:gd name="connsiteX80" fmla="*/ 1067005 w 1654230"/>
                <a:gd name="connsiteY80" fmla="*/ 803617 h 3641849"/>
                <a:gd name="connsiteX81" fmla="*/ 1091945 w 1654230"/>
                <a:gd name="connsiteY81" fmla="*/ 767417 h 3641849"/>
                <a:gd name="connsiteX82" fmla="*/ 1172305 w 1654230"/>
                <a:gd name="connsiteY82" fmla="*/ 762245 h 3641849"/>
                <a:gd name="connsiteX83" fmla="*/ 1177846 w 1654230"/>
                <a:gd name="connsiteY83" fmla="*/ 741560 h 3641849"/>
                <a:gd name="connsiteX84" fmla="*/ 1202786 w 1654230"/>
                <a:gd name="connsiteY84" fmla="*/ 705360 h 3641849"/>
                <a:gd name="connsiteX85" fmla="*/ 1236590 w 1654230"/>
                <a:gd name="connsiteY85" fmla="*/ 687772 h 3641849"/>
                <a:gd name="connsiteX86" fmla="*/ 1294230 w 1654230"/>
                <a:gd name="connsiteY86" fmla="*/ 700189 h 3641849"/>
                <a:gd name="connsiteX87" fmla="*/ 1333023 w 1654230"/>
                <a:gd name="connsiteY87" fmla="*/ 720875 h 3641849"/>
                <a:gd name="connsiteX88" fmla="*/ 1380131 w 1654230"/>
                <a:gd name="connsiteY88" fmla="*/ 728632 h 3641849"/>
                <a:gd name="connsiteX89" fmla="*/ 1380131 w 1654230"/>
                <a:gd name="connsiteY89" fmla="*/ 733803 h 3641849"/>
                <a:gd name="connsiteX90" fmla="*/ 1402300 w 1654230"/>
                <a:gd name="connsiteY90" fmla="*/ 674332 h 3641849"/>
                <a:gd name="connsiteX91" fmla="*/ 1412275 w 1654230"/>
                <a:gd name="connsiteY91" fmla="*/ 640714 h 3641849"/>
                <a:gd name="connsiteX92" fmla="*/ 1418926 w 1654230"/>
                <a:gd name="connsiteY92" fmla="*/ 622618 h 3641849"/>
                <a:gd name="connsiteX93" fmla="*/ 1421863 w 1654230"/>
                <a:gd name="connsiteY93" fmla="*/ 591288 h 3641849"/>
                <a:gd name="connsiteX94" fmla="*/ 1341337 w 1654230"/>
                <a:gd name="connsiteY94" fmla="*/ 545048 h 3641849"/>
                <a:gd name="connsiteX95" fmla="*/ 1327482 w 1654230"/>
                <a:gd name="connsiteY95" fmla="*/ 472648 h 3641849"/>
                <a:gd name="connsiteX96" fmla="*/ 1327482 w 1654230"/>
                <a:gd name="connsiteY96" fmla="*/ 454548 h 3641849"/>
                <a:gd name="connsiteX97" fmla="*/ 1338565 w 1654230"/>
                <a:gd name="connsiteY97" fmla="*/ 431276 h 3641849"/>
                <a:gd name="connsiteX98" fmla="*/ 1341337 w 1654230"/>
                <a:gd name="connsiteY98" fmla="*/ 415762 h 3641849"/>
                <a:gd name="connsiteX99" fmla="*/ 1341336 w 1654230"/>
                <a:gd name="connsiteY99" fmla="*/ 358878 h 3641849"/>
                <a:gd name="connsiteX100" fmla="*/ 1319168 w 1654230"/>
                <a:gd name="connsiteY100" fmla="*/ 335607 h 3641849"/>
                <a:gd name="connsiteX101" fmla="*/ 1291458 w 1654230"/>
                <a:gd name="connsiteY101" fmla="*/ 304578 h 3641849"/>
                <a:gd name="connsiteX102" fmla="*/ 1287290 w 1654230"/>
                <a:gd name="connsiteY102" fmla="*/ 280325 h 3641849"/>
                <a:gd name="connsiteX103" fmla="*/ 1338566 w 1654230"/>
                <a:gd name="connsiteY103" fmla="*/ 258034 h 3641849"/>
                <a:gd name="connsiteX104" fmla="*/ 1392146 w 1654230"/>
                <a:gd name="connsiteY104" fmla="*/ 267906 h 3641849"/>
                <a:gd name="connsiteX105" fmla="*/ 1470930 w 1654230"/>
                <a:gd name="connsiteY105" fmla="*/ 279816 h 3641849"/>
                <a:gd name="connsiteX106" fmla="*/ 1555253 w 1654230"/>
                <a:gd name="connsiteY106" fmla="*/ 349175 h 3641849"/>
                <a:gd name="connsiteX107" fmla="*/ 1617388 w 1654230"/>
                <a:gd name="connsiteY107" fmla="*/ 425271 h 3641849"/>
                <a:gd name="connsiteX108" fmla="*/ 1516417 w 1654230"/>
                <a:gd name="connsiteY108" fmla="*/ 454265 h 3641849"/>
                <a:gd name="connsiteX109" fmla="*/ 1500883 w 1654230"/>
                <a:gd name="connsiteY109" fmla="*/ 501372 h 3641849"/>
                <a:gd name="connsiteX110" fmla="*/ 1558553 w 1654230"/>
                <a:gd name="connsiteY110" fmla="*/ 585862 h 3641849"/>
                <a:gd name="connsiteX111" fmla="*/ 1594087 w 1654230"/>
                <a:gd name="connsiteY111" fmla="*/ 591964 h 3641849"/>
                <a:gd name="connsiteX112" fmla="*/ 1646707 w 1654230"/>
                <a:gd name="connsiteY112" fmla="*/ 598304 h 3641849"/>
                <a:gd name="connsiteX113" fmla="*/ 1641744 w 1654230"/>
                <a:gd name="connsiteY113" fmla="*/ 709079 h 3641849"/>
                <a:gd name="connsiteX114" fmla="*/ 1652813 w 1654230"/>
                <a:gd name="connsiteY114" fmla="*/ 1040047 h 3641849"/>
                <a:gd name="connsiteX115" fmla="*/ 1643945 w 1654230"/>
                <a:gd name="connsiteY115" fmla="*/ 1842646 h 3641849"/>
                <a:gd name="connsiteX116" fmla="*/ 1652812 w 1654230"/>
                <a:gd name="connsiteY116" fmla="*/ 2297728 h 3641849"/>
                <a:gd name="connsiteX117" fmla="*/ 1626364 w 1654230"/>
                <a:gd name="connsiteY117" fmla="*/ 3607693 h 3641849"/>
                <a:gd name="connsiteX118" fmla="*/ 1367937 w 1654230"/>
                <a:gd name="connsiteY118" fmla="*/ 3564098 h 3641849"/>
                <a:gd name="connsiteX119" fmla="*/ 1199459 w 1654230"/>
                <a:gd name="connsiteY119" fmla="*/ 3497903 h 3641849"/>
                <a:gd name="connsiteX120" fmla="*/ 1022113 w 1654230"/>
                <a:gd name="connsiteY120" fmla="*/ 3406887 h 3641849"/>
                <a:gd name="connsiteX121" fmla="*/ 923815 w 1654230"/>
                <a:gd name="connsiteY121" fmla="*/ 3326370 h 3641849"/>
                <a:gd name="connsiteX122" fmla="*/ 1218077 w 1654230"/>
                <a:gd name="connsiteY122" fmla="*/ 3018734 h 3641849"/>
                <a:gd name="connsiteX123" fmla="*/ 934323 w 1654230"/>
                <a:gd name="connsiteY123" fmla="*/ 2480910 h 3641849"/>
                <a:gd name="connsiteX124" fmla="*/ 1076673 w 1654230"/>
                <a:gd name="connsiteY124" fmla="*/ 2241825 h 3641849"/>
                <a:gd name="connsiteX125" fmla="*/ 889986 w 1654230"/>
                <a:gd name="connsiteY125" fmla="*/ 1703134 h 3641849"/>
                <a:gd name="connsiteX126" fmla="*/ 641702 w 1654230"/>
                <a:gd name="connsiteY126" fmla="*/ 1471456 h 3641849"/>
                <a:gd name="connsiteX127" fmla="*/ 172846 w 1654230"/>
                <a:gd name="connsiteY127" fmla="*/ 2159767 h 3641849"/>
                <a:gd name="connsiteX0" fmla="*/ 102188 w 1583572"/>
                <a:gd name="connsiteY0" fmla="*/ 2159767 h 3641849"/>
                <a:gd name="connsiteX1" fmla="*/ 73435 w 1583572"/>
                <a:gd name="connsiteY1" fmla="*/ 1725696 h 3641849"/>
                <a:gd name="connsiteX2" fmla="*/ 48495 w 1583572"/>
                <a:gd name="connsiteY2" fmla="*/ 1689496 h 3641849"/>
                <a:gd name="connsiteX3" fmla="*/ 29099 w 1583572"/>
                <a:gd name="connsiteY3" fmla="*/ 1679153 h 3641849"/>
                <a:gd name="connsiteX4" fmla="*/ 1387 w 1583572"/>
                <a:gd name="connsiteY4" fmla="*/ 1645538 h 3641849"/>
                <a:gd name="connsiteX5" fmla="*/ 76206 w 1583572"/>
                <a:gd name="connsiteY5" fmla="*/ 1650711 h 3641849"/>
                <a:gd name="connsiteX6" fmla="*/ 103917 w 1583572"/>
                <a:gd name="connsiteY6" fmla="*/ 1627440 h 3641849"/>
                <a:gd name="connsiteX7" fmla="*/ 198132 w 1583572"/>
                <a:gd name="connsiteY7" fmla="*/ 1536941 h 3641849"/>
                <a:gd name="connsiteX8" fmla="*/ 223071 w 1583572"/>
                <a:gd name="connsiteY8" fmla="*/ 1505912 h 3641849"/>
                <a:gd name="connsiteX9" fmla="*/ 209217 w 1583572"/>
                <a:gd name="connsiteY9" fmla="*/ 1555040 h 3641849"/>
                <a:gd name="connsiteX10" fmla="*/ 228613 w 1583572"/>
                <a:gd name="connsiteY10" fmla="*/ 1588655 h 3641849"/>
                <a:gd name="connsiteX11" fmla="*/ 272950 w 1583572"/>
                <a:gd name="connsiteY11" fmla="*/ 1666225 h 3641849"/>
                <a:gd name="connsiteX12" fmla="*/ 342226 w 1583572"/>
                <a:gd name="connsiteY12" fmla="*/ 1653297 h 3641849"/>
                <a:gd name="connsiteX13" fmla="*/ 361622 w 1583572"/>
                <a:gd name="connsiteY13" fmla="*/ 1622268 h 3641849"/>
                <a:gd name="connsiteX14" fmla="*/ 375478 w 1583572"/>
                <a:gd name="connsiteY14" fmla="*/ 1557627 h 3641849"/>
                <a:gd name="connsiteX15" fmla="*/ 314515 w 1583572"/>
                <a:gd name="connsiteY15" fmla="*/ 1511084 h 3641849"/>
                <a:gd name="connsiteX16" fmla="*/ 270179 w 1583572"/>
                <a:gd name="connsiteY16" fmla="*/ 1485227 h 3641849"/>
                <a:gd name="connsiteX17" fmla="*/ 209217 w 1583572"/>
                <a:gd name="connsiteY17" fmla="*/ 1495570 h 3641849"/>
                <a:gd name="connsiteX18" fmla="*/ 386563 w 1583572"/>
                <a:gd name="connsiteY18" fmla="*/ 1299057 h 3641849"/>
                <a:gd name="connsiteX19" fmla="*/ 234156 w 1583572"/>
                <a:gd name="connsiteY19" fmla="*/ 1151672 h 3641849"/>
                <a:gd name="connsiteX20" fmla="*/ 295119 w 1583572"/>
                <a:gd name="connsiteY20" fmla="*/ 1089617 h 3641849"/>
                <a:gd name="connsiteX21" fmla="*/ 228614 w 1583572"/>
                <a:gd name="connsiteY21" fmla="*/ 1050829 h 3641849"/>
                <a:gd name="connsiteX22" fmla="*/ 270179 w 1583572"/>
                <a:gd name="connsiteY22" fmla="*/ 1019802 h 3641849"/>
                <a:gd name="connsiteX23" fmla="*/ 223073 w 1583572"/>
                <a:gd name="connsiteY23" fmla="*/ 993947 h 3641849"/>
                <a:gd name="connsiteX24" fmla="*/ 223072 w 1583572"/>
                <a:gd name="connsiteY24" fmla="*/ 794845 h 3641849"/>
                <a:gd name="connsiteX25" fmla="*/ 261867 w 1583572"/>
                <a:gd name="connsiteY25" fmla="*/ 779332 h 3641849"/>
                <a:gd name="connsiteX26" fmla="*/ 148254 w 1583572"/>
                <a:gd name="connsiteY26" fmla="*/ 551792 h 3641849"/>
                <a:gd name="connsiteX27" fmla="*/ 145483 w 1583572"/>
                <a:gd name="connsiteY27" fmla="*/ 551792 h 3641849"/>
                <a:gd name="connsiteX28" fmla="*/ 195361 w 1583572"/>
                <a:gd name="connsiteY28" fmla="*/ 469048 h 3641849"/>
                <a:gd name="connsiteX29" fmla="*/ 211987 w 1583572"/>
                <a:gd name="connsiteY29" fmla="*/ 378550 h 3641849"/>
                <a:gd name="connsiteX30" fmla="*/ 137168 w 1583572"/>
                <a:gd name="connsiteY30" fmla="*/ 319079 h 3641849"/>
                <a:gd name="connsiteX31" fmla="*/ 128856 w 1583572"/>
                <a:gd name="connsiteY31" fmla="*/ 251851 h 3641849"/>
                <a:gd name="connsiteX32" fmla="*/ 184276 w 1583572"/>
                <a:gd name="connsiteY32" fmla="*/ 158764 h 3641849"/>
                <a:gd name="connsiteX33" fmla="*/ 203674 w 1583572"/>
                <a:gd name="connsiteY33" fmla="*/ 135494 h 3641849"/>
                <a:gd name="connsiteX34" fmla="*/ 217529 w 1583572"/>
                <a:gd name="connsiteY34" fmla="*/ 117394 h 3641849"/>
                <a:gd name="connsiteX35" fmla="*/ 225842 w 1583572"/>
                <a:gd name="connsiteY35" fmla="*/ 73438 h 3641849"/>
                <a:gd name="connsiteX36" fmla="*/ 250781 w 1583572"/>
                <a:gd name="connsiteY36" fmla="*/ 101880 h 3641849"/>
                <a:gd name="connsiteX37" fmla="*/ 281263 w 1583572"/>
                <a:gd name="connsiteY37" fmla="*/ 88952 h 3641849"/>
                <a:gd name="connsiteX38" fmla="*/ 284033 w 1583572"/>
                <a:gd name="connsiteY38" fmla="*/ 63095 h 3641849"/>
                <a:gd name="connsiteX39" fmla="*/ 292347 w 1583572"/>
                <a:gd name="connsiteY39" fmla="*/ 34652 h 3641849"/>
                <a:gd name="connsiteX40" fmla="*/ 295119 w 1583572"/>
                <a:gd name="connsiteY40" fmla="*/ 3624 h 3641849"/>
                <a:gd name="connsiteX41" fmla="*/ 430899 w 1583572"/>
                <a:gd name="connsiteY41" fmla="*/ 57924 h 3641849"/>
                <a:gd name="connsiteX42" fmla="*/ 461379 w 1583572"/>
                <a:gd name="connsiteY42" fmla="*/ 161352 h 3641849"/>
                <a:gd name="connsiteX43" fmla="*/ 475235 w 1583572"/>
                <a:gd name="connsiteY43" fmla="*/ 184622 h 3641849"/>
                <a:gd name="connsiteX44" fmla="*/ 486319 w 1583572"/>
                <a:gd name="connsiteY44" fmla="*/ 187208 h 3641849"/>
                <a:gd name="connsiteX45" fmla="*/ 599931 w 1583572"/>
                <a:gd name="connsiteY45" fmla="*/ 156181 h 3641849"/>
                <a:gd name="connsiteX46" fmla="*/ 666436 w 1583572"/>
                <a:gd name="connsiteY46" fmla="*/ 166522 h 3641849"/>
                <a:gd name="connsiteX47" fmla="*/ 730170 w 1583572"/>
                <a:gd name="connsiteY47" fmla="*/ 213065 h 3641849"/>
                <a:gd name="connsiteX48" fmla="*/ 744197 w 1583572"/>
                <a:gd name="connsiteY48" fmla="*/ 242621 h 3641849"/>
                <a:gd name="connsiteX49" fmla="*/ 799444 w 1583572"/>
                <a:gd name="connsiteY49" fmla="*/ 277708 h 3641849"/>
                <a:gd name="connsiteX50" fmla="*/ 888118 w 1583572"/>
                <a:gd name="connsiteY50" fmla="*/ 303563 h 3641849"/>
                <a:gd name="connsiteX51" fmla="*/ 960164 w 1583572"/>
                <a:gd name="connsiteY51" fmla="*/ 350106 h 3641849"/>
                <a:gd name="connsiteX52" fmla="*/ 1010043 w 1583572"/>
                <a:gd name="connsiteY52" fmla="*/ 401820 h 3641849"/>
                <a:gd name="connsiteX53" fmla="*/ 1034982 w 1583572"/>
                <a:gd name="connsiteY53" fmla="*/ 440606 h 3641849"/>
                <a:gd name="connsiteX54" fmla="*/ 1068235 w 1583572"/>
                <a:gd name="connsiteY54" fmla="*/ 466462 h 3641849"/>
                <a:gd name="connsiteX55" fmla="*/ 1051607 w 1583572"/>
                <a:gd name="connsiteY55" fmla="*/ 691417 h 3641849"/>
                <a:gd name="connsiteX56" fmla="*/ 924141 w 1583572"/>
                <a:gd name="connsiteY56" fmla="*/ 771575 h 3641849"/>
                <a:gd name="connsiteX57" fmla="*/ 810529 w 1583572"/>
                <a:gd name="connsiteY57" fmla="*/ 779331 h 3641849"/>
                <a:gd name="connsiteX58" fmla="*/ 671976 w 1583572"/>
                <a:gd name="connsiteY58" fmla="*/ 758645 h 3641849"/>
                <a:gd name="connsiteX59" fmla="*/ 580532 w 1583572"/>
                <a:gd name="connsiteY59" fmla="*/ 722445 h 3641849"/>
                <a:gd name="connsiteX60" fmla="*/ 561135 w 1583572"/>
                <a:gd name="connsiteY60" fmla="*/ 750888 h 3641849"/>
                <a:gd name="connsiteX61" fmla="*/ 591777 w 1583572"/>
                <a:gd name="connsiteY61" fmla="*/ 824301 h 3641849"/>
                <a:gd name="connsiteX62" fmla="*/ 597318 w 1583572"/>
                <a:gd name="connsiteY62" fmla="*/ 951000 h 3641849"/>
                <a:gd name="connsiteX63" fmla="*/ 569448 w 1583572"/>
                <a:gd name="connsiteY63" fmla="*/ 1012043 h 3641849"/>
                <a:gd name="connsiteX64" fmla="*/ 624867 w 1583572"/>
                <a:gd name="connsiteY64" fmla="*/ 1032728 h 3641849"/>
                <a:gd name="connsiteX65" fmla="*/ 641495 w 1583572"/>
                <a:gd name="connsiteY65" fmla="*/ 1048242 h 3641849"/>
                <a:gd name="connsiteX66" fmla="*/ 666435 w 1583572"/>
                <a:gd name="connsiteY66" fmla="*/ 1074099 h 3641849"/>
                <a:gd name="connsiteX67" fmla="*/ 663664 w 1583572"/>
                <a:gd name="connsiteY67" fmla="*/ 1076685 h 3641849"/>
                <a:gd name="connsiteX68" fmla="*/ 702457 w 1583572"/>
                <a:gd name="connsiteY68" fmla="*/ 1071514 h 3641849"/>
                <a:gd name="connsiteX69" fmla="*/ 710771 w 1583572"/>
                <a:gd name="connsiteY69" fmla="*/ 1035314 h 3641849"/>
                <a:gd name="connsiteX70" fmla="*/ 671976 w 1583572"/>
                <a:gd name="connsiteY70" fmla="*/ 957743 h 3641849"/>
                <a:gd name="connsiteX71" fmla="*/ 741252 w 1583572"/>
                <a:gd name="connsiteY71" fmla="*/ 911200 h 3641849"/>
                <a:gd name="connsiteX72" fmla="*/ 809024 w 1583572"/>
                <a:gd name="connsiteY72" fmla="*/ 918934 h 3641849"/>
                <a:gd name="connsiteX73" fmla="*/ 832857 w 1583572"/>
                <a:gd name="connsiteY73" fmla="*/ 951001 h 3641849"/>
                <a:gd name="connsiteX74" fmla="*/ 988586 w 1583572"/>
                <a:gd name="connsiteY74" fmla="*/ 1007364 h 3641849"/>
                <a:gd name="connsiteX75" fmla="*/ 974178 w 1583572"/>
                <a:gd name="connsiteY75" fmla="*/ 971687 h 3641849"/>
                <a:gd name="connsiteX76" fmla="*/ 940926 w 1583572"/>
                <a:gd name="connsiteY76" fmla="*/ 932901 h 3641849"/>
                <a:gd name="connsiteX77" fmla="*/ 929842 w 1583572"/>
                <a:gd name="connsiteY77" fmla="*/ 881187 h 3641849"/>
                <a:gd name="connsiteX78" fmla="*/ 968637 w 1583572"/>
                <a:gd name="connsiteY78" fmla="*/ 832060 h 3641849"/>
                <a:gd name="connsiteX79" fmla="*/ 996347 w 1583572"/>
                <a:gd name="connsiteY79" fmla="*/ 803617 h 3641849"/>
                <a:gd name="connsiteX80" fmla="*/ 1021287 w 1583572"/>
                <a:gd name="connsiteY80" fmla="*/ 767417 h 3641849"/>
                <a:gd name="connsiteX81" fmla="*/ 1101647 w 1583572"/>
                <a:gd name="connsiteY81" fmla="*/ 762245 h 3641849"/>
                <a:gd name="connsiteX82" fmla="*/ 1107188 w 1583572"/>
                <a:gd name="connsiteY82" fmla="*/ 741560 h 3641849"/>
                <a:gd name="connsiteX83" fmla="*/ 1132128 w 1583572"/>
                <a:gd name="connsiteY83" fmla="*/ 705360 h 3641849"/>
                <a:gd name="connsiteX84" fmla="*/ 1165932 w 1583572"/>
                <a:gd name="connsiteY84" fmla="*/ 687772 h 3641849"/>
                <a:gd name="connsiteX85" fmla="*/ 1223572 w 1583572"/>
                <a:gd name="connsiteY85" fmla="*/ 700189 h 3641849"/>
                <a:gd name="connsiteX86" fmla="*/ 1262365 w 1583572"/>
                <a:gd name="connsiteY86" fmla="*/ 720875 h 3641849"/>
                <a:gd name="connsiteX87" fmla="*/ 1309473 w 1583572"/>
                <a:gd name="connsiteY87" fmla="*/ 728632 h 3641849"/>
                <a:gd name="connsiteX88" fmla="*/ 1309473 w 1583572"/>
                <a:gd name="connsiteY88" fmla="*/ 733803 h 3641849"/>
                <a:gd name="connsiteX89" fmla="*/ 1331642 w 1583572"/>
                <a:gd name="connsiteY89" fmla="*/ 674332 h 3641849"/>
                <a:gd name="connsiteX90" fmla="*/ 1341617 w 1583572"/>
                <a:gd name="connsiteY90" fmla="*/ 640714 h 3641849"/>
                <a:gd name="connsiteX91" fmla="*/ 1348268 w 1583572"/>
                <a:gd name="connsiteY91" fmla="*/ 622618 h 3641849"/>
                <a:gd name="connsiteX92" fmla="*/ 1351205 w 1583572"/>
                <a:gd name="connsiteY92" fmla="*/ 591288 h 3641849"/>
                <a:gd name="connsiteX93" fmla="*/ 1270679 w 1583572"/>
                <a:gd name="connsiteY93" fmla="*/ 545048 h 3641849"/>
                <a:gd name="connsiteX94" fmla="*/ 1256824 w 1583572"/>
                <a:gd name="connsiteY94" fmla="*/ 472648 h 3641849"/>
                <a:gd name="connsiteX95" fmla="*/ 1256824 w 1583572"/>
                <a:gd name="connsiteY95" fmla="*/ 454548 h 3641849"/>
                <a:gd name="connsiteX96" fmla="*/ 1267907 w 1583572"/>
                <a:gd name="connsiteY96" fmla="*/ 431276 h 3641849"/>
                <a:gd name="connsiteX97" fmla="*/ 1270679 w 1583572"/>
                <a:gd name="connsiteY97" fmla="*/ 415762 h 3641849"/>
                <a:gd name="connsiteX98" fmla="*/ 1270678 w 1583572"/>
                <a:gd name="connsiteY98" fmla="*/ 358878 h 3641849"/>
                <a:gd name="connsiteX99" fmla="*/ 1248510 w 1583572"/>
                <a:gd name="connsiteY99" fmla="*/ 335607 h 3641849"/>
                <a:gd name="connsiteX100" fmla="*/ 1220800 w 1583572"/>
                <a:gd name="connsiteY100" fmla="*/ 304578 h 3641849"/>
                <a:gd name="connsiteX101" fmla="*/ 1216632 w 1583572"/>
                <a:gd name="connsiteY101" fmla="*/ 280325 h 3641849"/>
                <a:gd name="connsiteX102" fmla="*/ 1267908 w 1583572"/>
                <a:gd name="connsiteY102" fmla="*/ 258034 h 3641849"/>
                <a:gd name="connsiteX103" fmla="*/ 1321488 w 1583572"/>
                <a:gd name="connsiteY103" fmla="*/ 267906 h 3641849"/>
                <a:gd name="connsiteX104" fmla="*/ 1400272 w 1583572"/>
                <a:gd name="connsiteY104" fmla="*/ 279816 h 3641849"/>
                <a:gd name="connsiteX105" fmla="*/ 1484595 w 1583572"/>
                <a:gd name="connsiteY105" fmla="*/ 349175 h 3641849"/>
                <a:gd name="connsiteX106" fmla="*/ 1546730 w 1583572"/>
                <a:gd name="connsiteY106" fmla="*/ 425271 h 3641849"/>
                <a:gd name="connsiteX107" fmla="*/ 1445759 w 1583572"/>
                <a:gd name="connsiteY107" fmla="*/ 454265 h 3641849"/>
                <a:gd name="connsiteX108" fmla="*/ 1430225 w 1583572"/>
                <a:gd name="connsiteY108" fmla="*/ 501372 h 3641849"/>
                <a:gd name="connsiteX109" fmla="*/ 1487895 w 1583572"/>
                <a:gd name="connsiteY109" fmla="*/ 585862 h 3641849"/>
                <a:gd name="connsiteX110" fmla="*/ 1523429 w 1583572"/>
                <a:gd name="connsiteY110" fmla="*/ 591964 h 3641849"/>
                <a:gd name="connsiteX111" fmla="*/ 1576049 w 1583572"/>
                <a:gd name="connsiteY111" fmla="*/ 598304 h 3641849"/>
                <a:gd name="connsiteX112" fmla="*/ 1571086 w 1583572"/>
                <a:gd name="connsiteY112" fmla="*/ 709079 h 3641849"/>
                <a:gd name="connsiteX113" fmla="*/ 1582155 w 1583572"/>
                <a:gd name="connsiteY113" fmla="*/ 1040047 h 3641849"/>
                <a:gd name="connsiteX114" fmla="*/ 1573287 w 1583572"/>
                <a:gd name="connsiteY114" fmla="*/ 1842646 h 3641849"/>
                <a:gd name="connsiteX115" fmla="*/ 1582154 w 1583572"/>
                <a:gd name="connsiteY115" fmla="*/ 2297728 h 3641849"/>
                <a:gd name="connsiteX116" fmla="*/ 1555706 w 1583572"/>
                <a:gd name="connsiteY116" fmla="*/ 3607693 h 3641849"/>
                <a:gd name="connsiteX117" fmla="*/ 1297279 w 1583572"/>
                <a:gd name="connsiteY117" fmla="*/ 3564098 h 3641849"/>
                <a:gd name="connsiteX118" fmla="*/ 1128801 w 1583572"/>
                <a:gd name="connsiteY118" fmla="*/ 3497903 h 3641849"/>
                <a:gd name="connsiteX119" fmla="*/ 951455 w 1583572"/>
                <a:gd name="connsiteY119" fmla="*/ 3406887 h 3641849"/>
                <a:gd name="connsiteX120" fmla="*/ 853157 w 1583572"/>
                <a:gd name="connsiteY120" fmla="*/ 3326370 h 3641849"/>
                <a:gd name="connsiteX121" fmla="*/ 1147419 w 1583572"/>
                <a:gd name="connsiteY121" fmla="*/ 3018734 h 3641849"/>
                <a:gd name="connsiteX122" fmla="*/ 863665 w 1583572"/>
                <a:gd name="connsiteY122" fmla="*/ 2480910 h 3641849"/>
                <a:gd name="connsiteX123" fmla="*/ 1006015 w 1583572"/>
                <a:gd name="connsiteY123" fmla="*/ 2241825 h 3641849"/>
                <a:gd name="connsiteX124" fmla="*/ 819328 w 1583572"/>
                <a:gd name="connsiteY124" fmla="*/ 1703134 h 3641849"/>
                <a:gd name="connsiteX125" fmla="*/ 571044 w 1583572"/>
                <a:gd name="connsiteY125" fmla="*/ 1471456 h 3641849"/>
                <a:gd name="connsiteX126" fmla="*/ 102188 w 1583572"/>
                <a:gd name="connsiteY126" fmla="*/ 2159767 h 3641849"/>
                <a:gd name="connsiteX0" fmla="*/ 91772 w 1573156"/>
                <a:gd name="connsiteY0" fmla="*/ 2159767 h 3641849"/>
                <a:gd name="connsiteX1" fmla="*/ 63019 w 1573156"/>
                <a:gd name="connsiteY1" fmla="*/ 1725696 h 3641849"/>
                <a:gd name="connsiteX2" fmla="*/ 38079 w 1573156"/>
                <a:gd name="connsiteY2" fmla="*/ 1689496 h 3641849"/>
                <a:gd name="connsiteX3" fmla="*/ 18683 w 1573156"/>
                <a:gd name="connsiteY3" fmla="*/ 1679153 h 3641849"/>
                <a:gd name="connsiteX4" fmla="*/ 2055 w 1573156"/>
                <a:gd name="connsiteY4" fmla="*/ 1640367 h 3641849"/>
                <a:gd name="connsiteX5" fmla="*/ 65790 w 1573156"/>
                <a:gd name="connsiteY5" fmla="*/ 1650711 h 3641849"/>
                <a:gd name="connsiteX6" fmla="*/ 93501 w 1573156"/>
                <a:gd name="connsiteY6" fmla="*/ 1627440 h 3641849"/>
                <a:gd name="connsiteX7" fmla="*/ 187716 w 1573156"/>
                <a:gd name="connsiteY7" fmla="*/ 1536941 h 3641849"/>
                <a:gd name="connsiteX8" fmla="*/ 212655 w 1573156"/>
                <a:gd name="connsiteY8" fmla="*/ 1505912 h 3641849"/>
                <a:gd name="connsiteX9" fmla="*/ 198801 w 1573156"/>
                <a:gd name="connsiteY9" fmla="*/ 1555040 h 3641849"/>
                <a:gd name="connsiteX10" fmla="*/ 218197 w 1573156"/>
                <a:gd name="connsiteY10" fmla="*/ 1588655 h 3641849"/>
                <a:gd name="connsiteX11" fmla="*/ 262534 w 1573156"/>
                <a:gd name="connsiteY11" fmla="*/ 1666225 h 3641849"/>
                <a:gd name="connsiteX12" fmla="*/ 331810 w 1573156"/>
                <a:gd name="connsiteY12" fmla="*/ 1653297 h 3641849"/>
                <a:gd name="connsiteX13" fmla="*/ 351206 w 1573156"/>
                <a:gd name="connsiteY13" fmla="*/ 1622268 h 3641849"/>
                <a:gd name="connsiteX14" fmla="*/ 365062 w 1573156"/>
                <a:gd name="connsiteY14" fmla="*/ 1557627 h 3641849"/>
                <a:gd name="connsiteX15" fmla="*/ 304099 w 1573156"/>
                <a:gd name="connsiteY15" fmla="*/ 1511084 h 3641849"/>
                <a:gd name="connsiteX16" fmla="*/ 259763 w 1573156"/>
                <a:gd name="connsiteY16" fmla="*/ 1485227 h 3641849"/>
                <a:gd name="connsiteX17" fmla="*/ 198801 w 1573156"/>
                <a:gd name="connsiteY17" fmla="*/ 1495570 h 3641849"/>
                <a:gd name="connsiteX18" fmla="*/ 376147 w 1573156"/>
                <a:gd name="connsiteY18" fmla="*/ 1299057 h 3641849"/>
                <a:gd name="connsiteX19" fmla="*/ 223740 w 1573156"/>
                <a:gd name="connsiteY19" fmla="*/ 1151672 h 3641849"/>
                <a:gd name="connsiteX20" fmla="*/ 284703 w 1573156"/>
                <a:gd name="connsiteY20" fmla="*/ 1089617 h 3641849"/>
                <a:gd name="connsiteX21" fmla="*/ 218198 w 1573156"/>
                <a:gd name="connsiteY21" fmla="*/ 1050829 h 3641849"/>
                <a:gd name="connsiteX22" fmla="*/ 259763 w 1573156"/>
                <a:gd name="connsiteY22" fmla="*/ 1019802 h 3641849"/>
                <a:gd name="connsiteX23" fmla="*/ 212657 w 1573156"/>
                <a:gd name="connsiteY23" fmla="*/ 993947 h 3641849"/>
                <a:gd name="connsiteX24" fmla="*/ 212656 w 1573156"/>
                <a:gd name="connsiteY24" fmla="*/ 794845 h 3641849"/>
                <a:gd name="connsiteX25" fmla="*/ 251451 w 1573156"/>
                <a:gd name="connsiteY25" fmla="*/ 779332 h 3641849"/>
                <a:gd name="connsiteX26" fmla="*/ 137838 w 1573156"/>
                <a:gd name="connsiteY26" fmla="*/ 551792 h 3641849"/>
                <a:gd name="connsiteX27" fmla="*/ 135067 w 1573156"/>
                <a:gd name="connsiteY27" fmla="*/ 551792 h 3641849"/>
                <a:gd name="connsiteX28" fmla="*/ 184945 w 1573156"/>
                <a:gd name="connsiteY28" fmla="*/ 469048 h 3641849"/>
                <a:gd name="connsiteX29" fmla="*/ 201571 w 1573156"/>
                <a:gd name="connsiteY29" fmla="*/ 378550 h 3641849"/>
                <a:gd name="connsiteX30" fmla="*/ 126752 w 1573156"/>
                <a:gd name="connsiteY30" fmla="*/ 319079 h 3641849"/>
                <a:gd name="connsiteX31" fmla="*/ 118440 w 1573156"/>
                <a:gd name="connsiteY31" fmla="*/ 251851 h 3641849"/>
                <a:gd name="connsiteX32" fmla="*/ 173860 w 1573156"/>
                <a:gd name="connsiteY32" fmla="*/ 158764 h 3641849"/>
                <a:gd name="connsiteX33" fmla="*/ 193258 w 1573156"/>
                <a:gd name="connsiteY33" fmla="*/ 135494 h 3641849"/>
                <a:gd name="connsiteX34" fmla="*/ 207113 w 1573156"/>
                <a:gd name="connsiteY34" fmla="*/ 117394 h 3641849"/>
                <a:gd name="connsiteX35" fmla="*/ 215426 w 1573156"/>
                <a:gd name="connsiteY35" fmla="*/ 73438 h 3641849"/>
                <a:gd name="connsiteX36" fmla="*/ 240365 w 1573156"/>
                <a:gd name="connsiteY36" fmla="*/ 101880 h 3641849"/>
                <a:gd name="connsiteX37" fmla="*/ 270847 w 1573156"/>
                <a:gd name="connsiteY37" fmla="*/ 88952 h 3641849"/>
                <a:gd name="connsiteX38" fmla="*/ 273617 w 1573156"/>
                <a:gd name="connsiteY38" fmla="*/ 63095 h 3641849"/>
                <a:gd name="connsiteX39" fmla="*/ 281931 w 1573156"/>
                <a:gd name="connsiteY39" fmla="*/ 34652 h 3641849"/>
                <a:gd name="connsiteX40" fmla="*/ 284703 w 1573156"/>
                <a:gd name="connsiteY40" fmla="*/ 3624 h 3641849"/>
                <a:gd name="connsiteX41" fmla="*/ 420483 w 1573156"/>
                <a:gd name="connsiteY41" fmla="*/ 57924 h 3641849"/>
                <a:gd name="connsiteX42" fmla="*/ 450963 w 1573156"/>
                <a:gd name="connsiteY42" fmla="*/ 161352 h 3641849"/>
                <a:gd name="connsiteX43" fmla="*/ 464819 w 1573156"/>
                <a:gd name="connsiteY43" fmla="*/ 184622 h 3641849"/>
                <a:gd name="connsiteX44" fmla="*/ 475903 w 1573156"/>
                <a:gd name="connsiteY44" fmla="*/ 187208 h 3641849"/>
                <a:gd name="connsiteX45" fmla="*/ 589515 w 1573156"/>
                <a:gd name="connsiteY45" fmla="*/ 156181 h 3641849"/>
                <a:gd name="connsiteX46" fmla="*/ 656020 w 1573156"/>
                <a:gd name="connsiteY46" fmla="*/ 166522 h 3641849"/>
                <a:gd name="connsiteX47" fmla="*/ 719754 w 1573156"/>
                <a:gd name="connsiteY47" fmla="*/ 213065 h 3641849"/>
                <a:gd name="connsiteX48" fmla="*/ 733781 w 1573156"/>
                <a:gd name="connsiteY48" fmla="*/ 242621 h 3641849"/>
                <a:gd name="connsiteX49" fmla="*/ 789028 w 1573156"/>
                <a:gd name="connsiteY49" fmla="*/ 277708 h 3641849"/>
                <a:gd name="connsiteX50" fmla="*/ 877702 w 1573156"/>
                <a:gd name="connsiteY50" fmla="*/ 303563 h 3641849"/>
                <a:gd name="connsiteX51" fmla="*/ 949748 w 1573156"/>
                <a:gd name="connsiteY51" fmla="*/ 350106 h 3641849"/>
                <a:gd name="connsiteX52" fmla="*/ 999627 w 1573156"/>
                <a:gd name="connsiteY52" fmla="*/ 401820 h 3641849"/>
                <a:gd name="connsiteX53" fmla="*/ 1024566 w 1573156"/>
                <a:gd name="connsiteY53" fmla="*/ 440606 h 3641849"/>
                <a:gd name="connsiteX54" fmla="*/ 1057819 w 1573156"/>
                <a:gd name="connsiteY54" fmla="*/ 466462 h 3641849"/>
                <a:gd name="connsiteX55" fmla="*/ 1041191 w 1573156"/>
                <a:gd name="connsiteY55" fmla="*/ 691417 h 3641849"/>
                <a:gd name="connsiteX56" fmla="*/ 913725 w 1573156"/>
                <a:gd name="connsiteY56" fmla="*/ 771575 h 3641849"/>
                <a:gd name="connsiteX57" fmla="*/ 800113 w 1573156"/>
                <a:gd name="connsiteY57" fmla="*/ 779331 h 3641849"/>
                <a:gd name="connsiteX58" fmla="*/ 661560 w 1573156"/>
                <a:gd name="connsiteY58" fmla="*/ 758645 h 3641849"/>
                <a:gd name="connsiteX59" fmla="*/ 570116 w 1573156"/>
                <a:gd name="connsiteY59" fmla="*/ 722445 h 3641849"/>
                <a:gd name="connsiteX60" fmla="*/ 550719 w 1573156"/>
                <a:gd name="connsiteY60" fmla="*/ 750888 h 3641849"/>
                <a:gd name="connsiteX61" fmla="*/ 581361 w 1573156"/>
                <a:gd name="connsiteY61" fmla="*/ 824301 h 3641849"/>
                <a:gd name="connsiteX62" fmla="*/ 586902 w 1573156"/>
                <a:gd name="connsiteY62" fmla="*/ 951000 h 3641849"/>
                <a:gd name="connsiteX63" fmla="*/ 559032 w 1573156"/>
                <a:gd name="connsiteY63" fmla="*/ 1012043 h 3641849"/>
                <a:gd name="connsiteX64" fmla="*/ 614451 w 1573156"/>
                <a:gd name="connsiteY64" fmla="*/ 1032728 h 3641849"/>
                <a:gd name="connsiteX65" fmla="*/ 631079 w 1573156"/>
                <a:gd name="connsiteY65" fmla="*/ 1048242 h 3641849"/>
                <a:gd name="connsiteX66" fmla="*/ 656019 w 1573156"/>
                <a:gd name="connsiteY66" fmla="*/ 1074099 h 3641849"/>
                <a:gd name="connsiteX67" fmla="*/ 653248 w 1573156"/>
                <a:gd name="connsiteY67" fmla="*/ 1076685 h 3641849"/>
                <a:gd name="connsiteX68" fmla="*/ 692041 w 1573156"/>
                <a:gd name="connsiteY68" fmla="*/ 1071514 h 3641849"/>
                <a:gd name="connsiteX69" fmla="*/ 700355 w 1573156"/>
                <a:gd name="connsiteY69" fmla="*/ 1035314 h 3641849"/>
                <a:gd name="connsiteX70" fmla="*/ 661560 w 1573156"/>
                <a:gd name="connsiteY70" fmla="*/ 957743 h 3641849"/>
                <a:gd name="connsiteX71" fmla="*/ 730836 w 1573156"/>
                <a:gd name="connsiteY71" fmla="*/ 911200 h 3641849"/>
                <a:gd name="connsiteX72" fmla="*/ 798608 w 1573156"/>
                <a:gd name="connsiteY72" fmla="*/ 918934 h 3641849"/>
                <a:gd name="connsiteX73" fmla="*/ 822441 w 1573156"/>
                <a:gd name="connsiteY73" fmla="*/ 951001 h 3641849"/>
                <a:gd name="connsiteX74" fmla="*/ 978170 w 1573156"/>
                <a:gd name="connsiteY74" fmla="*/ 1007364 h 3641849"/>
                <a:gd name="connsiteX75" fmla="*/ 963762 w 1573156"/>
                <a:gd name="connsiteY75" fmla="*/ 971687 h 3641849"/>
                <a:gd name="connsiteX76" fmla="*/ 930510 w 1573156"/>
                <a:gd name="connsiteY76" fmla="*/ 932901 h 3641849"/>
                <a:gd name="connsiteX77" fmla="*/ 919426 w 1573156"/>
                <a:gd name="connsiteY77" fmla="*/ 881187 h 3641849"/>
                <a:gd name="connsiteX78" fmla="*/ 958221 w 1573156"/>
                <a:gd name="connsiteY78" fmla="*/ 832060 h 3641849"/>
                <a:gd name="connsiteX79" fmla="*/ 985931 w 1573156"/>
                <a:gd name="connsiteY79" fmla="*/ 803617 h 3641849"/>
                <a:gd name="connsiteX80" fmla="*/ 1010871 w 1573156"/>
                <a:gd name="connsiteY80" fmla="*/ 767417 h 3641849"/>
                <a:gd name="connsiteX81" fmla="*/ 1091231 w 1573156"/>
                <a:gd name="connsiteY81" fmla="*/ 762245 h 3641849"/>
                <a:gd name="connsiteX82" fmla="*/ 1096772 w 1573156"/>
                <a:gd name="connsiteY82" fmla="*/ 741560 h 3641849"/>
                <a:gd name="connsiteX83" fmla="*/ 1121712 w 1573156"/>
                <a:gd name="connsiteY83" fmla="*/ 705360 h 3641849"/>
                <a:gd name="connsiteX84" fmla="*/ 1155516 w 1573156"/>
                <a:gd name="connsiteY84" fmla="*/ 687772 h 3641849"/>
                <a:gd name="connsiteX85" fmla="*/ 1213156 w 1573156"/>
                <a:gd name="connsiteY85" fmla="*/ 700189 h 3641849"/>
                <a:gd name="connsiteX86" fmla="*/ 1251949 w 1573156"/>
                <a:gd name="connsiteY86" fmla="*/ 720875 h 3641849"/>
                <a:gd name="connsiteX87" fmla="*/ 1299057 w 1573156"/>
                <a:gd name="connsiteY87" fmla="*/ 728632 h 3641849"/>
                <a:gd name="connsiteX88" fmla="*/ 1299057 w 1573156"/>
                <a:gd name="connsiteY88" fmla="*/ 733803 h 3641849"/>
                <a:gd name="connsiteX89" fmla="*/ 1321226 w 1573156"/>
                <a:gd name="connsiteY89" fmla="*/ 674332 h 3641849"/>
                <a:gd name="connsiteX90" fmla="*/ 1331201 w 1573156"/>
                <a:gd name="connsiteY90" fmla="*/ 640714 h 3641849"/>
                <a:gd name="connsiteX91" fmla="*/ 1337852 w 1573156"/>
                <a:gd name="connsiteY91" fmla="*/ 622618 h 3641849"/>
                <a:gd name="connsiteX92" fmla="*/ 1340789 w 1573156"/>
                <a:gd name="connsiteY92" fmla="*/ 591288 h 3641849"/>
                <a:gd name="connsiteX93" fmla="*/ 1260263 w 1573156"/>
                <a:gd name="connsiteY93" fmla="*/ 545048 h 3641849"/>
                <a:gd name="connsiteX94" fmla="*/ 1246408 w 1573156"/>
                <a:gd name="connsiteY94" fmla="*/ 472648 h 3641849"/>
                <a:gd name="connsiteX95" fmla="*/ 1246408 w 1573156"/>
                <a:gd name="connsiteY95" fmla="*/ 454548 h 3641849"/>
                <a:gd name="connsiteX96" fmla="*/ 1257491 w 1573156"/>
                <a:gd name="connsiteY96" fmla="*/ 431276 h 3641849"/>
                <a:gd name="connsiteX97" fmla="*/ 1260263 w 1573156"/>
                <a:gd name="connsiteY97" fmla="*/ 415762 h 3641849"/>
                <a:gd name="connsiteX98" fmla="*/ 1260262 w 1573156"/>
                <a:gd name="connsiteY98" fmla="*/ 358878 h 3641849"/>
                <a:gd name="connsiteX99" fmla="*/ 1238094 w 1573156"/>
                <a:gd name="connsiteY99" fmla="*/ 335607 h 3641849"/>
                <a:gd name="connsiteX100" fmla="*/ 1210384 w 1573156"/>
                <a:gd name="connsiteY100" fmla="*/ 304578 h 3641849"/>
                <a:gd name="connsiteX101" fmla="*/ 1206216 w 1573156"/>
                <a:gd name="connsiteY101" fmla="*/ 280325 h 3641849"/>
                <a:gd name="connsiteX102" fmla="*/ 1257492 w 1573156"/>
                <a:gd name="connsiteY102" fmla="*/ 258034 h 3641849"/>
                <a:gd name="connsiteX103" fmla="*/ 1311072 w 1573156"/>
                <a:gd name="connsiteY103" fmla="*/ 267906 h 3641849"/>
                <a:gd name="connsiteX104" fmla="*/ 1389856 w 1573156"/>
                <a:gd name="connsiteY104" fmla="*/ 279816 h 3641849"/>
                <a:gd name="connsiteX105" fmla="*/ 1474179 w 1573156"/>
                <a:gd name="connsiteY105" fmla="*/ 349175 h 3641849"/>
                <a:gd name="connsiteX106" fmla="*/ 1536314 w 1573156"/>
                <a:gd name="connsiteY106" fmla="*/ 425271 h 3641849"/>
                <a:gd name="connsiteX107" fmla="*/ 1435343 w 1573156"/>
                <a:gd name="connsiteY107" fmla="*/ 454265 h 3641849"/>
                <a:gd name="connsiteX108" fmla="*/ 1419809 w 1573156"/>
                <a:gd name="connsiteY108" fmla="*/ 501372 h 3641849"/>
                <a:gd name="connsiteX109" fmla="*/ 1477479 w 1573156"/>
                <a:gd name="connsiteY109" fmla="*/ 585862 h 3641849"/>
                <a:gd name="connsiteX110" fmla="*/ 1513013 w 1573156"/>
                <a:gd name="connsiteY110" fmla="*/ 591964 h 3641849"/>
                <a:gd name="connsiteX111" fmla="*/ 1565633 w 1573156"/>
                <a:gd name="connsiteY111" fmla="*/ 598304 h 3641849"/>
                <a:gd name="connsiteX112" fmla="*/ 1560670 w 1573156"/>
                <a:gd name="connsiteY112" fmla="*/ 709079 h 3641849"/>
                <a:gd name="connsiteX113" fmla="*/ 1571739 w 1573156"/>
                <a:gd name="connsiteY113" fmla="*/ 1040047 h 3641849"/>
                <a:gd name="connsiteX114" fmla="*/ 1562871 w 1573156"/>
                <a:gd name="connsiteY114" fmla="*/ 1842646 h 3641849"/>
                <a:gd name="connsiteX115" fmla="*/ 1571738 w 1573156"/>
                <a:gd name="connsiteY115" fmla="*/ 2297728 h 3641849"/>
                <a:gd name="connsiteX116" fmla="*/ 1545290 w 1573156"/>
                <a:gd name="connsiteY116" fmla="*/ 3607693 h 3641849"/>
                <a:gd name="connsiteX117" fmla="*/ 1286863 w 1573156"/>
                <a:gd name="connsiteY117" fmla="*/ 3564098 h 3641849"/>
                <a:gd name="connsiteX118" fmla="*/ 1118385 w 1573156"/>
                <a:gd name="connsiteY118" fmla="*/ 3497903 h 3641849"/>
                <a:gd name="connsiteX119" fmla="*/ 941039 w 1573156"/>
                <a:gd name="connsiteY119" fmla="*/ 3406887 h 3641849"/>
                <a:gd name="connsiteX120" fmla="*/ 842741 w 1573156"/>
                <a:gd name="connsiteY120" fmla="*/ 3326370 h 3641849"/>
                <a:gd name="connsiteX121" fmla="*/ 1137003 w 1573156"/>
                <a:gd name="connsiteY121" fmla="*/ 3018734 h 3641849"/>
                <a:gd name="connsiteX122" fmla="*/ 853249 w 1573156"/>
                <a:gd name="connsiteY122" fmla="*/ 2480910 h 3641849"/>
                <a:gd name="connsiteX123" fmla="*/ 995599 w 1573156"/>
                <a:gd name="connsiteY123" fmla="*/ 2241825 h 3641849"/>
                <a:gd name="connsiteX124" fmla="*/ 808912 w 1573156"/>
                <a:gd name="connsiteY124" fmla="*/ 1703134 h 3641849"/>
                <a:gd name="connsiteX125" fmla="*/ 560628 w 1573156"/>
                <a:gd name="connsiteY125" fmla="*/ 1471456 h 3641849"/>
                <a:gd name="connsiteX126" fmla="*/ 91772 w 1573156"/>
                <a:gd name="connsiteY126" fmla="*/ 2159767 h 3641849"/>
                <a:gd name="connsiteX0" fmla="*/ 91772 w 1573156"/>
                <a:gd name="connsiteY0" fmla="*/ 2159767 h 3641849"/>
                <a:gd name="connsiteX1" fmla="*/ 10370 w 1573156"/>
                <a:gd name="connsiteY1" fmla="*/ 1730867 h 3641849"/>
                <a:gd name="connsiteX2" fmla="*/ 38079 w 1573156"/>
                <a:gd name="connsiteY2" fmla="*/ 1689496 h 3641849"/>
                <a:gd name="connsiteX3" fmla="*/ 18683 w 1573156"/>
                <a:gd name="connsiteY3" fmla="*/ 1679153 h 3641849"/>
                <a:gd name="connsiteX4" fmla="*/ 2055 w 1573156"/>
                <a:gd name="connsiteY4" fmla="*/ 1640367 h 3641849"/>
                <a:gd name="connsiteX5" fmla="*/ 65790 w 1573156"/>
                <a:gd name="connsiteY5" fmla="*/ 1650711 h 3641849"/>
                <a:gd name="connsiteX6" fmla="*/ 93501 w 1573156"/>
                <a:gd name="connsiteY6" fmla="*/ 1627440 h 3641849"/>
                <a:gd name="connsiteX7" fmla="*/ 187716 w 1573156"/>
                <a:gd name="connsiteY7" fmla="*/ 1536941 h 3641849"/>
                <a:gd name="connsiteX8" fmla="*/ 212655 w 1573156"/>
                <a:gd name="connsiteY8" fmla="*/ 1505912 h 3641849"/>
                <a:gd name="connsiteX9" fmla="*/ 198801 w 1573156"/>
                <a:gd name="connsiteY9" fmla="*/ 1555040 h 3641849"/>
                <a:gd name="connsiteX10" fmla="*/ 218197 w 1573156"/>
                <a:gd name="connsiteY10" fmla="*/ 1588655 h 3641849"/>
                <a:gd name="connsiteX11" fmla="*/ 262534 w 1573156"/>
                <a:gd name="connsiteY11" fmla="*/ 1666225 h 3641849"/>
                <a:gd name="connsiteX12" fmla="*/ 331810 w 1573156"/>
                <a:gd name="connsiteY12" fmla="*/ 1653297 h 3641849"/>
                <a:gd name="connsiteX13" fmla="*/ 351206 w 1573156"/>
                <a:gd name="connsiteY13" fmla="*/ 1622268 h 3641849"/>
                <a:gd name="connsiteX14" fmla="*/ 365062 w 1573156"/>
                <a:gd name="connsiteY14" fmla="*/ 1557627 h 3641849"/>
                <a:gd name="connsiteX15" fmla="*/ 304099 w 1573156"/>
                <a:gd name="connsiteY15" fmla="*/ 1511084 h 3641849"/>
                <a:gd name="connsiteX16" fmla="*/ 259763 w 1573156"/>
                <a:gd name="connsiteY16" fmla="*/ 1485227 h 3641849"/>
                <a:gd name="connsiteX17" fmla="*/ 198801 w 1573156"/>
                <a:gd name="connsiteY17" fmla="*/ 1495570 h 3641849"/>
                <a:gd name="connsiteX18" fmla="*/ 376147 w 1573156"/>
                <a:gd name="connsiteY18" fmla="*/ 1299057 h 3641849"/>
                <a:gd name="connsiteX19" fmla="*/ 223740 w 1573156"/>
                <a:gd name="connsiteY19" fmla="*/ 1151672 h 3641849"/>
                <a:gd name="connsiteX20" fmla="*/ 284703 w 1573156"/>
                <a:gd name="connsiteY20" fmla="*/ 1089617 h 3641849"/>
                <a:gd name="connsiteX21" fmla="*/ 218198 w 1573156"/>
                <a:gd name="connsiteY21" fmla="*/ 1050829 h 3641849"/>
                <a:gd name="connsiteX22" fmla="*/ 259763 w 1573156"/>
                <a:gd name="connsiteY22" fmla="*/ 1019802 h 3641849"/>
                <a:gd name="connsiteX23" fmla="*/ 212657 w 1573156"/>
                <a:gd name="connsiteY23" fmla="*/ 993947 h 3641849"/>
                <a:gd name="connsiteX24" fmla="*/ 212656 w 1573156"/>
                <a:gd name="connsiteY24" fmla="*/ 794845 h 3641849"/>
                <a:gd name="connsiteX25" fmla="*/ 251451 w 1573156"/>
                <a:gd name="connsiteY25" fmla="*/ 779332 h 3641849"/>
                <a:gd name="connsiteX26" fmla="*/ 137838 w 1573156"/>
                <a:gd name="connsiteY26" fmla="*/ 551792 h 3641849"/>
                <a:gd name="connsiteX27" fmla="*/ 135067 w 1573156"/>
                <a:gd name="connsiteY27" fmla="*/ 551792 h 3641849"/>
                <a:gd name="connsiteX28" fmla="*/ 184945 w 1573156"/>
                <a:gd name="connsiteY28" fmla="*/ 469048 h 3641849"/>
                <a:gd name="connsiteX29" fmla="*/ 201571 w 1573156"/>
                <a:gd name="connsiteY29" fmla="*/ 378550 h 3641849"/>
                <a:gd name="connsiteX30" fmla="*/ 126752 w 1573156"/>
                <a:gd name="connsiteY30" fmla="*/ 319079 h 3641849"/>
                <a:gd name="connsiteX31" fmla="*/ 118440 w 1573156"/>
                <a:gd name="connsiteY31" fmla="*/ 251851 h 3641849"/>
                <a:gd name="connsiteX32" fmla="*/ 173860 w 1573156"/>
                <a:gd name="connsiteY32" fmla="*/ 158764 h 3641849"/>
                <a:gd name="connsiteX33" fmla="*/ 193258 w 1573156"/>
                <a:gd name="connsiteY33" fmla="*/ 135494 h 3641849"/>
                <a:gd name="connsiteX34" fmla="*/ 207113 w 1573156"/>
                <a:gd name="connsiteY34" fmla="*/ 117394 h 3641849"/>
                <a:gd name="connsiteX35" fmla="*/ 215426 w 1573156"/>
                <a:gd name="connsiteY35" fmla="*/ 73438 h 3641849"/>
                <a:gd name="connsiteX36" fmla="*/ 240365 w 1573156"/>
                <a:gd name="connsiteY36" fmla="*/ 101880 h 3641849"/>
                <a:gd name="connsiteX37" fmla="*/ 270847 w 1573156"/>
                <a:gd name="connsiteY37" fmla="*/ 88952 h 3641849"/>
                <a:gd name="connsiteX38" fmla="*/ 273617 w 1573156"/>
                <a:gd name="connsiteY38" fmla="*/ 63095 h 3641849"/>
                <a:gd name="connsiteX39" fmla="*/ 281931 w 1573156"/>
                <a:gd name="connsiteY39" fmla="*/ 34652 h 3641849"/>
                <a:gd name="connsiteX40" fmla="*/ 284703 w 1573156"/>
                <a:gd name="connsiteY40" fmla="*/ 3624 h 3641849"/>
                <a:gd name="connsiteX41" fmla="*/ 420483 w 1573156"/>
                <a:gd name="connsiteY41" fmla="*/ 57924 h 3641849"/>
                <a:gd name="connsiteX42" fmla="*/ 450963 w 1573156"/>
                <a:gd name="connsiteY42" fmla="*/ 161352 h 3641849"/>
                <a:gd name="connsiteX43" fmla="*/ 464819 w 1573156"/>
                <a:gd name="connsiteY43" fmla="*/ 184622 h 3641849"/>
                <a:gd name="connsiteX44" fmla="*/ 475903 w 1573156"/>
                <a:gd name="connsiteY44" fmla="*/ 187208 h 3641849"/>
                <a:gd name="connsiteX45" fmla="*/ 589515 w 1573156"/>
                <a:gd name="connsiteY45" fmla="*/ 156181 h 3641849"/>
                <a:gd name="connsiteX46" fmla="*/ 656020 w 1573156"/>
                <a:gd name="connsiteY46" fmla="*/ 166522 h 3641849"/>
                <a:gd name="connsiteX47" fmla="*/ 719754 w 1573156"/>
                <a:gd name="connsiteY47" fmla="*/ 213065 h 3641849"/>
                <a:gd name="connsiteX48" fmla="*/ 733781 w 1573156"/>
                <a:gd name="connsiteY48" fmla="*/ 242621 h 3641849"/>
                <a:gd name="connsiteX49" fmla="*/ 789028 w 1573156"/>
                <a:gd name="connsiteY49" fmla="*/ 277708 h 3641849"/>
                <a:gd name="connsiteX50" fmla="*/ 877702 w 1573156"/>
                <a:gd name="connsiteY50" fmla="*/ 303563 h 3641849"/>
                <a:gd name="connsiteX51" fmla="*/ 949748 w 1573156"/>
                <a:gd name="connsiteY51" fmla="*/ 350106 h 3641849"/>
                <a:gd name="connsiteX52" fmla="*/ 999627 w 1573156"/>
                <a:gd name="connsiteY52" fmla="*/ 401820 h 3641849"/>
                <a:gd name="connsiteX53" fmla="*/ 1024566 w 1573156"/>
                <a:gd name="connsiteY53" fmla="*/ 440606 h 3641849"/>
                <a:gd name="connsiteX54" fmla="*/ 1057819 w 1573156"/>
                <a:gd name="connsiteY54" fmla="*/ 466462 h 3641849"/>
                <a:gd name="connsiteX55" fmla="*/ 1041191 w 1573156"/>
                <a:gd name="connsiteY55" fmla="*/ 691417 h 3641849"/>
                <a:gd name="connsiteX56" fmla="*/ 913725 w 1573156"/>
                <a:gd name="connsiteY56" fmla="*/ 771575 h 3641849"/>
                <a:gd name="connsiteX57" fmla="*/ 800113 w 1573156"/>
                <a:gd name="connsiteY57" fmla="*/ 779331 h 3641849"/>
                <a:gd name="connsiteX58" fmla="*/ 661560 w 1573156"/>
                <a:gd name="connsiteY58" fmla="*/ 758645 h 3641849"/>
                <a:gd name="connsiteX59" fmla="*/ 570116 w 1573156"/>
                <a:gd name="connsiteY59" fmla="*/ 722445 h 3641849"/>
                <a:gd name="connsiteX60" fmla="*/ 550719 w 1573156"/>
                <a:gd name="connsiteY60" fmla="*/ 750888 h 3641849"/>
                <a:gd name="connsiteX61" fmla="*/ 581361 w 1573156"/>
                <a:gd name="connsiteY61" fmla="*/ 824301 h 3641849"/>
                <a:gd name="connsiteX62" fmla="*/ 586902 w 1573156"/>
                <a:gd name="connsiteY62" fmla="*/ 951000 h 3641849"/>
                <a:gd name="connsiteX63" fmla="*/ 559032 w 1573156"/>
                <a:gd name="connsiteY63" fmla="*/ 1012043 h 3641849"/>
                <a:gd name="connsiteX64" fmla="*/ 614451 w 1573156"/>
                <a:gd name="connsiteY64" fmla="*/ 1032728 h 3641849"/>
                <a:gd name="connsiteX65" fmla="*/ 631079 w 1573156"/>
                <a:gd name="connsiteY65" fmla="*/ 1048242 h 3641849"/>
                <a:gd name="connsiteX66" fmla="*/ 656019 w 1573156"/>
                <a:gd name="connsiteY66" fmla="*/ 1074099 h 3641849"/>
                <a:gd name="connsiteX67" fmla="*/ 653248 w 1573156"/>
                <a:gd name="connsiteY67" fmla="*/ 1076685 h 3641849"/>
                <a:gd name="connsiteX68" fmla="*/ 692041 w 1573156"/>
                <a:gd name="connsiteY68" fmla="*/ 1071514 h 3641849"/>
                <a:gd name="connsiteX69" fmla="*/ 700355 w 1573156"/>
                <a:gd name="connsiteY69" fmla="*/ 1035314 h 3641849"/>
                <a:gd name="connsiteX70" fmla="*/ 661560 w 1573156"/>
                <a:gd name="connsiteY70" fmla="*/ 957743 h 3641849"/>
                <a:gd name="connsiteX71" fmla="*/ 730836 w 1573156"/>
                <a:gd name="connsiteY71" fmla="*/ 911200 h 3641849"/>
                <a:gd name="connsiteX72" fmla="*/ 798608 w 1573156"/>
                <a:gd name="connsiteY72" fmla="*/ 918934 h 3641849"/>
                <a:gd name="connsiteX73" fmla="*/ 822441 w 1573156"/>
                <a:gd name="connsiteY73" fmla="*/ 951001 h 3641849"/>
                <a:gd name="connsiteX74" fmla="*/ 978170 w 1573156"/>
                <a:gd name="connsiteY74" fmla="*/ 1007364 h 3641849"/>
                <a:gd name="connsiteX75" fmla="*/ 963762 w 1573156"/>
                <a:gd name="connsiteY75" fmla="*/ 971687 h 3641849"/>
                <a:gd name="connsiteX76" fmla="*/ 930510 w 1573156"/>
                <a:gd name="connsiteY76" fmla="*/ 932901 h 3641849"/>
                <a:gd name="connsiteX77" fmla="*/ 919426 w 1573156"/>
                <a:gd name="connsiteY77" fmla="*/ 881187 h 3641849"/>
                <a:gd name="connsiteX78" fmla="*/ 958221 w 1573156"/>
                <a:gd name="connsiteY78" fmla="*/ 832060 h 3641849"/>
                <a:gd name="connsiteX79" fmla="*/ 985931 w 1573156"/>
                <a:gd name="connsiteY79" fmla="*/ 803617 h 3641849"/>
                <a:gd name="connsiteX80" fmla="*/ 1010871 w 1573156"/>
                <a:gd name="connsiteY80" fmla="*/ 767417 h 3641849"/>
                <a:gd name="connsiteX81" fmla="*/ 1091231 w 1573156"/>
                <a:gd name="connsiteY81" fmla="*/ 762245 h 3641849"/>
                <a:gd name="connsiteX82" fmla="*/ 1096772 w 1573156"/>
                <a:gd name="connsiteY82" fmla="*/ 741560 h 3641849"/>
                <a:gd name="connsiteX83" fmla="*/ 1121712 w 1573156"/>
                <a:gd name="connsiteY83" fmla="*/ 705360 h 3641849"/>
                <a:gd name="connsiteX84" fmla="*/ 1155516 w 1573156"/>
                <a:gd name="connsiteY84" fmla="*/ 687772 h 3641849"/>
                <a:gd name="connsiteX85" fmla="*/ 1213156 w 1573156"/>
                <a:gd name="connsiteY85" fmla="*/ 700189 h 3641849"/>
                <a:gd name="connsiteX86" fmla="*/ 1251949 w 1573156"/>
                <a:gd name="connsiteY86" fmla="*/ 720875 h 3641849"/>
                <a:gd name="connsiteX87" fmla="*/ 1299057 w 1573156"/>
                <a:gd name="connsiteY87" fmla="*/ 728632 h 3641849"/>
                <a:gd name="connsiteX88" fmla="*/ 1299057 w 1573156"/>
                <a:gd name="connsiteY88" fmla="*/ 733803 h 3641849"/>
                <a:gd name="connsiteX89" fmla="*/ 1321226 w 1573156"/>
                <a:gd name="connsiteY89" fmla="*/ 674332 h 3641849"/>
                <a:gd name="connsiteX90" fmla="*/ 1331201 w 1573156"/>
                <a:gd name="connsiteY90" fmla="*/ 640714 h 3641849"/>
                <a:gd name="connsiteX91" fmla="*/ 1337852 w 1573156"/>
                <a:gd name="connsiteY91" fmla="*/ 622618 h 3641849"/>
                <a:gd name="connsiteX92" fmla="*/ 1340789 w 1573156"/>
                <a:gd name="connsiteY92" fmla="*/ 591288 h 3641849"/>
                <a:gd name="connsiteX93" fmla="*/ 1260263 w 1573156"/>
                <a:gd name="connsiteY93" fmla="*/ 545048 h 3641849"/>
                <a:gd name="connsiteX94" fmla="*/ 1246408 w 1573156"/>
                <a:gd name="connsiteY94" fmla="*/ 472648 h 3641849"/>
                <a:gd name="connsiteX95" fmla="*/ 1246408 w 1573156"/>
                <a:gd name="connsiteY95" fmla="*/ 454548 h 3641849"/>
                <a:gd name="connsiteX96" fmla="*/ 1257491 w 1573156"/>
                <a:gd name="connsiteY96" fmla="*/ 431276 h 3641849"/>
                <a:gd name="connsiteX97" fmla="*/ 1260263 w 1573156"/>
                <a:gd name="connsiteY97" fmla="*/ 415762 h 3641849"/>
                <a:gd name="connsiteX98" fmla="*/ 1260262 w 1573156"/>
                <a:gd name="connsiteY98" fmla="*/ 358878 h 3641849"/>
                <a:gd name="connsiteX99" fmla="*/ 1238094 w 1573156"/>
                <a:gd name="connsiteY99" fmla="*/ 335607 h 3641849"/>
                <a:gd name="connsiteX100" fmla="*/ 1210384 w 1573156"/>
                <a:gd name="connsiteY100" fmla="*/ 304578 h 3641849"/>
                <a:gd name="connsiteX101" fmla="*/ 1206216 w 1573156"/>
                <a:gd name="connsiteY101" fmla="*/ 280325 h 3641849"/>
                <a:gd name="connsiteX102" fmla="*/ 1257492 w 1573156"/>
                <a:gd name="connsiteY102" fmla="*/ 258034 h 3641849"/>
                <a:gd name="connsiteX103" fmla="*/ 1311072 w 1573156"/>
                <a:gd name="connsiteY103" fmla="*/ 267906 h 3641849"/>
                <a:gd name="connsiteX104" fmla="*/ 1389856 w 1573156"/>
                <a:gd name="connsiteY104" fmla="*/ 279816 h 3641849"/>
                <a:gd name="connsiteX105" fmla="*/ 1474179 w 1573156"/>
                <a:gd name="connsiteY105" fmla="*/ 349175 h 3641849"/>
                <a:gd name="connsiteX106" fmla="*/ 1536314 w 1573156"/>
                <a:gd name="connsiteY106" fmla="*/ 425271 h 3641849"/>
                <a:gd name="connsiteX107" fmla="*/ 1435343 w 1573156"/>
                <a:gd name="connsiteY107" fmla="*/ 454265 h 3641849"/>
                <a:gd name="connsiteX108" fmla="*/ 1419809 w 1573156"/>
                <a:gd name="connsiteY108" fmla="*/ 501372 h 3641849"/>
                <a:gd name="connsiteX109" fmla="*/ 1477479 w 1573156"/>
                <a:gd name="connsiteY109" fmla="*/ 585862 h 3641849"/>
                <a:gd name="connsiteX110" fmla="*/ 1513013 w 1573156"/>
                <a:gd name="connsiteY110" fmla="*/ 591964 h 3641849"/>
                <a:gd name="connsiteX111" fmla="*/ 1565633 w 1573156"/>
                <a:gd name="connsiteY111" fmla="*/ 598304 h 3641849"/>
                <a:gd name="connsiteX112" fmla="*/ 1560670 w 1573156"/>
                <a:gd name="connsiteY112" fmla="*/ 709079 h 3641849"/>
                <a:gd name="connsiteX113" fmla="*/ 1571739 w 1573156"/>
                <a:gd name="connsiteY113" fmla="*/ 1040047 h 3641849"/>
                <a:gd name="connsiteX114" fmla="*/ 1562871 w 1573156"/>
                <a:gd name="connsiteY114" fmla="*/ 1842646 h 3641849"/>
                <a:gd name="connsiteX115" fmla="*/ 1571738 w 1573156"/>
                <a:gd name="connsiteY115" fmla="*/ 2297728 h 3641849"/>
                <a:gd name="connsiteX116" fmla="*/ 1545290 w 1573156"/>
                <a:gd name="connsiteY116" fmla="*/ 3607693 h 3641849"/>
                <a:gd name="connsiteX117" fmla="*/ 1286863 w 1573156"/>
                <a:gd name="connsiteY117" fmla="*/ 3564098 h 3641849"/>
                <a:gd name="connsiteX118" fmla="*/ 1118385 w 1573156"/>
                <a:gd name="connsiteY118" fmla="*/ 3497903 h 3641849"/>
                <a:gd name="connsiteX119" fmla="*/ 941039 w 1573156"/>
                <a:gd name="connsiteY119" fmla="*/ 3406887 h 3641849"/>
                <a:gd name="connsiteX120" fmla="*/ 842741 w 1573156"/>
                <a:gd name="connsiteY120" fmla="*/ 3326370 h 3641849"/>
                <a:gd name="connsiteX121" fmla="*/ 1137003 w 1573156"/>
                <a:gd name="connsiteY121" fmla="*/ 3018734 h 3641849"/>
                <a:gd name="connsiteX122" fmla="*/ 853249 w 1573156"/>
                <a:gd name="connsiteY122" fmla="*/ 2480910 h 3641849"/>
                <a:gd name="connsiteX123" fmla="*/ 995599 w 1573156"/>
                <a:gd name="connsiteY123" fmla="*/ 2241825 h 3641849"/>
                <a:gd name="connsiteX124" fmla="*/ 808912 w 1573156"/>
                <a:gd name="connsiteY124" fmla="*/ 1703134 h 3641849"/>
                <a:gd name="connsiteX125" fmla="*/ 560628 w 1573156"/>
                <a:gd name="connsiteY125" fmla="*/ 1471456 h 3641849"/>
                <a:gd name="connsiteX126" fmla="*/ 91772 w 1573156"/>
                <a:gd name="connsiteY126" fmla="*/ 2159767 h 3641849"/>
                <a:gd name="connsiteX0" fmla="*/ 96658 w 1578042"/>
                <a:gd name="connsiteY0" fmla="*/ 2159767 h 3641849"/>
                <a:gd name="connsiteX1" fmla="*/ 6943 w 1578042"/>
                <a:gd name="connsiteY1" fmla="*/ 1730867 h 3641849"/>
                <a:gd name="connsiteX2" fmla="*/ 42965 w 1578042"/>
                <a:gd name="connsiteY2" fmla="*/ 1689496 h 3641849"/>
                <a:gd name="connsiteX3" fmla="*/ 23569 w 1578042"/>
                <a:gd name="connsiteY3" fmla="*/ 1679153 h 3641849"/>
                <a:gd name="connsiteX4" fmla="*/ 6941 w 1578042"/>
                <a:gd name="connsiteY4" fmla="*/ 1640367 h 3641849"/>
                <a:gd name="connsiteX5" fmla="*/ 70676 w 1578042"/>
                <a:gd name="connsiteY5" fmla="*/ 1650711 h 3641849"/>
                <a:gd name="connsiteX6" fmla="*/ 98387 w 1578042"/>
                <a:gd name="connsiteY6" fmla="*/ 1627440 h 3641849"/>
                <a:gd name="connsiteX7" fmla="*/ 192602 w 1578042"/>
                <a:gd name="connsiteY7" fmla="*/ 1536941 h 3641849"/>
                <a:gd name="connsiteX8" fmla="*/ 217541 w 1578042"/>
                <a:gd name="connsiteY8" fmla="*/ 1505912 h 3641849"/>
                <a:gd name="connsiteX9" fmla="*/ 203687 w 1578042"/>
                <a:gd name="connsiteY9" fmla="*/ 1555040 h 3641849"/>
                <a:gd name="connsiteX10" fmla="*/ 223083 w 1578042"/>
                <a:gd name="connsiteY10" fmla="*/ 1588655 h 3641849"/>
                <a:gd name="connsiteX11" fmla="*/ 267420 w 1578042"/>
                <a:gd name="connsiteY11" fmla="*/ 1666225 h 3641849"/>
                <a:gd name="connsiteX12" fmla="*/ 336696 w 1578042"/>
                <a:gd name="connsiteY12" fmla="*/ 1653297 h 3641849"/>
                <a:gd name="connsiteX13" fmla="*/ 356092 w 1578042"/>
                <a:gd name="connsiteY13" fmla="*/ 1622268 h 3641849"/>
                <a:gd name="connsiteX14" fmla="*/ 369948 w 1578042"/>
                <a:gd name="connsiteY14" fmla="*/ 1557627 h 3641849"/>
                <a:gd name="connsiteX15" fmla="*/ 308985 w 1578042"/>
                <a:gd name="connsiteY15" fmla="*/ 1511084 h 3641849"/>
                <a:gd name="connsiteX16" fmla="*/ 264649 w 1578042"/>
                <a:gd name="connsiteY16" fmla="*/ 1485227 h 3641849"/>
                <a:gd name="connsiteX17" fmla="*/ 203687 w 1578042"/>
                <a:gd name="connsiteY17" fmla="*/ 1495570 h 3641849"/>
                <a:gd name="connsiteX18" fmla="*/ 381033 w 1578042"/>
                <a:gd name="connsiteY18" fmla="*/ 1299057 h 3641849"/>
                <a:gd name="connsiteX19" fmla="*/ 228626 w 1578042"/>
                <a:gd name="connsiteY19" fmla="*/ 1151672 h 3641849"/>
                <a:gd name="connsiteX20" fmla="*/ 289589 w 1578042"/>
                <a:gd name="connsiteY20" fmla="*/ 1089617 h 3641849"/>
                <a:gd name="connsiteX21" fmla="*/ 223084 w 1578042"/>
                <a:gd name="connsiteY21" fmla="*/ 1050829 h 3641849"/>
                <a:gd name="connsiteX22" fmla="*/ 264649 w 1578042"/>
                <a:gd name="connsiteY22" fmla="*/ 1019802 h 3641849"/>
                <a:gd name="connsiteX23" fmla="*/ 217543 w 1578042"/>
                <a:gd name="connsiteY23" fmla="*/ 993947 h 3641849"/>
                <a:gd name="connsiteX24" fmla="*/ 217542 w 1578042"/>
                <a:gd name="connsiteY24" fmla="*/ 794845 h 3641849"/>
                <a:gd name="connsiteX25" fmla="*/ 256337 w 1578042"/>
                <a:gd name="connsiteY25" fmla="*/ 779332 h 3641849"/>
                <a:gd name="connsiteX26" fmla="*/ 142724 w 1578042"/>
                <a:gd name="connsiteY26" fmla="*/ 551792 h 3641849"/>
                <a:gd name="connsiteX27" fmla="*/ 139953 w 1578042"/>
                <a:gd name="connsiteY27" fmla="*/ 551792 h 3641849"/>
                <a:gd name="connsiteX28" fmla="*/ 189831 w 1578042"/>
                <a:gd name="connsiteY28" fmla="*/ 469048 h 3641849"/>
                <a:gd name="connsiteX29" fmla="*/ 206457 w 1578042"/>
                <a:gd name="connsiteY29" fmla="*/ 378550 h 3641849"/>
                <a:gd name="connsiteX30" fmla="*/ 131638 w 1578042"/>
                <a:gd name="connsiteY30" fmla="*/ 319079 h 3641849"/>
                <a:gd name="connsiteX31" fmla="*/ 123326 w 1578042"/>
                <a:gd name="connsiteY31" fmla="*/ 251851 h 3641849"/>
                <a:gd name="connsiteX32" fmla="*/ 178746 w 1578042"/>
                <a:gd name="connsiteY32" fmla="*/ 158764 h 3641849"/>
                <a:gd name="connsiteX33" fmla="*/ 198144 w 1578042"/>
                <a:gd name="connsiteY33" fmla="*/ 135494 h 3641849"/>
                <a:gd name="connsiteX34" fmla="*/ 211999 w 1578042"/>
                <a:gd name="connsiteY34" fmla="*/ 117394 h 3641849"/>
                <a:gd name="connsiteX35" fmla="*/ 220312 w 1578042"/>
                <a:gd name="connsiteY35" fmla="*/ 73438 h 3641849"/>
                <a:gd name="connsiteX36" fmla="*/ 245251 w 1578042"/>
                <a:gd name="connsiteY36" fmla="*/ 101880 h 3641849"/>
                <a:gd name="connsiteX37" fmla="*/ 275733 w 1578042"/>
                <a:gd name="connsiteY37" fmla="*/ 88952 h 3641849"/>
                <a:gd name="connsiteX38" fmla="*/ 278503 w 1578042"/>
                <a:gd name="connsiteY38" fmla="*/ 63095 h 3641849"/>
                <a:gd name="connsiteX39" fmla="*/ 286817 w 1578042"/>
                <a:gd name="connsiteY39" fmla="*/ 34652 h 3641849"/>
                <a:gd name="connsiteX40" fmla="*/ 289589 w 1578042"/>
                <a:gd name="connsiteY40" fmla="*/ 3624 h 3641849"/>
                <a:gd name="connsiteX41" fmla="*/ 425369 w 1578042"/>
                <a:gd name="connsiteY41" fmla="*/ 57924 h 3641849"/>
                <a:gd name="connsiteX42" fmla="*/ 455849 w 1578042"/>
                <a:gd name="connsiteY42" fmla="*/ 161352 h 3641849"/>
                <a:gd name="connsiteX43" fmla="*/ 469705 w 1578042"/>
                <a:gd name="connsiteY43" fmla="*/ 184622 h 3641849"/>
                <a:gd name="connsiteX44" fmla="*/ 480789 w 1578042"/>
                <a:gd name="connsiteY44" fmla="*/ 187208 h 3641849"/>
                <a:gd name="connsiteX45" fmla="*/ 594401 w 1578042"/>
                <a:gd name="connsiteY45" fmla="*/ 156181 h 3641849"/>
                <a:gd name="connsiteX46" fmla="*/ 660906 w 1578042"/>
                <a:gd name="connsiteY46" fmla="*/ 166522 h 3641849"/>
                <a:gd name="connsiteX47" fmla="*/ 724640 w 1578042"/>
                <a:gd name="connsiteY47" fmla="*/ 213065 h 3641849"/>
                <a:gd name="connsiteX48" fmla="*/ 738667 w 1578042"/>
                <a:gd name="connsiteY48" fmla="*/ 242621 h 3641849"/>
                <a:gd name="connsiteX49" fmla="*/ 793914 w 1578042"/>
                <a:gd name="connsiteY49" fmla="*/ 277708 h 3641849"/>
                <a:gd name="connsiteX50" fmla="*/ 882588 w 1578042"/>
                <a:gd name="connsiteY50" fmla="*/ 303563 h 3641849"/>
                <a:gd name="connsiteX51" fmla="*/ 954634 w 1578042"/>
                <a:gd name="connsiteY51" fmla="*/ 350106 h 3641849"/>
                <a:gd name="connsiteX52" fmla="*/ 1004513 w 1578042"/>
                <a:gd name="connsiteY52" fmla="*/ 401820 h 3641849"/>
                <a:gd name="connsiteX53" fmla="*/ 1029452 w 1578042"/>
                <a:gd name="connsiteY53" fmla="*/ 440606 h 3641849"/>
                <a:gd name="connsiteX54" fmla="*/ 1062705 w 1578042"/>
                <a:gd name="connsiteY54" fmla="*/ 466462 h 3641849"/>
                <a:gd name="connsiteX55" fmla="*/ 1046077 w 1578042"/>
                <a:gd name="connsiteY55" fmla="*/ 691417 h 3641849"/>
                <a:gd name="connsiteX56" fmla="*/ 918611 w 1578042"/>
                <a:gd name="connsiteY56" fmla="*/ 771575 h 3641849"/>
                <a:gd name="connsiteX57" fmla="*/ 804999 w 1578042"/>
                <a:gd name="connsiteY57" fmla="*/ 779331 h 3641849"/>
                <a:gd name="connsiteX58" fmla="*/ 666446 w 1578042"/>
                <a:gd name="connsiteY58" fmla="*/ 758645 h 3641849"/>
                <a:gd name="connsiteX59" fmla="*/ 575002 w 1578042"/>
                <a:gd name="connsiteY59" fmla="*/ 722445 h 3641849"/>
                <a:gd name="connsiteX60" fmla="*/ 555605 w 1578042"/>
                <a:gd name="connsiteY60" fmla="*/ 750888 h 3641849"/>
                <a:gd name="connsiteX61" fmla="*/ 586247 w 1578042"/>
                <a:gd name="connsiteY61" fmla="*/ 824301 h 3641849"/>
                <a:gd name="connsiteX62" fmla="*/ 591788 w 1578042"/>
                <a:gd name="connsiteY62" fmla="*/ 951000 h 3641849"/>
                <a:gd name="connsiteX63" fmla="*/ 563918 w 1578042"/>
                <a:gd name="connsiteY63" fmla="*/ 1012043 h 3641849"/>
                <a:gd name="connsiteX64" fmla="*/ 619337 w 1578042"/>
                <a:gd name="connsiteY64" fmla="*/ 1032728 h 3641849"/>
                <a:gd name="connsiteX65" fmla="*/ 635965 w 1578042"/>
                <a:gd name="connsiteY65" fmla="*/ 1048242 h 3641849"/>
                <a:gd name="connsiteX66" fmla="*/ 660905 w 1578042"/>
                <a:gd name="connsiteY66" fmla="*/ 1074099 h 3641849"/>
                <a:gd name="connsiteX67" fmla="*/ 658134 w 1578042"/>
                <a:gd name="connsiteY67" fmla="*/ 1076685 h 3641849"/>
                <a:gd name="connsiteX68" fmla="*/ 696927 w 1578042"/>
                <a:gd name="connsiteY68" fmla="*/ 1071514 h 3641849"/>
                <a:gd name="connsiteX69" fmla="*/ 705241 w 1578042"/>
                <a:gd name="connsiteY69" fmla="*/ 1035314 h 3641849"/>
                <a:gd name="connsiteX70" fmla="*/ 666446 w 1578042"/>
                <a:gd name="connsiteY70" fmla="*/ 957743 h 3641849"/>
                <a:gd name="connsiteX71" fmla="*/ 735722 w 1578042"/>
                <a:gd name="connsiteY71" fmla="*/ 911200 h 3641849"/>
                <a:gd name="connsiteX72" fmla="*/ 803494 w 1578042"/>
                <a:gd name="connsiteY72" fmla="*/ 918934 h 3641849"/>
                <a:gd name="connsiteX73" fmla="*/ 827327 w 1578042"/>
                <a:gd name="connsiteY73" fmla="*/ 951001 h 3641849"/>
                <a:gd name="connsiteX74" fmla="*/ 983056 w 1578042"/>
                <a:gd name="connsiteY74" fmla="*/ 1007364 h 3641849"/>
                <a:gd name="connsiteX75" fmla="*/ 968648 w 1578042"/>
                <a:gd name="connsiteY75" fmla="*/ 971687 h 3641849"/>
                <a:gd name="connsiteX76" fmla="*/ 935396 w 1578042"/>
                <a:gd name="connsiteY76" fmla="*/ 932901 h 3641849"/>
                <a:gd name="connsiteX77" fmla="*/ 924312 w 1578042"/>
                <a:gd name="connsiteY77" fmla="*/ 881187 h 3641849"/>
                <a:gd name="connsiteX78" fmla="*/ 963107 w 1578042"/>
                <a:gd name="connsiteY78" fmla="*/ 832060 h 3641849"/>
                <a:gd name="connsiteX79" fmla="*/ 990817 w 1578042"/>
                <a:gd name="connsiteY79" fmla="*/ 803617 h 3641849"/>
                <a:gd name="connsiteX80" fmla="*/ 1015757 w 1578042"/>
                <a:gd name="connsiteY80" fmla="*/ 767417 h 3641849"/>
                <a:gd name="connsiteX81" fmla="*/ 1096117 w 1578042"/>
                <a:gd name="connsiteY81" fmla="*/ 762245 h 3641849"/>
                <a:gd name="connsiteX82" fmla="*/ 1101658 w 1578042"/>
                <a:gd name="connsiteY82" fmla="*/ 741560 h 3641849"/>
                <a:gd name="connsiteX83" fmla="*/ 1126598 w 1578042"/>
                <a:gd name="connsiteY83" fmla="*/ 705360 h 3641849"/>
                <a:gd name="connsiteX84" fmla="*/ 1160402 w 1578042"/>
                <a:gd name="connsiteY84" fmla="*/ 687772 h 3641849"/>
                <a:gd name="connsiteX85" fmla="*/ 1218042 w 1578042"/>
                <a:gd name="connsiteY85" fmla="*/ 700189 h 3641849"/>
                <a:gd name="connsiteX86" fmla="*/ 1256835 w 1578042"/>
                <a:gd name="connsiteY86" fmla="*/ 720875 h 3641849"/>
                <a:gd name="connsiteX87" fmla="*/ 1303943 w 1578042"/>
                <a:gd name="connsiteY87" fmla="*/ 728632 h 3641849"/>
                <a:gd name="connsiteX88" fmla="*/ 1303943 w 1578042"/>
                <a:gd name="connsiteY88" fmla="*/ 733803 h 3641849"/>
                <a:gd name="connsiteX89" fmla="*/ 1326112 w 1578042"/>
                <a:gd name="connsiteY89" fmla="*/ 674332 h 3641849"/>
                <a:gd name="connsiteX90" fmla="*/ 1336087 w 1578042"/>
                <a:gd name="connsiteY90" fmla="*/ 640714 h 3641849"/>
                <a:gd name="connsiteX91" fmla="*/ 1342738 w 1578042"/>
                <a:gd name="connsiteY91" fmla="*/ 622618 h 3641849"/>
                <a:gd name="connsiteX92" fmla="*/ 1345675 w 1578042"/>
                <a:gd name="connsiteY92" fmla="*/ 591288 h 3641849"/>
                <a:gd name="connsiteX93" fmla="*/ 1265149 w 1578042"/>
                <a:gd name="connsiteY93" fmla="*/ 545048 h 3641849"/>
                <a:gd name="connsiteX94" fmla="*/ 1251294 w 1578042"/>
                <a:gd name="connsiteY94" fmla="*/ 472648 h 3641849"/>
                <a:gd name="connsiteX95" fmla="*/ 1251294 w 1578042"/>
                <a:gd name="connsiteY95" fmla="*/ 454548 h 3641849"/>
                <a:gd name="connsiteX96" fmla="*/ 1262377 w 1578042"/>
                <a:gd name="connsiteY96" fmla="*/ 431276 h 3641849"/>
                <a:gd name="connsiteX97" fmla="*/ 1265149 w 1578042"/>
                <a:gd name="connsiteY97" fmla="*/ 415762 h 3641849"/>
                <a:gd name="connsiteX98" fmla="*/ 1265148 w 1578042"/>
                <a:gd name="connsiteY98" fmla="*/ 358878 h 3641849"/>
                <a:gd name="connsiteX99" fmla="*/ 1242980 w 1578042"/>
                <a:gd name="connsiteY99" fmla="*/ 335607 h 3641849"/>
                <a:gd name="connsiteX100" fmla="*/ 1215270 w 1578042"/>
                <a:gd name="connsiteY100" fmla="*/ 304578 h 3641849"/>
                <a:gd name="connsiteX101" fmla="*/ 1211102 w 1578042"/>
                <a:gd name="connsiteY101" fmla="*/ 280325 h 3641849"/>
                <a:gd name="connsiteX102" fmla="*/ 1262378 w 1578042"/>
                <a:gd name="connsiteY102" fmla="*/ 258034 h 3641849"/>
                <a:gd name="connsiteX103" fmla="*/ 1315958 w 1578042"/>
                <a:gd name="connsiteY103" fmla="*/ 267906 h 3641849"/>
                <a:gd name="connsiteX104" fmla="*/ 1394742 w 1578042"/>
                <a:gd name="connsiteY104" fmla="*/ 279816 h 3641849"/>
                <a:gd name="connsiteX105" fmla="*/ 1479065 w 1578042"/>
                <a:gd name="connsiteY105" fmla="*/ 349175 h 3641849"/>
                <a:gd name="connsiteX106" fmla="*/ 1541200 w 1578042"/>
                <a:gd name="connsiteY106" fmla="*/ 425271 h 3641849"/>
                <a:gd name="connsiteX107" fmla="*/ 1440229 w 1578042"/>
                <a:gd name="connsiteY107" fmla="*/ 454265 h 3641849"/>
                <a:gd name="connsiteX108" fmla="*/ 1424695 w 1578042"/>
                <a:gd name="connsiteY108" fmla="*/ 501372 h 3641849"/>
                <a:gd name="connsiteX109" fmla="*/ 1482365 w 1578042"/>
                <a:gd name="connsiteY109" fmla="*/ 585862 h 3641849"/>
                <a:gd name="connsiteX110" fmla="*/ 1517899 w 1578042"/>
                <a:gd name="connsiteY110" fmla="*/ 591964 h 3641849"/>
                <a:gd name="connsiteX111" fmla="*/ 1570519 w 1578042"/>
                <a:gd name="connsiteY111" fmla="*/ 598304 h 3641849"/>
                <a:gd name="connsiteX112" fmla="*/ 1565556 w 1578042"/>
                <a:gd name="connsiteY112" fmla="*/ 709079 h 3641849"/>
                <a:gd name="connsiteX113" fmla="*/ 1576625 w 1578042"/>
                <a:gd name="connsiteY113" fmla="*/ 1040047 h 3641849"/>
                <a:gd name="connsiteX114" fmla="*/ 1567757 w 1578042"/>
                <a:gd name="connsiteY114" fmla="*/ 1842646 h 3641849"/>
                <a:gd name="connsiteX115" fmla="*/ 1576624 w 1578042"/>
                <a:gd name="connsiteY115" fmla="*/ 2297728 h 3641849"/>
                <a:gd name="connsiteX116" fmla="*/ 1550176 w 1578042"/>
                <a:gd name="connsiteY116" fmla="*/ 3607693 h 3641849"/>
                <a:gd name="connsiteX117" fmla="*/ 1291749 w 1578042"/>
                <a:gd name="connsiteY117" fmla="*/ 3564098 h 3641849"/>
                <a:gd name="connsiteX118" fmla="*/ 1123271 w 1578042"/>
                <a:gd name="connsiteY118" fmla="*/ 3497903 h 3641849"/>
                <a:gd name="connsiteX119" fmla="*/ 945925 w 1578042"/>
                <a:gd name="connsiteY119" fmla="*/ 3406887 h 3641849"/>
                <a:gd name="connsiteX120" fmla="*/ 847627 w 1578042"/>
                <a:gd name="connsiteY120" fmla="*/ 3326370 h 3641849"/>
                <a:gd name="connsiteX121" fmla="*/ 1141889 w 1578042"/>
                <a:gd name="connsiteY121" fmla="*/ 3018734 h 3641849"/>
                <a:gd name="connsiteX122" fmla="*/ 858135 w 1578042"/>
                <a:gd name="connsiteY122" fmla="*/ 2480910 h 3641849"/>
                <a:gd name="connsiteX123" fmla="*/ 1000485 w 1578042"/>
                <a:gd name="connsiteY123" fmla="*/ 2241825 h 3641849"/>
                <a:gd name="connsiteX124" fmla="*/ 813798 w 1578042"/>
                <a:gd name="connsiteY124" fmla="*/ 1703134 h 3641849"/>
                <a:gd name="connsiteX125" fmla="*/ 565514 w 1578042"/>
                <a:gd name="connsiteY125" fmla="*/ 1471456 h 3641849"/>
                <a:gd name="connsiteX126" fmla="*/ 96658 w 1578042"/>
                <a:gd name="connsiteY126" fmla="*/ 2159767 h 3641849"/>
                <a:gd name="connsiteX0" fmla="*/ 91772 w 1573156"/>
                <a:gd name="connsiteY0" fmla="*/ 2159767 h 3641849"/>
                <a:gd name="connsiteX1" fmla="*/ 74103 w 1573156"/>
                <a:gd name="connsiteY1" fmla="*/ 1803266 h 3641849"/>
                <a:gd name="connsiteX2" fmla="*/ 2057 w 1573156"/>
                <a:gd name="connsiteY2" fmla="*/ 1730867 h 3641849"/>
                <a:gd name="connsiteX3" fmla="*/ 38079 w 1573156"/>
                <a:gd name="connsiteY3" fmla="*/ 1689496 h 3641849"/>
                <a:gd name="connsiteX4" fmla="*/ 18683 w 1573156"/>
                <a:gd name="connsiteY4" fmla="*/ 1679153 h 3641849"/>
                <a:gd name="connsiteX5" fmla="*/ 2055 w 1573156"/>
                <a:gd name="connsiteY5" fmla="*/ 1640367 h 3641849"/>
                <a:gd name="connsiteX6" fmla="*/ 65790 w 1573156"/>
                <a:gd name="connsiteY6" fmla="*/ 1650711 h 3641849"/>
                <a:gd name="connsiteX7" fmla="*/ 93501 w 1573156"/>
                <a:gd name="connsiteY7" fmla="*/ 1627440 h 3641849"/>
                <a:gd name="connsiteX8" fmla="*/ 187716 w 1573156"/>
                <a:gd name="connsiteY8" fmla="*/ 1536941 h 3641849"/>
                <a:gd name="connsiteX9" fmla="*/ 212655 w 1573156"/>
                <a:gd name="connsiteY9" fmla="*/ 1505912 h 3641849"/>
                <a:gd name="connsiteX10" fmla="*/ 198801 w 1573156"/>
                <a:gd name="connsiteY10" fmla="*/ 1555040 h 3641849"/>
                <a:gd name="connsiteX11" fmla="*/ 218197 w 1573156"/>
                <a:gd name="connsiteY11" fmla="*/ 1588655 h 3641849"/>
                <a:gd name="connsiteX12" fmla="*/ 262534 w 1573156"/>
                <a:gd name="connsiteY12" fmla="*/ 1666225 h 3641849"/>
                <a:gd name="connsiteX13" fmla="*/ 331810 w 1573156"/>
                <a:gd name="connsiteY13" fmla="*/ 1653297 h 3641849"/>
                <a:gd name="connsiteX14" fmla="*/ 351206 w 1573156"/>
                <a:gd name="connsiteY14" fmla="*/ 1622268 h 3641849"/>
                <a:gd name="connsiteX15" fmla="*/ 365062 w 1573156"/>
                <a:gd name="connsiteY15" fmla="*/ 1557627 h 3641849"/>
                <a:gd name="connsiteX16" fmla="*/ 304099 w 1573156"/>
                <a:gd name="connsiteY16" fmla="*/ 1511084 h 3641849"/>
                <a:gd name="connsiteX17" fmla="*/ 259763 w 1573156"/>
                <a:gd name="connsiteY17" fmla="*/ 1485227 h 3641849"/>
                <a:gd name="connsiteX18" fmla="*/ 198801 w 1573156"/>
                <a:gd name="connsiteY18" fmla="*/ 1495570 h 3641849"/>
                <a:gd name="connsiteX19" fmla="*/ 376147 w 1573156"/>
                <a:gd name="connsiteY19" fmla="*/ 1299057 h 3641849"/>
                <a:gd name="connsiteX20" fmla="*/ 223740 w 1573156"/>
                <a:gd name="connsiteY20" fmla="*/ 1151672 h 3641849"/>
                <a:gd name="connsiteX21" fmla="*/ 284703 w 1573156"/>
                <a:gd name="connsiteY21" fmla="*/ 1089617 h 3641849"/>
                <a:gd name="connsiteX22" fmla="*/ 218198 w 1573156"/>
                <a:gd name="connsiteY22" fmla="*/ 1050829 h 3641849"/>
                <a:gd name="connsiteX23" fmla="*/ 259763 w 1573156"/>
                <a:gd name="connsiteY23" fmla="*/ 1019802 h 3641849"/>
                <a:gd name="connsiteX24" fmla="*/ 212657 w 1573156"/>
                <a:gd name="connsiteY24" fmla="*/ 993947 h 3641849"/>
                <a:gd name="connsiteX25" fmla="*/ 212656 w 1573156"/>
                <a:gd name="connsiteY25" fmla="*/ 794845 h 3641849"/>
                <a:gd name="connsiteX26" fmla="*/ 251451 w 1573156"/>
                <a:gd name="connsiteY26" fmla="*/ 779332 h 3641849"/>
                <a:gd name="connsiteX27" fmla="*/ 137838 w 1573156"/>
                <a:gd name="connsiteY27" fmla="*/ 551792 h 3641849"/>
                <a:gd name="connsiteX28" fmla="*/ 135067 w 1573156"/>
                <a:gd name="connsiteY28" fmla="*/ 551792 h 3641849"/>
                <a:gd name="connsiteX29" fmla="*/ 184945 w 1573156"/>
                <a:gd name="connsiteY29" fmla="*/ 469048 h 3641849"/>
                <a:gd name="connsiteX30" fmla="*/ 201571 w 1573156"/>
                <a:gd name="connsiteY30" fmla="*/ 378550 h 3641849"/>
                <a:gd name="connsiteX31" fmla="*/ 126752 w 1573156"/>
                <a:gd name="connsiteY31" fmla="*/ 319079 h 3641849"/>
                <a:gd name="connsiteX32" fmla="*/ 118440 w 1573156"/>
                <a:gd name="connsiteY32" fmla="*/ 251851 h 3641849"/>
                <a:gd name="connsiteX33" fmla="*/ 173860 w 1573156"/>
                <a:gd name="connsiteY33" fmla="*/ 158764 h 3641849"/>
                <a:gd name="connsiteX34" fmla="*/ 193258 w 1573156"/>
                <a:gd name="connsiteY34" fmla="*/ 135494 h 3641849"/>
                <a:gd name="connsiteX35" fmla="*/ 207113 w 1573156"/>
                <a:gd name="connsiteY35" fmla="*/ 117394 h 3641849"/>
                <a:gd name="connsiteX36" fmla="*/ 215426 w 1573156"/>
                <a:gd name="connsiteY36" fmla="*/ 73438 h 3641849"/>
                <a:gd name="connsiteX37" fmla="*/ 240365 w 1573156"/>
                <a:gd name="connsiteY37" fmla="*/ 101880 h 3641849"/>
                <a:gd name="connsiteX38" fmla="*/ 270847 w 1573156"/>
                <a:gd name="connsiteY38" fmla="*/ 88952 h 3641849"/>
                <a:gd name="connsiteX39" fmla="*/ 273617 w 1573156"/>
                <a:gd name="connsiteY39" fmla="*/ 63095 h 3641849"/>
                <a:gd name="connsiteX40" fmla="*/ 281931 w 1573156"/>
                <a:gd name="connsiteY40" fmla="*/ 34652 h 3641849"/>
                <a:gd name="connsiteX41" fmla="*/ 284703 w 1573156"/>
                <a:gd name="connsiteY41" fmla="*/ 3624 h 3641849"/>
                <a:gd name="connsiteX42" fmla="*/ 420483 w 1573156"/>
                <a:gd name="connsiteY42" fmla="*/ 57924 h 3641849"/>
                <a:gd name="connsiteX43" fmla="*/ 450963 w 1573156"/>
                <a:gd name="connsiteY43" fmla="*/ 161352 h 3641849"/>
                <a:gd name="connsiteX44" fmla="*/ 464819 w 1573156"/>
                <a:gd name="connsiteY44" fmla="*/ 184622 h 3641849"/>
                <a:gd name="connsiteX45" fmla="*/ 475903 w 1573156"/>
                <a:gd name="connsiteY45" fmla="*/ 187208 h 3641849"/>
                <a:gd name="connsiteX46" fmla="*/ 589515 w 1573156"/>
                <a:gd name="connsiteY46" fmla="*/ 156181 h 3641849"/>
                <a:gd name="connsiteX47" fmla="*/ 656020 w 1573156"/>
                <a:gd name="connsiteY47" fmla="*/ 166522 h 3641849"/>
                <a:gd name="connsiteX48" fmla="*/ 719754 w 1573156"/>
                <a:gd name="connsiteY48" fmla="*/ 213065 h 3641849"/>
                <a:gd name="connsiteX49" fmla="*/ 733781 w 1573156"/>
                <a:gd name="connsiteY49" fmla="*/ 242621 h 3641849"/>
                <a:gd name="connsiteX50" fmla="*/ 789028 w 1573156"/>
                <a:gd name="connsiteY50" fmla="*/ 277708 h 3641849"/>
                <a:gd name="connsiteX51" fmla="*/ 877702 w 1573156"/>
                <a:gd name="connsiteY51" fmla="*/ 303563 h 3641849"/>
                <a:gd name="connsiteX52" fmla="*/ 949748 w 1573156"/>
                <a:gd name="connsiteY52" fmla="*/ 350106 h 3641849"/>
                <a:gd name="connsiteX53" fmla="*/ 999627 w 1573156"/>
                <a:gd name="connsiteY53" fmla="*/ 401820 h 3641849"/>
                <a:gd name="connsiteX54" fmla="*/ 1024566 w 1573156"/>
                <a:gd name="connsiteY54" fmla="*/ 440606 h 3641849"/>
                <a:gd name="connsiteX55" fmla="*/ 1057819 w 1573156"/>
                <a:gd name="connsiteY55" fmla="*/ 466462 h 3641849"/>
                <a:gd name="connsiteX56" fmla="*/ 1041191 w 1573156"/>
                <a:gd name="connsiteY56" fmla="*/ 691417 h 3641849"/>
                <a:gd name="connsiteX57" fmla="*/ 913725 w 1573156"/>
                <a:gd name="connsiteY57" fmla="*/ 771575 h 3641849"/>
                <a:gd name="connsiteX58" fmla="*/ 800113 w 1573156"/>
                <a:gd name="connsiteY58" fmla="*/ 779331 h 3641849"/>
                <a:gd name="connsiteX59" fmla="*/ 661560 w 1573156"/>
                <a:gd name="connsiteY59" fmla="*/ 758645 h 3641849"/>
                <a:gd name="connsiteX60" fmla="*/ 570116 w 1573156"/>
                <a:gd name="connsiteY60" fmla="*/ 722445 h 3641849"/>
                <a:gd name="connsiteX61" fmla="*/ 550719 w 1573156"/>
                <a:gd name="connsiteY61" fmla="*/ 750888 h 3641849"/>
                <a:gd name="connsiteX62" fmla="*/ 581361 w 1573156"/>
                <a:gd name="connsiteY62" fmla="*/ 824301 h 3641849"/>
                <a:gd name="connsiteX63" fmla="*/ 586902 w 1573156"/>
                <a:gd name="connsiteY63" fmla="*/ 951000 h 3641849"/>
                <a:gd name="connsiteX64" fmla="*/ 559032 w 1573156"/>
                <a:gd name="connsiteY64" fmla="*/ 1012043 h 3641849"/>
                <a:gd name="connsiteX65" fmla="*/ 614451 w 1573156"/>
                <a:gd name="connsiteY65" fmla="*/ 1032728 h 3641849"/>
                <a:gd name="connsiteX66" fmla="*/ 631079 w 1573156"/>
                <a:gd name="connsiteY66" fmla="*/ 1048242 h 3641849"/>
                <a:gd name="connsiteX67" fmla="*/ 656019 w 1573156"/>
                <a:gd name="connsiteY67" fmla="*/ 1074099 h 3641849"/>
                <a:gd name="connsiteX68" fmla="*/ 653248 w 1573156"/>
                <a:gd name="connsiteY68" fmla="*/ 1076685 h 3641849"/>
                <a:gd name="connsiteX69" fmla="*/ 692041 w 1573156"/>
                <a:gd name="connsiteY69" fmla="*/ 1071514 h 3641849"/>
                <a:gd name="connsiteX70" fmla="*/ 700355 w 1573156"/>
                <a:gd name="connsiteY70" fmla="*/ 1035314 h 3641849"/>
                <a:gd name="connsiteX71" fmla="*/ 661560 w 1573156"/>
                <a:gd name="connsiteY71" fmla="*/ 957743 h 3641849"/>
                <a:gd name="connsiteX72" fmla="*/ 730836 w 1573156"/>
                <a:gd name="connsiteY72" fmla="*/ 911200 h 3641849"/>
                <a:gd name="connsiteX73" fmla="*/ 798608 w 1573156"/>
                <a:gd name="connsiteY73" fmla="*/ 918934 h 3641849"/>
                <a:gd name="connsiteX74" fmla="*/ 822441 w 1573156"/>
                <a:gd name="connsiteY74" fmla="*/ 951001 h 3641849"/>
                <a:gd name="connsiteX75" fmla="*/ 978170 w 1573156"/>
                <a:gd name="connsiteY75" fmla="*/ 1007364 h 3641849"/>
                <a:gd name="connsiteX76" fmla="*/ 963762 w 1573156"/>
                <a:gd name="connsiteY76" fmla="*/ 971687 h 3641849"/>
                <a:gd name="connsiteX77" fmla="*/ 930510 w 1573156"/>
                <a:gd name="connsiteY77" fmla="*/ 932901 h 3641849"/>
                <a:gd name="connsiteX78" fmla="*/ 919426 w 1573156"/>
                <a:gd name="connsiteY78" fmla="*/ 881187 h 3641849"/>
                <a:gd name="connsiteX79" fmla="*/ 958221 w 1573156"/>
                <a:gd name="connsiteY79" fmla="*/ 832060 h 3641849"/>
                <a:gd name="connsiteX80" fmla="*/ 985931 w 1573156"/>
                <a:gd name="connsiteY80" fmla="*/ 803617 h 3641849"/>
                <a:gd name="connsiteX81" fmla="*/ 1010871 w 1573156"/>
                <a:gd name="connsiteY81" fmla="*/ 767417 h 3641849"/>
                <a:gd name="connsiteX82" fmla="*/ 1091231 w 1573156"/>
                <a:gd name="connsiteY82" fmla="*/ 762245 h 3641849"/>
                <a:gd name="connsiteX83" fmla="*/ 1096772 w 1573156"/>
                <a:gd name="connsiteY83" fmla="*/ 741560 h 3641849"/>
                <a:gd name="connsiteX84" fmla="*/ 1121712 w 1573156"/>
                <a:gd name="connsiteY84" fmla="*/ 705360 h 3641849"/>
                <a:gd name="connsiteX85" fmla="*/ 1155516 w 1573156"/>
                <a:gd name="connsiteY85" fmla="*/ 687772 h 3641849"/>
                <a:gd name="connsiteX86" fmla="*/ 1213156 w 1573156"/>
                <a:gd name="connsiteY86" fmla="*/ 700189 h 3641849"/>
                <a:gd name="connsiteX87" fmla="*/ 1251949 w 1573156"/>
                <a:gd name="connsiteY87" fmla="*/ 720875 h 3641849"/>
                <a:gd name="connsiteX88" fmla="*/ 1299057 w 1573156"/>
                <a:gd name="connsiteY88" fmla="*/ 728632 h 3641849"/>
                <a:gd name="connsiteX89" fmla="*/ 1299057 w 1573156"/>
                <a:gd name="connsiteY89" fmla="*/ 733803 h 3641849"/>
                <a:gd name="connsiteX90" fmla="*/ 1321226 w 1573156"/>
                <a:gd name="connsiteY90" fmla="*/ 674332 h 3641849"/>
                <a:gd name="connsiteX91" fmla="*/ 1331201 w 1573156"/>
                <a:gd name="connsiteY91" fmla="*/ 640714 h 3641849"/>
                <a:gd name="connsiteX92" fmla="*/ 1337852 w 1573156"/>
                <a:gd name="connsiteY92" fmla="*/ 622618 h 3641849"/>
                <a:gd name="connsiteX93" fmla="*/ 1340789 w 1573156"/>
                <a:gd name="connsiteY93" fmla="*/ 591288 h 3641849"/>
                <a:gd name="connsiteX94" fmla="*/ 1260263 w 1573156"/>
                <a:gd name="connsiteY94" fmla="*/ 545048 h 3641849"/>
                <a:gd name="connsiteX95" fmla="*/ 1246408 w 1573156"/>
                <a:gd name="connsiteY95" fmla="*/ 472648 h 3641849"/>
                <a:gd name="connsiteX96" fmla="*/ 1246408 w 1573156"/>
                <a:gd name="connsiteY96" fmla="*/ 454548 h 3641849"/>
                <a:gd name="connsiteX97" fmla="*/ 1257491 w 1573156"/>
                <a:gd name="connsiteY97" fmla="*/ 431276 h 3641849"/>
                <a:gd name="connsiteX98" fmla="*/ 1260263 w 1573156"/>
                <a:gd name="connsiteY98" fmla="*/ 415762 h 3641849"/>
                <a:gd name="connsiteX99" fmla="*/ 1260262 w 1573156"/>
                <a:gd name="connsiteY99" fmla="*/ 358878 h 3641849"/>
                <a:gd name="connsiteX100" fmla="*/ 1238094 w 1573156"/>
                <a:gd name="connsiteY100" fmla="*/ 335607 h 3641849"/>
                <a:gd name="connsiteX101" fmla="*/ 1210384 w 1573156"/>
                <a:gd name="connsiteY101" fmla="*/ 304578 h 3641849"/>
                <a:gd name="connsiteX102" fmla="*/ 1206216 w 1573156"/>
                <a:gd name="connsiteY102" fmla="*/ 280325 h 3641849"/>
                <a:gd name="connsiteX103" fmla="*/ 1257492 w 1573156"/>
                <a:gd name="connsiteY103" fmla="*/ 258034 h 3641849"/>
                <a:gd name="connsiteX104" fmla="*/ 1311072 w 1573156"/>
                <a:gd name="connsiteY104" fmla="*/ 267906 h 3641849"/>
                <a:gd name="connsiteX105" fmla="*/ 1389856 w 1573156"/>
                <a:gd name="connsiteY105" fmla="*/ 279816 h 3641849"/>
                <a:gd name="connsiteX106" fmla="*/ 1474179 w 1573156"/>
                <a:gd name="connsiteY106" fmla="*/ 349175 h 3641849"/>
                <a:gd name="connsiteX107" fmla="*/ 1536314 w 1573156"/>
                <a:gd name="connsiteY107" fmla="*/ 425271 h 3641849"/>
                <a:gd name="connsiteX108" fmla="*/ 1435343 w 1573156"/>
                <a:gd name="connsiteY108" fmla="*/ 454265 h 3641849"/>
                <a:gd name="connsiteX109" fmla="*/ 1419809 w 1573156"/>
                <a:gd name="connsiteY109" fmla="*/ 501372 h 3641849"/>
                <a:gd name="connsiteX110" fmla="*/ 1477479 w 1573156"/>
                <a:gd name="connsiteY110" fmla="*/ 585862 h 3641849"/>
                <a:gd name="connsiteX111" fmla="*/ 1513013 w 1573156"/>
                <a:gd name="connsiteY111" fmla="*/ 591964 h 3641849"/>
                <a:gd name="connsiteX112" fmla="*/ 1565633 w 1573156"/>
                <a:gd name="connsiteY112" fmla="*/ 598304 h 3641849"/>
                <a:gd name="connsiteX113" fmla="*/ 1560670 w 1573156"/>
                <a:gd name="connsiteY113" fmla="*/ 709079 h 3641849"/>
                <a:gd name="connsiteX114" fmla="*/ 1571739 w 1573156"/>
                <a:gd name="connsiteY114" fmla="*/ 1040047 h 3641849"/>
                <a:gd name="connsiteX115" fmla="*/ 1562871 w 1573156"/>
                <a:gd name="connsiteY115" fmla="*/ 1842646 h 3641849"/>
                <a:gd name="connsiteX116" fmla="*/ 1571738 w 1573156"/>
                <a:gd name="connsiteY116" fmla="*/ 2297728 h 3641849"/>
                <a:gd name="connsiteX117" fmla="*/ 1545290 w 1573156"/>
                <a:gd name="connsiteY117" fmla="*/ 3607693 h 3641849"/>
                <a:gd name="connsiteX118" fmla="*/ 1286863 w 1573156"/>
                <a:gd name="connsiteY118" fmla="*/ 3564098 h 3641849"/>
                <a:gd name="connsiteX119" fmla="*/ 1118385 w 1573156"/>
                <a:gd name="connsiteY119" fmla="*/ 3497903 h 3641849"/>
                <a:gd name="connsiteX120" fmla="*/ 941039 w 1573156"/>
                <a:gd name="connsiteY120" fmla="*/ 3406887 h 3641849"/>
                <a:gd name="connsiteX121" fmla="*/ 842741 w 1573156"/>
                <a:gd name="connsiteY121" fmla="*/ 3326370 h 3641849"/>
                <a:gd name="connsiteX122" fmla="*/ 1137003 w 1573156"/>
                <a:gd name="connsiteY122" fmla="*/ 3018734 h 3641849"/>
                <a:gd name="connsiteX123" fmla="*/ 853249 w 1573156"/>
                <a:gd name="connsiteY123" fmla="*/ 2480910 h 3641849"/>
                <a:gd name="connsiteX124" fmla="*/ 995599 w 1573156"/>
                <a:gd name="connsiteY124" fmla="*/ 2241825 h 3641849"/>
                <a:gd name="connsiteX125" fmla="*/ 808912 w 1573156"/>
                <a:gd name="connsiteY125" fmla="*/ 1703134 h 3641849"/>
                <a:gd name="connsiteX126" fmla="*/ 560628 w 1573156"/>
                <a:gd name="connsiteY126" fmla="*/ 1471456 h 3641849"/>
                <a:gd name="connsiteX127" fmla="*/ 91772 w 1573156"/>
                <a:gd name="connsiteY127" fmla="*/ 2159767 h 3641849"/>
                <a:gd name="connsiteX0" fmla="*/ 91772 w 1573156"/>
                <a:gd name="connsiteY0" fmla="*/ 2159767 h 3641849"/>
                <a:gd name="connsiteX1" fmla="*/ 112897 w 1573156"/>
                <a:gd name="connsiteY1" fmla="*/ 1811024 h 3641849"/>
                <a:gd name="connsiteX2" fmla="*/ 74103 w 1573156"/>
                <a:gd name="connsiteY2" fmla="*/ 1803266 h 3641849"/>
                <a:gd name="connsiteX3" fmla="*/ 2057 w 1573156"/>
                <a:gd name="connsiteY3" fmla="*/ 1730867 h 3641849"/>
                <a:gd name="connsiteX4" fmla="*/ 38079 w 1573156"/>
                <a:gd name="connsiteY4" fmla="*/ 1689496 h 3641849"/>
                <a:gd name="connsiteX5" fmla="*/ 18683 w 1573156"/>
                <a:gd name="connsiteY5" fmla="*/ 1679153 h 3641849"/>
                <a:gd name="connsiteX6" fmla="*/ 2055 w 1573156"/>
                <a:gd name="connsiteY6" fmla="*/ 1640367 h 3641849"/>
                <a:gd name="connsiteX7" fmla="*/ 65790 w 1573156"/>
                <a:gd name="connsiteY7" fmla="*/ 1650711 h 3641849"/>
                <a:gd name="connsiteX8" fmla="*/ 93501 w 1573156"/>
                <a:gd name="connsiteY8" fmla="*/ 1627440 h 3641849"/>
                <a:gd name="connsiteX9" fmla="*/ 187716 w 1573156"/>
                <a:gd name="connsiteY9" fmla="*/ 1536941 h 3641849"/>
                <a:gd name="connsiteX10" fmla="*/ 212655 w 1573156"/>
                <a:gd name="connsiteY10" fmla="*/ 1505912 h 3641849"/>
                <a:gd name="connsiteX11" fmla="*/ 198801 w 1573156"/>
                <a:gd name="connsiteY11" fmla="*/ 1555040 h 3641849"/>
                <a:gd name="connsiteX12" fmla="*/ 218197 w 1573156"/>
                <a:gd name="connsiteY12" fmla="*/ 1588655 h 3641849"/>
                <a:gd name="connsiteX13" fmla="*/ 262534 w 1573156"/>
                <a:gd name="connsiteY13" fmla="*/ 1666225 h 3641849"/>
                <a:gd name="connsiteX14" fmla="*/ 331810 w 1573156"/>
                <a:gd name="connsiteY14" fmla="*/ 1653297 h 3641849"/>
                <a:gd name="connsiteX15" fmla="*/ 351206 w 1573156"/>
                <a:gd name="connsiteY15" fmla="*/ 1622268 h 3641849"/>
                <a:gd name="connsiteX16" fmla="*/ 365062 w 1573156"/>
                <a:gd name="connsiteY16" fmla="*/ 1557627 h 3641849"/>
                <a:gd name="connsiteX17" fmla="*/ 304099 w 1573156"/>
                <a:gd name="connsiteY17" fmla="*/ 1511084 h 3641849"/>
                <a:gd name="connsiteX18" fmla="*/ 259763 w 1573156"/>
                <a:gd name="connsiteY18" fmla="*/ 1485227 h 3641849"/>
                <a:gd name="connsiteX19" fmla="*/ 198801 w 1573156"/>
                <a:gd name="connsiteY19" fmla="*/ 1495570 h 3641849"/>
                <a:gd name="connsiteX20" fmla="*/ 376147 w 1573156"/>
                <a:gd name="connsiteY20" fmla="*/ 1299057 h 3641849"/>
                <a:gd name="connsiteX21" fmla="*/ 223740 w 1573156"/>
                <a:gd name="connsiteY21" fmla="*/ 1151672 h 3641849"/>
                <a:gd name="connsiteX22" fmla="*/ 284703 w 1573156"/>
                <a:gd name="connsiteY22" fmla="*/ 1089617 h 3641849"/>
                <a:gd name="connsiteX23" fmla="*/ 218198 w 1573156"/>
                <a:gd name="connsiteY23" fmla="*/ 1050829 h 3641849"/>
                <a:gd name="connsiteX24" fmla="*/ 259763 w 1573156"/>
                <a:gd name="connsiteY24" fmla="*/ 1019802 h 3641849"/>
                <a:gd name="connsiteX25" fmla="*/ 212657 w 1573156"/>
                <a:gd name="connsiteY25" fmla="*/ 993947 h 3641849"/>
                <a:gd name="connsiteX26" fmla="*/ 212656 w 1573156"/>
                <a:gd name="connsiteY26" fmla="*/ 794845 h 3641849"/>
                <a:gd name="connsiteX27" fmla="*/ 251451 w 1573156"/>
                <a:gd name="connsiteY27" fmla="*/ 779332 h 3641849"/>
                <a:gd name="connsiteX28" fmla="*/ 137838 w 1573156"/>
                <a:gd name="connsiteY28" fmla="*/ 551792 h 3641849"/>
                <a:gd name="connsiteX29" fmla="*/ 135067 w 1573156"/>
                <a:gd name="connsiteY29" fmla="*/ 551792 h 3641849"/>
                <a:gd name="connsiteX30" fmla="*/ 184945 w 1573156"/>
                <a:gd name="connsiteY30" fmla="*/ 469048 h 3641849"/>
                <a:gd name="connsiteX31" fmla="*/ 201571 w 1573156"/>
                <a:gd name="connsiteY31" fmla="*/ 378550 h 3641849"/>
                <a:gd name="connsiteX32" fmla="*/ 126752 w 1573156"/>
                <a:gd name="connsiteY32" fmla="*/ 319079 h 3641849"/>
                <a:gd name="connsiteX33" fmla="*/ 118440 w 1573156"/>
                <a:gd name="connsiteY33" fmla="*/ 251851 h 3641849"/>
                <a:gd name="connsiteX34" fmla="*/ 173860 w 1573156"/>
                <a:gd name="connsiteY34" fmla="*/ 158764 h 3641849"/>
                <a:gd name="connsiteX35" fmla="*/ 193258 w 1573156"/>
                <a:gd name="connsiteY35" fmla="*/ 135494 h 3641849"/>
                <a:gd name="connsiteX36" fmla="*/ 207113 w 1573156"/>
                <a:gd name="connsiteY36" fmla="*/ 117394 h 3641849"/>
                <a:gd name="connsiteX37" fmla="*/ 215426 w 1573156"/>
                <a:gd name="connsiteY37" fmla="*/ 73438 h 3641849"/>
                <a:gd name="connsiteX38" fmla="*/ 240365 w 1573156"/>
                <a:gd name="connsiteY38" fmla="*/ 101880 h 3641849"/>
                <a:gd name="connsiteX39" fmla="*/ 270847 w 1573156"/>
                <a:gd name="connsiteY39" fmla="*/ 88952 h 3641849"/>
                <a:gd name="connsiteX40" fmla="*/ 273617 w 1573156"/>
                <a:gd name="connsiteY40" fmla="*/ 63095 h 3641849"/>
                <a:gd name="connsiteX41" fmla="*/ 281931 w 1573156"/>
                <a:gd name="connsiteY41" fmla="*/ 34652 h 3641849"/>
                <a:gd name="connsiteX42" fmla="*/ 284703 w 1573156"/>
                <a:gd name="connsiteY42" fmla="*/ 3624 h 3641849"/>
                <a:gd name="connsiteX43" fmla="*/ 420483 w 1573156"/>
                <a:gd name="connsiteY43" fmla="*/ 57924 h 3641849"/>
                <a:gd name="connsiteX44" fmla="*/ 450963 w 1573156"/>
                <a:gd name="connsiteY44" fmla="*/ 161352 h 3641849"/>
                <a:gd name="connsiteX45" fmla="*/ 464819 w 1573156"/>
                <a:gd name="connsiteY45" fmla="*/ 184622 h 3641849"/>
                <a:gd name="connsiteX46" fmla="*/ 475903 w 1573156"/>
                <a:gd name="connsiteY46" fmla="*/ 187208 h 3641849"/>
                <a:gd name="connsiteX47" fmla="*/ 589515 w 1573156"/>
                <a:gd name="connsiteY47" fmla="*/ 156181 h 3641849"/>
                <a:gd name="connsiteX48" fmla="*/ 656020 w 1573156"/>
                <a:gd name="connsiteY48" fmla="*/ 166522 h 3641849"/>
                <a:gd name="connsiteX49" fmla="*/ 719754 w 1573156"/>
                <a:gd name="connsiteY49" fmla="*/ 213065 h 3641849"/>
                <a:gd name="connsiteX50" fmla="*/ 733781 w 1573156"/>
                <a:gd name="connsiteY50" fmla="*/ 242621 h 3641849"/>
                <a:gd name="connsiteX51" fmla="*/ 789028 w 1573156"/>
                <a:gd name="connsiteY51" fmla="*/ 277708 h 3641849"/>
                <a:gd name="connsiteX52" fmla="*/ 877702 w 1573156"/>
                <a:gd name="connsiteY52" fmla="*/ 303563 h 3641849"/>
                <a:gd name="connsiteX53" fmla="*/ 949748 w 1573156"/>
                <a:gd name="connsiteY53" fmla="*/ 350106 h 3641849"/>
                <a:gd name="connsiteX54" fmla="*/ 999627 w 1573156"/>
                <a:gd name="connsiteY54" fmla="*/ 401820 h 3641849"/>
                <a:gd name="connsiteX55" fmla="*/ 1024566 w 1573156"/>
                <a:gd name="connsiteY55" fmla="*/ 440606 h 3641849"/>
                <a:gd name="connsiteX56" fmla="*/ 1057819 w 1573156"/>
                <a:gd name="connsiteY56" fmla="*/ 466462 h 3641849"/>
                <a:gd name="connsiteX57" fmla="*/ 1041191 w 1573156"/>
                <a:gd name="connsiteY57" fmla="*/ 691417 h 3641849"/>
                <a:gd name="connsiteX58" fmla="*/ 913725 w 1573156"/>
                <a:gd name="connsiteY58" fmla="*/ 771575 h 3641849"/>
                <a:gd name="connsiteX59" fmla="*/ 800113 w 1573156"/>
                <a:gd name="connsiteY59" fmla="*/ 779331 h 3641849"/>
                <a:gd name="connsiteX60" fmla="*/ 661560 w 1573156"/>
                <a:gd name="connsiteY60" fmla="*/ 758645 h 3641849"/>
                <a:gd name="connsiteX61" fmla="*/ 570116 w 1573156"/>
                <a:gd name="connsiteY61" fmla="*/ 722445 h 3641849"/>
                <a:gd name="connsiteX62" fmla="*/ 550719 w 1573156"/>
                <a:gd name="connsiteY62" fmla="*/ 750888 h 3641849"/>
                <a:gd name="connsiteX63" fmla="*/ 581361 w 1573156"/>
                <a:gd name="connsiteY63" fmla="*/ 824301 h 3641849"/>
                <a:gd name="connsiteX64" fmla="*/ 586902 w 1573156"/>
                <a:gd name="connsiteY64" fmla="*/ 951000 h 3641849"/>
                <a:gd name="connsiteX65" fmla="*/ 559032 w 1573156"/>
                <a:gd name="connsiteY65" fmla="*/ 1012043 h 3641849"/>
                <a:gd name="connsiteX66" fmla="*/ 614451 w 1573156"/>
                <a:gd name="connsiteY66" fmla="*/ 1032728 h 3641849"/>
                <a:gd name="connsiteX67" fmla="*/ 631079 w 1573156"/>
                <a:gd name="connsiteY67" fmla="*/ 1048242 h 3641849"/>
                <a:gd name="connsiteX68" fmla="*/ 656019 w 1573156"/>
                <a:gd name="connsiteY68" fmla="*/ 1074099 h 3641849"/>
                <a:gd name="connsiteX69" fmla="*/ 653248 w 1573156"/>
                <a:gd name="connsiteY69" fmla="*/ 1076685 h 3641849"/>
                <a:gd name="connsiteX70" fmla="*/ 692041 w 1573156"/>
                <a:gd name="connsiteY70" fmla="*/ 1071514 h 3641849"/>
                <a:gd name="connsiteX71" fmla="*/ 700355 w 1573156"/>
                <a:gd name="connsiteY71" fmla="*/ 1035314 h 3641849"/>
                <a:gd name="connsiteX72" fmla="*/ 661560 w 1573156"/>
                <a:gd name="connsiteY72" fmla="*/ 957743 h 3641849"/>
                <a:gd name="connsiteX73" fmla="*/ 730836 w 1573156"/>
                <a:gd name="connsiteY73" fmla="*/ 911200 h 3641849"/>
                <a:gd name="connsiteX74" fmla="*/ 798608 w 1573156"/>
                <a:gd name="connsiteY74" fmla="*/ 918934 h 3641849"/>
                <a:gd name="connsiteX75" fmla="*/ 822441 w 1573156"/>
                <a:gd name="connsiteY75" fmla="*/ 951001 h 3641849"/>
                <a:gd name="connsiteX76" fmla="*/ 978170 w 1573156"/>
                <a:gd name="connsiteY76" fmla="*/ 1007364 h 3641849"/>
                <a:gd name="connsiteX77" fmla="*/ 963762 w 1573156"/>
                <a:gd name="connsiteY77" fmla="*/ 971687 h 3641849"/>
                <a:gd name="connsiteX78" fmla="*/ 930510 w 1573156"/>
                <a:gd name="connsiteY78" fmla="*/ 932901 h 3641849"/>
                <a:gd name="connsiteX79" fmla="*/ 919426 w 1573156"/>
                <a:gd name="connsiteY79" fmla="*/ 881187 h 3641849"/>
                <a:gd name="connsiteX80" fmla="*/ 958221 w 1573156"/>
                <a:gd name="connsiteY80" fmla="*/ 832060 h 3641849"/>
                <a:gd name="connsiteX81" fmla="*/ 985931 w 1573156"/>
                <a:gd name="connsiteY81" fmla="*/ 803617 h 3641849"/>
                <a:gd name="connsiteX82" fmla="*/ 1010871 w 1573156"/>
                <a:gd name="connsiteY82" fmla="*/ 767417 h 3641849"/>
                <a:gd name="connsiteX83" fmla="*/ 1091231 w 1573156"/>
                <a:gd name="connsiteY83" fmla="*/ 762245 h 3641849"/>
                <a:gd name="connsiteX84" fmla="*/ 1096772 w 1573156"/>
                <a:gd name="connsiteY84" fmla="*/ 741560 h 3641849"/>
                <a:gd name="connsiteX85" fmla="*/ 1121712 w 1573156"/>
                <a:gd name="connsiteY85" fmla="*/ 705360 h 3641849"/>
                <a:gd name="connsiteX86" fmla="*/ 1155516 w 1573156"/>
                <a:gd name="connsiteY86" fmla="*/ 687772 h 3641849"/>
                <a:gd name="connsiteX87" fmla="*/ 1213156 w 1573156"/>
                <a:gd name="connsiteY87" fmla="*/ 700189 h 3641849"/>
                <a:gd name="connsiteX88" fmla="*/ 1251949 w 1573156"/>
                <a:gd name="connsiteY88" fmla="*/ 720875 h 3641849"/>
                <a:gd name="connsiteX89" fmla="*/ 1299057 w 1573156"/>
                <a:gd name="connsiteY89" fmla="*/ 728632 h 3641849"/>
                <a:gd name="connsiteX90" fmla="*/ 1299057 w 1573156"/>
                <a:gd name="connsiteY90" fmla="*/ 733803 h 3641849"/>
                <a:gd name="connsiteX91" fmla="*/ 1321226 w 1573156"/>
                <a:gd name="connsiteY91" fmla="*/ 674332 h 3641849"/>
                <a:gd name="connsiteX92" fmla="*/ 1331201 w 1573156"/>
                <a:gd name="connsiteY92" fmla="*/ 640714 h 3641849"/>
                <a:gd name="connsiteX93" fmla="*/ 1337852 w 1573156"/>
                <a:gd name="connsiteY93" fmla="*/ 622618 h 3641849"/>
                <a:gd name="connsiteX94" fmla="*/ 1340789 w 1573156"/>
                <a:gd name="connsiteY94" fmla="*/ 591288 h 3641849"/>
                <a:gd name="connsiteX95" fmla="*/ 1260263 w 1573156"/>
                <a:gd name="connsiteY95" fmla="*/ 545048 h 3641849"/>
                <a:gd name="connsiteX96" fmla="*/ 1246408 w 1573156"/>
                <a:gd name="connsiteY96" fmla="*/ 472648 h 3641849"/>
                <a:gd name="connsiteX97" fmla="*/ 1246408 w 1573156"/>
                <a:gd name="connsiteY97" fmla="*/ 454548 h 3641849"/>
                <a:gd name="connsiteX98" fmla="*/ 1257491 w 1573156"/>
                <a:gd name="connsiteY98" fmla="*/ 431276 h 3641849"/>
                <a:gd name="connsiteX99" fmla="*/ 1260263 w 1573156"/>
                <a:gd name="connsiteY99" fmla="*/ 415762 h 3641849"/>
                <a:gd name="connsiteX100" fmla="*/ 1260262 w 1573156"/>
                <a:gd name="connsiteY100" fmla="*/ 358878 h 3641849"/>
                <a:gd name="connsiteX101" fmla="*/ 1238094 w 1573156"/>
                <a:gd name="connsiteY101" fmla="*/ 335607 h 3641849"/>
                <a:gd name="connsiteX102" fmla="*/ 1210384 w 1573156"/>
                <a:gd name="connsiteY102" fmla="*/ 304578 h 3641849"/>
                <a:gd name="connsiteX103" fmla="*/ 1206216 w 1573156"/>
                <a:gd name="connsiteY103" fmla="*/ 280325 h 3641849"/>
                <a:gd name="connsiteX104" fmla="*/ 1257492 w 1573156"/>
                <a:gd name="connsiteY104" fmla="*/ 258034 h 3641849"/>
                <a:gd name="connsiteX105" fmla="*/ 1311072 w 1573156"/>
                <a:gd name="connsiteY105" fmla="*/ 267906 h 3641849"/>
                <a:gd name="connsiteX106" fmla="*/ 1389856 w 1573156"/>
                <a:gd name="connsiteY106" fmla="*/ 279816 h 3641849"/>
                <a:gd name="connsiteX107" fmla="*/ 1474179 w 1573156"/>
                <a:gd name="connsiteY107" fmla="*/ 349175 h 3641849"/>
                <a:gd name="connsiteX108" fmla="*/ 1536314 w 1573156"/>
                <a:gd name="connsiteY108" fmla="*/ 425271 h 3641849"/>
                <a:gd name="connsiteX109" fmla="*/ 1435343 w 1573156"/>
                <a:gd name="connsiteY109" fmla="*/ 454265 h 3641849"/>
                <a:gd name="connsiteX110" fmla="*/ 1419809 w 1573156"/>
                <a:gd name="connsiteY110" fmla="*/ 501372 h 3641849"/>
                <a:gd name="connsiteX111" fmla="*/ 1477479 w 1573156"/>
                <a:gd name="connsiteY111" fmla="*/ 585862 h 3641849"/>
                <a:gd name="connsiteX112" fmla="*/ 1513013 w 1573156"/>
                <a:gd name="connsiteY112" fmla="*/ 591964 h 3641849"/>
                <a:gd name="connsiteX113" fmla="*/ 1565633 w 1573156"/>
                <a:gd name="connsiteY113" fmla="*/ 598304 h 3641849"/>
                <a:gd name="connsiteX114" fmla="*/ 1560670 w 1573156"/>
                <a:gd name="connsiteY114" fmla="*/ 709079 h 3641849"/>
                <a:gd name="connsiteX115" fmla="*/ 1571739 w 1573156"/>
                <a:gd name="connsiteY115" fmla="*/ 1040047 h 3641849"/>
                <a:gd name="connsiteX116" fmla="*/ 1562871 w 1573156"/>
                <a:gd name="connsiteY116" fmla="*/ 1842646 h 3641849"/>
                <a:gd name="connsiteX117" fmla="*/ 1571738 w 1573156"/>
                <a:gd name="connsiteY117" fmla="*/ 2297728 h 3641849"/>
                <a:gd name="connsiteX118" fmla="*/ 1545290 w 1573156"/>
                <a:gd name="connsiteY118" fmla="*/ 3607693 h 3641849"/>
                <a:gd name="connsiteX119" fmla="*/ 1286863 w 1573156"/>
                <a:gd name="connsiteY119" fmla="*/ 3564098 h 3641849"/>
                <a:gd name="connsiteX120" fmla="*/ 1118385 w 1573156"/>
                <a:gd name="connsiteY120" fmla="*/ 3497903 h 3641849"/>
                <a:gd name="connsiteX121" fmla="*/ 941039 w 1573156"/>
                <a:gd name="connsiteY121" fmla="*/ 3406887 h 3641849"/>
                <a:gd name="connsiteX122" fmla="*/ 842741 w 1573156"/>
                <a:gd name="connsiteY122" fmla="*/ 3326370 h 3641849"/>
                <a:gd name="connsiteX123" fmla="*/ 1137003 w 1573156"/>
                <a:gd name="connsiteY123" fmla="*/ 3018734 h 3641849"/>
                <a:gd name="connsiteX124" fmla="*/ 853249 w 1573156"/>
                <a:gd name="connsiteY124" fmla="*/ 2480910 h 3641849"/>
                <a:gd name="connsiteX125" fmla="*/ 995599 w 1573156"/>
                <a:gd name="connsiteY125" fmla="*/ 2241825 h 3641849"/>
                <a:gd name="connsiteX126" fmla="*/ 808912 w 1573156"/>
                <a:gd name="connsiteY126" fmla="*/ 1703134 h 3641849"/>
                <a:gd name="connsiteX127" fmla="*/ 560628 w 1573156"/>
                <a:gd name="connsiteY127" fmla="*/ 1471456 h 3641849"/>
                <a:gd name="connsiteX128" fmla="*/ 91772 w 1573156"/>
                <a:gd name="connsiteY128" fmla="*/ 2159767 h 3641849"/>
                <a:gd name="connsiteX0" fmla="*/ 91772 w 1573156"/>
                <a:gd name="connsiteY0" fmla="*/ 2159767 h 3641849"/>
                <a:gd name="connsiteX1" fmla="*/ 112897 w 1573156"/>
                <a:gd name="connsiteY1" fmla="*/ 1811024 h 3641849"/>
                <a:gd name="connsiteX2" fmla="*/ 74103 w 1573156"/>
                <a:gd name="connsiteY2" fmla="*/ 1803266 h 3641849"/>
                <a:gd name="connsiteX3" fmla="*/ 68561 w 1573156"/>
                <a:gd name="connsiteY3" fmla="*/ 1761895 h 3641849"/>
                <a:gd name="connsiteX4" fmla="*/ 2057 w 1573156"/>
                <a:gd name="connsiteY4" fmla="*/ 1730867 h 3641849"/>
                <a:gd name="connsiteX5" fmla="*/ 38079 w 1573156"/>
                <a:gd name="connsiteY5" fmla="*/ 1689496 h 3641849"/>
                <a:gd name="connsiteX6" fmla="*/ 18683 w 1573156"/>
                <a:gd name="connsiteY6" fmla="*/ 1679153 h 3641849"/>
                <a:gd name="connsiteX7" fmla="*/ 2055 w 1573156"/>
                <a:gd name="connsiteY7" fmla="*/ 1640367 h 3641849"/>
                <a:gd name="connsiteX8" fmla="*/ 65790 w 1573156"/>
                <a:gd name="connsiteY8" fmla="*/ 1650711 h 3641849"/>
                <a:gd name="connsiteX9" fmla="*/ 93501 w 1573156"/>
                <a:gd name="connsiteY9" fmla="*/ 1627440 h 3641849"/>
                <a:gd name="connsiteX10" fmla="*/ 187716 w 1573156"/>
                <a:gd name="connsiteY10" fmla="*/ 1536941 h 3641849"/>
                <a:gd name="connsiteX11" fmla="*/ 212655 w 1573156"/>
                <a:gd name="connsiteY11" fmla="*/ 1505912 h 3641849"/>
                <a:gd name="connsiteX12" fmla="*/ 198801 w 1573156"/>
                <a:gd name="connsiteY12" fmla="*/ 1555040 h 3641849"/>
                <a:gd name="connsiteX13" fmla="*/ 218197 w 1573156"/>
                <a:gd name="connsiteY13" fmla="*/ 1588655 h 3641849"/>
                <a:gd name="connsiteX14" fmla="*/ 262534 w 1573156"/>
                <a:gd name="connsiteY14" fmla="*/ 1666225 h 3641849"/>
                <a:gd name="connsiteX15" fmla="*/ 331810 w 1573156"/>
                <a:gd name="connsiteY15" fmla="*/ 1653297 h 3641849"/>
                <a:gd name="connsiteX16" fmla="*/ 351206 w 1573156"/>
                <a:gd name="connsiteY16" fmla="*/ 1622268 h 3641849"/>
                <a:gd name="connsiteX17" fmla="*/ 365062 w 1573156"/>
                <a:gd name="connsiteY17" fmla="*/ 1557627 h 3641849"/>
                <a:gd name="connsiteX18" fmla="*/ 304099 w 1573156"/>
                <a:gd name="connsiteY18" fmla="*/ 1511084 h 3641849"/>
                <a:gd name="connsiteX19" fmla="*/ 259763 w 1573156"/>
                <a:gd name="connsiteY19" fmla="*/ 1485227 h 3641849"/>
                <a:gd name="connsiteX20" fmla="*/ 198801 w 1573156"/>
                <a:gd name="connsiteY20" fmla="*/ 1495570 h 3641849"/>
                <a:gd name="connsiteX21" fmla="*/ 376147 w 1573156"/>
                <a:gd name="connsiteY21" fmla="*/ 1299057 h 3641849"/>
                <a:gd name="connsiteX22" fmla="*/ 223740 w 1573156"/>
                <a:gd name="connsiteY22" fmla="*/ 1151672 h 3641849"/>
                <a:gd name="connsiteX23" fmla="*/ 284703 w 1573156"/>
                <a:gd name="connsiteY23" fmla="*/ 1089617 h 3641849"/>
                <a:gd name="connsiteX24" fmla="*/ 218198 w 1573156"/>
                <a:gd name="connsiteY24" fmla="*/ 1050829 h 3641849"/>
                <a:gd name="connsiteX25" fmla="*/ 259763 w 1573156"/>
                <a:gd name="connsiteY25" fmla="*/ 1019802 h 3641849"/>
                <a:gd name="connsiteX26" fmla="*/ 212657 w 1573156"/>
                <a:gd name="connsiteY26" fmla="*/ 993947 h 3641849"/>
                <a:gd name="connsiteX27" fmla="*/ 212656 w 1573156"/>
                <a:gd name="connsiteY27" fmla="*/ 794845 h 3641849"/>
                <a:gd name="connsiteX28" fmla="*/ 251451 w 1573156"/>
                <a:gd name="connsiteY28" fmla="*/ 779332 h 3641849"/>
                <a:gd name="connsiteX29" fmla="*/ 137838 w 1573156"/>
                <a:gd name="connsiteY29" fmla="*/ 551792 h 3641849"/>
                <a:gd name="connsiteX30" fmla="*/ 135067 w 1573156"/>
                <a:gd name="connsiteY30" fmla="*/ 551792 h 3641849"/>
                <a:gd name="connsiteX31" fmla="*/ 184945 w 1573156"/>
                <a:gd name="connsiteY31" fmla="*/ 469048 h 3641849"/>
                <a:gd name="connsiteX32" fmla="*/ 201571 w 1573156"/>
                <a:gd name="connsiteY32" fmla="*/ 378550 h 3641849"/>
                <a:gd name="connsiteX33" fmla="*/ 126752 w 1573156"/>
                <a:gd name="connsiteY33" fmla="*/ 319079 h 3641849"/>
                <a:gd name="connsiteX34" fmla="*/ 118440 w 1573156"/>
                <a:gd name="connsiteY34" fmla="*/ 251851 h 3641849"/>
                <a:gd name="connsiteX35" fmla="*/ 173860 w 1573156"/>
                <a:gd name="connsiteY35" fmla="*/ 158764 h 3641849"/>
                <a:gd name="connsiteX36" fmla="*/ 193258 w 1573156"/>
                <a:gd name="connsiteY36" fmla="*/ 135494 h 3641849"/>
                <a:gd name="connsiteX37" fmla="*/ 207113 w 1573156"/>
                <a:gd name="connsiteY37" fmla="*/ 117394 h 3641849"/>
                <a:gd name="connsiteX38" fmla="*/ 215426 w 1573156"/>
                <a:gd name="connsiteY38" fmla="*/ 73438 h 3641849"/>
                <a:gd name="connsiteX39" fmla="*/ 240365 w 1573156"/>
                <a:gd name="connsiteY39" fmla="*/ 101880 h 3641849"/>
                <a:gd name="connsiteX40" fmla="*/ 270847 w 1573156"/>
                <a:gd name="connsiteY40" fmla="*/ 88952 h 3641849"/>
                <a:gd name="connsiteX41" fmla="*/ 273617 w 1573156"/>
                <a:gd name="connsiteY41" fmla="*/ 63095 h 3641849"/>
                <a:gd name="connsiteX42" fmla="*/ 281931 w 1573156"/>
                <a:gd name="connsiteY42" fmla="*/ 34652 h 3641849"/>
                <a:gd name="connsiteX43" fmla="*/ 284703 w 1573156"/>
                <a:gd name="connsiteY43" fmla="*/ 3624 h 3641849"/>
                <a:gd name="connsiteX44" fmla="*/ 420483 w 1573156"/>
                <a:gd name="connsiteY44" fmla="*/ 57924 h 3641849"/>
                <a:gd name="connsiteX45" fmla="*/ 450963 w 1573156"/>
                <a:gd name="connsiteY45" fmla="*/ 161352 h 3641849"/>
                <a:gd name="connsiteX46" fmla="*/ 464819 w 1573156"/>
                <a:gd name="connsiteY46" fmla="*/ 184622 h 3641849"/>
                <a:gd name="connsiteX47" fmla="*/ 475903 w 1573156"/>
                <a:gd name="connsiteY47" fmla="*/ 187208 h 3641849"/>
                <a:gd name="connsiteX48" fmla="*/ 589515 w 1573156"/>
                <a:gd name="connsiteY48" fmla="*/ 156181 h 3641849"/>
                <a:gd name="connsiteX49" fmla="*/ 656020 w 1573156"/>
                <a:gd name="connsiteY49" fmla="*/ 166522 h 3641849"/>
                <a:gd name="connsiteX50" fmla="*/ 719754 w 1573156"/>
                <a:gd name="connsiteY50" fmla="*/ 213065 h 3641849"/>
                <a:gd name="connsiteX51" fmla="*/ 733781 w 1573156"/>
                <a:gd name="connsiteY51" fmla="*/ 242621 h 3641849"/>
                <a:gd name="connsiteX52" fmla="*/ 789028 w 1573156"/>
                <a:gd name="connsiteY52" fmla="*/ 277708 h 3641849"/>
                <a:gd name="connsiteX53" fmla="*/ 877702 w 1573156"/>
                <a:gd name="connsiteY53" fmla="*/ 303563 h 3641849"/>
                <a:gd name="connsiteX54" fmla="*/ 949748 w 1573156"/>
                <a:gd name="connsiteY54" fmla="*/ 350106 h 3641849"/>
                <a:gd name="connsiteX55" fmla="*/ 999627 w 1573156"/>
                <a:gd name="connsiteY55" fmla="*/ 401820 h 3641849"/>
                <a:gd name="connsiteX56" fmla="*/ 1024566 w 1573156"/>
                <a:gd name="connsiteY56" fmla="*/ 440606 h 3641849"/>
                <a:gd name="connsiteX57" fmla="*/ 1057819 w 1573156"/>
                <a:gd name="connsiteY57" fmla="*/ 466462 h 3641849"/>
                <a:gd name="connsiteX58" fmla="*/ 1041191 w 1573156"/>
                <a:gd name="connsiteY58" fmla="*/ 691417 h 3641849"/>
                <a:gd name="connsiteX59" fmla="*/ 913725 w 1573156"/>
                <a:gd name="connsiteY59" fmla="*/ 771575 h 3641849"/>
                <a:gd name="connsiteX60" fmla="*/ 800113 w 1573156"/>
                <a:gd name="connsiteY60" fmla="*/ 779331 h 3641849"/>
                <a:gd name="connsiteX61" fmla="*/ 661560 w 1573156"/>
                <a:gd name="connsiteY61" fmla="*/ 758645 h 3641849"/>
                <a:gd name="connsiteX62" fmla="*/ 570116 w 1573156"/>
                <a:gd name="connsiteY62" fmla="*/ 722445 h 3641849"/>
                <a:gd name="connsiteX63" fmla="*/ 550719 w 1573156"/>
                <a:gd name="connsiteY63" fmla="*/ 750888 h 3641849"/>
                <a:gd name="connsiteX64" fmla="*/ 581361 w 1573156"/>
                <a:gd name="connsiteY64" fmla="*/ 824301 h 3641849"/>
                <a:gd name="connsiteX65" fmla="*/ 586902 w 1573156"/>
                <a:gd name="connsiteY65" fmla="*/ 951000 h 3641849"/>
                <a:gd name="connsiteX66" fmla="*/ 559032 w 1573156"/>
                <a:gd name="connsiteY66" fmla="*/ 1012043 h 3641849"/>
                <a:gd name="connsiteX67" fmla="*/ 614451 w 1573156"/>
                <a:gd name="connsiteY67" fmla="*/ 1032728 h 3641849"/>
                <a:gd name="connsiteX68" fmla="*/ 631079 w 1573156"/>
                <a:gd name="connsiteY68" fmla="*/ 1048242 h 3641849"/>
                <a:gd name="connsiteX69" fmla="*/ 656019 w 1573156"/>
                <a:gd name="connsiteY69" fmla="*/ 1074099 h 3641849"/>
                <a:gd name="connsiteX70" fmla="*/ 653248 w 1573156"/>
                <a:gd name="connsiteY70" fmla="*/ 1076685 h 3641849"/>
                <a:gd name="connsiteX71" fmla="*/ 692041 w 1573156"/>
                <a:gd name="connsiteY71" fmla="*/ 1071514 h 3641849"/>
                <a:gd name="connsiteX72" fmla="*/ 700355 w 1573156"/>
                <a:gd name="connsiteY72" fmla="*/ 1035314 h 3641849"/>
                <a:gd name="connsiteX73" fmla="*/ 661560 w 1573156"/>
                <a:gd name="connsiteY73" fmla="*/ 957743 h 3641849"/>
                <a:gd name="connsiteX74" fmla="*/ 730836 w 1573156"/>
                <a:gd name="connsiteY74" fmla="*/ 911200 h 3641849"/>
                <a:gd name="connsiteX75" fmla="*/ 798608 w 1573156"/>
                <a:gd name="connsiteY75" fmla="*/ 918934 h 3641849"/>
                <a:gd name="connsiteX76" fmla="*/ 822441 w 1573156"/>
                <a:gd name="connsiteY76" fmla="*/ 951001 h 3641849"/>
                <a:gd name="connsiteX77" fmla="*/ 978170 w 1573156"/>
                <a:gd name="connsiteY77" fmla="*/ 1007364 h 3641849"/>
                <a:gd name="connsiteX78" fmla="*/ 963762 w 1573156"/>
                <a:gd name="connsiteY78" fmla="*/ 971687 h 3641849"/>
                <a:gd name="connsiteX79" fmla="*/ 930510 w 1573156"/>
                <a:gd name="connsiteY79" fmla="*/ 932901 h 3641849"/>
                <a:gd name="connsiteX80" fmla="*/ 919426 w 1573156"/>
                <a:gd name="connsiteY80" fmla="*/ 881187 h 3641849"/>
                <a:gd name="connsiteX81" fmla="*/ 958221 w 1573156"/>
                <a:gd name="connsiteY81" fmla="*/ 832060 h 3641849"/>
                <a:gd name="connsiteX82" fmla="*/ 985931 w 1573156"/>
                <a:gd name="connsiteY82" fmla="*/ 803617 h 3641849"/>
                <a:gd name="connsiteX83" fmla="*/ 1010871 w 1573156"/>
                <a:gd name="connsiteY83" fmla="*/ 767417 h 3641849"/>
                <a:gd name="connsiteX84" fmla="*/ 1091231 w 1573156"/>
                <a:gd name="connsiteY84" fmla="*/ 762245 h 3641849"/>
                <a:gd name="connsiteX85" fmla="*/ 1096772 w 1573156"/>
                <a:gd name="connsiteY85" fmla="*/ 741560 h 3641849"/>
                <a:gd name="connsiteX86" fmla="*/ 1121712 w 1573156"/>
                <a:gd name="connsiteY86" fmla="*/ 705360 h 3641849"/>
                <a:gd name="connsiteX87" fmla="*/ 1155516 w 1573156"/>
                <a:gd name="connsiteY87" fmla="*/ 687772 h 3641849"/>
                <a:gd name="connsiteX88" fmla="*/ 1213156 w 1573156"/>
                <a:gd name="connsiteY88" fmla="*/ 700189 h 3641849"/>
                <a:gd name="connsiteX89" fmla="*/ 1251949 w 1573156"/>
                <a:gd name="connsiteY89" fmla="*/ 720875 h 3641849"/>
                <a:gd name="connsiteX90" fmla="*/ 1299057 w 1573156"/>
                <a:gd name="connsiteY90" fmla="*/ 728632 h 3641849"/>
                <a:gd name="connsiteX91" fmla="*/ 1299057 w 1573156"/>
                <a:gd name="connsiteY91" fmla="*/ 733803 h 3641849"/>
                <a:gd name="connsiteX92" fmla="*/ 1321226 w 1573156"/>
                <a:gd name="connsiteY92" fmla="*/ 674332 h 3641849"/>
                <a:gd name="connsiteX93" fmla="*/ 1331201 w 1573156"/>
                <a:gd name="connsiteY93" fmla="*/ 640714 h 3641849"/>
                <a:gd name="connsiteX94" fmla="*/ 1337852 w 1573156"/>
                <a:gd name="connsiteY94" fmla="*/ 622618 h 3641849"/>
                <a:gd name="connsiteX95" fmla="*/ 1340789 w 1573156"/>
                <a:gd name="connsiteY95" fmla="*/ 591288 h 3641849"/>
                <a:gd name="connsiteX96" fmla="*/ 1260263 w 1573156"/>
                <a:gd name="connsiteY96" fmla="*/ 545048 h 3641849"/>
                <a:gd name="connsiteX97" fmla="*/ 1246408 w 1573156"/>
                <a:gd name="connsiteY97" fmla="*/ 472648 h 3641849"/>
                <a:gd name="connsiteX98" fmla="*/ 1246408 w 1573156"/>
                <a:gd name="connsiteY98" fmla="*/ 454548 h 3641849"/>
                <a:gd name="connsiteX99" fmla="*/ 1257491 w 1573156"/>
                <a:gd name="connsiteY99" fmla="*/ 431276 h 3641849"/>
                <a:gd name="connsiteX100" fmla="*/ 1260263 w 1573156"/>
                <a:gd name="connsiteY100" fmla="*/ 415762 h 3641849"/>
                <a:gd name="connsiteX101" fmla="*/ 1260262 w 1573156"/>
                <a:gd name="connsiteY101" fmla="*/ 358878 h 3641849"/>
                <a:gd name="connsiteX102" fmla="*/ 1238094 w 1573156"/>
                <a:gd name="connsiteY102" fmla="*/ 335607 h 3641849"/>
                <a:gd name="connsiteX103" fmla="*/ 1210384 w 1573156"/>
                <a:gd name="connsiteY103" fmla="*/ 304578 h 3641849"/>
                <a:gd name="connsiteX104" fmla="*/ 1206216 w 1573156"/>
                <a:gd name="connsiteY104" fmla="*/ 280325 h 3641849"/>
                <a:gd name="connsiteX105" fmla="*/ 1257492 w 1573156"/>
                <a:gd name="connsiteY105" fmla="*/ 258034 h 3641849"/>
                <a:gd name="connsiteX106" fmla="*/ 1311072 w 1573156"/>
                <a:gd name="connsiteY106" fmla="*/ 267906 h 3641849"/>
                <a:gd name="connsiteX107" fmla="*/ 1389856 w 1573156"/>
                <a:gd name="connsiteY107" fmla="*/ 279816 h 3641849"/>
                <a:gd name="connsiteX108" fmla="*/ 1474179 w 1573156"/>
                <a:gd name="connsiteY108" fmla="*/ 349175 h 3641849"/>
                <a:gd name="connsiteX109" fmla="*/ 1536314 w 1573156"/>
                <a:gd name="connsiteY109" fmla="*/ 425271 h 3641849"/>
                <a:gd name="connsiteX110" fmla="*/ 1435343 w 1573156"/>
                <a:gd name="connsiteY110" fmla="*/ 454265 h 3641849"/>
                <a:gd name="connsiteX111" fmla="*/ 1419809 w 1573156"/>
                <a:gd name="connsiteY111" fmla="*/ 501372 h 3641849"/>
                <a:gd name="connsiteX112" fmla="*/ 1477479 w 1573156"/>
                <a:gd name="connsiteY112" fmla="*/ 585862 h 3641849"/>
                <a:gd name="connsiteX113" fmla="*/ 1513013 w 1573156"/>
                <a:gd name="connsiteY113" fmla="*/ 591964 h 3641849"/>
                <a:gd name="connsiteX114" fmla="*/ 1565633 w 1573156"/>
                <a:gd name="connsiteY114" fmla="*/ 598304 h 3641849"/>
                <a:gd name="connsiteX115" fmla="*/ 1560670 w 1573156"/>
                <a:gd name="connsiteY115" fmla="*/ 709079 h 3641849"/>
                <a:gd name="connsiteX116" fmla="*/ 1571739 w 1573156"/>
                <a:gd name="connsiteY116" fmla="*/ 1040047 h 3641849"/>
                <a:gd name="connsiteX117" fmla="*/ 1562871 w 1573156"/>
                <a:gd name="connsiteY117" fmla="*/ 1842646 h 3641849"/>
                <a:gd name="connsiteX118" fmla="*/ 1571738 w 1573156"/>
                <a:gd name="connsiteY118" fmla="*/ 2297728 h 3641849"/>
                <a:gd name="connsiteX119" fmla="*/ 1545290 w 1573156"/>
                <a:gd name="connsiteY119" fmla="*/ 3607693 h 3641849"/>
                <a:gd name="connsiteX120" fmla="*/ 1286863 w 1573156"/>
                <a:gd name="connsiteY120" fmla="*/ 3564098 h 3641849"/>
                <a:gd name="connsiteX121" fmla="*/ 1118385 w 1573156"/>
                <a:gd name="connsiteY121" fmla="*/ 3497903 h 3641849"/>
                <a:gd name="connsiteX122" fmla="*/ 941039 w 1573156"/>
                <a:gd name="connsiteY122" fmla="*/ 3406887 h 3641849"/>
                <a:gd name="connsiteX123" fmla="*/ 842741 w 1573156"/>
                <a:gd name="connsiteY123" fmla="*/ 3326370 h 3641849"/>
                <a:gd name="connsiteX124" fmla="*/ 1137003 w 1573156"/>
                <a:gd name="connsiteY124" fmla="*/ 3018734 h 3641849"/>
                <a:gd name="connsiteX125" fmla="*/ 853249 w 1573156"/>
                <a:gd name="connsiteY125" fmla="*/ 2480910 h 3641849"/>
                <a:gd name="connsiteX126" fmla="*/ 995599 w 1573156"/>
                <a:gd name="connsiteY126" fmla="*/ 2241825 h 3641849"/>
                <a:gd name="connsiteX127" fmla="*/ 808912 w 1573156"/>
                <a:gd name="connsiteY127" fmla="*/ 1703134 h 3641849"/>
                <a:gd name="connsiteX128" fmla="*/ 560628 w 1573156"/>
                <a:gd name="connsiteY128" fmla="*/ 1471456 h 3641849"/>
                <a:gd name="connsiteX129" fmla="*/ 91772 w 1573156"/>
                <a:gd name="connsiteY129" fmla="*/ 2159767 h 3641849"/>
                <a:gd name="connsiteX0" fmla="*/ 91772 w 1573156"/>
                <a:gd name="connsiteY0" fmla="*/ 2159767 h 3641849"/>
                <a:gd name="connsiteX1" fmla="*/ 112897 w 1573156"/>
                <a:gd name="connsiteY1" fmla="*/ 1811024 h 3641849"/>
                <a:gd name="connsiteX2" fmla="*/ 74103 w 1573156"/>
                <a:gd name="connsiteY2" fmla="*/ 1803266 h 3641849"/>
                <a:gd name="connsiteX3" fmla="*/ 99042 w 1573156"/>
                <a:gd name="connsiteY3" fmla="*/ 1756724 h 3641849"/>
                <a:gd name="connsiteX4" fmla="*/ 2057 w 1573156"/>
                <a:gd name="connsiteY4" fmla="*/ 1730867 h 3641849"/>
                <a:gd name="connsiteX5" fmla="*/ 38079 w 1573156"/>
                <a:gd name="connsiteY5" fmla="*/ 1689496 h 3641849"/>
                <a:gd name="connsiteX6" fmla="*/ 18683 w 1573156"/>
                <a:gd name="connsiteY6" fmla="*/ 1679153 h 3641849"/>
                <a:gd name="connsiteX7" fmla="*/ 2055 w 1573156"/>
                <a:gd name="connsiteY7" fmla="*/ 1640367 h 3641849"/>
                <a:gd name="connsiteX8" fmla="*/ 65790 w 1573156"/>
                <a:gd name="connsiteY8" fmla="*/ 1650711 h 3641849"/>
                <a:gd name="connsiteX9" fmla="*/ 93501 w 1573156"/>
                <a:gd name="connsiteY9" fmla="*/ 1627440 h 3641849"/>
                <a:gd name="connsiteX10" fmla="*/ 187716 w 1573156"/>
                <a:gd name="connsiteY10" fmla="*/ 1536941 h 3641849"/>
                <a:gd name="connsiteX11" fmla="*/ 212655 w 1573156"/>
                <a:gd name="connsiteY11" fmla="*/ 1505912 h 3641849"/>
                <a:gd name="connsiteX12" fmla="*/ 198801 w 1573156"/>
                <a:gd name="connsiteY12" fmla="*/ 1555040 h 3641849"/>
                <a:gd name="connsiteX13" fmla="*/ 218197 w 1573156"/>
                <a:gd name="connsiteY13" fmla="*/ 1588655 h 3641849"/>
                <a:gd name="connsiteX14" fmla="*/ 262534 w 1573156"/>
                <a:gd name="connsiteY14" fmla="*/ 1666225 h 3641849"/>
                <a:gd name="connsiteX15" fmla="*/ 331810 w 1573156"/>
                <a:gd name="connsiteY15" fmla="*/ 1653297 h 3641849"/>
                <a:gd name="connsiteX16" fmla="*/ 351206 w 1573156"/>
                <a:gd name="connsiteY16" fmla="*/ 1622268 h 3641849"/>
                <a:gd name="connsiteX17" fmla="*/ 365062 w 1573156"/>
                <a:gd name="connsiteY17" fmla="*/ 1557627 h 3641849"/>
                <a:gd name="connsiteX18" fmla="*/ 304099 w 1573156"/>
                <a:gd name="connsiteY18" fmla="*/ 1511084 h 3641849"/>
                <a:gd name="connsiteX19" fmla="*/ 259763 w 1573156"/>
                <a:gd name="connsiteY19" fmla="*/ 1485227 h 3641849"/>
                <a:gd name="connsiteX20" fmla="*/ 198801 w 1573156"/>
                <a:gd name="connsiteY20" fmla="*/ 1495570 h 3641849"/>
                <a:gd name="connsiteX21" fmla="*/ 376147 w 1573156"/>
                <a:gd name="connsiteY21" fmla="*/ 1299057 h 3641849"/>
                <a:gd name="connsiteX22" fmla="*/ 223740 w 1573156"/>
                <a:gd name="connsiteY22" fmla="*/ 1151672 h 3641849"/>
                <a:gd name="connsiteX23" fmla="*/ 284703 w 1573156"/>
                <a:gd name="connsiteY23" fmla="*/ 1089617 h 3641849"/>
                <a:gd name="connsiteX24" fmla="*/ 218198 w 1573156"/>
                <a:gd name="connsiteY24" fmla="*/ 1050829 h 3641849"/>
                <a:gd name="connsiteX25" fmla="*/ 259763 w 1573156"/>
                <a:gd name="connsiteY25" fmla="*/ 1019802 h 3641849"/>
                <a:gd name="connsiteX26" fmla="*/ 212657 w 1573156"/>
                <a:gd name="connsiteY26" fmla="*/ 993947 h 3641849"/>
                <a:gd name="connsiteX27" fmla="*/ 212656 w 1573156"/>
                <a:gd name="connsiteY27" fmla="*/ 794845 h 3641849"/>
                <a:gd name="connsiteX28" fmla="*/ 251451 w 1573156"/>
                <a:gd name="connsiteY28" fmla="*/ 779332 h 3641849"/>
                <a:gd name="connsiteX29" fmla="*/ 137838 w 1573156"/>
                <a:gd name="connsiteY29" fmla="*/ 551792 h 3641849"/>
                <a:gd name="connsiteX30" fmla="*/ 135067 w 1573156"/>
                <a:gd name="connsiteY30" fmla="*/ 551792 h 3641849"/>
                <a:gd name="connsiteX31" fmla="*/ 184945 w 1573156"/>
                <a:gd name="connsiteY31" fmla="*/ 469048 h 3641849"/>
                <a:gd name="connsiteX32" fmla="*/ 201571 w 1573156"/>
                <a:gd name="connsiteY32" fmla="*/ 378550 h 3641849"/>
                <a:gd name="connsiteX33" fmla="*/ 126752 w 1573156"/>
                <a:gd name="connsiteY33" fmla="*/ 319079 h 3641849"/>
                <a:gd name="connsiteX34" fmla="*/ 118440 w 1573156"/>
                <a:gd name="connsiteY34" fmla="*/ 251851 h 3641849"/>
                <a:gd name="connsiteX35" fmla="*/ 173860 w 1573156"/>
                <a:gd name="connsiteY35" fmla="*/ 158764 h 3641849"/>
                <a:gd name="connsiteX36" fmla="*/ 193258 w 1573156"/>
                <a:gd name="connsiteY36" fmla="*/ 135494 h 3641849"/>
                <a:gd name="connsiteX37" fmla="*/ 207113 w 1573156"/>
                <a:gd name="connsiteY37" fmla="*/ 117394 h 3641849"/>
                <a:gd name="connsiteX38" fmla="*/ 215426 w 1573156"/>
                <a:gd name="connsiteY38" fmla="*/ 73438 h 3641849"/>
                <a:gd name="connsiteX39" fmla="*/ 240365 w 1573156"/>
                <a:gd name="connsiteY39" fmla="*/ 101880 h 3641849"/>
                <a:gd name="connsiteX40" fmla="*/ 270847 w 1573156"/>
                <a:gd name="connsiteY40" fmla="*/ 88952 h 3641849"/>
                <a:gd name="connsiteX41" fmla="*/ 273617 w 1573156"/>
                <a:gd name="connsiteY41" fmla="*/ 63095 h 3641849"/>
                <a:gd name="connsiteX42" fmla="*/ 281931 w 1573156"/>
                <a:gd name="connsiteY42" fmla="*/ 34652 h 3641849"/>
                <a:gd name="connsiteX43" fmla="*/ 284703 w 1573156"/>
                <a:gd name="connsiteY43" fmla="*/ 3624 h 3641849"/>
                <a:gd name="connsiteX44" fmla="*/ 420483 w 1573156"/>
                <a:gd name="connsiteY44" fmla="*/ 57924 h 3641849"/>
                <a:gd name="connsiteX45" fmla="*/ 450963 w 1573156"/>
                <a:gd name="connsiteY45" fmla="*/ 161352 h 3641849"/>
                <a:gd name="connsiteX46" fmla="*/ 464819 w 1573156"/>
                <a:gd name="connsiteY46" fmla="*/ 184622 h 3641849"/>
                <a:gd name="connsiteX47" fmla="*/ 475903 w 1573156"/>
                <a:gd name="connsiteY47" fmla="*/ 187208 h 3641849"/>
                <a:gd name="connsiteX48" fmla="*/ 589515 w 1573156"/>
                <a:gd name="connsiteY48" fmla="*/ 156181 h 3641849"/>
                <a:gd name="connsiteX49" fmla="*/ 656020 w 1573156"/>
                <a:gd name="connsiteY49" fmla="*/ 166522 h 3641849"/>
                <a:gd name="connsiteX50" fmla="*/ 719754 w 1573156"/>
                <a:gd name="connsiteY50" fmla="*/ 213065 h 3641849"/>
                <a:gd name="connsiteX51" fmla="*/ 733781 w 1573156"/>
                <a:gd name="connsiteY51" fmla="*/ 242621 h 3641849"/>
                <a:gd name="connsiteX52" fmla="*/ 789028 w 1573156"/>
                <a:gd name="connsiteY52" fmla="*/ 277708 h 3641849"/>
                <a:gd name="connsiteX53" fmla="*/ 877702 w 1573156"/>
                <a:gd name="connsiteY53" fmla="*/ 303563 h 3641849"/>
                <a:gd name="connsiteX54" fmla="*/ 949748 w 1573156"/>
                <a:gd name="connsiteY54" fmla="*/ 350106 h 3641849"/>
                <a:gd name="connsiteX55" fmla="*/ 999627 w 1573156"/>
                <a:gd name="connsiteY55" fmla="*/ 401820 h 3641849"/>
                <a:gd name="connsiteX56" fmla="*/ 1024566 w 1573156"/>
                <a:gd name="connsiteY56" fmla="*/ 440606 h 3641849"/>
                <a:gd name="connsiteX57" fmla="*/ 1057819 w 1573156"/>
                <a:gd name="connsiteY57" fmla="*/ 466462 h 3641849"/>
                <a:gd name="connsiteX58" fmla="*/ 1041191 w 1573156"/>
                <a:gd name="connsiteY58" fmla="*/ 691417 h 3641849"/>
                <a:gd name="connsiteX59" fmla="*/ 913725 w 1573156"/>
                <a:gd name="connsiteY59" fmla="*/ 771575 h 3641849"/>
                <a:gd name="connsiteX60" fmla="*/ 800113 w 1573156"/>
                <a:gd name="connsiteY60" fmla="*/ 779331 h 3641849"/>
                <a:gd name="connsiteX61" fmla="*/ 661560 w 1573156"/>
                <a:gd name="connsiteY61" fmla="*/ 758645 h 3641849"/>
                <a:gd name="connsiteX62" fmla="*/ 570116 w 1573156"/>
                <a:gd name="connsiteY62" fmla="*/ 722445 h 3641849"/>
                <a:gd name="connsiteX63" fmla="*/ 550719 w 1573156"/>
                <a:gd name="connsiteY63" fmla="*/ 750888 h 3641849"/>
                <a:gd name="connsiteX64" fmla="*/ 581361 w 1573156"/>
                <a:gd name="connsiteY64" fmla="*/ 824301 h 3641849"/>
                <a:gd name="connsiteX65" fmla="*/ 586902 w 1573156"/>
                <a:gd name="connsiteY65" fmla="*/ 951000 h 3641849"/>
                <a:gd name="connsiteX66" fmla="*/ 559032 w 1573156"/>
                <a:gd name="connsiteY66" fmla="*/ 1012043 h 3641849"/>
                <a:gd name="connsiteX67" fmla="*/ 614451 w 1573156"/>
                <a:gd name="connsiteY67" fmla="*/ 1032728 h 3641849"/>
                <a:gd name="connsiteX68" fmla="*/ 631079 w 1573156"/>
                <a:gd name="connsiteY68" fmla="*/ 1048242 h 3641849"/>
                <a:gd name="connsiteX69" fmla="*/ 656019 w 1573156"/>
                <a:gd name="connsiteY69" fmla="*/ 1074099 h 3641849"/>
                <a:gd name="connsiteX70" fmla="*/ 653248 w 1573156"/>
                <a:gd name="connsiteY70" fmla="*/ 1076685 h 3641849"/>
                <a:gd name="connsiteX71" fmla="*/ 692041 w 1573156"/>
                <a:gd name="connsiteY71" fmla="*/ 1071514 h 3641849"/>
                <a:gd name="connsiteX72" fmla="*/ 700355 w 1573156"/>
                <a:gd name="connsiteY72" fmla="*/ 1035314 h 3641849"/>
                <a:gd name="connsiteX73" fmla="*/ 661560 w 1573156"/>
                <a:gd name="connsiteY73" fmla="*/ 957743 h 3641849"/>
                <a:gd name="connsiteX74" fmla="*/ 730836 w 1573156"/>
                <a:gd name="connsiteY74" fmla="*/ 911200 h 3641849"/>
                <a:gd name="connsiteX75" fmla="*/ 798608 w 1573156"/>
                <a:gd name="connsiteY75" fmla="*/ 918934 h 3641849"/>
                <a:gd name="connsiteX76" fmla="*/ 822441 w 1573156"/>
                <a:gd name="connsiteY76" fmla="*/ 951001 h 3641849"/>
                <a:gd name="connsiteX77" fmla="*/ 978170 w 1573156"/>
                <a:gd name="connsiteY77" fmla="*/ 1007364 h 3641849"/>
                <a:gd name="connsiteX78" fmla="*/ 963762 w 1573156"/>
                <a:gd name="connsiteY78" fmla="*/ 971687 h 3641849"/>
                <a:gd name="connsiteX79" fmla="*/ 930510 w 1573156"/>
                <a:gd name="connsiteY79" fmla="*/ 932901 h 3641849"/>
                <a:gd name="connsiteX80" fmla="*/ 919426 w 1573156"/>
                <a:gd name="connsiteY80" fmla="*/ 881187 h 3641849"/>
                <a:gd name="connsiteX81" fmla="*/ 958221 w 1573156"/>
                <a:gd name="connsiteY81" fmla="*/ 832060 h 3641849"/>
                <a:gd name="connsiteX82" fmla="*/ 985931 w 1573156"/>
                <a:gd name="connsiteY82" fmla="*/ 803617 h 3641849"/>
                <a:gd name="connsiteX83" fmla="*/ 1010871 w 1573156"/>
                <a:gd name="connsiteY83" fmla="*/ 767417 h 3641849"/>
                <a:gd name="connsiteX84" fmla="*/ 1091231 w 1573156"/>
                <a:gd name="connsiteY84" fmla="*/ 762245 h 3641849"/>
                <a:gd name="connsiteX85" fmla="*/ 1096772 w 1573156"/>
                <a:gd name="connsiteY85" fmla="*/ 741560 h 3641849"/>
                <a:gd name="connsiteX86" fmla="*/ 1121712 w 1573156"/>
                <a:gd name="connsiteY86" fmla="*/ 705360 h 3641849"/>
                <a:gd name="connsiteX87" fmla="*/ 1155516 w 1573156"/>
                <a:gd name="connsiteY87" fmla="*/ 687772 h 3641849"/>
                <a:gd name="connsiteX88" fmla="*/ 1213156 w 1573156"/>
                <a:gd name="connsiteY88" fmla="*/ 700189 h 3641849"/>
                <a:gd name="connsiteX89" fmla="*/ 1251949 w 1573156"/>
                <a:gd name="connsiteY89" fmla="*/ 720875 h 3641849"/>
                <a:gd name="connsiteX90" fmla="*/ 1299057 w 1573156"/>
                <a:gd name="connsiteY90" fmla="*/ 728632 h 3641849"/>
                <a:gd name="connsiteX91" fmla="*/ 1299057 w 1573156"/>
                <a:gd name="connsiteY91" fmla="*/ 733803 h 3641849"/>
                <a:gd name="connsiteX92" fmla="*/ 1321226 w 1573156"/>
                <a:gd name="connsiteY92" fmla="*/ 674332 h 3641849"/>
                <a:gd name="connsiteX93" fmla="*/ 1331201 w 1573156"/>
                <a:gd name="connsiteY93" fmla="*/ 640714 h 3641849"/>
                <a:gd name="connsiteX94" fmla="*/ 1337852 w 1573156"/>
                <a:gd name="connsiteY94" fmla="*/ 622618 h 3641849"/>
                <a:gd name="connsiteX95" fmla="*/ 1340789 w 1573156"/>
                <a:gd name="connsiteY95" fmla="*/ 591288 h 3641849"/>
                <a:gd name="connsiteX96" fmla="*/ 1260263 w 1573156"/>
                <a:gd name="connsiteY96" fmla="*/ 545048 h 3641849"/>
                <a:gd name="connsiteX97" fmla="*/ 1246408 w 1573156"/>
                <a:gd name="connsiteY97" fmla="*/ 472648 h 3641849"/>
                <a:gd name="connsiteX98" fmla="*/ 1246408 w 1573156"/>
                <a:gd name="connsiteY98" fmla="*/ 454548 h 3641849"/>
                <a:gd name="connsiteX99" fmla="*/ 1257491 w 1573156"/>
                <a:gd name="connsiteY99" fmla="*/ 431276 h 3641849"/>
                <a:gd name="connsiteX100" fmla="*/ 1260263 w 1573156"/>
                <a:gd name="connsiteY100" fmla="*/ 415762 h 3641849"/>
                <a:gd name="connsiteX101" fmla="*/ 1260262 w 1573156"/>
                <a:gd name="connsiteY101" fmla="*/ 358878 h 3641849"/>
                <a:gd name="connsiteX102" fmla="*/ 1238094 w 1573156"/>
                <a:gd name="connsiteY102" fmla="*/ 335607 h 3641849"/>
                <a:gd name="connsiteX103" fmla="*/ 1210384 w 1573156"/>
                <a:gd name="connsiteY103" fmla="*/ 304578 h 3641849"/>
                <a:gd name="connsiteX104" fmla="*/ 1206216 w 1573156"/>
                <a:gd name="connsiteY104" fmla="*/ 280325 h 3641849"/>
                <a:gd name="connsiteX105" fmla="*/ 1257492 w 1573156"/>
                <a:gd name="connsiteY105" fmla="*/ 258034 h 3641849"/>
                <a:gd name="connsiteX106" fmla="*/ 1311072 w 1573156"/>
                <a:gd name="connsiteY106" fmla="*/ 267906 h 3641849"/>
                <a:gd name="connsiteX107" fmla="*/ 1389856 w 1573156"/>
                <a:gd name="connsiteY107" fmla="*/ 279816 h 3641849"/>
                <a:gd name="connsiteX108" fmla="*/ 1474179 w 1573156"/>
                <a:gd name="connsiteY108" fmla="*/ 349175 h 3641849"/>
                <a:gd name="connsiteX109" fmla="*/ 1536314 w 1573156"/>
                <a:gd name="connsiteY109" fmla="*/ 425271 h 3641849"/>
                <a:gd name="connsiteX110" fmla="*/ 1435343 w 1573156"/>
                <a:gd name="connsiteY110" fmla="*/ 454265 h 3641849"/>
                <a:gd name="connsiteX111" fmla="*/ 1419809 w 1573156"/>
                <a:gd name="connsiteY111" fmla="*/ 501372 h 3641849"/>
                <a:gd name="connsiteX112" fmla="*/ 1477479 w 1573156"/>
                <a:gd name="connsiteY112" fmla="*/ 585862 h 3641849"/>
                <a:gd name="connsiteX113" fmla="*/ 1513013 w 1573156"/>
                <a:gd name="connsiteY113" fmla="*/ 591964 h 3641849"/>
                <a:gd name="connsiteX114" fmla="*/ 1565633 w 1573156"/>
                <a:gd name="connsiteY114" fmla="*/ 598304 h 3641849"/>
                <a:gd name="connsiteX115" fmla="*/ 1560670 w 1573156"/>
                <a:gd name="connsiteY115" fmla="*/ 709079 h 3641849"/>
                <a:gd name="connsiteX116" fmla="*/ 1571739 w 1573156"/>
                <a:gd name="connsiteY116" fmla="*/ 1040047 h 3641849"/>
                <a:gd name="connsiteX117" fmla="*/ 1562871 w 1573156"/>
                <a:gd name="connsiteY117" fmla="*/ 1842646 h 3641849"/>
                <a:gd name="connsiteX118" fmla="*/ 1571738 w 1573156"/>
                <a:gd name="connsiteY118" fmla="*/ 2297728 h 3641849"/>
                <a:gd name="connsiteX119" fmla="*/ 1545290 w 1573156"/>
                <a:gd name="connsiteY119" fmla="*/ 3607693 h 3641849"/>
                <a:gd name="connsiteX120" fmla="*/ 1286863 w 1573156"/>
                <a:gd name="connsiteY120" fmla="*/ 3564098 h 3641849"/>
                <a:gd name="connsiteX121" fmla="*/ 1118385 w 1573156"/>
                <a:gd name="connsiteY121" fmla="*/ 3497903 h 3641849"/>
                <a:gd name="connsiteX122" fmla="*/ 941039 w 1573156"/>
                <a:gd name="connsiteY122" fmla="*/ 3406887 h 3641849"/>
                <a:gd name="connsiteX123" fmla="*/ 842741 w 1573156"/>
                <a:gd name="connsiteY123" fmla="*/ 3326370 h 3641849"/>
                <a:gd name="connsiteX124" fmla="*/ 1137003 w 1573156"/>
                <a:gd name="connsiteY124" fmla="*/ 3018734 h 3641849"/>
                <a:gd name="connsiteX125" fmla="*/ 853249 w 1573156"/>
                <a:gd name="connsiteY125" fmla="*/ 2480910 h 3641849"/>
                <a:gd name="connsiteX126" fmla="*/ 995599 w 1573156"/>
                <a:gd name="connsiteY126" fmla="*/ 2241825 h 3641849"/>
                <a:gd name="connsiteX127" fmla="*/ 808912 w 1573156"/>
                <a:gd name="connsiteY127" fmla="*/ 1703134 h 3641849"/>
                <a:gd name="connsiteX128" fmla="*/ 560628 w 1573156"/>
                <a:gd name="connsiteY128" fmla="*/ 1471456 h 3641849"/>
                <a:gd name="connsiteX129" fmla="*/ 91772 w 1573156"/>
                <a:gd name="connsiteY129" fmla="*/ 2159767 h 3641849"/>
                <a:gd name="connsiteX0" fmla="*/ 91772 w 1573156"/>
                <a:gd name="connsiteY0" fmla="*/ 2159767 h 3641849"/>
                <a:gd name="connsiteX1" fmla="*/ 112897 w 1573156"/>
                <a:gd name="connsiteY1" fmla="*/ 1811024 h 3641849"/>
                <a:gd name="connsiteX2" fmla="*/ 74103 w 1573156"/>
                <a:gd name="connsiteY2" fmla="*/ 1803266 h 3641849"/>
                <a:gd name="connsiteX3" fmla="*/ 115669 w 1573156"/>
                <a:gd name="connsiteY3" fmla="*/ 1754138 h 3641849"/>
                <a:gd name="connsiteX4" fmla="*/ 2057 w 1573156"/>
                <a:gd name="connsiteY4" fmla="*/ 1730867 h 3641849"/>
                <a:gd name="connsiteX5" fmla="*/ 38079 w 1573156"/>
                <a:gd name="connsiteY5" fmla="*/ 1689496 h 3641849"/>
                <a:gd name="connsiteX6" fmla="*/ 18683 w 1573156"/>
                <a:gd name="connsiteY6" fmla="*/ 1679153 h 3641849"/>
                <a:gd name="connsiteX7" fmla="*/ 2055 w 1573156"/>
                <a:gd name="connsiteY7" fmla="*/ 1640367 h 3641849"/>
                <a:gd name="connsiteX8" fmla="*/ 65790 w 1573156"/>
                <a:gd name="connsiteY8" fmla="*/ 1650711 h 3641849"/>
                <a:gd name="connsiteX9" fmla="*/ 93501 w 1573156"/>
                <a:gd name="connsiteY9" fmla="*/ 1627440 h 3641849"/>
                <a:gd name="connsiteX10" fmla="*/ 187716 w 1573156"/>
                <a:gd name="connsiteY10" fmla="*/ 1536941 h 3641849"/>
                <a:gd name="connsiteX11" fmla="*/ 212655 w 1573156"/>
                <a:gd name="connsiteY11" fmla="*/ 1505912 h 3641849"/>
                <a:gd name="connsiteX12" fmla="*/ 198801 w 1573156"/>
                <a:gd name="connsiteY12" fmla="*/ 1555040 h 3641849"/>
                <a:gd name="connsiteX13" fmla="*/ 218197 w 1573156"/>
                <a:gd name="connsiteY13" fmla="*/ 1588655 h 3641849"/>
                <a:gd name="connsiteX14" fmla="*/ 262534 w 1573156"/>
                <a:gd name="connsiteY14" fmla="*/ 1666225 h 3641849"/>
                <a:gd name="connsiteX15" fmla="*/ 331810 w 1573156"/>
                <a:gd name="connsiteY15" fmla="*/ 1653297 h 3641849"/>
                <a:gd name="connsiteX16" fmla="*/ 351206 w 1573156"/>
                <a:gd name="connsiteY16" fmla="*/ 1622268 h 3641849"/>
                <a:gd name="connsiteX17" fmla="*/ 365062 w 1573156"/>
                <a:gd name="connsiteY17" fmla="*/ 1557627 h 3641849"/>
                <a:gd name="connsiteX18" fmla="*/ 304099 w 1573156"/>
                <a:gd name="connsiteY18" fmla="*/ 1511084 h 3641849"/>
                <a:gd name="connsiteX19" fmla="*/ 259763 w 1573156"/>
                <a:gd name="connsiteY19" fmla="*/ 1485227 h 3641849"/>
                <a:gd name="connsiteX20" fmla="*/ 198801 w 1573156"/>
                <a:gd name="connsiteY20" fmla="*/ 1495570 h 3641849"/>
                <a:gd name="connsiteX21" fmla="*/ 376147 w 1573156"/>
                <a:gd name="connsiteY21" fmla="*/ 1299057 h 3641849"/>
                <a:gd name="connsiteX22" fmla="*/ 223740 w 1573156"/>
                <a:gd name="connsiteY22" fmla="*/ 1151672 h 3641849"/>
                <a:gd name="connsiteX23" fmla="*/ 284703 w 1573156"/>
                <a:gd name="connsiteY23" fmla="*/ 1089617 h 3641849"/>
                <a:gd name="connsiteX24" fmla="*/ 218198 w 1573156"/>
                <a:gd name="connsiteY24" fmla="*/ 1050829 h 3641849"/>
                <a:gd name="connsiteX25" fmla="*/ 259763 w 1573156"/>
                <a:gd name="connsiteY25" fmla="*/ 1019802 h 3641849"/>
                <a:gd name="connsiteX26" fmla="*/ 212657 w 1573156"/>
                <a:gd name="connsiteY26" fmla="*/ 993947 h 3641849"/>
                <a:gd name="connsiteX27" fmla="*/ 212656 w 1573156"/>
                <a:gd name="connsiteY27" fmla="*/ 794845 h 3641849"/>
                <a:gd name="connsiteX28" fmla="*/ 251451 w 1573156"/>
                <a:gd name="connsiteY28" fmla="*/ 779332 h 3641849"/>
                <a:gd name="connsiteX29" fmla="*/ 137838 w 1573156"/>
                <a:gd name="connsiteY29" fmla="*/ 551792 h 3641849"/>
                <a:gd name="connsiteX30" fmla="*/ 135067 w 1573156"/>
                <a:gd name="connsiteY30" fmla="*/ 551792 h 3641849"/>
                <a:gd name="connsiteX31" fmla="*/ 184945 w 1573156"/>
                <a:gd name="connsiteY31" fmla="*/ 469048 h 3641849"/>
                <a:gd name="connsiteX32" fmla="*/ 201571 w 1573156"/>
                <a:gd name="connsiteY32" fmla="*/ 378550 h 3641849"/>
                <a:gd name="connsiteX33" fmla="*/ 126752 w 1573156"/>
                <a:gd name="connsiteY33" fmla="*/ 319079 h 3641849"/>
                <a:gd name="connsiteX34" fmla="*/ 118440 w 1573156"/>
                <a:gd name="connsiteY34" fmla="*/ 251851 h 3641849"/>
                <a:gd name="connsiteX35" fmla="*/ 173860 w 1573156"/>
                <a:gd name="connsiteY35" fmla="*/ 158764 h 3641849"/>
                <a:gd name="connsiteX36" fmla="*/ 193258 w 1573156"/>
                <a:gd name="connsiteY36" fmla="*/ 135494 h 3641849"/>
                <a:gd name="connsiteX37" fmla="*/ 207113 w 1573156"/>
                <a:gd name="connsiteY37" fmla="*/ 117394 h 3641849"/>
                <a:gd name="connsiteX38" fmla="*/ 215426 w 1573156"/>
                <a:gd name="connsiteY38" fmla="*/ 73438 h 3641849"/>
                <a:gd name="connsiteX39" fmla="*/ 240365 w 1573156"/>
                <a:gd name="connsiteY39" fmla="*/ 101880 h 3641849"/>
                <a:gd name="connsiteX40" fmla="*/ 270847 w 1573156"/>
                <a:gd name="connsiteY40" fmla="*/ 88952 h 3641849"/>
                <a:gd name="connsiteX41" fmla="*/ 273617 w 1573156"/>
                <a:gd name="connsiteY41" fmla="*/ 63095 h 3641849"/>
                <a:gd name="connsiteX42" fmla="*/ 281931 w 1573156"/>
                <a:gd name="connsiteY42" fmla="*/ 34652 h 3641849"/>
                <a:gd name="connsiteX43" fmla="*/ 284703 w 1573156"/>
                <a:gd name="connsiteY43" fmla="*/ 3624 h 3641849"/>
                <a:gd name="connsiteX44" fmla="*/ 420483 w 1573156"/>
                <a:gd name="connsiteY44" fmla="*/ 57924 h 3641849"/>
                <a:gd name="connsiteX45" fmla="*/ 450963 w 1573156"/>
                <a:gd name="connsiteY45" fmla="*/ 161352 h 3641849"/>
                <a:gd name="connsiteX46" fmla="*/ 464819 w 1573156"/>
                <a:gd name="connsiteY46" fmla="*/ 184622 h 3641849"/>
                <a:gd name="connsiteX47" fmla="*/ 475903 w 1573156"/>
                <a:gd name="connsiteY47" fmla="*/ 187208 h 3641849"/>
                <a:gd name="connsiteX48" fmla="*/ 589515 w 1573156"/>
                <a:gd name="connsiteY48" fmla="*/ 156181 h 3641849"/>
                <a:gd name="connsiteX49" fmla="*/ 656020 w 1573156"/>
                <a:gd name="connsiteY49" fmla="*/ 166522 h 3641849"/>
                <a:gd name="connsiteX50" fmla="*/ 719754 w 1573156"/>
                <a:gd name="connsiteY50" fmla="*/ 213065 h 3641849"/>
                <a:gd name="connsiteX51" fmla="*/ 733781 w 1573156"/>
                <a:gd name="connsiteY51" fmla="*/ 242621 h 3641849"/>
                <a:gd name="connsiteX52" fmla="*/ 789028 w 1573156"/>
                <a:gd name="connsiteY52" fmla="*/ 277708 h 3641849"/>
                <a:gd name="connsiteX53" fmla="*/ 877702 w 1573156"/>
                <a:gd name="connsiteY53" fmla="*/ 303563 h 3641849"/>
                <a:gd name="connsiteX54" fmla="*/ 949748 w 1573156"/>
                <a:gd name="connsiteY54" fmla="*/ 350106 h 3641849"/>
                <a:gd name="connsiteX55" fmla="*/ 999627 w 1573156"/>
                <a:gd name="connsiteY55" fmla="*/ 401820 h 3641849"/>
                <a:gd name="connsiteX56" fmla="*/ 1024566 w 1573156"/>
                <a:gd name="connsiteY56" fmla="*/ 440606 h 3641849"/>
                <a:gd name="connsiteX57" fmla="*/ 1057819 w 1573156"/>
                <a:gd name="connsiteY57" fmla="*/ 466462 h 3641849"/>
                <a:gd name="connsiteX58" fmla="*/ 1041191 w 1573156"/>
                <a:gd name="connsiteY58" fmla="*/ 691417 h 3641849"/>
                <a:gd name="connsiteX59" fmla="*/ 913725 w 1573156"/>
                <a:gd name="connsiteY59" fmla="*/ 771575 h 3641849"/>
                <a:gd name="connsiteX60" fmla="*/ 800113 w 1573156"/>
                <a:gd name="connsiteY60" fmla="*/ 779331 h 3641849"/>
                <a:gd name="connsiteX61" fmla="*/ 661560 w 1573156"/>
                <a:gd name="connsiteY61" fmla="*/ 758645 h 3641849"/>
                <a:gd name="connsiteX62" fmla="*/ 570116 w 1573156"/>
                <a:gd name="connsiteY62" fmla="*/ 722445 h 3641849"/>
                <a:gd name="connsiteX63" fmla="*/ 550719 w 1573156"/>
                <a:gd name="connsiteY63" fmla="*/ 750888 h 3641849"/>
                <a:gd name="connsiteX64" fmla="*/ 581361 w 1573156"/>
                <a:gd name="connsiteY64" fmla="*/ 824301 h 3641849"/>
                <a:gd name="connsiteX65" fmla="*/ 586902 w 1573156"/>
                <a:gd name="connsiteY65" fmla="*/ 951000 h 3641849"/>
                <a:gd name="connsiteX66" fmla="*/ 559032 w 1573156"/>
                <a:gd name="connsiteY66" fmla="*/ 1012043 h 3641849"/>
                <a:gd name="connsiteX67" fmla="*/ 614451 w 1573156"/>
                <a:gd name="connsiteY67" fmla="*/ 1032728 h 3641849"/>
                <a:gd name="connsiteX68" fmla="*/ 631079 w 1573156"/>
                <a:gd name="connsiteY68" fmla="*/ 1048242 h 3641849"/>
                <a:gd name="connsiteX69" fmla="*/ 656019 w 1573156"/>
                <a:gd name="connsiteY69" fmla="*/ 1074099 h 3641849"/>
                <a:gd name="connsiteX70" fmla="*/ 653248 w 1573156"/>
                <a:gd name="connsiteY70" fmla="*/ 1076685 h 3641849"/>
                <a:gd name="connsiteX71" fmla="*/ 692041 w 1573156"/>
                <a:gd name="connsiteY71" fmla="*/ 1071514 h 3641849"/>
                <a:gd name="connsiteX72" fmla="*/ 700355 w 1573156"/>
                <a:gd name="connsiteY72" fmla="*/ 1035314 h 3641849"/>
                <a:gd name="connsiteX73" fmla="*/ 661560 w 1573156"/>
                <a:gd name="connsiteY73" fmla="*/ 957743 h 3641849"/>
                <a:gd name="connsiteX74" fmla="*/ 730836 w 1573156"/>
                <a:gd name="connsiteY74" fmla="*/ 911200 h 3641849"/>
                <a:gd name="connsiteX75" fmla="*/ 798608 w 1573156"/>
                <a:gd name="connsiteY75" fmla="*/ 918934 h 3641849"/>
                <a:gd name="connsiteX76" fmla="*/ 822441 w 1573156"/>
                <a:gd name="connsiteY76" fmla="*/ 951001 h 3641849"/>
                <a:gd name="connsiteX77" fmla="*/ 978170 w 1573156"/>
                <a:gd name="connsiteY77" fmla="*/ 1007364 h 3641849"/>
                <a:gd name="connsiteX78" fmla="*/ 963762 w 1573156"/>
                <a:gd name="connsiteY78" fmla="*/ 971687 h 3641849"/>
                <a:gd name="connsiteX79" fmla="*/ 930510 w 1573156"/>
                <a:gd name="connsiteY79" fmla="*/ 932901 h 3641849"/>
                <a:gd name="connsiteX80" fmla="*/ 919426 w 1573156"/>
                <a:gd name="connsiteY80" fmla="*/ 881187 h 3641849"/>
                <a:gd name="connsiteX81" fmla="*/ 958221 w 1573156"/>
                <a:gd name="connsiteY81" fmla="*/ 832060 h 3641849"/>
                <a:gd name="connsiteX82" fmla="*/ 985931 w 1573156"/>
                <a:gd name="connsiteY82" fmla="*/ 803617 h 3641849"/>
                <a:gd name="connsiteX83" fmla="*/ 1010871 w 1573156"/>
                <a:gd name="connsiteY83" fmla="*/ 767417 h 3641849"/>
                <a:gd name="connsiteX84" fmla="*/ 1091231 w 1573156"/>
                <a:gd name="connsiteY84" fmla="*/ 762245 h 3641849"/>
                <a:gd name="connsiteX85" fmla="*/ 1096772 w 1573156"/>
                <a:gd name="connsiteY85" fmla="*/ 741560 h 3641849"/>
                <a:gd name="connsiteX86" fmla="*/ 1121712 w 1573156"/>
                <a:gd name="connsiteY86" fmla="*/ 705360 h 3641849"/>
                <a:gd name="connsiteX87" fmla="*/ 1155516 w 1573156"/>
                <a:gd name="connsiteY87" fmla="*/ 687772 h 3641849"/>
                <a:gd name="connsiteX88" fmla="*/ 1213156 w 1573156"/>
                <a:gd name="connsiteY88" fmla="*/ 700189 h 3641849"/>
                <a:gd name="connsiteX89" fmla="*/ 1251949 w 1573156"/>
                <a:gd name="connsiteY89" fmla="*/ 720875 h 3641849"/>
                <a:gd name="connsiteX90" fmla="*/ 1299057 w 1573156"/>
                <a:gd name="connsiteY90" fmla="*/ 728632 h 3641849"/>
                <a:gd name="connsiteX91" fmla="*/ 1299057 w 1573156"/>
                <a:gd name="connsiteY91" fmla="*/ 733803 h 3641849"/>
                <a:gd name="connsiteX92" fmla="*/ 1321226 w 1573156"/>
                <a:gd name="connsiteY92" fmla="*/ 674332 h 3641849"/>
                <a:gd name="connsiteX93" fmla="*/ 1331201 w 1573156"/>
                <a:gd name="connsiteY93" fmla="*/ 640714 h 3641849"/>
                <a:gd name="connsiteX94" fmla="*/ 1337852 w 1573156"/>
                <a:gd name="connsiteY94" fmla="*/ 622618 h 3641849"/>
                <a:gd name="connsiteX95" fmla="*/ 1340789 w 1573156"/>
                <a:gd name="connsiteY95" fmla="*/ 591288 h 3641849"/>
                <a:gd name="connsiteX96" fmla="*/ 1260263 w 1573156"/>
                <a:gd name="connsiteY96" fmla="*/ 545048 h 3641849"/>
                <a:gd name="connsiteX97" fmla="*/ 1246408 w 1573156"/>
                <a:gd name="connsiteY97" fmla="*/ 472648 h 3641849"/>
                <a:gd name="connsiteX98" fmla="*/ 1246408 w 1573156"/>
                <a:gd name="connsiteY98" fmla="*/ 454548 h 3641849"/>
                <a:gd name="connsiteX99" fmla="*/ 1257491 w 1573156"/>
                <a:gd name="connsiteY99" fmla="*/ 431276 h 3641849"/>
                <a:gd name="connsiteX100" fmla="*/ 1260263 w 1573156"/>
                <a:gd name="connsiteY100" fmla="*/ 415762 h 3641849"/>
                <a:gd name="connsiteX101" fmla="*/ 1260262 w 1573156"/>
                <a:gd name="connsiteY101" fmla="*/ 358878 h 3641849"/>
                <a:gd name="connsiteX102" fmla="*/ 1238094 w 1573156"/>
                <a:gd name="connsiteY102" fmla="*/ 335607 h 3641849"/>
                <a:gd name="connsiteX103" fmla="*/ 1210384 w 1573156"/>
                <a:gd name="connsiteY103" fmla="*/ 304578 h 3641849"/>
                <a:gd name="connsiteX104" fmla="*/ 1206216 w 1573156"/>
                <a:gd name="connsiteY104" fmla="*/ 280325 h 3641849"/>
                <a:gd name="connsiteX105" fmla="*/ 1257492 w 1573156"/>
                <a:gd name="connsiteY105" fmla="*/ 258034 h 3641849"/>
                <a:gd name="connsiteX106" fmla="*/ 1311072 w 1573156"/>
                <a:gd name="connsiteY106" fmla="*/ 267906 h 3641849"/>
                <a:gd name="connsiteX107" fmla="*/ 1389856 w 1573156"/>
                <a:gd name="connsiteY107" fmla="*/ 279816 h 3641849"/>
                <a:gd name="connsiteX108" fmla="*/ 1474179 w 1573156"/>
                <a:gd name="connsiteY108" fmla="*/ 349175 h 3641849"/>
                <a:gd name="connsiteX109" fmla="*/ 1536314 w 1573156"/>
                <a:gd name="connsiteY109" fmla="*/ 425271 h 3641849"/>
                <a:gd name="connsiteX110" fmla="*/ 1435343 w 1573156"/>
                <a:gd name="connsiteY110" fmla="*/ 454265 h 3641849"/>
                <a:gd name="connsiteX111" fmla="*/ 1419809 w 1573156"/>
                <a:gd name="connsiteY111" fmla="*/ 501372 h 3641849"/>
                <a:gd name="connsiteX112" fmla="*/ 1477479 w 1573156"/>
                <a:gd name="connsiteY112" fmla="*/ 585862 h 3641849"/>
                <a:gd name="connsiteX113" fmla="*/ 1513013 w 1573156"/>
                <a:gd name="connsiteY113" fmla="*/ 591964 h 3641849"/>
                <a:gd name="connsiteX114" fmla="*/ 1565633 w 1573156"/>
                <a:gd name="connsiteY114" fmla="*/ 598304 h 3641849"/>
                <a:gd name="connsiteX115" fmla="*/ 1560670 w 1573156"/>
                <a:gd name="connsiteY115" fmla="*/ 709079 h 3641849"/>
                <a:gd name="connsiteX116" fmla="*/ 1571739 w 1573156"/>
                <a:gd name="connsiteY116" fmla="*/ 1040047 h 3641849"/>
                <a:gd name="connsiteX117" fmla="*/ 1562871 w 1573156"/>
                <a:gd name="connsiteY117" fmla="*/ 1842646 h 3641849"/>
                <a:gd name="connsiteX118" fmla="*/ 1571738 w 1573156"/>
                <a:gd name="connsiteY118" fmla="*/ 2297728 h 3641849"/>
                <a:gd name="connsiteX119" fmla="*/ 1545290 w 1573156"/>
                <a:gd name="connsiteY119" fmla="*/ 3607693 h 3641849"/>
                <a:gd name="connsiteX120" fmla="*/ 1286863 w 1573156"/>
                <a:gd name="connsiteY120" fmla="*/ 3564098 h 3641849"/>
                <a:gd name="connsiteX121" fmla="*/ 1118385 w 1573156"/>
                <a:gd name="connsiteY121" fmla="*/ 3497903 h 3641849"/>
                <a:gd name="connsiteX122" fmla="*/ 941039 w 1573156"/>
                <a:gd name="connsiteY122" fmla="*/ 3406887 h 3641849"/>
                <a:gd name="connsiteX123" fmla="*/ 842741 w 1573156"/>
                <a:gd name="connsiteY123" fmla="*/ 3326370 h 3641849"/>
                <a:gd name="connsiteX124" fmla="*/ 1137003 w 1573156"/>
                <a:gd name="connsiteY124" fmla="*/ 3018734 h 3641849"/>
                <a:gd name="connsiteX125" fmla="*/ 853249 w 1573156"/>
                <a:gd name="connsiteY125" fmla="*/ 2480910 h 3641849"/>
                <a:gd name="connsiteX126" fmla="*/ 995599 w 1573156"/>
                <a:gd name="connsiteY126" fmla="*/ 2241825 h 3641849"/>
                <a:gd name="connsiteX127" fmla="*/ 808912 w 1573156"/>
                <a:gd name="connsiteY127" fmla="*/ 1703134 h 3641849"/>
                <a:gd name="connsiteX128" fmla="*/ 560628 w 1573156"/>
                <a:gd name="connsiteY128" fmla="*/ 1471456 h 3641849"/>
                <a:gd name="connsiteX129" fmla="*/ 91772 w 1573156"/>
                <a:gd name="connsiteY129" fmla="*/ 2159767 h 3641849"/>
                <a:gd name="connsiteX0" fmla="*/ 91772 w 1573156"/>
                <a:gd name="connsiteY0" fmla="*/ 2159767 h 3641849"/>
                <a:gd name="connsiteX1" fmla="*/ 112897 w 1573156"/>
                <a:gd name="connsiteY1" fmla="*/ 1811024 h 3641849"/>
                <a:gd name="connsiteX2" fmla="*/ 74103 w 1573156"/>
                <a:gd name="connsiteY2" fmla="*/ 1803266 h 3641849"/>
                <a:gd name="connsiteX3" fmla="*/ 118440 w 1573156"/>
                <a:gd name="connsiteY3" fmla="*/ 1743795 h 3641849"/>
                <a:gd name="connsiteX4" fmla="*/ 2057 w 1573156"/>
                <a:gd name="connsiteY4" fmla="*/ 1730867 h 3641849"/>
                <a:gd name="connsiteX5" fmla="*/ 38079 w 1573156"/>
                <a:gd name="connsiteY5" fmla="*/ 1689496 h 3641849"/>
                <a:gd name="connsiteX6" fmla="*/ 18683 w 1573156"/>
                <a:gd name="connsiteY6" fmla="*/ 1679153 h 3641849"/>
                <a:gd name="connsiteX7" fmla="*/ 2055 w 1573156"/>
                <a:gd name="connsiteY7" fmla="*/ 1640367 h 3641849"/>
                <a:gd name="connsiteX8" fmla="*/ 65790 w 1573156"/>
                <a:gd name="connsiteY8" fmla="*/ 1650711 h 3641849"/>
                <a:gd name="connsiteX9" fmla="*/ 93501 w 1573156"/>
                <a:gd name="connsiteY9" fmla="*/ 1627440 h 3641849"/>
                <a:gd name="connsiteX10" fmla="*/ 187716 w 1573156"/>
                <a:gd name="connsiteY10" fmla="*/ 1536941 h 3641849"/>
                <a:gd name="connsiteX11" fmla="*/ 212655 w 1573156"/>
                <a:gd name="connsiteY11" fmla="*/ 1505912 h 3641849"/>
                <a:gd name="connsiteX12" fmla="*/ 198801 w 1573156"/>
                <a:gd name="connsiteY12" fmla="*/ 1555040 h 3641849"/>
                <a:gd name="connsiteX13" fmla="*/ 218197 w 1573156"/>
                <a:gd name="connsiteY13" fmla="*/ 1588655 h 3641849"/>
                <a:gd name="connsiteX14" fmla="*/ 262534 w 1573156"/>
                <a:gd name="connsiteY14" fmla="*/ 1666225 h 3641849"/>
                <a:gd name="connsiteX15" fmla="*/ 331810 w 1573156"/>
                <a:gd name="connsiteY15" fmla="*/ 1653297 h 3641849"/>
                <a:gd name="connsiteX16" fmla="*/ 351206 w 1573156"/>
                <a:gd name="connsiteY16" fmla="*/ 1622268 h 3641849"/>
                <a:gd name="connsiteX17" fmla="*/ 365062 w 1573156"/>
                <a:gd name="connsiteY17" fmla="*/ 1557627 h 3641849"/>
                <a:gd name="connsiteX18" fmla="*/ 304099 w 1573156"/>
                <a:gd name="connsiteY18" fmla="*/ 1511084 h 3641849"/>
                <a:gd name="connsiteX19" fmla="*/ 259763 w 1573156"/>
                <a:gd name="connsiteY19" fmla="*/ 1485227 h 3641849"/>
                <a:gd name="connsiteX20" fmla="*/ 198801 w 1573156"/>
                <a:gd name="connsiteY20" fmla="*/ 1495570 h 3641849"/>
                <a:gd name="connsiteX21" fmla="*/ 376147 w 1573156"/>
                <a:gd name="connsiteY21" fmla="*/ 1299057 h 3641849"/>
                <a:gd name="connsiteX22" fmla="*/ 223740 w 1573156"/>
                <a:gd name="connsiteY22" fmla="*/ 1151672 h 3641849"/>
                <a:gd name="connsiteX23" fmla="*/ 284703 w 1573156"/>
                <a:gd name="connsiteY23" fmla="*/ 1089617 h 3641849"/>
                <a:gd name="connsiteX24" fmla="*/ 218198 w 1573156"/>
                <a:gd name="connsiteY24" fmla="*/ 1050829 h 3641849"/>
                <a:gd name="connsiteX25" fmla="*/ 259763 w 1573156"/>
                <a:gd name="connsiteY25" fmla="*/ 1019802 h 3641849"/>
                <a:gd name="connsiteX26" fmla="*/ 212657 w 1573156"/>
                <a:gd name="connsiteY26" fmla="*/ 993947 h 3641849"/>
                <a:gd name="connsiteX27" fmla="*/ 212656 w 1573156"/>
                <a:gd name="connsiteY27" fmla="*/ 794845 h 3641849"/>
                <a:gd name="connsiteX28" fmla="*/ 251451 w 1573156"/>
                <a:gd name="connsiteY28" fmla="*/ 779332 h 3641849"/>
                <a:gd name="connsiteX29" fmla="*/ 137838 w 1573156"/>
                <a:gd name="connsiteY29" fmla="*/ 551792 h 3641849"/>
                <a:gd name="connsiteX30" fmla="*/ 135067 w 1573156"/>
                <a:gd name="connsiteY30" fmla="*/ 551792 h 3641849"/>
                <a:gd name="connsiteX31" fmla="*/ 184945 w 1573156"/>
                <a:gd name="connsiteY31" fmla="*/ 469048 h 3641849"/>
                <a:gd name="connsiteX32" fmla="*/ 201571 w 1573156"/>
                <a:gd name="connsiteY32" fmla="*/ 378550 h 3641849"/>
                <a:gd name="connsiteX33" fmla="*/ 126752 w 1573156"/>
                <a:gd name="connsiteY33" fmla="*/ 319079 h 3641849"/>
                <a:gd name="connsiteX34" fmla="*/ 118440 w 1573156"/>
                <a:gd name="connsiteY34" fmla="*/ 251851 h 3641849"/>
                <a:gd name="connsiteX35" fmla="*/ 173860 w 1573156"/>
                <a:gd name="connsiteY35" fmla="*/ 158764 h 3641849"/>
                <a:gd name="connsiteX36" fmla="*/ 193258 w 1573156"/>
                <a:gd name="connsiteY36" fmla="*/ 135494 h 3641849"/>
                <a:gd name="connsiteX37" fmla="*/ 207113 w 1573156"/>
                <a:gd name="connsiteY37" fmla="*/ 117394 h 3641849"/>
                <a:gd name="connsiteX38" fmla="*/ 215426 w 1573156"/>
                <a:gd name="connsiteY38" fmla="*/ 73438 h 3641849"/>
                <a:gd name="connsiteX39" fmla="*/ 240365 w 1573156"/>
                <a:gd name="connsiteY39" fmla="*/ 101880 h 3641849"/>
                <a:gd name="connsiteX40" fmla="*/ 270847 w 1573156"/>
                <a:gd name="connsiteY40" fmla="*/ 88952 h 3641849"/>
                <a:gd name="connsiteX41" fmla="*/ 273617 w 1573156"/>
                <a:gd name="connsiteY41" fmla="*/ 63095 h 3641849"/>
                <a:gd name="connsiteX42" fmla="*/ 281931 w 1573156"/>
                <a:gd name="connsiteY42" fmla="*/ 34652 h 3641849"/>
                <a:gd name="connsiteX43" fmla="*/ 284703 w 1573156"/>
                <a:gd name="connsiteY43" fmla="*/ 3624 h 3641849"/>
                <a:gd name="connsiteX44" fmla="*/ 420483 w 1573156"/>
                <a:gd name="connsiteY44" fmla="*/ 57924 h 3641849"/>
                <a:gd name="connsiteX45" fmla="*/ 450963 w 1573156"/>
                <a:gd name="connsiteY45" fmla="*/ 161352 h 3641849"/>
                <a:gd name="connsiteX46" fmla="*/ 464819 w 1573156"/>
                <a:gd name="connsiteY46" fmla="*/ 184622 h 3641849"/>
                <a:gd name="connsiteX47" fmla="*/ 475903 w 1573156"/>
                <a:gd name="connsiteY47" fmla="*/ 187208 h 3641849"/>
                <a:gd name="connsiteX48" fmla="*/ 589515 w 1573156"/>
                <a:gd name="connsiteY48" fmla="*/ 156181 h 3641849"/>
                <a:gd name="connsiteX49" fmla="*/ 656020 w 1573156"/>
                <a:gd name="connsiteY49" fmla="*/ 166522 h 3641849"/>
                <a:gd name="connsiteX50" fmla="*/ 719754 w 1573156"/>
                <a:gd name="connsiteY50" fmla="*/ 213065 h 3641849"/>
                <a:gd name="connsiteX51" fmla="*/ 733781 w 1573156"/>
                <a:gd name="connsiteY51" fmla="*/ 242621 h 3641849"/>
                <a:gd name="connsiteX52" fmla="*/ 789028 w 1573156"/>
                <a:gd name="connsiteY52" fmla="*/ 277708 h 3641849"/>
                <a:gd name="connsiteX53" fmla="*/ 877702 w 1573156"/>
                <a:gd name="connsiteY53" fmla="*/ 303563 h 3641849"/>
                <a:gd name="connsiteX54" fmla="*/ 949748 w 1573156"/>
                <a:gd name="connsiteY54" fmla="*/ 350106 h 3641849"/>
                <a:gd name="connsiteX55" fmla="*/ 999627 w 1573156"/>
                <a:gd name="connsiteY55" fmla="*/ 401820 h 3641849"/>
                <a:gd name="connsiteX56" fmla="*/ 1024566 w 1573156"/>
                <a:gd name="connsiteY56" fmla="*/ 440606 h 3641849"/>
                <a:gd name="connsiteX57" fmla="*/ 1057819 w 1573156"/>
                <a:gd name="connsiteY57" fmla="*/ 466462 h 3641849"/>
                <a:gd name="connsiteX58" fmla="*/ 1041191 w 1573156"/>
                <a:gd name="connsiteY58" fmla="*/ 691417 h 3641849"/>
                <a:gd name="connsiteX59" fmla="*/ 913725 w 1573156"/>
                <a:gd name="connsiteY59" fmla="*/ 771575 h 3641849"/>
                <a:gd name="connsiteX60" fmla="*/ 800113 w 1573156"/>
                <a:gd name="connsiteY60" fmla="*/ 779331 h 3641849"/>
                <a:gd name="connsiteX61" fmla="*/ 661560 w 1573156"/>
                <a:gd name="connsiteY61" fmla="*/ 758645 h 3641849"/>
                <a:gd name="connsiteX62" fmla="*/ 570116 w 1573156"/>
                <a:gd name="connsiteY62" fmla="*/ 722445 h 3641849"/>
                <a:gd name="connsiteX63" fmla="*/ 550719 w 1573156"/>
                <a:gd name="connsiteY63" fmla="*/ 750888 h 3641849"/>
                <a:gd name="connsiteX64" fmla="*/ 581361 w 1573156"/>
                <a:gd name="connsiteY64" fmla="*/ 824301 h 3641849"/>
                <a:gd name="connsiteX65" fmla="*/ 586902 w 1573156"/>
                <a:gd name="connsiteY65" fmla="*/ 951000 h 3641849"/>
                <a:gd name="connsiteX66" fmla="*/ 559032 w 1573156"/>
                <a:gd name="connsiteY66" fmla="*/ 1012043 h 3641849"/>
                <a:gd name="connsiteX67" fmla="*/ 614451 w 1573156"/>
                <a:gd name="connsiteY67" fmla="*/ 1032728 h 3641849"/>
                <a:gd name="connsiteX68" fmla="*/ 631079 w 1573156"/>
                <a:gd name="connsiteY68" fmla="*/ 1048242 h 3641849"/>
                <a:gd name="connsiteX69" fmla="*/ 656019 w 1573156"/>
                <a:gd name="connsiteY69" fmla="*/ 1074099 h 3641849"/>
                <a:gd name="connsiteX70" fmla="*/ 653248 w 1573156"/>
                <a:gd name="connsiteY70" fmla="*/ 1076685 h 3641849"/>
                <a:gd name="connsiteX71" fmla="*/ 692041 w 1573156"/>
                <a:gd name="connsiteY71" fmla="*/ 1071514 h 3641849"/>
                <a:gd name="connsiteX72" fmla="*/ 700355 w 1573156"/>
                <a:gd name="connsiteY72" fmla="*/ 1035314 h 3641849"/>
                <a:gd name="connsiteX73" fmla="*/ 661560 w 1573156"/>
                <a:gd name="connsiteY73" fmla="*/ 957743 h 3641849"/>
                <a:gd name="connsiteX74" fmla="*/ 730836 w 1573156"/>
                <a:gd name="connsiteY74" fmla="*/ 911200 h 3641849"/>
                <a:gd name="connsiteX75" fmla="*/ 798608 w 1573156"/>
                <a:gd name="connsiteY75" fmla="*/ 918934 h 3641849"/>
                <a:gd name="connsiteX76" fmla="*/ 822441 w 1573156"/>
                <a:gd name="connsiteY76" fmla="*/ 951001 h 3641849"/>
                <a:gd name="connsiteX77" fmla="*/ 978170 w 1573156"/>
                <a:gd name="connsiteY77" fmla="*/ 1007364 h 3641849"/>
                <a:gd name="connsiteX78" fmla="*/ 963762 w 1573156"/>
                <a:gd name="connsiteY78" fmla="*/ 971687 h 3641849"/>
                <a:gd name="connsiteX79" fmla="*/ 930510 w 1573156"/>
                <a:gd name="connsiteY79" fmla="*/ 932901 h 3641849"/>
                <a:gd name="connsiteX80" fmla="*/ 919426 w 1573156"/>
                <a:gd name="connsiteY80" fmla="*/ 881187 h 3641849"/>
                <a:gd name="connsiteX81" fmla="*/ 958221 w 1573156"/>
                <a:gd name="connsiteY81" fmla="*/ 832060 h 3641849"/>
                <a:gd name="connsiteX82" fmla="*/ 985931 w 1573156"/>
                <a:gd name="connsiteY82" fmla="*/ 803617 h 3641849"/>
                <a:gd name="connsiteX83" fmla="*/ 1010871 w 1573156"/>
                <a:gd name="connsiteY83" fmla="*/ 767417 h 3641849"/>
                <a:gd name="connsiteX84" fmla="*/ 1091231 w 1573156"/>
                <a:gd name="connsiteY84" fmla="*/ 762245 h 3641849"/>
                <a:gd name="connsiteX85" fmla="*/ 1096772 w 1573156"/>
                <a:gd name="connsiteY85" fmla="*/ 741560 h 3641849"/>
                <a:gd name="connsiteX86" fmla="*/ 1121712 w 1573156"/>
                <a:gd name="connsiteY86" fmla="*/ 705360 h 3641849"/>
                <a:gd name="connsiteX87" fmla="*/ 1155516 w 1573156"/>
                <a:gd name="connsiteY87" fmla="*/ 687772 h 3641849"/>
                <a:gd name="connsiteX88" fmla="*/ 1213156 w 1573156"/>
                <a:gd name="connsiteY88" fmla="*/ 700189 h 3641849"/>
                <a:gd name="connsiteX89" fmla="*/ 1251949 w 1573156"/>
                <a:gd name="connsiteY89" fmla="*/ 720875 h 3641849"/>
                <a:gd name="connsiteX90" fmla="*/ 1299057 w 1573156"/>
                <a:gd name="connsiteY90" fmla="*/ 728632 h 3641849"/>
                <a:gd name="connsiteX91" fmla="*/ 1299057 w 1573156"/>
                <a:gd name="connsiteY91" fmla="*/ 733803 h 3641849"/>
                <a:gd name="connsiteX92" fmla="*/ 1321226 w 1573156"/>
                <a:gd name="connsiteY92" fmla="*/ 674332 h 3641849"/>
                <a:gd name="connsiteX93" fmla="*/ 1331201 w 1573156"/>
                <a:gd name="connsiteY93" fmla="*/ 640714 h 3641849"/>
                <a:gd name="connsiteX94" fmla="*/ 1337852 w 1573156"/>
                <a:gd name="connsiteY94" fmla="*/ 622618 h 3641849"/>
                <a:gd name="connsiteX95" fmla="*/ 1340789 w 1573156"/>
                <a:gd name="connsiteY95" fmla="*/ 591288 h 3641849"/>
                <a:gd name="connsiteX96" fmla="*/ 1260263 w 1573156"/>
                <a:gd name="connsiteY96" fmla="*/ 545048 h 3641849"/>
                <a:gd name="connsiteX97" fmla="*/ 1246408 w 1573156"/>
                <a:gd name="connsiteY97" fmla="*/ 472648 h 3641849"/>
                <a:gd name="connsiteX98" fmla="*/ 1246408 w 1573156"/>
                <a:gd name="connsiteY98" fmla="*/ 454548 h 3641849"/>
                <a:gd name="connsiteX99" fmla="*/ 1257491 w 1573156"/>
                <a:gd name="connsiteY99" fmla="*/ 431276 h 3641849"/>
                <a:gd name="connsiteX100" fmla="*/ 1260263 w 1573156"/>
                <a:gd name="connsiteY100" fmla="*/ 415762 h 3641849"/>
                <a:gd name="connsiteX101" fmla="*/ 1260262 w 1573156"/>
                <a:gd name="connsiteY101" fmla="*/ 358878 h 3641849"/>
                <a:gd name="connsiteX102" fmla="*/ 1238094 w 1573156"/>
                <a:gd name="connsiteY102" fmla="*/ 335607 h 3641849"/>
                <a:gd name="connsiteX103" fmla="*/ 1210384 w 1573156"/>
                <a:gd name="connsiteY103" fmla="*/ 304578 h 3641849"/>
                <a:gd name="connsiteX104" fmla="*/ 1206216 w 1573156"/>
                <a:gd name="connsiteY104" fmla="*/ 280325 h 3641849"/>
                <a:gd name="connsiteX105" fmla="*/ 1257492 w 1573156"/>
                <a:gd name="connsiteY105" fmla="*/ 258034 h 3641849"/>
                <a:gd name="connsiteX106" fmla="*/ 1311072 w 1573156"/>
                <a:gd name="connsiteY106" fmla="*/ 267906 h 3641849"/>
                <a:gd name="connsiteX107" fmla="*/ 1389856 w 1573156"/>
                <a:gd name="connsiteY107" fmla="*/ 279816 h 3641849"/>
                <a:gd name="connsiteX108" fmla="*/ 1474179 w 1573156"/>
                <a:gd name="connsiteY108" fmla="*/ 349175 h 3641849"/>
                <a:gd name="connsiteX109" fmla="*/ 1536314 w 1573156"/>
                <a:gd name="connsiteY109" fmla="*/ 425271 h 3641849"/>
                <a:gd name="connsiteX110" fmla="*/ 1435343 w 1573156"/>
                <a:gd name="connsiteY110" fmla="*/ 454265 h 3641849"/>
                <a:gd name="connsiteX111" fmla="*/ 1419809 w 1573156"/>
                <a:gd name="connsiteY111" fmla="*/ 501372 h 3641849"/>
                <a:gd name="connsiteX112" fmla="*/ 1477479 w 1573156"/>
                <a:gd name="connsiteY112" fmla="*/ 585862 h 3641849"/>
                <a:gd name="connsiteX113" fmla="*/ 1513013 w 1573156"/>
                <a:gd name="connsiteY113" fmla="*/ 591964 h 3641849"/>
                <a:gd name="connsiteX114" fmla="*/ 1565633 w 1573156"/>
                <a:gd name="connsiteY114" fmla="*/ 598304 h 3641849"/>
                <a:gd name="connsiteX115" fmla="*/ 1560670 w 1573156"/>
                <a:gd name="connsiteY115" fmla="*/ 709079 h 3641849"/>
                <a:gd name="connsiteX116" fmla="*/ 1571739 w 1573156"/>
                <a:gd name="connsiteY116" fmla="*/ 1040047 h 3641849"/>
                <a:gd name="connsiteX117" fmla="*/ 1562871 w 1573156"/>
                <a:gd name="connsiteY117" fmla="*/ 1842646 h 3641849"/>
                <a:gd name="connsiteX118" fmla="*/ 1571738 w 1573156"/>
                <a:gd name="connsiteY118" fmla="*/ 2297728 h 3641849"/>
                <a:gd name="connsiteX119" fmla="*/ 1545290 w 1573156"/>
                <a:gd name="connsiteY119" fmla="*/ 3607693 h 3641849"/>
                <a:gd name="connsiteX120" fmla="*/ 1286863 w 1573156"/>
                <a:gd name="connsiteY120" fmla="*/ 3564098 h 3641849"/>
                <a:gd name="connsiteX121" fmla="*/ 1118385 w 1573156"/>
                <a:gd name="connsiteY121" fmla="*/ 3497903 h 3641849"/>
                <a:gd name="connsiteX122" fmla="*/ 941039 w 1573156"/>
                <a:gd name="connsiteY122" fmla="*/ 3406887 h 3641849"/>
                <a:gd name="connsiteX123" fmla="*/ 842741 w 1573156"/>
                <a:gd name="connsiteY123" fmla="*/ 3326370 h 3641849"/>
                <a:gd name="connsiteX124" fmla="*/ 1137003 w 1573156"/>
                <a:gd name="connsiteY124" fmla="*/ 3018734 h 3641849"/>
                <a:gd name="connsiteX125" fmla="*/ 853249 w 1573156"/>
                <a:gd name="connsiteY125" fmla="*/ 2480910 h 3641849"/>
                <a:gd name="connsiteX126" fmla="*/ 995599 w 1573156"/>
                <a:gd name="connsiteY126" fmla="*/ 2241825 h 3641849"/>
                <a:gd name="connsiteX127" fmla="*/ 808912 w 1573156"/>
                <a:gd name="connsiteY127" fmla="*/ 1703134 h 3641849"/>
                <a:gd name="connsiteX128" fmla="*/ 560628 w 1573156"/>
                <a:gd name="connsiteY128" fmla="*/ 1471456 h 3641849"/>
                <a:gd name="connsiteX129" fmla="*/ 91772 w 1573156"/>
                <a:gd name="connsiteY129" fmla="*/ 2159767 h 3641849"/>
                <a:gd name="connsiteX0" fmla="*/ 91772 w 1573156"/>
                <a:gd name="connsiteY0" fmla="*/ 2159767 h 3641849"/>
                <a:gd name="connsiteX1" fmla="*/ 112897 w 1573156"/>
                <a:gd name="connsiteY1" fmla="*/ 1811024 h 3641849"/>
                <a:gd name="connsiteX2" fmla="*/ 162776 w 1573156"/>
                <a:gd name="connsiteY2" fmla="*/ 1785166 h 3641849"/>
                <a:gd name="connsiteX3" fmla="*/ 118440 w 1573156"/>
                <a:gd name="connsiteY3" fmla="*/ 1743795 h 3641849"/>
                <a:gd name="connsiteX4" fmla="*/ 2057 w 1573156"/>
                <a:gd name="connsiteY4" fmla="*/ 1730867 h 3641849"/>
                <a:gd name="connsiteX5" fmla="*/ 38079 w 1573156"/>
                <a:gd name="connsiteY5" fmla="*/ 1689496 h 3641849"/>
                <a:gd name="connsiteX6" fmla="*/ 18683 w 1573156"/>
                <a:gd name="connsiteY6" fmla="*/ 1679153 h 3641849"/>
                <a:gd name="connsiteX7" fmla="*/ 2055 w 1573156"/>
                <a:gd name="connsiteY7" fmla="*/ 1640367 h 3641849"/>
                <a:gd name="connsiteX8" fmla="*/ 65790 w 1573156"/>
                <a:gd name="connsiteY8" fmla="*/ 1650711 h 3641849"/>
                <a:gd name="connsiteX9" fmla="*/ 93501 w 1573156"/>
                <a:gd name="connsiteY9" fmla="*/ 1627440 h 3641849"/>
                <a:gd name="connsiteX10" fmla="*/ 187716 w 1573156"/>
                <a:gd name="connsiteY10" fmla="*/ 1536941 h 3641849"/>
                <a:gd name="connsiteX11" fmla="*/ 212655 w 1573156"/>
                <a:gd name="connsiteY11" fmla="*/ 1505912 h 3641849"/>
                <a:gd name="connsiteX12" fmla="*/ 198801 w 1573156"/>
                <a:gd name="connsiteY12" fmla="*/ 1555040 h 3641849"/>
                <a:gd name="connsiteX13" fmla="*/ 218197 w 1573156"/>
                <a:gd name="connsiteY13" fmla="*/ 1588655 h 3641849"/>
                <a:gd name="connsiteX14" fmla="*/ 262534 w 1573156"/>
                <a:gd name="connsiteY14" fmla="*/ 1666225 h 3641849"/>
                <a:gd name="connsiteX15" fmla="*/ 331810 w 1573156"/>
                <a:gd name="connsiteY15" fmla="*/ 1653297 h 3641849"/>
                <a:gd name="connsiteX16" fmla="*/ 351206 w 1573156"/>
                <a:gd name="connsiteY16" fmla="*/ 1622268 h 3641849"/>
                <a:gd name="connsiteX17" fmla="*/ 365062 w 1573156"/>
                <a:gd name="connsiteY17" fmla="*/ 1557627 h 3641849"/>
                <a:gd name="connsiteX18" fmla="*/ 304099 w 1573156"/>
                <a:gd name="connsiteY18" fmla="*/ 1511084 h 3641849"/>
                <a:gd name="connsiteX19" fmla="*/ 259763 w 1573156"/>
                <a:gd name="connsiteY19" fmla="*/ 1485227 h 3641849"/>
                <a:gd name="connsiteX20" fmla="*/ 198801 w 1573156"/>
                <a:gd name="connsiteY20" fmla="*/ 1495570 h 3641849"/>
                <a:gd name="connsiteX21" fmla="*/ 376147 w 1573156"/>
                <a:gd name="connsiteY21" fmla="*/ 1299057 h 3641849"/>
                <a:gd name="connsiteX22" fmla="*/ 223740 w 1573156"/>
                <a:gd name="connsiteY22" fmla="*/ 1151672 h 3641849"/>
                <a:gd name="connsiteX23" fmla="*/ 284703 w 1573156"/>
                <a:gd name="connsiteY23" fmla="*/ 1089617 h 3641849"/>
                <a:gd name="connsiteX24" fmla="*/ 218198 w 1573156"/>
                <a:gd name="connsiteY24" fmla="*/ 1050829 h 3641849"/>
                <a:gd name="connsiteX25" fmla="*/ 259763 w 1573156"/>
                <a:gd name="connsiteY25" fmla="*/ 1019802 h 3641849"/>
                <a:gd name="connsiteX26" fmla="*/ 212657 w 1573156"/>
                <a:gd name="connsiteY26" fmla="*/ 993947 h 3641849"/>
                <a:gd name="connsiteX27" fmla="*/ 212656 w 1573156"/>
                <a:gd name="connsiteY27" fmla="*/ 794845 h 3641849"/>
                <a:gd name="connsiteX28" fmla="*/ 251451 w 1573156"/>
                <a:gd name="connsiteY28" fmla="*/ 779332 h 3641849"/>
                <a:gd name="connsiteX29" fmla="*/ 137838 w 1573156"/>
                <a:gd name="connsiteY29" fmla="*/ 551792 h 3641849"/>
                <a:gd name="connsiteX30" fmla="*/ 135067 w 1573156"/>
                <a:gd name="connsiteY30" fmla="*/ 551792 h 3641849"/>
                <a:gd name="connsiteX31" fmla="*/ 184945 w 1573156"/>
                <a:gd name="connsiteY31" fmla="*/ 469048 h 3641849"/>
                <a:gd name="connsiteX32" fmla="*/ 201571 w 1573156"/>
                <a:gd name="connsiteY32" fmla="*/ 378550 h 3641849"/>
                <a:gd name="connsiteX33" fmla="*/ 126752 w 1573156"/>
                <a:gd name="connsiteY33" fmla="*/ 319079 h 3641849"/>
                <a:gd name="connsiteX34" fmla="*/ 118440 w 1573156"/>
                <a:gd name="connsiteY34" fmla="*/ 251851 h 3641849"/>
                <a:gd name="connsiteX35" fmla="*/ 173860 w 1573156"/>
                <a:gd name="connsiteY35" fmla="*/ 158764 h 3641849"/>
                <a:gd name="connsiteX36" fmla="*/ 193258 w 1573156"/>
                <a:gd name="connsiteY36" fmla="*/ 135494 h 3641849"/>
                <a:gd name="connsiteX37" fmla="*/ 207113 w 1573156"/>
                <a:gd name="connsiteY37" fmla="*/ 117394 h 3641849"/>
                <a:gd name="connsiteX38" fmla="*/ 215426 w 1573156"/>
                <a:gd name="connsiteY38" fmla="*/ 73438 h 3641849"/>
                <a:gd name="connsiteX39" fmla="*/ 240365 w 1573156"/>
                <a:gd name="connsiteY39" fmla="*/ 101880 h 3641849"/>
                <a:gd name="connsiteX40" fmla="*/ 270847 w 1573156"/>
                <a:gd name="connsiteY40" fmla="*/ 88952 h 3641849"/>
                <a:gd name="connsiteX41" fmla="*/ 273617 w 1573156"/>
                <a:gd name="connsiteY41" fmla="*/ 63095 h 3641849"/>
                <a:gd name="connsiteX42" fmla="*/ 281931 w 1573156"/>
                <a:gd name="connsiteY42" fmla="*/ 34652 h 3641849"/>
                <a:gd name="connsiteX43" fmla="*/ 284703 w 1573156"/>
                <a:gd name="connsiteY43" fmla="*/ 3624 h 3641849"/>
                <a:gd name="connsiteX44" fmla="*/ 420483 w 1573156"/>
                <a:gd name="connsiteY44" fmla="*/ 57924 h 3641849"/>
                <a:gd name="connsiteX45" fmla="*/ 450963 w 1573156"/>
                <a:gd name="connsiteY45" fmla="*/ 161352 h 3641849"/>
                <a:gd name="connsiteX46" fmla="*/ 464819 w 1573156"/>
                <a:gd name="connsiteY46" fmla="*/ 184622 h 3641849"/>
                <a:gd name="connsiteX47" fmla="*/ 475903 w 1573156"/>
                <a:gd name="connsiteY47" fmla="*/ 187208 h 3641849"/>
                <a:gd name="connsiteX48" fmla="*/ 589515 w 1573156"/>
                <a:gd name="connsiteY48" fmla="*/ 156181 h 3641849"/>
                <a:gd name="connsiteX49" fmla="*/ 656020 w 1573156"/>
                <a:gd name="connsiteY49" fmla="*/ 166522 h 3641849"/>
                <a:gd name="connsiteX50" fmla="*/ 719754 w 1573156"/>
                <a:gd name="connsiteY50" fmla="*/ 213065 h 3641849"/>
                <a:gd name="connsiteX51" fmla="*/ 733781 w 1573156"/>
                <a:gd name="connsiteY51" fmla="*/ 242621 h 3641849"/>
                <a:gd name="connsiteX52" fmla="*/ 789028 w 1573156"/>
                <a:gd name="connsiteY52" fmla="*/ 277708 h 3641849"/>
                <a:gd name="connsiteX53" fmla="*/ 877702 w 1573156"/>
                <a:gd name="connsiteY53" fmla="*/ 303563 h 3641849"/>
                <a:gd name="connsiteX54" fmla="*/ 949748 w 1573156"/>
                <a:gd name="connsiteY54" fmla="*/ 350106 h 3641849"/>
                <a:gd name="connsiteX55" fmla="*/ 999627 w 1573156"/>
                <a:gd name="connsiteY55" fmla="*/ 401820 h 3641849"/>
                <a:gd name="connsiteX56" fmla="*/ 1024566 w 1573156"/>
                <a:gd name="connsiteY56" fmla="*/ 440606 h 3641849"/>
                <a:gd name="connsiteX57" fmla="*/ 1057819 w 1573156"/>
                <a:gd name="connsiteY57" fmla="*/ 466462 h 3641849"/>
                <a:gd name="connsiteX58" fmla="*/ 1041191 w 1573156"/>
                <a:gd name="connsiteY58" fmla="*/ 691417 h 3641849"/>
                <a:gd name="connsiteX59" fmla="*/ 913725 w 1573156"/>
                <a:gd name="connsiteY59" fmla="*/ 771575 h 3641849"/>
                <a:gd name="connsiteX60" fmla="*/ 800113 w 1573156"/>
                <a:gd name="connsiteY60" fmla="*/ 779331 h 3641849"/>
                <a:gd name="connsiteX61" fmla="*/ 661560 w 1573156"/>
                <a:gd name="connsiteY61" fmla="*/ 758645 h 3641849"/>
                <a:gd name="connsiteX62" fmla="*/ 570116 w 1573156"/>
                <a:gd name="connsiteY62" fmla="*/ 722445 h 3641849"/>
                <a:gd name="connsiteX63" fmla="*/ 550719 w 1573156"/>
                <a:gd name="connsiteY63" fmla="*/ 750888 h 3641849"/>
                <a:gd name="connsiteX64" fmla="*/ 581361 w 1573156"/>
                <a:gd name="connsiteY64" fmla="*/ 824301 h 3641849"/>
                <a:gd name="connsiteX65" fmla="*/ 586902 w 1573156"/>
                <a:gd name="connsiteY65" fmla="*/ 951000 h 3641849"/>
                <a:gd name="connsiteX66" fmla="*/ 559032 w 1573156"/>
                <a:gd name="connsiteY66" fmla="*/ 1012043 h 3641849"/>
                <a:gd name="connsiteX67" fmla="*/ 614451 w 1573156"/>
                <a:gd name="connsiteY67" fmla="*/ 1032728 h 3641849"/>
                <a:gd name="connsiteX68" fmla="*/ 631079 w 1573156"/>
                <a:gd name="connsiteY68" fmla="*/ 1048242 h 3641849"/>
                <a:gd name="connsiteX69" fmla="*/ 656019 w 1573156"/>
                <a:gd name="connsiteY69" fmla="*/ 1074099 h 3641849"/>
                <a:gd name="connsiteX70" fmla="*/ 653248 w 1573156"/>
                <a:gd name="connsiteY70" fmla="*/ 1076685 h 3641849"/>
                <a:gd name="connsiteX71" fmla="*/ 692041 w 1573156"/>
                <a:gd name="connsiteY71" fmla="*/ 1071514 h 3641849"/>
                <a:gd name="connsiteX72" fmla="*/ 700355 w 1573156"/>
                <a:gd name="connsiteY72" fmla="*/ 1035314 h 3641849"/>
                <a:gd name="connsiteX73" fmla="*/ 661560 w 1573156"/>
                <a:gd name="connsiteY73" fmla="*/ 957743 h 3641849"/>
                <a:gd name="connsiteX74" fmla="*/ 730836 w 1573156"/>
                <a:gd name="connsiteY74" fmla="*/ 911200 h 3641849"/>
                <a:gd name="connsiteX75" fmla="*/ 798608 w 1573156"/>
                <a:gd name="connsiteY75" fmla="*/ 918934 h 3641849"/>
                <a:gd name="connsiteX76" fmla="*/ 822441 w 1573156"/>
                <a:gd name="connsiteY76" fmla="*/ 951001 h 3641849"/>
                <a:gd name="connsiteX77" fmla="*/ 978170 w 1573156"/>
                <a:gd name="connsiteY77" fmla="*/ 1007364 h 3641849"/>
                <a:gd name="connsiteX78" fmla="*/ 963762 w 1573156"/>
                <a:gd name="connsiteY78" fmla="*/ 971687 h 3641849"/>
                <a:gd name="connsiteX79" fmla="*/ 930510 w 1573156"/>
                <a:gd name="connsiteY79" fmla="*/ 932901 h 3641849"/>
                <a:gd name="connsiteX80" fmla="*/ 919426 w 1573156"/>
                <a:gd name="connsiteY80" fmla="*/ 881187 h 3641849"/>
                <a:gd name="connsiteX81" fmla="*/ 958221 w 1573156"/>
                <a:gd name="connsiteY81" fmla="*/ 832060 h 3641849"/>
                <a:gd name="connsiteX82" fmla="*/ 985931 w 1573156"/>
                <a:gd name="connsiteY82" fmla="*/ 803617 h 3641849"/>
                <a:gd name="connsiteX83" fmla="*/ 1010871 w 1573156"/>
                <a:gd name="connsiteY83" fmla="*/ 767417 h 3641849"/>
                <a:gd name="connsiteX84" fmla="*/ 1091231 w 1573156"/>
                <a:gd name="connsiteY84" fmla="*/ 762245 h 3641849"/>
                <a:gd name="connsiteX85" fmla="*/ 1096772 w 1573156"/>
                <a:gd name="connsiteY85" fmla="*/ 741560 h 3641849"/>
                <a:gd name="connsiteX86" fmla="*/ 1121712 w 1573156"/>
                <a:gd name="connsiteY86" fmla="*/ 705360 h 3641849"/>
                <a:gd name="connsiteX87" fmla="*/ 1155516 w 1573156"/>
                <a:gd name="connsiteY87" fmla="*/ 687772 h 3641849"/>
                <a:gd name="connsiteX88" fmla="*/ 1213156 w 1573156"/>
                <a:gd name="connsiteY88" fmla="*/ 700189 h 3641849"/>
                <a:gd name="connsiteX89" fmla="*/ 1251949 w 1573156"/>
                <a:gd name="connsiteY89" fmla="*/ 720875 h 3641849"/>
                <a:gd name="connsiteX90" fmla="*/ 1299057 w 1573156"/>
                <a:gd name="connsiteY90" fmla="*/ 728632 h 3641849"/>
                <a:gd name="connsiteX91" fmla="*/ 1299057 w 1573156"/>
                <a:gd name="connsiteY91" fmla="*/ 733803 h 3641849"/>
                <a:gd name="connsiteX92" fmla="*/ 1321226 w 1573156"/>
                <a:gd name="connsiteY92" fmla="*/ 674332 h 3641849"/>
                <a:gd name="connsiteX93" fmla="*/ 1331201 w 1573156"/>
                <a:gd name="connsiteY93" fmla="*/ 640714 h 3641849"/>
                <a:gd name="connsiteX94" fmla="*/ 1337852 w 1573156"/>
                <a:gd name="connsiteY94" fmla="*/ 622618 h 3641849"/>
                <a:gd name="connsiteX95" fmla="*/ 1340789 w 1573156"/>
                <a:gd name="connsiteY95" fmla="*/ 591288 h 3641849"/>
                <a:gd name="connsiteX96" fmla="*/ 1260263 w 1573156"/>
                <a:gd name="connsiteY96" fmla="*/ 545048 h 3641849"/>
                <a:gd name="connsiteX97" fmla="*/ 1246408 w 1573156"/>
                <a:gd name="connsiteY97" fmla="*/ 472648 h 3641849"/>
                <a:gd name="connsiteX98" fmla="*/ 1246408 w 1573156"/>
                <a:gd name="connsiteY98" fmla="*/ 454548 h 3641849"/>
                <a:gd name="connsiteX99" fmla="*/ 1257491 w 1573156"/>
                <a:gd name="connsiteY99" fmla="*/ 431276 h 3641849"/>
                <a:gd name="connsiteX100" fmla="*/ 1260263 w 1573156"/>
                <a:gd name="connsiteY100" fmla="*/ 415762 h 3641849"/>
                <a:gd name="connsiteX101" fmla="*/ 1260262 w 1573156"/>
                <a:gd name="connsiteY101" fmla="*/ 358878 h 3641849"/>
                <a:gd name="connsiteX102" fmla="*/ 1238094 w 1573156"/>
                <a:gd name="connsiteY102" fmla="*/ 335607 h 3641849"/>
                <a:gd name="connsiteX103" fmla="*/ 1210384 w 1573156"/>
                <a:gd name="connsiteY103" fmla="*/ 304578 h 3641849"/>
                <a:gd name="connsiteX104" fmla="*/ 1206216 w 1573156"/>
                <a:gd name="connsiteY104" fmla="*/ 280325 h 3641849"/>
                <a:gd name="connsiteX105" fmla="*/ 1257492 w 1573156"/>
                <a:gd name="connsiteY105" fmla="*/ 258034 h 3641849"/>
                <a:gd name="connsiteX106" fmla="*/ 1311072 w 1573156"/>
                <a:gd name="connsiteY106" fmla="*/ 267906 h 3641849"/>
                <a:gd name="connsiteX107" fmla="*/ 1389856 w 1573156"/>
                <a:gd name="connsiteY107" fmla="*/ 279816 h 3641849"/>
                <a:gd name="connsiteX108" fmla="*/ 1474179 w 1573156"/>
                <a:gd name="connsiteY108" fmla="*/ 349175 h 3641849"/>
                <a:gd name="connsiteX109" fmla="*/ 1536314 w 1573156"/>
                <a:gd name="connsiteY109" fmla="*/ 425271 h 3641849"/>
                <a:gd name="connsiteX110" fmla="*/ 1435343 w 1573156"/>
                <a:gd name="connsiteY110" fmla="*/ 454265 h 3641849"/>
                <a:gd name="connsiteX111" fmla="*/ 1419809 w 1573156"/>
                <a:gd name="connsiteY111" fmla="*/ 501372 h 3641849"/>
                <a:gd name="connsiteX112" fmla="*/ 1477479 w 1573156"/>
                <a:gd name="connsiteY112" fmla="*/ 585862 h 3641849"/>
                <a:gd name="connsiteX113" fmla="*/ 1513013 w 1573156"/>
                <a:gd name="connsiteY113" fmla="*/ 591964 h 3641849"/>
                <a:gd name="connsiteX114" fmla="*/ 1565633 w 1573156"/>
                <a:gd name="connsiteY114" fmla="*/ 598304 h 3641849"/>
                <a:gd name="connsiteX115" fmla="*/ 1560670 w 1573156"/>
                <a:gd name="connsiteY115" fmla="*/ 709079 h 3641849"/>
                <a:gd name="connsiteX116" fmla="*/ 1571739 w 1573156"/>
                <a:gd name="connsiteY116" fmla="*/ 1040047 h 3641849"/>
                <a:gd name="connsiteX117" fmla="*/ 1562871 w 1573156"/>
                <a:gd name="connsiteY117" fmla="*/ 1842646 h 3641849"/>
                <a:gd name="connsiteX118" fmla="*/ 1571738 w 1573156"/>
                <a:gd name="connsiteY118" fmla="*/ 2297728 h 3641849"/>
                <a:gd name="connsiteX119" fmla="*/ 1545290 w 1573156"/>
                <a:gd name="connsiteY119" fmla="*/ 3607693 h 3641849"/>
                <a:gd name="connsiteX120" fmla="*/ 1286863 w 1573156"/>
                <a:gd name="connsiteY120" fmla="*/ 3564098 h 3641849"/>
                <a:gd name="connsiteX121" fmla="*/ 1118385 w 1573156"/>
                <a:gd name="connsiteY121" fmla="*/ 3497903 h 3641849"/>
                <a:gd name="connsiteX122" fmla="*/ 941039 w 1573156"/>
                <a:gd name="connsiteY122" fmla="*/ 3406887 h 3641849"/>
                <a:gd name="connsiteX123" fmla="*/ 842741 w 1573156"/>
                <a:gd name="connsiteY123" fmla="*/ 3326370 h 3641849"/>
                <a:gd name="connsiteX124" fmla="*/ 1137003 w 1573156"/>
                <a:gd name="connsiteY124" fmla="*/ 3018734 h 3641849"/>
                <a:gd name="connsiteX125" fmla="*/ 853249 w 1573156"/>
                <a:gd name="connsiteY125" fmla="*/ 2480910 h 3641849"/>
                <a:gd name="connsiteX126" fmla="*/ 995599 w 1573156"/>
                <a:gd name="connsiteY126" fmla="*/ 2241825 h 3641849"/>
                <a:gd name="connsiteX127" fmla="*/ 808912 w 1573156"/>
                <a:gd name="connsiteY127" fmla="*/ 1703134 h 3641849"/>
                <a:gd name="connsiteX128" fmla="*/ 560628 w 1573156"/>
                <a:gd name="connsiteY128" fmla="*/ 1471456 h 3641849"/>
                <a:gd name="connsiteX129" fmla="*/ 91772 w 1573156"/>
                <a:gd name="connsiteY129" fmla="*/ 2159767 h 3641849"/>
                <a:gd name="connsiteX0" fmla="*/ 91772 w 1573156"/>
                <a:gd name="connsiteY0" fmla="*/ 2159767 h 3641849"/>
                <a:gd name="connsiteX1" fmla="*/ 112897 w 1573156"/>
                <a:gd name="connsiteY1" fmla="*/ 1811024 h 3641849"/>
                <a:gd name="connsiteX2" fmla="*/ 162776 w 1573156"/>
                <a:gd name="connsiteY2" fmla="*/ 1785166 h 3641849"/>
                <a:gd name="connsiteX3" fmla="*/ 118440 w 1573156"/>
                <a:gd name="connsiteY3" fmla="*/ 1743795 h 3641849"/>
                <a:gd name="connsiteX4" fmla="*/ 2057 w 1573156"/>
                <a:gd name="connsiteY4" fmla="*/ 1730867 h 3641849"/>
                <a:gd name="connsiteX5" fmla="*/ 38079 w 1573156"/>
                <a:gd name="connsiteY5" fmla="*/ 1689496 h 3641849"/>
                <a:gd name="connsiteX6" fmla="*/ 18683 w 1573156"/>
                <a:gd name="connsiteY6" fmla="*/ 1679153 h 3641849"/>
                <a:gd name="connsiteX7" fmla="*/ 2055 w 1573156"/>
                <a:gd name="connsiteY7" fmla="*/ 1640367 h 3641849"/>
                <a:gd name="connsiteX8" fmla="*/ 65790 w 1573156"/>
                <a:gd name="connsiteY8" fmla="*/ 1650711 h 3641849"/>
                <a:gd name="connsiteX9" fmla="*/ 93501 w 1573156"/>
                <a:gd name="connsiteY9" fmla="*/ 1627440 h 3641849"/>
                <a:gd name="connsiteX10" fmla="*/ 187716 w 1573156"/>
                <a:gd name="connsiteY10" fmla="*/ 1536941 h 3641849"/>
                <a:gd name="connsiteX11" fmla="*/ 212655 w 1573156"/>
                <a:gd name="connsiteY11" fmla="*/ 1505912 h 3641849"/>
                <a:gd name="connsiteX12" fmla="*/ 198801 w 1573156"/>
                <a:gd name="connsiteY12" fmla="*/ 1555040 h 3641849"/>
                <a:gd name="connsiteX13" fmla="*/ 218197 w 1573156"/>
                <a:gd name="connsiteY13" fmla="*/ 1588655 h 3641849"/>
                <a:gd name="connsiteX14" fmla="*/ 262534 w 1573156"/>
                <a:gd name="connsiteY14" fmla="*/ 1666225 h 3641849"/>
                <a:gd name="connsiteX15" fmla="*/ 331810 w 1573156"/>
                <a:gd name="connsiteY15" fmla="*/ 1653297 h 3641849"/>
                <a:gd name="connsiteX16" fmla="*/ 351206 w 1573156"/>
                <a:gd name="connsiteY16" fmla="*/ 1622268 h 3641849"/>
                <a:gd name="connsiteX17" fmla="*/ 365062 w 1573156"/>
                <a:gd name="connsiteY17" fmla="*/ 1557627 h 3641849"/>
                <a:gd name="connsiteX18" fmla="*/ 304099 w 1573156"/>
                <a:gd name="connsiteY18" fmla="*/ 1511084 h 3641849"/>
                <a:gd name="connsiteX19" fmla="*/ 259763 w 1573156"/>
                <a:gd name="connsiteY19" fmla="*/ 1485227 h 3641849"/>
                <a:gd name="connsiteX20" fmla="*/ 198801 w 1573156"/>
                <a:gd name="connsiteY20" fmla="*/ 1495570 h 3641849"/>
                <a:gd name="connsiteX21" fmla="*/ 376147 w 1573156"/>
                <a:gd name="connsiteY21" fmla="*/ 1299057 h 3641849"/>
                <a:gd name="connsiteX22" fmla="*/ 223740 w 1573156"/>
                <a:gd name="connsiteY22" fmla="*/ 1151672 h 3641849"/>
                <a:gd name="connsiteX23" fmla="*/ 284703 w 1573156"/>
                <a:gd name="connsiteY23" fmla="*/ 1089617 h 3641849"/>
                <a:gd name="connsiteX24" fmla="*/ 218198 w 1573156"/>
                <a:gd name="connsiteY24" fmla="*/ 1050829 h 3641849"/>
                <a:gd name="connsiteX25" fmla="*/ 259763 w 1573156"/>
                <a:gd name="connsiteY25" fmla="*/ 1019802 h 3641849"/>
                <a:gd name="connsiteX26" fmla="*/ 212657 w 1573156"/>
                <a:gd name="connsiteY26" fmla="*/ 993947 h 3641849"/>
                <a:gd name="connsiteX27" fmla="*/ 212656 w 1573156"/>
                <a:gd name="connsiteY27" fmla="*/ 794845 h 3641849"/>
                <a:gd name="connsiteX28" fmla="*/ 251451 w 1573156"/>
                <a:gd name="connsiteY28" fmla="*/ 779332 h 3641849"/>
                <a:gd name="connsiteX29" fmla="*/ 137838 w 1573156"/>
                <a:gd name="connsiteY29" fmla="*/ 551792 h 3641849"/>
                <a:gd name="connsiteX30" fmla="*/ 135067 w 1573156"/>
                <a:gd name="connsiteY30" fmla="*/ 551792 h 3641849"/>
                <a:gd name="connsiteX31" fmla="*/ 184945 w 1573156"/>
                <a:gd name="connsiteY31" fmla="*/ 469048 h 3641849"/>
                <a:gd name="connsiteX32" fmla="*/ 201571 w 1573156"/>
                <a:gd name="connsiteY32" fmla="*/ 378550 h 3641849"/>
                <a:gd name="connsiteX33" fmla="*/ 126752 w 1573156"/>
                <a:gd name="connsiteY33" fmla="*/ 319079 h 3641849"/>
                <a:gd name="connsiteX34" fmla="*/ 118440 w 1573156"/>
                <a:gd name="connsiteY34" fmla="*/ 251851 h 3641849"/>
                <a:gd name="connsiteX35" fmla="*/ 173860 w 1573156"/>
                <a:gd name="connsiteY35" fmla="*/ 158764 h 3641849"/>
                <a:gd name="connsiteX36" fmla="*/ 193258 w 1573156"/>
                <a:gd name="connsiteY36" fmla="*/ 135494 h 3641849"/>
                <a:gd name="connsiteX37" fmla="*/ 207113 w 1573156"/>
                <a:gd name="connsiteY37" fmla="*/ 117394 h 3641849"/>
                <a:gd name="connsiteX38" fmla="*/ 215426 w 1573156"/>
                <a:gd name="connsiteY38" fmla="*/ 73438 h 3641849"/>
                <a:gd name="connsiteX39" fmla="*/ 240365 w 1573156"/>
                <a:gd name="connsiteY39" fmla="*/ 101880 h 3641849"/>
                <a:gd name="connsiteX40" fmla="*/ 270847 w 1573156"/>
                <a:gd name="connsiteY40" fmla="*/ 88952 h 3641849"/>
                <a:gd name="connsiteX41" fmla="*/ 273617 w 1573156"/>
                <a:gd name="connsiteY41" fmla="*/ 63095 h 3641849"/>
                <a:gd name="connsiteX42" fmla="*/ 281931 w 1573156"/>
                <a:gd name="connsiteY42" fmla="*/ 34652 h 3641849"/>
                <a:gd name="connsiteX43" fmla="*/ 284703 w 1573156"/>
                <a:gd name="connsiteY43" fmla="*/ 3624 h 3641849"/>
                <a:gd name="connsiteX44" fmla="*/ 420483 w 1573156"/>
                <a:gd name="connsiteY44" fmla="*/ 57924 h 3641849"/>
                <a:gd name="connsiteX45" fmla="*/ 450963 w 1573156"/>
                <a:gd name="connsiteY45" fmla="*/ 161352 h 3641849"/>
                <a:gd name="connsiteX46" fmla="*/ 464819 w 1573156"/>
                <a:gd name="connsiteY46" fmla="*/ 184622 h 3641849"/>
                <a:gd name="connsiteX47" fmla="*/ 475903 w 1573156"/>
                <a:gd name="connsiteY47" fmla="*/ 187208 h 3641849"/>
                <a:gd name="connsiteX48" fmla="*/ 589515 w 1573156"/>
                <a:gd name="connsiteY48" fmla="*/ 156181 h 3641849"/>
                <a:gd name="connsiteX49" fmla="*/ 656020 w 1573156"/>
                <a:gd name="connsiteY49" fmla="*/ 166522 h 3641849"/>
                <a:gd name="connsiteX50" fmla="*/ 719754 w 1573156"/>
                <a:gd name="connsiteY50" fmla="*/ 213065 h 3641849"/>
                <a:gd name="connsiteX51" fmla="*/ 733781 w 1573156"/>
                <a:gd name="connsiteY51" fmla="*/ 242621 h 3641849"/>
                <a:gd name="connsiteX52" fmla="*/ 789028 w 1573156"/>
                <a:gd name="connsiteY52" fmla="*/ 277708 h 3641849"/>
                <a:gd name="connsiteX53" fmla="*/ 877702 w 1573156"/>
                <a:gd name="connsiteY53" fmla="*/ 303563 h 3641849"/>
                <a:gd name="connsiteX54" fmla="*/ 949748 w 1573156"/>
                <a:gd name="connsiteY54" fmla="*/ 350106 h 3641849"/>
                <a:gd name="connsiteX55" fmla="*/ 999627 w 1573156"/>
                <a:gd name="connsiteY55" fmla="*/ 401820 h 3641849"/>
                <a:gd name="connsiteX56" fmla="*/ 1024566 w 1573156"/>
                <a:gd name="connsiteY56" fmla="*/ 440606 h 3641849"/>
                <a:gd name="connsiteX57" fmla="*/ 1057819 w 1573156"/>
                <a:gd name="connsiteY57" fmla="*/ 466462 h 3641849"/>
                <a:gd name="connsiteX58" fmla="*/ 1041191 w 1573156"/>
                <a:gd name="connsiteY58" fmla="*/ 691417 h 3641849"/>
                <a:gd name="connsiteX59" fmla="*/ 913725 w 1573156"/>
                <a:gd name="connsiteY59" fmla="*/ 771575 h 3641849"/>
                <a:gd name="connsiteX60" fmla="*/ 800113 w 1573156"/>
                <a:gd name="connsiteY60" fmla="*/ 779331 h 3641849"/>
                <a:gd name="connsiteX61" fmla="*/ 661560 w 1573156"/>
                <a:gd name="connsiteY61" fmla="*/ 758645 h 3641849"/>
                <a:gd name="connsiteX62" fmla="*/ 570116 w 1573156"/>
                <a:gd name="connsiteY62" fmla="*/ 722445 h 3641849"/>
                <a:gd name="connsiteX63" fmla="*/ 550719 w 1573156"/>
                <a:gd name="connsiteY63" fmla="*/ 750888 h 3641849"/>
                <a:gd name="connsiteX64" fmla="*/ 581361 w 1573156"/>
                <a:gd name="connsiteY64" fmla="*/ 824301 h 3641849"/>
                <a:gd name="connsiteX65" fmla="*/ 586902 w 1573156"/>
                <a:gd name="connsiteY65" fmla="*/ 951000 h 3641849"/>
                <a:gd name="connsiteX66" fmla="*/ 559032 w 1573156"/>
                <a:gd name="connsiteY66" fmla="*/ 1012043 h 3641849"/>
                <a:gd name="connsiteX67" fmla="*/ 614451 w 1573156"/>
                <a:gd name="connsiteY67" fmla="*/ 1032728 h 3641849"/>
                <a:gd name="connsiteX68" fmla="*/ 631079 w 1573156"/>
                <a:gd name="connsiteY68" fmla="*/ 1048242 h 3641849"/>
                <a:gd name="connsiteX69" fmla="*/ 656019 w 1573156"/>
                <a:gd name="connsiteY69" fmla="*/ 1074099 h 3641849"/>
                <a:gd name="connsiteX70" fmla="*/ 653248 w 1573156"/>
                <a:gd name="connsiteY70" fmla="*/ 1076685 h 3641849"/>
                <a:gd name="connsiteX71" fmla="*/ 692041 w 1573156"/>
                <a:gd name="connsiteY71" fmla="*/ 1071514 h 3641849"/>
                <a:gd name="connsiteX72" fmla="*/ 700355 w 1573156"/>
                <a:gd name="connsiteY72" fmla="*/ 1035314 h 3641849"/>
                <a:gd name="connsiteX73" fmla="*/ 661560 w 1573156"/>
                <a:gd name="connsiteY73" fmla="*/ 957743 h 3641849"/>
                <a:gd name="connsiteX74" fmla="*/ 730836 w 1573156"/>
                <a:gd name="connsiteY74" fmla="*/ 911200 h 3641849"/>
                <a:gd name="connsiteX75" fmla="*/ 798608 w 1573156"/>
                <a:gd name="connsiteY75" fmla="*/ 918934 h 3641849"/>
                <a:gd name="connsiteX76" fmla="*/ 822441 w 1573156"/>
                <a:gd name="connsiteY76" fmla="*/ 951001 h 3641849"/>
                <a:gd name="connsiteX77" fmla="*/ 978170 w 1573156"/>
                <a:gd name="connsiteY77" fmla="*/ 1007364 h 3641849"/>
                <a:gd name="connsiteX78" fmla="*/ 963762 w 1573156"/>
                <a:gd name="connsiteY78" fmla="*/ 971687 h 3641849"/>
                <a:gd name="connsiteX79" fmla="*/ 930510 w 1573156"/>
                <a:gd name="connsiteY79" fmla="*/ 932901 h 3641849"/>
                <a:gd name="connsiteX80" fmla="*/ 919426 w 1573156"/>
                <a:gd name="connsiteY80" fmla="*/ 881187 h 3641849"/>
                <a:gd name="connsiteX81" fmla="*/ 958221 w 1573156"/>
                <a:gd name="connsiteY81" fmla="*/ 832060 h 3641849"/>
                <a:gd name="connsiteX82" fmla="*/ 985931 w 1573156"/>
                <a:gd name="connsiteY82" fmla="*/ 803617 h 3641849"/>
                <a:gd name="connsiteX83" fmla="*/ 1010871 w 1573156"/>
                <a:gd name="connsiteY83" fmla="*/ 767417 h 3641849"/>
                <a:gd name="connsiteX84" fmla="*/ 1091231 w 1573156"/>
                <a:gd name="connsiteY84" fmla="*/ 762245 h 3641849"/>
                <a:gd name="connsiteX85" fmla="*/ 1096772 w 1573156"/>
                <a:gd name="connsiteY85" fmla="*/ 741560 h 3641849"/>
                <a:gd name="connsiteX86" fmla="*/ 1121712 w 1573156"/>
                <a:gd name="connsiteY86" fmla="*/ 705360 h 3641849"/>
                <a:gd name="connsiteX87" fmla="*/ 1155516 w 1573156"/>
                <a:gd name="connsiteY87" fmla="*/ 687772 h 3641849"/>
                <a:gd name="connsiteX88" fmla="*/ 1213156 w 1573156"/>
                <a:gd name="connsiteY88" fmla="*/ 700189 h 3641849"/>
                <a:gd name="connsiteX89" fmla="*/ 1251949 w 1573156"/>
                <a:gd name="connsiteY89" fmla="*/ 720875 h 3641849"/>
                <a:gd name="connsiteX90" fmla="*/ 1299057 w 1573156"/>
                <a:gd name="connsiteY90" fmla="*/ 728632 h 3641849"/>
                <a:gd name="connsiteX91" fmla="*/ 1299057 w 1573156"/>
                <a:gd name="connsiteY91" fmla="*/ 733803 h 3641849"/>
                <a:gd name="connsiteX92" fmla="*/ 1321226 w 1573156"/>
                <a:gd name="connsiteY92" fmla="*/ 674332 h 3641849"/>
                <a:gd name="connsiteX93" fmla="*/ 1331201 w 1573156"/>
                <a:gd name="connsiteY93" fmla="*/ 640714 h 3641849"/>
                <a:gd name="connsiteX94" fmla="*/ 1337852 w 1573156"/>
                <a:gd name="connsiteY94" fmla="*/ 622618 h 3641849"/>
                <a:gd name="connsiteX95" fmla="*/ 1340789 w 1573156"/>
                <a:gd name="connsiteY95" fmla="*/ 591288 h 3641849"/>
                <a:gd name="connsiteX96" fmla="*/ 1260263 w 1573156"/>
                <a:gd name="connsiteY96" fmla="*/ 545048 h 3641849"/>
                <a:gd name="connsiteX97" fmla="*/ 1246408 w 1573156"/>
                <a:gd name="connsiteY97" fmla="*/ 472648 h 3641849"/>
                <a:gd name="connsiteX98" fmla="*/ 1246408 w 1573156"/>
                <a:gd name="connsiteY98" fmla="*/ 454548 h 3641849"/>
                <a:gd name="connsiteX99" fmla="*/ 1257491 w 1573156"/>
                <a:gd name="connsiteY99" fmla="*/ 431276 h 3641849"/>
                <a:gd name="connsiteX100" fmla="*/ 1260263 w 1573156"/>
                <a:gd name="connsiteY100" fmla="*/ 415762 h 3641849"/>
                <a:gd name="connsiteX101" fmla="*/ 1260262 w 1573156"/>
                <a:gd name="connsiteY101" fmla="*/ 358878 h 3641849"/>
                <a:gd name="connsiteX102" fmla="*/ 1238094 w 1573156"/>
                <a:gd name="connsiteY102" fmla="*/ 335607 h 3641849"/>
                <a:gd name="connsiteX103" fmla="*/ 1210384 w 1573156"/>
                <a:gd name="connsiteY103" fmla="*/ 304578 h 3641849"/>
                <a:gd name="connsiteX104" fmla="*/ 1206216 w 1573156"/>
                <a:gd name="connsiteY104" fmla="*/ 280325 h 3641849"/>
                <a:gd name="connsiteX105" fmla="*/ 1257492 w 1573156"/>
                <a:gd name="connsiteY105" fmla="*/ 258034 h 3641849"/>
                <a:gd name="connsiteX106" fmla="*/ 1311072 w 1573156"/>
                <a:gd name="connsiteY106" fmla="*/ 267906 h 3641849"/>
                <a:gd name="connsiteX107" fmla="*/ 1389856 w 1573156"/>
                <a:gd name="connsiteY107" fmla="*/ 279816 h 3641849"/>
                <a:gd name="connsiteX108" fmla="*/ 1474179 w 1573156"/>
                <a:gd name="connsiteY108" fmla="*/ 349175 h 3641849"/>
                <a:gd name="connsiteX109" fmla="*/ 1536314 w 1573156"/>
                <a:gd name="connsiteY109" fmla="*/ 425271 h 3641849"/>
                <a:gd name="connsiteX110" fmla="*/ 1435343 w 1573156"/>
                <a:gd name="connsiteY110" fmla="*/ 454265 h 3641849"/>
                <a:gd name="connsiteX111" fmla="*/ 1419809 w 1573156"/>
                <a:gd name="connsiteY111" fmla="*/ 501372 h 3641849"/>
                <a:gd name="connsiteX112" fmla="*/ 1477479 w 1573156"/>
                <a:gd name="connsiteY112" fmla="*/ 585862 h 3641849"/>
                <a:gd name="connsiteX113" fmla="*/ 1513013 w 1573156"/>
                <a:gd name="connsiteY113" fmla="*/ 591964 h 3641849"/>
                <a:gd name="connsiteX114" fmla="*/ 1565633 w 1573156"/>
                <a:gd name="connsiteY114" fmla="*/ 598304 h 3641849"/>
                <a:gd name="connsiteX115" fmla="*/ 1560670 w 1573156"/>
                <a:gd name="connsiteY115" fmla="*/ 709079 h 3641849"/>
                <a:gd name="connsiteX116" fmla="*/ 1571739 w 1573156"/>
                <a:gd name="connsiteY116" fmla="*/ 1040047 h 3641849"/>
                <a:gd name="connsiteX117" fmla="*/ 1562871 w 1573156"/>
                <a:gd name="connsiteY117" fmla="*/ 1842646 h 3641849"/>
                <a:gd name="connsiteX118" fmla="*/ 1571738 w 1573156"/>
                <a:gd name="connsiteY118" fmla="*/ 2297728 h 3641849"/>
                <a:gd name="connsiteX119" fmla="*/ 1545290 w 1573156"/>
                <a:gd name="connsiteY119" fmla="*/ 3607693 h 3641849"/>
                <a:gd name="connsiteX120" fmla="*/ 1286863 w 1573156"/>
                <a:gd name="connsiteY120" fmla="*/ 3564098 h 3641849"/>
                <a:gd name="connsiteX121" fmla="*/ 1118385 w 1573156"/>
                <a:gd name="connsiteY121" fmla="*/ 3497903 h 3641849"/>
                <a:gd name="connsiteX122" fmla="*/ 941039 w 1573156"/>
                <a:gd name="connsiteY122" fmla="*/ 3406887 h 3641849"/>
                <a:gd name="connsiteX123" fmla="*/ 842741 w 1573156"/>
                <a:gd name="connsiteY123" fmla="*/ 3326370 h 3641849"/>
                <a:gd name="connsiteX124" fmla="*/ 1137003 w 1573156"/>
                <a:gd name="connsiteY124" fmla="*/ 3018734 h 3641849"/>
                <a:gd name="connsiteX125" fmla="*/ 853249 w 1573156"/>
                <a:gd name="connsiteY125" fmla="*/ 2480910 h 3641849"/>
                <a:gd name="connsiteX126" fmla="*/ 995599 w 1573156"/>
                <a:gd name="connsiteY126" fmla="*/ 2241825 h 3641849"/>
                <a:gd name="connsiteX127" fmla="*/ 808912 w 1573156"/>
                <a:gd name="connsiteY127" fmla="*/ 1703134 h 3641849"/>
                <a:gd name="connsiteX128" fmla="*/ 660385 w 1573156"/>
                <a:gd name="connsiteY128" fmla="*/ 2391963 h 3641849"/>
                <a:gd name="connsiteX129" fmla="*/ 91772 w 1573156"/>
                <a:gd name="connsiteY129" fmla="*/ 2159767 h 3641849"/>
                <a:gd name="connsiteX0" fmla="*/ 91772 w 1573156"/>
                <a:gd name="connsiteY0" fmla="*/ 2159767 h 3641849"/>
                <a:gd name="connsiteX1" fmla="*/ 112897 w 1573156"/>
                <a:gd name="connsiteY1" fmla="*/ 1811024 h 3641849"/>
                <a:gd name="connsiteX2" fmla="*/ 162776 w 1573156"/>
                <a:gd name="connsiteY2" fmla="*/ 1785166 h 3641849"/>
                <a:gd name="connsiteX3" fmla="*/ 118440 w 1573156"/>
                <a:gd name="connsiteY3" fmla="*/ 1743795 h 3641849"/>
                <a:gd name="connsiteX4" fmla="*/ 2057 w 1573156"/>
                <a:gd name="connsiteY4" fmla="*/ 1730867 h 3641849"/>
                <a:gd name="connsiteX5" fmla="*/ 38079 w 1573156"/>
                <a:gd name="connsiteY5" fmla="*/ 1689496 h 3641849"/>
                <a:gd name="connsiteX6" fmla="*/ 18683 w 1573156"/>
                <a:gd name="connsiteY6" fmla="*/ 1679153 h 3641849"/>
                <a:gd name="connsiteX7" fmla="*/ 2055 w 1573156"/>
                <a:gd name="connsiteY7" fmla="*/ 1640367 h 3641849"/>
                <a:gd name="connsiteX8" fmla="*/ 65790 w 1573156"/>
                <a:gd name="connsiteY8" fmla="*/ 1650711 h 3641849"/>
                <a:gd name="connsiteX9" fmla="*/ 93501 w 1573156"/>
                <a:gd name="connsiteY9" fmla="*/ 1627440 h 3641849"/>
                <a:gd name="connsiteX10" fmla="*/ 187716 w 1573156"/>
                <a:gd name="connsiteY10" fmla="*/ 1536941 h 3641849"/>
                <a:gd name="connsiteX11" fmla="*/ 212655 w 1573156"/>
                <a:gd name="connsiteY11" fmla="*/ 1505912 h 3641849"/>
                <a:gd name="connsiteX12" fmla="*/ 198801 w 1573156"/>
                <a:gd name="connsiteY12" fmla="*/ 1555040 h 3641849"/>
                <a:gd name="connsiteX13" fmla="*/ 218197 w 1573156"/>
                <a:gd name="connsiteY13" fmla="*/ 1588655 h 3641849"/>
                <a:gd name="connsiteX14" fmla="*/ 262534 w 1573156"/>
                <a:gd name="connsiteY14" fmla="*/ 1666225 h 3641849"/>
                <a:gd name="connsiteX15" fmla="*/ 331810 w 1573156"/>
                <a:gd name="connsiteY15" fmla="*/ 1653297 h 3641849"/>
                <a:gd name="connsiteX16" fmla="*/ 351206 w 1573156"/>
                <a:gd name="connsiteY16" fmla="*/ 1622268 h 3641849"/>
                <a:gd name="connsiteX17" fmla="*/ 365062 w 1573156"/>
                <a:gd name="connsiteY17" fmla="*/ 1557627 h 3641849"/>
                <a:gd name="connsiteX18" fmla="*/ 304099 w 1573156"/>
                <a:gd name="connsiteY18" fmla="*/ 1511084 h 3641849"/>
                <a:gd name="connsiteX19" fmla="*/ 259763 w 1573156"/>
                <a:gd name="connsiteY19" fmla="*/ 1485227 h 3641849"/>
                <a:gd name="connsiteX20" fmla="*/ 198801 w 1573156"/>
                <a:gd name="connsiteY20" fmla="*/ 1495570 h 3641849"/>
                <a:gd name="connsiteX21" fmla="*/ 376147 w 1573156"/>
                <a:gd name="connsiteY21" fmla="*/ 1299057 h 3641849"/>
                <a:gd name="connsiteX22" fmla="*/ 223740 w 1573156"/>
                <a:gd name="connsiteY22" fmla="*/ 1151672 h 3641849"/>
                <a:gd name="connsiteX23" fmla="*/ 284703 w 1573156"/>
                <a:gd name="connsiteY23" fmla="*/ 1089617 h 3641849"/>
                <a:gd name="connsiteX24" fmla="*/ 218198 w 1573156"/>
                <a:gd name="connsiteY24" fmla="*/ 1050829 h 3641849"/>
                <a:gd name="connsiteX25" fmla="*/ 259763 w 1573156"/>
                <a:gd name="connsiteY25" fmla="*/ 1019802 h 3641849"/>
                <a:gd name="connsiteX26" fmla="*/ 212657 w 1573156"/>
                <a:gd name="connsiteY26" fmla="*/ 993947 h 3641849"/>
                <a:gd name="connsiteX27" fmla="*/ 212656 w 1573156"/>
                <a:gd name="connsiteY27" fmla="*/ 794845 h 3641849"/>
                <a:gd name="connsiteX28" fmla="*/ 251451 w 1573156"/>
                <a:gd name="connsiteY28" fmla="*/ 779332 h 3641849"/>
                <a:gd name="connsiteX29" fmla="*/ 137838 w 1573156"/>
                <a:gd name="connsiteY29" fmla="*/ 551792 h 3641849"/>
                <a:gd name="connsiteX30" fmla="*/ 135067 w 1573156"/>
                <a:gd name="connsiteY30" fmla="*/ 551792 h 3641849"/>
                <a:gd name="connsiteX31" fmla="*/ 184945 w 1573156"/>
                <a:gd name="connsiteY31" fmla="*/ 469048 h 3641849"/>
                <a:gd name="connsiteX32" fmla="*/ 201571 w 1573156"/>
                <a:gd name="connsiteY32" fmla="*/ 378550 h 3641849"/>
                <a:gd name="connsiteX33" fmla="*/ 126752 w 1573156"/>
                <a:gd name="connsiteY33" fmla="*/ 319079 h 3641849"/>
                <a:gd name="connsiteX34" fmla="*/ 118440 w 1573156"/>
                <a:gd name="connsiteY34" fmla="*/ 251851 h 3641849"/>
                <a:gd name="connsiteX35" fmla="*/ 173860 w 1573156"/>
                <a:gd name="connsiteY35" fmla="*/ 158764 h 3641849"/>
                <a:gd name="connsiteX36" fmla="*/ 193258 w 1573156"/>
                <a:gd name="connsiteY36" fmla="*/ 135494 h 3641849"/>
                <a:gd name="connsiteX37" fmla="*/ 207113 w 1573156"/>
                <a:gd name="connsiteY37" fmla="*/ 117394 h 3641849"/>
                <a:gd name="connsiteX38" fmla="*/ 215426 w 1573156"/>
                <a:gd name="connsiteY38" fmla="*/ 73438 h 3641849"/>
                <a:gd name="connsiteX39" fmla="*/ 240365 w 1573156"/>
                <a:gd name="connsiteY39" fmla="*/ 101880 h 3641849"/>
                <a:gd name="connsiteX40" fmla="*/ 270847 w 1573156"/>
                <a:gd name="connsiteY40" fmla="*/ 88952 h 3641849"/>
                <a:gd name="connsiteX41" fmla="*/ 273617 w 1573156"/>
                <a:gd name="connsiteY41" fmla="*/ 63095 h 3641849"/>
                <a:gd name="connsiteX42" fmla="*/ 281931 w 1573156"/>
                <a:gd name="connsiteY42" fmla="*/ 34652 h 3641849"/>
                <a:gd name="connsiteX43" fmla="*/ 284703 w 1573156"/>
                <a:gd name="connsiteY43" fmla="*/ 3624 h 3641849"/>
                <a:gd name="connsiteX44" fmla="*/ 420483 w 1573156"/>
                <a:gd name="connsiteY44" fmla="*/ 57924 h 3641849"/>
                <a:gd name="connsiteX45" fmla="*/ 450963 w 1573156"/>
                <a:gd name="connsiteY45" fmla="*/ 161352 h 3641849"/>
                <a:gd name="connsiteX46" fmla="*/ 464819 w 1573156"/>
                <a:gd name="connsiteY46" fmla="*/ 184622 h 3641849"/>
                <a:gd name="connsiteX47" fmla="*/ 475903 w 1573156"/>
                <a:gd name="connsiteY47" fmla="*/ 187208 h 3641849"/>
                <a:gd name="connsiteX48" fmla="*/ 589515 w 1573156"/>
                <a:gd name="connsiteY48" fmla="*/ 156181 h 3641849"/>
                <a:gd name="connsiteX49" fmla="*/ 656020 w 1573156"/>
                <a:gd name="connsiteY49" fmla="*/ 166522 h 3641849"/>
                <a:gd name="connsiteX50" fmla="*/ 719754 w 1573156"/>
                <a:gd name="connsiteY50" fmla="*/ 213065 h 3641849"/>
                <a:gd name="connsiteX51" fmla="*/ 733781 w 1573156"/>
                <a:gd name="connsiteY51" fmla="*/ 242621 h 3641849"/>
                <a:gd name="connsiteX52" fmla="*/ 789028 w 1573156"/>
                <a:gd name="connsiteY52" fmla="*/ 277708 h 3641849"/>
                <a:gd name="connsiteX53" fmla="*/ 877702 w 1573156"/>
                <a:gd name="connsiteY53" fmla="*/ 303563 h 3641849"/>
                <a:gd name="connsiteX54" fmla="*/ 949748 w 1573156"/>
                <a:gd name="connsiteY54" fmla="*/ 350106 h 3641849"/>
                <a:gd name="connsiteX55" fmla="*/ 999627 w 1573156"/>
                <a:gd name="connsiteY55" fmla="*/ 401820 h 3641849"/>
                <a:gd name="connsiteX56" fmla="*/ 1024566 w 1573156"/>
                <a:gd name="connsiteY56" fmla="*/ 440606 h 3641849"/>
                <a:gd name="connsiteX57" fmla="*/ 1057819 w 1573156"/>
                <a:gd name="connsiteY57" fmla="*/ 466462 h 3641849"/>
                <a:gd name="connsiteX58" fmla="*/ 1041191 w 1573156"/>
                <a:gd name="connsiteY58" fmla="*/ 691417 h 3641849"/>
                <a:gd name="connsiteX59" fmla="*/ 913725 w 1573156"/>
                <a:gd name="connsiteY59" fmla="*/ 771575 h 3641849"/>
                <a:gd name="connsiteX60" fmla="*/ 800113 w 1573156"/>
                <a:gd name="connsiteY60" fmla="*/ 779331 h 3641849"/>
                <a:gd name="connsiteX61" fmla="*/ 661560 w 1573156"/>
                <a:gd name="connsiteY61" fmla="*/ 758645 h 3641849"/>
                <a:gd name="connsiteX62" fmla="*/ 570116 w 1573156"/>
                <a:gd name="connsiteY62" fmla="*/ 722445 h 3641849"/>
                <a:gd name="connsiteX63" fmla="*/ 550719 w 1573156"/>
                <a:gd name="connsiteY63" fmla="*/ 750888 h 3641849"/>
                <a:gd name="connsiteX64" fmla="*/ 581361 w 1573156"/>
                <a:gd name="connsiteY64" fmla="*/ 824301 h 3641849"/>
                <a:gd name="connsiteX65" fmla="*/ 586902 w 1573156"/>
                <a:gd name="connsiteY65" fmla="*/ 951000 h 3641849"/>
                <a:gd name="connsiteX66" fmla="*/ 559032 w 1573156"/>
                <a:gd name="connsiteY66" fmla="*/ 1012043 h 3641849"/>
                <a:gd name="connsiteX67" fmla="*/ 614451 w 1573156"/>
                <a:gd name="connsiteY67" fmla="*/ 1032728 h 3641849"/>
                <a:gd name="connsiteX68" fmla="*/ 631079 w 1573156"/>
                <a:gd name="connsiteY68" fmla="*/ 1048242 h 3641849"/>
                <a:gd name="connsiteX69" fmla="*/ 656019 w 1573156"/>
                <a:gd name="connsiteY69" fmla="*/ 1074099 h 3641849"/>
                <a:gd name="connsiteX70" fmla="*/ 653248 w 1573156"/>
                <a:gd name="connsiteY70" fmla="*/ 1076685 h 3641849"/>
                <a:gd name="connsiteX71" fmla="*/ 692041 w 1573156"/>
                <a:gd name="connsiteY71" fmla="*/ 1071514 h 3641849"/>
                <a:gd name="connsiteX72" fmla="*/ 700355 w 1573156"/>
                <a:gd name="connsiteY72" fmla="*/ 1035314 h 3641849"/>
                <a:gd name="connsiteX73" fmla="*/ 661560 w 1573156"/>
                <a:gd name="connsiteY73" fmla="*/ 957743 h 3641849"/>
                <a:gd name="connsiteX74" fmla="*/ 730836 w 1573156"/>
                <a:gd name="connsiteY74" fmla="*/ 911200 h 3641849"/>
                <a:gd name="connsiteX75" fmla="*/ 798608 w 1573156"/>
                <a:gd name="connsiteY75" fmla="*/ 918934 h 3641849"/>
                <a:gd name="connsiteX76" fmla="*/ 822441 w 1573156"/>
                <a:gd name="connsiteY76" fmla="*/ 951001 h 3641849"/>
                <a:gd name="connsiteX77" fmla="*/ 978170 w 1573156"/>
                <a:gd name="connsiteY77" fmla="*/ 1007364 h 3641849"/>
                <a:gd name="connsiteX78" fmla="*/ 963762 w 1573156"/>
                <a:gd name="connsiteY78" fmla="*/ 971687 h 3641849"/>
                <a:gd name="connsiteX79" fmla="*/ 930510 w 1573156"/>
                <a:gd name="connsiteY79" fmla="*/ 932901 h 3641849"/>
                <a:gd name="connsiteX80" fmla="*/ 919426 w 1573156"/>
                <a:gd name="connsiteY80" fmla="*/ 881187 h 3641849"/>
                <a:gd name="connsiteX81" fmla="*/ 958221 w 1573156"/>
                <a:gd name="connsiteY81" fmla="*/ 832060 h 3641849"/>
                <a:gd name="connsiteX82" fmla="*/ 985931 w 1573156"/>
                <a:gd name="connsiteY82" fmla="*/ 803617 h 3641849"/>
                <a:gd name="connsiteX83" fmla="*/ 1010871 w 1573156"/>
                <a:gd name="connsiteY83" fmla="*/ 767417 h 3641849"/>
                <a:gd name="connsiteX84" fmla="*/ 1091231 w 1573156"/>
                <a:gd name="connsiteY84" fmla="*/ 762245 h 3641849"/>
                <a:gd name="connsiteX85" fmla="*/ 1096772 w 1573156"/>
                <a:gd name="connsiteY85" fmla="*/ 741560 h 3641849"/>
                <a:gd name="connsiteX86" fmla="*/ 1121712 w 1573156"/>
                <a:gd name="connsiteY86" fmla="*/ 705360 h 3641849"/>
                <a:gd name="connsiteX87" fmla="*/ 1155516 w 1573156"/>
                <a:gd name="connsiteY87" fmla="*/ 687772 h 3641849"/>
                <a:gd name="connsiteX88" fmla="*/ 1213156 w 1573156"/>
                <a:gd name="connsiteY88" fmla="*/ 700189 h 3641849"/>
                <a:gd name="connsiteX89" fmla="*/ 1251949 w 1573156"/>
                <a:gd name="connsiteY89" fmla="*/ 720875 h 3641849"/>
                <a:gd name="connsiteX90" fmla="*/ 1299057 w 1573156"/>
                <a:gd name="connsiteY90" fmla="*/ 728632 h 3641849"/>
                <a:gd name="connsiteX91" fmla="*/ 1299057 w 1573156"/>
                <a:gd name="connsiteY91" fmla="*/ 733803 h 3641849"/>
                <a:gd name="connsiteX92" fmla="*/ 1321226 w 1573156"/>
                <a:gd name="connsiteY92" fmla="*/ 674332 h 3641849"/>
                <a:gd name="connsiteX93" fmla="*/ 1331201 w 1573156"/>
                <a:gd name="connsiteY93" fmla="*/ 640714 h 3641849"/>
                <a:gd name="connsiteX94" fmla="*/ 1337852 w 1573156"/>
                <a:gd name="connsiteY94" fmla="*/ 622618 h 3641849"/>
                <a:gd name="connsiteX95" fmla="*/ 1340789 w 1573156"/>
                <a:gd name="connsiteY95" fmla="*/ 591288 h 3641849"/>
                <a:gd name="connsiteX96" fmla="*/ 1260263 w 1573156"/>
                <a:gd name="connsiteY96" fmla="*/ 545048 h 3641849"/>
                <a:gd name="connsiteX97" fmla="*/ 1246408 w 1573156"/>
                <a:gd name="connsiteY97" fmla="*/ 472648 h 3641849"/>
                <a:gd name="connsiteX98" fmla="*/ 1246408 w 1573156"/>
                <a:gd name="connsiteY98" fmla="*/ 454548 h 3641849"/>
                <a:gd name="connsiteX99" fmla="*/ 1257491 w 1573156"/>
                <a:gd name="connsiteY99" fmla="*/ 431276 h 3641849"/>
                <a:gd name="connsiteX100" fmla="*/ 1260263 w 1573156"/>
                <a:gd name="connsiteY100" fmla="*/ 415762 h 3641849"/>
                <a:gd name="connsiteX101" fmla="*/ 1260262 w 1573156"/>
                <a:gd name="connsiteY101" fmla="*/ 358878 h 3641849"/>
                <a:gd name="connsiteX102" fmla="*/ 1238094 w 1573156"/>
                <a:gd name="connsiteY102" fmla="*/ 335607 h 3641849"/>
                <a:gd name="connsiteX103" fmla="*/ 1210384 w 1573156"/>
                <a:gd name="connsiteY103" fmla="*/ 304578 h 3641849"/>
                <a:gd name="connsiteX104" fmla="*/ 1206216 w 1573156"/>
                <a:gd name="connsiteY104" fmla="*/ 280325 h 3641849"/>
                <a:gd name="connsiteX105" fmla="*/ 1257492 w 1573156"/>
                <a:gd name="connsiteY105" fmla="*/ 258034 h 3641849"/>
                <a:gd name="connsiteX106" fmla="*/ 1311072 w 1573156"/>
                <a:gd name="connsiteY106" fmla="*/ 267906 h 3641849"/>
                <a:gd name="connsiteX107" fmla="*/ 1389856 w 1573156"/>
                <a:gd name="connsiteY107" fmla="*/ 279816 h 3641849"/>
                <a:gd name="connsiteX108" fmla="*/ 1474179 w 1573156"/>
                <a:gd name="connsiteY108" fmla="*/ 349175 h 3641849"/>
                <a:gd name="connsiteX109" fmla="*/ 1536314 w 1573156"/>
                <a:gd name="connsiteY109" fmla="*/ 425271 h 3641849"/>
                <a:gd name="connsiteX110" fmla="*/ 1435343 w 1573156"/>
                <a:gd name="connsiteY110" fmla="*/ 454265 h 3641849"/>
                <a:gd name="connsiteX111" fmla="*/ 1419809 w 1573156"/>
                <a:gd name="connsiteY111" fmla="*/ 501372 h 3641849"/>
                <a:gd name="connsiteX112" fmla="*/ 1477479 w 1573156"/>
                <a:gd name="connsiteY112" fmla="*/ 585862 h 3641849"/>
                <a:gd name="connsiteX113" fmla="*/ 1513013 w 1573156"/>
                <a:gd name="connsiteY113" fmla="*/ 591964 h 3641849"/>
                <a:gd name="connsiteX114" fmla="*/ 1565633 w 1573156"/>
                <a:gd name="connsiteY114" fmla="*/ 598304 h 3641849"/>
                <a:gd name="connsiteX115" fmla="*/ 1560670 w 1573156"/>
                <a:gd name="connsiteY115" fmla="*/ 709079 h 3641849"/>
                <a:gd name="connsiteX116" fmla="*/ 1571739 w 1573156"/>
                <a:gd name="connsiteY116" fmla="*/ 1040047 h 3641849"/>
                <a:gd name="connsiteX117" fmla="*/ 1562871 w 1573156"/>
                <a:gd name="connsiteY117" fmla="*/ 1842646 h 3641849"/>
                <a:gd name="connsiteX118" fmla="*/ 1571738 w 1573156"/>
                <a:gd name="connsiteY118" fmla="*/ 2297728 h 3641849"/>
                <a:gd name="connsiteX119" fmla="*/ 1545290 w 1573156"/>
                <a:gd name="connsiteY119" fmla="*/ 3607693 h 3641849"/>
                <a:gd name="connsiteX120" fmla="*/ 1286863 w 1573156"/>
                <a:gd name="connsiteY120" fmla="*/ 3564098 h 3641849"/>
                <a:gd name="connsiteX121" fmla="*/ 1118385 w 1573156"/>
                <a:gd name="connsiteY121" fmla="*/ 3497903 h 3641849"/>
                <a:gd name="connsiteX122" fmla="*/ 941039 w 1573156"/>
                <a:gd name="connsiteY122" fmla="*/ 3406887 h 3641849"/>
                <a:gd name="connsiteX123" fmla="*/ 842741 w 1573156"/>
                <a:gd name="connsiteY123" fmla="*/ 3326370 h 3641849"/>
                <a:gd name="connsiteX124" fmla="*/ 1137003 w 1573156"/>
                <a:gd name="connsiteY124" fmla="*/ 3018734 h 3641849"/>
                <a:gd name="connsiteX125" fmla="*/ 853249 w 1573156"/>
                <a:gd name="connsiteY125" fmla="*/ 2480910 h 3641849"/>
                <a:gd name="connsiteX126" fmla="*/ 995599 w 1573156"/>
                <a:gd name="connsiteY126" fmla="*/ 2241825 h 3641849"/>
                <a:gd name="connsiteX127" fmla="*/ 517953 w 1573156"/>
                <a:gd name="connsiteY127" fmla="*/ 2675355 h 3641849"/>
                <a:gd name="connsiteX128" fmla="*/ 660385 w 1573156"/>
                <a:gd name="connsiteY128" fmla="*/ 2391963 h 3641849"/>
                <a:gd name="connsiteX129" fmla="*/ 91772 w 1573156"/>
                <a:gd name="connsiteY129" fmla="*/ 2159767 h 3641849"/>
                <a:gd name="connsiteX0" fmla="*/ 91772 w 1573156"/>
                <a:gd name="connsiteY0" fmla="*/ 2159767 h 3641849"/>
                <a:gd name="connsiteX1" fmla="*/ 112897 w 1573156"/>
                <a:gd name="connsiteY1" fmla="*/ 1811024 h 3641849"/>
                <a:gd name="connsiteX2" fmla="*/ 162776 w 1573156"/>
                <a:gd name="connsiteY2" fmla="*/ 1785166 h 3641849"/>
                <a:gd name="connsiteX3" fmla="*/ 118440 w 1573156"/>
                <a:gd name="connsiteY3" fmla="*/ 1743795 h 3641849"/>
                <a:gd name="connsiteX4" fmla="*/ 2057 w 1573156"/>
                <a:gd name="connsiteY4" fmla="*/ 1730867 h 3641849"/>
                <a:gd name="connsiteX5" fmla="*/ 38079 w 1573156"/>
                <a:gd name="connsiteY5" fmla="*/ 1689496 h 3641849"/>
                <a:gd name="connsiteX6" fmla="*/ 18683 w 1573156"/>
                <a:gd name="connsiteY6" fmla="*/ 1679153 h 3641849"/>
                <a:gd name="connsiteX7" fmla="*/ 2055 w 1573156"/>
                <a:gd name="connsiteY7" fmla="*/ 1640367 h 3641849"/>
                <a:gd name="connsiteX8" fmla="*/ 65790 w 1573156"/>
                <a:gd name="connsiteY8" fmla="*/ 1650711 h 3641849"/>
                <a:gd name="connsiteX9" fmla="*/ 93501 w 1573156"/>
                <a:gd name="connsiteY9" fmla="*/ 1627440 h 3641849"/>
                <a:gd name="connsiteX10" fmla="*/ 187716 w 1573156"/>
                <a:gd name="connsiteY10" fmla="*/ 1536941 h 3641849"/>
                <a:gd name="connsiteX11" fmla="*/ 212655 w 1573156"/>
                <a:gd name="connsiteY11" fmla="*/ 1505912 h 3641849"/>
                <a:gd name="connsiteX12" fmla="*/ 198801 w 1573156"/>
                <a:gd name="connsiteY12" fmla="*/ 1555040 h 3641849"/>
                <a:gd name="connsiteX13" fmla="*/ 218197 w 1573156"/>
                <a:gd name="connsiteY13" fmla="*/ 1588655 h 3641849"/>
                <a:gd name="connsiteX14" fmla="*/ 262534 w 1573156"/>
                <a:gd name="connsiteY14" fmla="*/ 1666225 h 3641849"/>
                <a:gd name="connsiteX15" fmla="*/ 331810 w 1573156"/>
                <a:gd name="connsiteY15" fmla="*/ 1653297 h 3641849"/>
                <a:gd name="connsiteX16" fmla="*/ 351206 w 1573156"/>
                <a:gd name="connsiteY16" fmla="*/ 1622268 h 3641849"/>
                <a:gd name="connsiteX17" fmla="*/ 365062 w 1573156"/>
                <a:gd name="connsiteY17" fmla="*/ 1557627 h 3641849"/>
                <a:gd name="connsiteX18" fmla="*/ 304099 w 1573156"/>
                <a:gd name="connsiteY18" fmla="*/ 1511084 h 3641849"/>
                <a:gd name="connsiteX19" fmla="*/ 259763 w 1573156"/>
                <a:gd name="connsiteY19" fmla="*/ 1485227 h 3641849"/>
                <a:gd name="connsiteX20" fmla="*/ 198801 w 1573156"/>
                <a:gd name="connsiteY20" fmla="*/ 1495570 h 3641849"/>
                <a:gd name="connsiteX21" fmla="*/ 376147 w 1573156"/>
                <a:gd name="connsiteY21" fmla="*/ 1299057 h 3641849"/>
                <a:gd name="connsiteX22" fmla="*/ 223740 w 1573156"/>
                <a:gd name="connsiteY22" fmla="*/ 1151672 h 3641849"/>
                <a:gd name="connsiteX23" fmla="*/ 284703 w 1573156"/>
                <a:gd name="connsiteY23" fmla="*/ 1089617 h 3641849"/>
                <a:gd name="connsiteX24" fmla="*/ 218198 w 1573156"/>
                <a:gd name="connsiteY24" fmla="*/ 1050829 h 3641849"/>
                <a:gd name="connsiteX25" fmla="*/ 259763 w 1573156"/>
                <a:gd name="connsiteY25" fmla="*/ 1019802 h 3641849"/>
                <a:gd name="connsiteX26" fmla="*/ 212657 w 1573156"/>
                <a:gd name="connsiteY26" fmla="*/ 993947 h 3641849"/>
                <a:gd name="connsiteX27" fmla="*/ 212656 w 1573156"/>
                <a:gd name="connsiteY27" fmla="*/ 794845 h 3641849"/>
                <a:gd name="connsiteX28" fmla="*/ 251451 w 1573156"/>
                <a:gd name="connsiteY28" fmla="*/ 779332 h 3641849"/>
                <a:gd name="connsiteX29" fmla="*/ 137838 w 1573156"/>
                <a:gd name="connsiteY29" fmla="*/ 551792 h 3641849"/>
                <a:gd name="connsiteX30" fmla="*/ 135067 w 1573156"/>
                <a:gd name="connsiteY30" fmla="*/ 551792 h 3641849"/>
                <a:gd name="connsiteX31" fmla="*/ 184945 w 1573156"/>
                <a:gd name="connsiteY31" fmla="*/ 469048 h 3641849"/>
                <a:gd name="connsiteX32" fmla="*/ 201571 w 1573156"/>
                <a:gd name="connsiteY32" fmla="*/ 378550 h 3641849"/>
                <a:gd name="connsiteX33" fmla="*/ 126752 w 1573156"/>
                <a:gd name="connsiteY33" fmla="*/ 319079 h 3641849"/>
                <a:gd name="connsiteX34" fmla="*/ 118440 w 1573156"/>
                <a:gd name="connsiteY34" fmla="*/ 251851 h 3641849"/>
                <a:gd name="connsiteX35" fmla="*/ 173860 w 1573156"/>
                <a:gd name="connsiteY35" fmla="*/ 158764 h 3641849"/>
                <a:gd name="connsiteX36" fmla="*/ 193258 w 1573156"/>
                <a:gd name="connsiteY36" fmla="*/ 135494 h 3641849"/>
                <a:gd name="connsiteX37" fmla="*/ 207113 w 1573156"/>
                <a:gd name="connsiteY37" fmla="*/ 117394 h 3641849"/>
                <a:gd name="connsiteX38" fmla="*/ 215426 w 1573156"/>
                <a:gd name="connsiteY38" fmla="*/ 73438 h 3641849"/>
                <a:gd name="connsiteX39" fmla="*/ 240365 w 1573156"/>
                <a:gd name="connsiteY39" fmla="*/ 101880 h 3641849"/>
                <a:gd name="connsiteX40" fmla="*/ 270847 w 1573156"/>
                <a:gd name="connsiteY40" fmla="*/ 88952 h 3641849"/>
                <a:gd name="connsiteX41" fmla="*/ 273617 w 1573156"/>
                <a:gd name="connsiteY41" fmla="*/ 63095 h 3641849"/>
                <a:gd name="connsiteX42" fmla="*/ 281931 w 1573156"/>
                <a:gd name="connsiteY42" fmla="*/ 34652 h 3641849"/>
                <a:gd name="connsiteX43" fmla="*/ 284703 w 1573156"/>
                <a:gd name="connsiteY43" fmla="*/ 3624 h 3641849"/>
                <a:gd name="connsiteX44" fmla="*/ 420483 w 1573156"/>
                <a:gd name="connsiteY44" fmla="*/ 57924 h 3641849"/>
                <a:gd name="connsiteX45" fmla="*/ 450963 w 1573156"/>
                <a:gd name="connsiteY45" fmla="*/ 161352 h 3641849"/>
                <a:gd name="connsiteX46" fmla="*/ 464819 w 1573156"/>
                <a:gd name="connsiteY46" fmla="*/ 184622 h 3641849"/>
                <a:gd name="connsiteX47" fmla="*/ 475903 w 1573156"/>
                <a:gd name="connsiteY47" fmla="*/ 187208 h 3641849"/>
                <a:gd name="connsiteX48" fmla="*/ 589515 w 1573156"/>
                <a:gd name="connsiteY48" fmla="*/ 156181 h 3641849"/>
                <a:gd name="connsiteX49" fmla="*/ 656020 w 1573156"/>
                <a:gd name="connsiteY49" fmla="*/ 166522 h 3641849"/>
                <a:gd name="connsiteX50" fmla="*/ 719754 w 1573156"/>
                <a:gd name="connsiteY50" fmla="*/ 213065 h 3641849"/>
                <a:gd name="connsiteX51" fmla="*/ 733781 w 1573156"/>
                <a:gd name="connsiteY51" fmla="*/ 242621 h 3641849"/>
                <a:gd name="connsiteX52" fmla="*/ 789028 w 1573156"/>
                <a:gd name="connsiteY52" fmla="*/ 277708 h 3641849"/>
                <a:gd name="connsiteX53" fmla="*/ 877702 w 1573156"/>
                <a:gd name="connsiteY53" fmla="*/ 303563 h 3641849"/>
                <a:gd name="connsiteX54" fmla="*/ 949748 w 1573156"/>
                <a:gd name="connsiteY54" fmla="*/ 350106 h 3641849"/>
                <a:gd name="connsiteX55" fmla="*/ 999627 w 1573156"/>
                <a:gd name="connsiteY55" fmla="*/ 401820 h 3641849"/>
                <a:gd name="connsiteX56" fmla="*/ 1024566 w 1573156"/>
                <a:gd name="connsiteY56" fmla="*/ 440606 h 3641849"/>
                <a:gd name="connsiteX57" fmla="*/ 1057819 w 1573156"/>
                <a:gd name="connsiteY57" fmla="*/ 466462 h 3641849"/>
                <a:gd name="connsiteX58" fmla="*/ 1041191 w 1573156"/>
                <a:gd name="connsiteY58" fmla="*/ 691417 h 3641849"/>
                <a:gd name="connsiteX59" fmla="*/ 913725 w 1573156"/>
                <a:gd name="connsiteY59" fmla="*/ 771575 h 3641849"/>
                <a:gd name="connsiteX60" fmla="*/ 800113 w 1573156"/>
                <a:gd name="connsiteY60" fmla="*/ 779331 h 3641849"/>
                <a:gd name="connsiteX61" fmla="*/ 661560 w 1573156"/>
                <a:gd name="connsiteY61" fmla="*/ 758645 h 3641849"/>
                <a:gd name="connsiteX62" fmla="*/ 570116 w 1573156"/>
                <a:gd name="connsiteY62" fmla="*/ 722445 h 3641849"/>
                <a:gd name="connsiteX63" fmla="*/ 550719 w 1573156"/>
                <a:gd name="connsiteY63" fmla="*/ 750888 h 3641849"/>
                <a:gd name="connsiteX64" fmla="*/ 581361 w 1573156"/>
                <a:gd name="connsiteY64" fmla="*/ 824301 h 3641849"/>
                <a:gd name="connsiteX65" fmla="*/ 586902 w 1573156"/>
                <a:gd name="connsiteY65" fmla="*/ 951000 h 3641849"/>
                <a:gd name="connsiteX66" fmla="*/ 559032 w 1573156"/>
                <a:gd name="connsiteY66" fmla="*/ 1012043 h 3641849"/>
                <a:gd name="connsiteX67" fmla="*/ 614451 w 1573156"/>
                <a:gd name="connsiteY67" fmla="*/ 1032728 h 3641849"/>
                <a:gd name="connsiteX68" fmla="*/ 631079 w 1573156"/>
                <a:gd name="connsiteY68" fmla="*/ 1048242 h 3641849"/>
                <a:gd name="connsiteX69" fmla="*/ 656019 w 1573156"/>
                <a:gd name="connsiteY69" fmla="*/ 1074099 h 3641849"/>
                <a:gd name="connsiteX70" fmla="*/ 653248 w 1573156"/>
                <a:gd name="connsiteY70" fmla="*/ 1076685 h 3641849"/>
                <a:gd name="connsiteX71" fmla="*/ 692041 w 1573156"/>
                <a:gd name="connsiteY71" fmla="*/ 1071514 h 3641849"/>
                <a:gd name="connsiteX72" fmla="*/ 700355 w 1573156"/>
                <a:gd name="connsiteY72" fmla="*/ 1035314 h 3641849"/>
                <a:gd name="connsiteX73" fmla="*/ 661560 w 1573156"/>
                <a:gd name="connsiteY73" fmla="*/ 957743 h 3641849"/>
                <a:gd name="connsiteX74" fmla="*/ 730836 w 1573156"/>
                <a:gd name="connsiteY74" fmla="*/ 911200 h 3641849"/>
                <a:gd name="connsiteX75" fmla="*/ 798608 w 1573156"/>
                <a:gd name="connsiteY75" fmla="*/ 918934 h 3641849"/>
                <a:gd name="connsiteX76" fmla="*/ 822441 w 1573156"/>
                <a:gd name="connsiteY76" fmla="*/ 951001 h 3641849"/>
                <a:gd name="connsiteX77" fmla="*/ 978170 w 1573156"/>
                <a:gd name="connsiteY77" fmla="*/ 1007364 h 3641849"/>
                <a:gd name="connsiteX78" fmla="*/ 963762 w 1573156"/>
                <a:gd name="connsiteY78" fmla="*/ 971687 h 3641849"/>
                <a:gd name="connsiteX79" fmla="*/ 930510 w 1573156"/>
                <a:gd name="connsiteY79" fmla="*/ 932901 h 3641849"/>
                <a:gd name="connsiteX80" fmla="*/ 919426 w 1573156"/>
                <a:gd name="connsiteY80" fmla="*/ 881187 h 3641849"/>
                <a:gd name="connsiteX81" fmla="*/ 958221 w 1573156"/>
                <a:gd name="connsiteY81" fmla="*/ 832060 h 3641849"/>
                <a:gd name="connsiteX82" fmla="*/ 985931 w 1573156"/>
                <a:gd name="connsiteY82" fmla="*/ 803617 h 3641849"/>
                <a:gd name="connsiteX83" fmla="*/ 1010871 w 1573156"/>
                <a:gd name="connsiteY83" fmla="*/ 767417 h 3641849"/>
                <a:gd name="connsiteX84" fmla="*/ 1091231 w 1573156"/>
                <a:gd name="connsiteY84" fmla="*/ 762245 h 3641849"/>
                <a:gd name="connsiteX85" fmla="*/ 1096772 w 1573156"/>
                <a:gd name="connsiteY85" fmla="*/ 741560 h 3641849"/>
                <a:gd name="connsiteX86" fmla="*/ 1121712 w 1573156"/>
                <a:gd name="connsiteY86" fmla="*/ 705360 h 3641849"/>
                <a:gd name="connsiteX87" fmla="*/ 1155516 w 1573156"/>
                <a:gd name="connsiteY87" fmla="*/ 687772 h 3641849"/>
                <a:gd name="connsiteX88" fmla="*/ 1213156 w 1573156"/>
                <a:gd name="connsiteY88" fmla="*/ 700189 h 3641849"/>
                <a:gd name="connsiteX89" fmla="*/ 1251949 w 1573156"/>
                <a:gd name="connsiteY89" fmla="*/ 720875 h 3641849"/>
                <a:gd name="connsiteX90" fmla="*/ 1299057 w 1573156"/>
                <a:gd name="connsiteY90" fmla="*/ 728632 h 3641849"/>
                <a:gd name="connsiteX91" fmla="*/ 1299057 w 1573156"/>
                <a:gd name="connsiteY91" fmla="*/ 733803 h 3641849"/>
                <a:gd name="connsiteX92" fmla="*/ 1321226 w 1573156"/>
                <a:gd name="connsiteY92" fmla="*/ 674332 h 3641849"/>
                <a:gd name="connsiteX93" fmla="*/ 1331201 w 1573156"/>
                <a:gd name="connsiteY93" fmla="*/ 640714 h 3641849"/>
                <a:gd name="connsiteX94" fmla="*/ 1337852 w 1573156"/>
                <a:gd name="connsiteY94" fmla="*/ 622618 h 3641849"/>
                <a:gd name="connsiteX95" fmla="*/ 1340789 w 1573156"/>
                <a:gd name="connsiteY95" fmla="*/ 591288 h 3641849"/>
                <a:gd name="connsiteX96" fmla="*/ 1260263 w 1573156"/>
                <a:gd name="connsiteY96" fmla="*/ 545048 h 3641849"/>
                <a:gd name="connsiteX97" fmla="*/ 1246408 w 1573156"/>
                <a:gd name="connsiteY97" fmla="*/ 472648 h 3641849"/>
                <a:gd name="connsiteX98" fmla="*/ 1246408 w 1573156"/>
                <a:gd name="connsiteY98" fmla="*/ 454548 h 3641849"/>
                <a:gd name="connsiteX99" fmla="*/ 1257491 w 1573156"/>
                <a:gd name="connsiteY99" fmla="*/ 431276 h 3641849"/>
                <a:gd name="connsiteX100" fmla="*/ 1260263 w 1573156"/>
                <a:gd name="connsiteY100" fmla="*/ 415762 h 3641849"/>
                <a:gd name="connsiteX101" fmla="*/ 1260262 w 1573156"/>
                <a:gd name="connsiteY101" fmla="*/ 358878 h 3641849"/>
                <a:gd name="connsiteX102" fmla="*/ 1238094 w 1573156"/>
                <a:gd name="connsiteY102" fmla="*/ 335607 h 3641849"/>
                <a:gd name="connsiteX103" fmla="*/ 1210384 w 1573156"/>
                <a:gd name="connsiteY103" fmla="*/ 304578 h 3641849"/>
                <a:gd name="connsiteX104" fmla="*/ 1206216 w 1573156"/>
                <a:gd name="connsiteY104" fmla="*/ 280325 h 3641849"/>
                <a:gd name="connsiteX105" fmla="*/ 1257492 w 1573156"/>
                <a:gd name="connsiteY105" fmla="*/ 258034 h 3641849"/>
                <a:gd name="connsiteX106" fmla="*/ 1311072 w 1573156"/>
                <a:gd name="connsiteY106" fmla="*/ 267906 h 3641849"/>
                <a:gd name="connsiteX107" fmla="*/ 1389856 w 1573156"/>
                <a:gd name="connsiteY107" fmla="*/ 279816 h 3641849"/>
                <a:gd name="connsiteX108" fmla="*/ 1474179 w 1573156"/>
                <a:gd name="connsiteY108" fmla="*/ 349175 h 3641849"/>
                <a:gd name="connsiteX109" fmla="*/ 1536314 w 1573156"/>
                <a:gd name="connsiteY109" fmla="*/ 425271 h 3641849"/>
                <a:gd name="connsiteX110" fmla="*/ 1435343 w 1573156"/>
                <a:gd name="connsiteY110" fmla="*/ 454265 h 3641849"/>
                <a:gd name="connsiteX111" fmla="*/ 1419809 w 1573156"/>
                <a:gd name="connsiteY111" fmla="*/ 501372 h 3641849"/>
                <a:gd name="connsiteX112" fmla="*/ 1477479 w 1573156"/>
                <a:gd name="connsiteY112" fmla="*/ 585862 h 3641849"/>
                <a:gd name="connsiteX113" fmla="*/ 1513013 w 1573156"/>
                <a:gd name="connsiteY113" fmla="*/ 591964 h 3641849"/>
                <a:gd name="connsiteX114" fmla="*/ 1565633 w 1573156"/>
                <a:gd name="connsiteY114" fmla="*/ 598304 h 3641849"/>
                <a:gd name="connsiteX115" fmla="*/ 1560670 w 1573156"/>
                <a:gd name="connsiteY115" fmla="*/ 709079 h 3641849"/>
                <a:gd name="connsiteX116" fmla="*/ 1571739 w 1573156"/>
                <a:gd name="connsiteY116" fmla="*/ 1040047 h 3641849"/>
                <a:gd name="connsiteX117" fmla="*/ 1562871 w 1573156"/>
                <a:gd name="connsiteY117" fmla="*/ 1842646 h 3641849"/>
                <a:gd name="connsiteX118" fmla="*/ 1571738 w 1573156"/>
                <a:gd name="connsiteY118" fmla="*/ 2297728 h 3641849"/>
                <a:gd name="connsiteX119" fmla="*/ 1545290 w 1573156"/>
                <a:gd name="connsiteY119" fmla="*/ 3607693 h 3641849"/>
                <a:gd name="connsiteX120" fmla="*/ 1286863 w 1573156"/>
                <a:gd name="connsiteY120" fmla="*/ 3564098 h 3641849"/>
                <a:gd name="connsiteX121" fmla="*/ 1118385 w 1573156"/>
                <a:gd name="connsiteY121" fmla="*/ 3497903 h 3641849"/>
                <a:gd name="connsiteX122" fmla="*/ 941039 w 1573156"/>
                <a:gd name="connsiteY122" fmla="*/ 3406887 h 3641849"/>
                <a:gd name="connsiteX123" fmla="*/ 842741 w 1573156"/>
                <a:gd name="connsiteY123" fmla="*/ 3326370 h 3641849"/>
                <a:gd name="connsiteX124" fmla="*/ 1137003 w 1573156"/>
                <a:gd name="connsiteY124" fmla="*/ 3018734 h 3641849"/>
                <a:gd name="connsiteX125" fmla="*/ 853249 w 1573156"/>
                <a:gd name="connsiteY125" fmla="*/ 2480910 h 3641849"/>
                <a:gd name="connsiteX126" fmla="*/ 557777 w 1573156"/>
                <a:gd name="connsiteY126" fmla="*/ 2715007 h 3641849"/>
                <a:gd name="connsiteX127" fmla="*/ 517953 w 1573156"/>
                <a:gd name="connsiteY127" fmla="*/ 2675355 h 3641849"/>
                <a:gd name="connsiteX128" fmla="*/ 660385 w 1573156"/>
                <a:gd name="connsiteY128" fmla="*/ 2391963 h 3641849"/>
                <a:gd name="connsiteX129" fmla="*/ 91772 w 1573156"/>
                <a:gd name="connsiteY129" fmla="*/ 2159767 h 3641849"/>
                <a:gd name="connsiteX0" fmla="*/ 91772 w 1573156"/>
                <a:gd name="connsiteY0" fmla="*/ 2159767 h 3641849"/>
                <a:gd name="connsiteX1" fmla="*/ 112897 w 1573156"/>
                <a:gd name="connsiteY1" fmla="*/ 1811024 h 3641849"/>
                <a:gd name="connsiteX2" fmla="*/ 162776 w 1573156"/>
                <a:gd name="connsiteY2" fmla="*/ 1785166 h 3641849"/>
                <a:gd name="connsiteX3" fmla="*/ 118440 w 1573156"/>
                <a:gd name="connsiteY3" fmla="*/ 1743795 h 3641849"/>
                <a:gd name="connsiteX4" fmla="*/ 2057 w 1573156"/>
                <a:gd name="connsiteY4" fmla="*/ 1730867 h 3641849"/>
                <a:gd name="connsiteX5" fmla="*/ 38079 w 1573156"/>
                <a:gd name="connsiteY5" fmla="*/ 1689496 h 3641849"/>
                <a:gd name="connsiteX6" fmla="*/ 18683 w 1573156"/>
                <a:gd name="connsiteY6" fmla="*/ 1679153 h 3641849"/>
                <a:gd name="connsiteX7" fmla="*/ 2055 w 1573156"/>
                <a:gd name="connsiteY7" fmla="*/ 1640367 h 3641849"/>
                <a:gd name="connsiteX8" fmla="*/ 65790 w 1573156"/>
                <a:gd name="connsiteY8" fmla="*/ 1650711 h 3641849"/>
                <a:gd name="connsiteX9" fmla="*/ 93501 w 1573156"/>
                <a:gd name="connsiteY9" fmla="*/ 1627440 h 3641849"/>
                <a:gd name="connsiteX10" fmla="*/ 187716 w 1573156"/>
                <a:gd name="connsiteY10" fmla="*/ 1536941 h 3641849"/>
                <a:gd name="connsiteX11" fmla="*/ 212655 w 1573156"/>
                <a:gd name="connsiteY11" fmla="*/ 1505912 h 3641849"/>
                <a:gd name="connsiteX12" fmla="*/ 198801 w 1573156"/>
                <a:gd name="connsiteY12" fmla="*/ 1555040 h 3641849"/>
                <a:gd name="connsiteX13" fmla="*/ 218197 w 1573156"/>
                <a:gd name="connsiteY13" fmla="*/ 1588655 h 3641849"/>
                <a:gd name="connsiteX14" fmla="*/ 262534 w 1573156"/>
                <a:gd name="connsiteY14" fmla="*/ 1666225 h 3641849"/>
                <a:gd name="connsiteX15" fmla="*/ 331810 w 1573156"/>
                <a:gd name="connsiteY15" fmla="*/ 1653297 h 3641849"/>
                <a:gd name="connsiteX16" fmla="*/ 351206 w 1573156"/>
                <a:gd name="connsiteY16" fmla="*/ 1622268 h 3641849"/>
                <a:gd name="connsiteX17" fmla="*/ 365062 w 1573156"/>
                <a:gd name="connsiteY17" fmla="*/ 1557627 h 3641849"/>
                <a:gd name="connsiteX18" fmla="*/ 304099 w 1573156"/>
                <a:gd name="connsiteY18" fmla="*/ 1511084 h 3641849"/>
                <a:gd name="connsiteX19" fmla="*/ 259763 w 1573156"/>
                <a:gd name="connsiteY19" fmla="*/ 1485227 h 3641849"/>
                <a:gd name="connsiteX20" fmla="*/ 198801 w 1573156"/>
                <a:gd name="connsiteY20" fmla="*/ 1495570 h 3641849"/>
                <a:gd name="connsiteX21" fmla="*/ 376147 w 1573156"/>
                <a:gd name="connsiteY21" fmla="*/ 1299057 h 3641849"/>
                <a:gd name="connsiteX22" fmla="*/ 223740 w 1573156"/>
                <a:gd name="connsiteY22" fmla="*/ 1151672 h 3641849"/>
                <a:gd name="connsiteX23" fmla="*/ 284703 w 1573156"/>
                <a:gd name="connsiteY23" fmla="*/ 1089617 h 3641849"/>
                <a:gd name="connsiteX24" fmla="*/ 218198 w 1573156"/>
                <a:gd name="connsiteY24" fmla="*/ 1050829 h 3641849"/>
                <a:gd name="connsiteX25" fmla="*/ 259763 w 1573156"/>
                <a:gd name="connsiteY25" fmla="*/ 1019802 h 3641849"/>
                <a:gd name="connsiteX26" fmla="*/ 212657 w 1573156"/>
                <a:gd name="connsiteY26" fmla="*/ 993947 h 3641849"/>
                <a:gd name="connsiteX27" fmla="*/ 212656 w 1573156"/>
                <a:gd name="connsiteY27" fmla="*/ 794845 h 3641849"/>
                <a:gd name="connsiteX28" fmla="*/ 251451 w 1573156"/>
                <a:gd name="connsiteY28" fmla="*/ 779332 h 3641849"/>
                <a:gd name="connsiteX29" fmla="*/ 137838 w 1573156"/>
                <a:gd name="connsiteY29" fmla="*/ 551792 h 3641849"/>
                <a:gd name="connsiteX30" fmla="*/ 135067 w 1573156"/>
                <a:gd name="connsiteY30" fmla="*/ 551792 h 3641849"/>
                <a:gd name="connsiteX31" fmla="*/ 184945 w 1573156"/>
                <a:gd name="connsiteY31" fmla="*/ 469048 h 3641849"/>
                <a:gd name="connsiteX32" fmla="*/ 201571 w 1573156"/>
                <a:gd name="connsiteY32" fmla="*/ 378550 h 3641849"/>
                <a:gd name="connsiteX33" fmla="*/ 126752 w 1573156"/>
                <a:gd name="connsiteY33" fmla="*/ 319079 h 3641849"/>
                <a:gd name="connsiteX34" fmla="*/ 118440 w 1573156"/>
                <a:gd name="connsiteY34" fmla="*/ 251851 h 3641849"/>
                <a:gd name="connsiteX35" fmla="*/ 173860 w 1573156"/>
                <a:gd name="connsiteY35" fmla="*/ 158764 h 3641849"/>
                <a:gd name="connsiteX36" fmla="*/ 193258 w 1573156"/>
                <a:gd name="connsiteY36" fmla="*/ 135494 h 3641849"/>
                <a:gd name="connsiteX37" fmla="*/ 207113 w 1573156"/>
                <a:gd name="connsiteY37" fmla="*/ 117394 h 3641849"/>
                <a:gd name="connsiteX38" fmla="*/ 215426 w 1573156"/>
                <a:gd name="connsiteY38" fmla="*/ 73438 h 3641849"/>
                <a:gd name="connsiteX39" fmla="*/ 240365 w 1573156"/>
                <a:gd name="connsiteY39" fmla="*/ 101880 h 3641849"/>
                <a:gd name="connsiteX40" fmla="*/ 270847 w 1573156"/>
                <a:gd name="connsiteY40" fmla="*/ 88952 h 3641849"/>
                <a:gd name="connsiteX41" fmla="*/ 273617 w 1573156"/>
                <a:gd name="connsiteY41" fmla="*/ 63095 h 3641849"/>
                <a:gd name="connsiteX42" fmla="*/ 281931 w 1573156"/>
                <a:gd name="connsiteY42" fmla="*/ 34652 h 3641849"/>
                <a:gd name="connsiteX43" fmla="*/ 284703 w 1573156"/>
                <a:gd name="connsiteY43" fmla="*/ 3624 h 3641849"/>
                <a:gd name="connsiteX44" fmla="*/ 420483 w 1573156"/>
                <a:gd name="connsiteY44" fmla="*/ 57924 h 3641849"/>
                <a:gd name="connsiteX45" fmla="*/ 450963 w 1573156"/>
                <a:gd name="connsiteY45" fmla="*/ 161352 h 3641849"/>
                <a:gd name="connsiteX46" fmla="*/ 464819 w 1573156"/>
                <a:gd name="connsiteY46" fmla="*/ 184622 h 3641849"/>
                <a:gd name="connsiteX47" fmla="*/ 475903 w 1573156"/>
                <a:gd name="connsiteY47" fmla="*/ 187208 h 3641849"/>
                <a:gd name="connsiteX48" fmla="*/ 589515 w 1573156"/>
                <a:gd name="connsiteY48" fmla="*/ 156181 h 3641849"/>
                <a:gd name="connsiteX49" fmla="*/ 656020 w 1573156"/>
                <a:gd name="connsiteY49" fmla="*/ 166522 h 3641849"/>
                <a:gd name="connsiteX50" fmla="*/ 719754 w 1573156"/>
                <a:gd name="connsiteY50" fmla="*/ 213065 h 3641849"/>
                <a:gd name="connsiteX51" fmla="*/ 733781 w 1573156"/>
                <a:gd name="connsiteY51" fmla="*/ 242621 h 3641849"/>
                <a:gd name="connsiteX52" fmla="*/ 789028 w 1573156"/>
                <a:gd name="connsiteY52" fmla="*/ 277708 h 3641849"/>
                <a:gd name="connsiteX53" fmla="*/ 877702 w 1573156"/>
                <a:gd name="connsiteY53" fmla="*/ 303563 h 3641849"/>
                <a:gd name="connsiteX54" fmla="*/ 949748 w 1573156"/>
                <a:gd name="connsiteY54" fmla="*/ 350106 h 3641849"/>
                <a:gd name="connsiteX55" fmla="*/ 999627 w 1573156"/>
                <a:gd name="connsiteY55" fmla="*/ 401820 h 3641849"/>
                <a:gd name="connsiteX56" fmla="*/ 1024566 w 1573156"/>
                <a:gd name="connsiteY56" fmla="*/ 440606 h 3641849"/>
                <a:gd name="connsiteX57" fmla="*/ 1057819 w 1573156"/>
                <a:gd name="connsiteY57" fmla="*/ 466462 h 3641849"/>
                <a:gd name="connsiteX58" fmla="*/ 1041191 w 1573156"/>
                <a:gd name="connsiteY58" fmla="*/ 691417 h 3641849"/>
                <a:gd name="connsiteX59" fmla="*/ 913725 w 1573156"/>
                <a:gd name="connsiteY59" fmla="*/ 771575 h 3641849"/>
                <a:gd name="connsiteX60" fmla="*/ 800113 w 1573156"/>
                <a:gd name="connsiteY60" fmla="*/ 779331 h 3641849"/>
                <a:gd name="connsiteX61" fmla="*/ 661560 w 1573156"/>
                <a:gd name="connsiteY61" fmla="*/ 758645 h 3641849"/>
                <a:gd name="connsiteX62" fmla="*/ 570116 w 1573156"/>
                <a:gd name="connsiteY62" fmla="*/ 722445 h 3641849"/>
                <a:gd name="connsiteX63" fmla="*/ 550719 w 1573156"/>
                <a:gd name="connsiteY63" fmla="*/ 750888 h 3641849"/>
                <a:gd name="connsiteX64" fmla="*/ 581361 w 1573156"/>
                <a:gd name="connsiteY64" fmla="*/ 824301 h 3641849"/>
                <a:gd name="connsiteX65" fmla="*/ 586902 w 1573156"/>
                <a:gd name="connsiteY65" fmla="*/ 951000 h 3641849"/>
                <a:gd name="connsiteX66" fmla="*/ 559032 w 1573156"/>
                <a:gd name="connsiteY66" fmla="*/ 1012043 h 3641849"/>
                <a:gd name="connsiteX67" fmla="*/ 614451 w 1573156"/>
                <a:gd name="connsiteY67" fmla="*/ 1032728 h 3641849"/>
                <a:gd name="connsiteX68" fmla="*/ 631079 w 1573156"/>
                <a:gd name="connsiteY68" fmla="*/ 1048242 h 3641849"/>
                <a:gd name="connsiteX69" fmla="*/ 656019 w 1573156"/>
                <a:gd name="connsiteY69" fmla="*/ 1074099 h 3641849"/>
                <a:gd name="connsiteX70" fmla="*/ 653248 w 1573156"/>
                <a:gd name="connsiteY70" fmla="*/ 1076685 h 3641849"/>
                <a:gd name="connsiteX71" fmla="*/ 692041 w 1573156"/>
                <a:gd name="connsiteY71" fmla="*/ 1071514 h 3641849"/>
                <a:gd name="connsiteX72" fmla="*/ 700355 w 1573156"/>
                <a:gd name="connsiteY72" fmla="*/ 1035314 h 3641849"/>
                <a:gd name="connsiteX73" fmla="*/ 661560 w 1573156"/>
                <a:gd name="connsiteY73" fmla="*/ 957743 h 3641849"/>
                <a:gd name="connsiteX74" fmla="*/ 730836 w 1573156"/>
                <a:gd name="connsiteY74" fmla="*/ 911200 h 3641849"/>
                <a:gd name="connsiteX75" fmla="*/ 798608 w 1573156"/>
                <a:gd name="connsiteY75" fmla="*/ 918934 h 3641849"/>
                <a:gd name="connsiteX76" fmla="*/ 822441 w 1573156"/>
                <a:gd name="connsiteY76" fmla="*/ 951001 h 3641849"/>
                <a:gd name="connsiteX77" fmla="*/ 978170 w 1573156"/>
                <a:gd name="connsiteY77" fmla="*/ 1007364 h 3641849"/>
                <a:gd name="connsiteX78" fmla="*/ 963762 w 1573156"/>
                <a:gd name="connsiteY78" fmla="*/ 971687 h 3641849"/>
                <a:gd name="connsiteX79" fmla="*/ 930510 w 1573156"/>
                <a:gd name="connsiteY79" fmla="*/ 932901 h 3641849"/>
                <a:gd name="connsiteX80" fmla="*/ 919426 w 1573156"/>
                <a:gd name="connsiteY80" fmla="*/ 881187 h 3641849"/>
                <a:gd name="connsiteX81" fmla="*/ 958221 w 1573156"/>
                <a:gd name="connsiteY81" fmla="*/ 832060 h 3641849"/>
                <a:gd name="connsiteX82" fmla="*/ 985931 w 1573156"/>
                <a:gd name="connsiteY82" fmla="*/ 803617 h 3641849"/>
                <a:gd name="connsiteX83" fmla="*/ 1010871 w 1573156"/>
                <a:gd name="connsiteY83" fmla="*/ 767417 h 3641849"/>
                <a:gd name="connsiteX84" fmla="*/ 1091231 w 1573156"/>
                <a:gd name="connsiteY84" fmla="*/ 762245 h 3641849"/>
                <a:gd name="connsiteX85" fmla="*/ 1096772 w 1573156"/>
                <a:gd name="connsiteY85" fmla="*/ 741560 h 3641849"/>
                <a:gd name="connsiteX86" fmla="*/ 1121712 w 1573156"/>
                <a:gd name="connsiteY86" fmla="*/ 705360 h 3641849"/>
                <a:gd name="connsiteX87" fmla="*/ 1155516 w 1573156"/>
                <a:gd name="connsiteY87" fmla="*/ 687772 h 3641849"/>
                <a:gd name="connsiteX88" fmla="*/ 1213156 w 1573156"/>
                <a:gd name="connsiteY88" fmla="*/ 700189 h 3641849"/>
                <a:gd name="connsiteX89" fmla="*/ 1251949 w 1573156"/>
                <a:gd name="connsiteY89" fmla="*/ 720875 h 3641849"/>
                <a:gd name="connsiteX90" fmla="*/ 1299057 w 1573156"/>
                <a:gd name="connsiteY90" fmla="*/ 728632 h 3641849"/>
                <a:gd name="connsiteX91" fmla="*/ 1299057 w 1573156"/>
                <a:gd name="connsiteY91" fmla="*/ 733803 h 3641849"/>
                <a:gd name="connsiteX92" fmla="*/ 1321226 w 1573156"/>
                <a:gd name="connsiteY92" fmla="*/ 674332 h 3641849"/>
                <a:gd name="connsiteX93" fmla="*/ 1331201 w 1573156"/>
                <a:gd name="connsiteY93" fmla="*/ 640714 h 3641849"/>
                <a:gd name="connsiteX94" fmla="*/ 1337852 w 1573156"/>
                <a:gd name="connsiteY94" fmla="*/ 622618 h 3641849"/>
                <a:gd name="connsiteX95" fmla="*/ 1340789 w 1573156"/>
                <a:gd name="connsiteY95" fmla="*/ 591288 h 3641849"/>
                <a:gd name="connsiteX96" fmla="*/ 1260263 w 1573156"/>
                <a:gd name="connsiteY96" fmla="*/ 545048 h 3641849"/>
                <a:gd name="connsiteX97" fmla="*/ 1246408 w 1573156"/>
                <a:gd name="connsiteY97" fmla="*/ 472648 h 3641849"/>
                <a:gd name="connsiteX98" fmla="*/ 1246408 w 1573156"/>
                <a:gd name="connsiteY98" fmla="*/ 454548 h 3641849"/>
                <a:gd name="connsiteX99" fmla="*/ 1257491 w 1573156"/>
                <a:gd name="connsiteY99" fmla="*/ 431276 h 3641849"/>
                <a:gd name="connsiteX100" fmla="*/ 1260263 w 1573156"/>
                <a:gd name="connsiteY100" fmla="*/ 415762 h 3641849"/>
                <a:gd name="connsiteX101" fmla="*/ 1260262 w 1573156"/>
                <a:gd name="connsiteY101" fmla="*/ 358878 h 3641849"/>
                <a:gd name="connsiteX102" fmla="*/ 1238094 w 1573156"/>
                <a:gd name="connsiteY102" fmla="*/ 335607 h 3641849"/>
                <a:gd name="connsiteX103" fmla="*/ 1210384 w 1573156"/>
                <a:gd name="connsiteY103" fmla="*/ 304578 h 3641849"/>
                <a:gd name="connsiteX104" fmla="*/ 1206216 w 1573156"/>
                <a:gd name="connsiteY104" fmla="*/ 280325 h 3641849"/>
                <a:gd name="connsiteX105" fmla="*/ 1257492 w 1573156"/>
                <a:gd name="connsiteY105" fmla="*/ 258034 h 3641849"/>
                <a:gd name="connsiteX106" fmla="*/ 1311072 w 1573156"/>
                <a:gd name="connsiteY106" fmla="*/ 267906 h 3641849"/>
                <a:gd name="connsiteX107" fmla="*/ 1389856 w 1573156"/>
                <a:gd name="connsiteY107" fmla="*/ 279816 h 3641849"/>
                <a:gd name="connsiteX108" fmla="*/ 1474179 w 1573156"/>
                <a:gd name="connsiteY108" fmla="*/ 349175 h 3641849"/>
                <a:gd name="connsiteX109" fmla="*/ 1536314 w 1573156"/>
                <a:gd name="connsiteY109" fmla="*/ 425271 h 3641849"/>
                <a:gd name="connsiteX110" fmla="*/ 1435343 w 1573156"/>
                <a:gd name="connsiteY110" fmla="*/ 454265 h 3641849"/>
                <a:gd name="connsiteX111" fmla="*/ 1419809 w 1573156"/>
                <a:gd name="connsiteY111" fmla="*/ 501372 h 3641849"/>
                <a:gd name="connsiteX112" fmla="*/ 1477479 w 1573156"/>
                <a:gd name="connsiteY112" fmla="*/ 585862 h 3641849"/>
                <a:gd name="connsiteX113" fmla="*/ 1513013 w 1573156"/>
                <a:gd name="connsiteY113" fmla="*/ 591964 h 3641849"/>
                <a:gd name="connsiteX114" fmla="*/ 1565633 w 1573156"/>
                <a:gd name="connsiteY114" fmla="*/ 598304 h 3641849"/>
                <a:gd name="connsiteX115" fmla="*/ 1560670 w 1573156"/>
                <a:gd name="connsiteY115" fmla="*/ 709079 h 3641849"/>
                <a:gd name="connsiteX116" fmla="*/ 1571739 w 1573156"/>
                <a:gd name="connsiteY116" fmla="*/ 1040047 h 3641849"/>
                <a:gd name="connsiteX117" fmla="*/ 1562871 w 1573156"/>
                <a:gd name="connsiteY117" fmla="*/ 1842646 h 3641849"/>
                <a:gd name="connsiteX118" fmla="*/ 1571738 w 1573156"/>
                <a:gd name="connsiteY118" fmla="*/ 2297728 h 3641849"/>
                <a:gd name="connsiteX119" fmla="*/ 1545290 w 1573156"/>
                <a:gd name="connsiteY119" fmla="*/ 3607693 h 3641849"/>
                <a:gd name="connsiteX120" fmla="*/ 1286863 w 1573156"/>
                <a:gd name="connsiteY120" fmla="*/ 3564098 h 3641849"/>
                <a:gd name="connsiteX121" fmla="*/ 1118385 w 1573156"/>
                <a:gd name="connsiteY121" fmla="*/ 3497903 h 3641849"/>
                <a:gd name="connsiteX122" fmla="*/ 941039 w 1573156"/>
                <a:gd name="connsiteY122" fmla="*/ 3406887 h 3641849"/>
                <a:gd name="connsiteX123" fmla="*/ 842741 w 1573156"/>
                <a:gd name="connsiteY123" fmla="*/ 3326370 h 3641849"/>
                <a:gd name="connsiteX124" fmla="*/ 1137003 w 1573156"/>
                <a:gd name="connsiteY124" fmla="*/ 3018734 h 3641849"/>
                <a:gd name="connsiteX125" fmla="*/ 853249 w 1573156"/>
                <a:gd name="connsiteY125" fmla="*/ 2480910 h 3641849"/>
                <a:gd name="connsiteX126" fmla="*/ 557777 w 1573156"/>
                <a:gd name="connsiteY126" fmla="*/ 2715007 h 3641849"/>
                <a:gd name="connsiteX127" fmla="*/ 531809 w 1573156"/>
                <a:gd name="connsiteY127" fmla="*/ 2657256 h 3641849"/>
                <a:gd name="connsiteX128" fmla="*/ 660385 w 1573156"/>
                <a:gd name="connsiteY128" fmla="*/ 2391963 h 3641849"/>
                <a:gd name="connsiteX129" fmla="*/ 91772 w 1573156"/>
                <a:gd name="connsiteY129" fmla="*/ 2159767 h 3641849"/>
                <a:gd name="connsiteX0" fmla="*/ 91772 w 1573156"/>
                <a:gd name="connsiteY0" fmla="*/ 2159767 h 3641849"/>
                <a:gd name="connsiteX1" fmla="*/ 112897 w 1573156"/>
                <a:gd name="connsiteY1" fmla="*/ 1811024 h 3641849"/>
                <a:gd name="connsiteX2" fmla="*/ 162776 w 1573156"/>
                <a:gd name="connsiteY2" fmla="*/ 1785166 h 3641849"/>
                <a:gd name="connsiteX3" fmla="*/ 54707 w 1573156"/>
                <a:gd name="connsiteY3" fmla="*/ 1748966 h 3641849"/>
                <a:gd name="connsiteX4" fmla="*/ 2057 w 1573156"/>
                <a:gd name="connsiteY4" fmla="*/ 1730867 h 3641849"/>
                <a:gd name="connsiteX5" fmla="*/ 38079 w 1573156"/>
                <a:gd name="connsiteY5" fmla="*/ 1689496 h 3641849"/>
                <a:gd name="connsiteX6" fmla="*/ 18683 w 1573156"/>
                <a:gd name="connsiteY6" fmla="*/ 1679153 h 3641849"/>
                <a:gd name="connsiteX7" fmla="*/ 2055 w 1573156"/>
                <a:gd name="connsiteY7" fmla="*/ 1640367 h 3641849"/>
                <a:gd name="connsiteX8" fmla="*/ 65790 w 1573156"/>
                <a:gd name="connsiteY8" fmla="*/ 1650711 h 3641849"/>
                <a:gd name="connsiteX9" fmla="*/ 93501 w 1573156"/>
                <a:gd name="connsiteY9" fmla="*/ 1627440 h 3641849"/>
                <a:gd name="connsiteX10" fmla="*/ 187716 w 1573156"/>
                <a:gd name="connsiteY10" fmla="*/ 1536941 h 3641849"/>
                <a:gd name="connsiteX11" fmla="*/ 212655 w 1573156"/>
                <a:gd name="connsiteY11" fmla="*/ 1505912 h 3641849"/>
                <a:gd name="connsiteX12" fmla="*/ 198801 w 1573156"/>
                <a:gd name="connsiteY12" fmla="*/ 1555040 h 3641849"/>
                <a:gd name="connsiteX13" fmla="*/ 218197 w 1573156"/>
                <a:gd name="connsiteY13" fmla="*/ 1588655 h 3641849"/>
                <a:gd name="connsiteX14" fmla="*/ 262534 w 1573156"/>
                <a:gd name="connsiteY14" fmla="*/ 1666225 h 3641849"/>
                <a:gd name="connsiteX15" fmla="*/ 331810 w 1573156"/>
                <a:gd name="connsiteY15" fmla="*/ 1653297 h 3641849"/>
                <a:gd name="connsiteX16" fmla="*/ 351206 w 1573156"/>
                <a:gd name="connsiteY16" fmla="*/ 1622268 h 3641849"/>
                <a:gd name="connsiteX17" fmla="*/ 365062 w 1573156"/>
                <a:gd name="connsiteY17" fmla="*/ 1557627 h 3641849"/>
                <a:gd name="connsiteX18" fmla="*/ 304099 w 1573156"/>
                <a:gd name="connsiteY18" fmla="*/ 1511084 h 3641849"/>
                <a:gd name="connsiteX19" fmla="*/ 259763 w 1573156"/>
                <a:gd name="connsiteY19" fmla="*/ 1485227 h 3641849"/>
                <a:gd name="connsiteX20" fmla="*/ 198801 w 1573156"/>
                <a:gd name="connsiteY20" fmla="*/ 1495570 h 3641849"/>
                <a:gd name="connsiteX21" fmla="*/ 376147 w 1573156"/>
                <a:gd name="connsiteY21" fmla="*/ 1299057 h 3641849"/>
                <a:gd name="connsiteX22" fmla="*/ 223740 w 1573156"/>
                <a:gd name="connsiteY22" fmla="*/ 1151672 h 3641849"/>
                <a:gd name="connsiteX23" fmla="*/ 284703 w 1573156"/>
                <a:gd name="connsiteY23" fmla="*/ 1089617 h 3641849"/>
                <a:gd name="connsiteX24" fmla="*/ 218198 w 1573156"/>
                <a:gd name="connsiteY24" fmla="*/ 1050829 h 3641849"/>
                <a:gd name="connsiteX25" fmla="*/ 259763 w 1573156"/>
                <a:gd name="connsiteY25" fmla="*/ 1019802 h 3641849"/>
                <a:gd name="connsiteX26" fmla="*/ 212657 w 1573156"/>
                <a:gd name="connsiteY26" fmla="*/ 993947 h 3641849"/>
                <a:gd name="connsiteX27" fmla="*/ 212656 w 1573156"/>
                <a:gd name="connsiteY27" fmla="*/ 794845 h 3641849"/>
                <a:gd name="connsiteX28" fmla="*/ 251451 w 1573156"/>
                <a:gd name="connsiteY28" fmla="*/ 779332 h 3641849"/>
                <a:gd name="connsiteX29" fmla="*/ 137838 w 1573156"/>
                <a:gd name="connsiteY29" fmla="*/ 551792 h 3641849"/>
                <a:gd name="connsiteX30" fmla="*/ 135067 w 1573156"/>
                <a:gd name="connsiteY30" fmla="*/ 551792 h 3641849"/>
                <a:gd name="connsiteX31" fmla="*/ 184945 w 1573156"/>
                <a:gd name="connsiteY31" fmla="*/ 469048 h 3641849"/>
                <a:gd name="connsiteX32" fmla="*/ 201571 w 1573156"/>
                <a:gd name="connsiteY32" fmla="*/ 378550 h 3641849"/>
                <a:gd name="connsiteX33" fmla="*/ 126752 w 1573156"/>
                <a:gd name="connsiteY33" fmla="*/ 319079 h 3641849"/>
                <a:gd name="connsiteX34" fmla="*/ 118440 w 1573156"/>
                <a:gd name="connsiteY34" fmla="*/ 251851 h 3641849"/>
                <a:gd name="connsiteX35" fmla="*/ 173860 w 1573156"/>
                <a:gd name="connsiteY35" fmla="*/ 158764 h 3641849"/>
                <a:gd name="connsiteX36" fmla="*/ 193258 w 1573156"/>
                <a:gd name="connsiteY36" fmla="*/ 135494 h 3641849"/>
                <a:gd name="connsiteX37" fmla="*/ 207113 w 1573156"/>
                <a:gd name="connsiteY37" fmla="*/ 117394 h 3641849"/>
                <a:gd name="connsiteX38" fmla="*/ 215426 w 1573156"/>
                <a:gd name="connsiteY38" fmla="*/ 73438 h 3641849"/>
                <a:gd name="connsiteX39" fmla="*/ 240365 w 1573156"/>
                <a:gd name="connsiteY39" fmla="*/ 101880 h 3641849"/>
                <a:gd name="connsiteX40" fmla="*/ 270847 w 1573156"/>
                <a:gd name="connsiteY40" fmla="*/ 88952 h 3641849"/>
                <a:gd name="connsiteX41" fmla="*/ 273617 w 1573156"/>
                <a:gd name="connsiteY41" fmla="*/ 63095 h 3641849"/>
                <a:gd name="connsiteX42" fmla="*/ 281931 w 1573156"/>
                <a:gd name="connsiteY42" fmla="*/ 34652 h 3641849"/>
                <a:gd name="connsiteX43" fmla="*/ 284703 w 1573156"/>
                <a:gd name="connsiteY43" fmla="*/ 3624 h 3641849"/>
                <a:gd name="connsiteX44" fmla="*/ 420483 w 1573156"/>
                <a:gd name="connsiteY44" fmla="*/ 57924 h 3641849"/>
                <a:gd name="connsiteX45" fmla="*/ 450963 w 1573156"/>
                <a:gd name="connsiteY45" fmla="*/ 161352 h 3641849"/>
                <a:gd name="connsiteX46" fmla="*/ 464819 w 1573156"/>
                <a:gd name="connsiteY46" fmla="*/ 184622 h 3641849"/>
                <a:gd name="connsiteX47" fmla="*/ 475903 w 1573156"/>
                <a:gd name="connsiteY47" fmla="*/ 187208 h 3641849"/>
                <a:gd name="connsiteX48" fmla="*/ 589515 w 1573156"/>
                <a:gd name="connsiteY48" fmla="*/ 156181 h 3641849"/>
                <a:gd name="connsiteX49" fmla="*/ 656020 w 1573156"/>
                <a:gd name="connsiteY49" fmla="*/ 166522 h 3641849"/>
                <a:gd name="connsiteX50" fmla="*/ 719754 w 1573156"/>
                <a:gd name="connsiteY50" fmla="*/ 213065 h 3641849"/>
                <a:gd name="connsiteX51" fmla="*/ 733781 w 1573156"/>
                <a:gd name="connsiteY51" fmla="*/ 242621 h 3641849"/>
                <a:gd name="connsiteX52" fmla="*/ 789028 w 1573156"/>
                <a:gd name="connsiteY52" fmla="*/ 277708 h 3641849"/>
                <a:gd name="connsiteX53" fmla="*/ 877702 w 1573156"/>
                <a:gd name="connsiteY53" fmla="*/ 303563 h 3641849"/>
                <a:gd name="connsiteX54" fmla="*/ 949748 w 1573156"/>
                <a:gd name="connsiteY54" fmla="*/ 350106 h 3641849"/>
                <a:gd name="connsiteX55" fmla="*/ 999627 w 1573156"/>
                <a:gd name="connsiteY55" fmla="*/ 401820 h 3641849"/>
                <a:gd name="connsiteX56" fmla="*/ 1024566 w 1573156"/>
                <a:gd name="connsiteY56" fmla="*/ 440606 h 3641849"/>
                <a:gd name="connsiteX57" fmla="*/ 1057819 w 1573156"/>
                <a:gd name="connsiteY57" fmla="*/ 466462 h 3641849"/>
                <a:gd name="connsiteX58" fmla="*/ 1041191 w 1573156"/>
                <a:gd name="connsiteY58" fmla="*/ 691417 h 3641849"/>
                <a:gd name="connsiteX59" fmla="*/ 913725 w 1573156"/>
                <a:gd name="connsiteY59" fmla="*/ 771575 h 3641849"/>
                <a:gd name="connsiteX60" fmla="*/ 800113 w 1573156"/>
                <a:gd name="connsiteY60" fmla="*/ 779331 h 3641849"/>
                <a:gd name="connsiteX61" fmla="*/ 661560 w 1573156"/>
                <a:gd name="connsiteY61" fmla="*/ 758645 h 3641849"/>
                <a:gd name="connsiteX62" fmla="*/ 570116 w 1573156"/>
                <a:gd name="connsiteY62" fmla="*/ 722445 h 3641849"/>
                <a:gd name="connsiteX63" fmla="*/ 550719 w 1573156"/>
                <a:gd name="connsiteY63" fmla="*/ 750888 h 3641849"/>
                <a:gd name="connsiteX64" fmla="*/ 581361 w 1573156"/>
                <a:gd name="connsiteY64" fmla="*/ 824301 h 3641849"/>
                <a:gd name="connsiteX65" fmla="*/ 586902 w 1573156"/>
                <a:gd name="connsiteY65" fmla="*/ 951000 h 3641849"/>
                <a:gd name="connsiteX66" fmla="*/ 559032 w 1573156"/>
                <a:gd name="connsiteY66" fmla="*/ 1012043 h 3641849"/>
                <a:gd name="connsiteX67" fmla="*/ 614451 w 1573156"/>
                <a:gd name="connsiteY67" fmla="*/ 1032728 h 3641849"/>
                <a:gd name="connsiteX68" fmla="*/ 631079 w 1573156"/>
                <a:gd name="connsiteY68" fmla="*/ 1048242 h 3641849"/>
                <a:gd name="connsiteX69" fmla="*/ 656019 w 1573156"/>
                <a:gd name="connsiteY69" fmla="*/ 1074099 h 3641849"/>
                <a:gd name="connsiteX70" fmla="*/ 653248 w 1573156"/>
                <a:gd name="connsiteY70" fmla="*/ 1076685 h 3641849"/>
                <a:gd name="connsiteX71" fmla="*/ 692041 w 1573156"/>
                <a:gd name="connsiteY71" fmla="*/ 1071514 h 3641849"/>
                <a:gd name="connsiteX72" fmla="*/ 700355 w 1573156"/>
                <a:gd name="connsiteY72" fmla="*/ 1035314 h 3641849"/>
                <a:gd name="connsiteX73" fmla="*/ 661560 w 1573156"/>
                <a:gd name="connsiteY73" fmla="*/ 957743 h 3641849"/>
                <a:gd name="connsiteX74" fmla="*/ 730836 w 1573156"/>
                <a:gd name="connsiteY74" fmla="*/ 911200 h 3641849"/>
                <a:gd name="connsiteX75" fmla="*/ 798608 w 1573156"/>
                <a:gd name="connsiteY75" fmla="*/ 918934 h 3641849"/>
                <a:gd name="connsiteX76" fmla="*/ 822441 w 1573156"/>
                <a:gd name="connsiteY76" fmla="*/ 951001 h 3641849"/>
                <a:gd name="connsiteX77" fmla="*/ 978170 w 1573156"/>
                <a:gd name="connsiteY77" fmla="*/ 1007364 h 3641849"/>
                <a:gd name="connsiteX78" fmla="*/ 963762 w 1573156"/>
                <a:gd name="connsiteY78" fmla="*/ 971687 h 3641849"/>
                <a:gd name="connsiteX79" fmla="*/ 930510 w 1573156"/>
                <a:gd name="connsiteY79" fmla="*/ 932901 h 3641849"/>
                <a:gd name="connsiteX80" fmla="*/ 919426 w 1573156"/>
                <a:gd name="connsiteY80" fmla="*/ 881187 h 3641849"/>
                <a:gd name="connsiteX81" fmla="*/ 958221 w 1573156"/>
                <a:gd name="connsiteY81" fmla="*/ 832060 h 3641849"/>
                <a:gd name="connsiteX82" fmla="*/ 985931 w 1573156"/>
                <a:gd name="connsiteY82" fmla="*/ 803617 h 3641849"/>
                <a:gd name="connsiteX83" fmla="*/ 1010871 w 1573156"/>
                <a:gd name="connsiteY83" fmla="*/ 767417 h 3641849"/>
                <a:gd name="connsiteX84" fmla="*/ 1091231 w 1573156"/>
                <a:gd name="connsiteY84" fmla="*/ 762245 h 3641849"/>
                <a:gd name="connsiteX85" fmla="*/ 1096772 w 1573156"/>
                <a:gd name="connsiteY85" fmla="*/ 741560 h 3641849"/>
                <a:gd name="connsiteX86" fmla="*/ 1121712 w 1573156"/>
                <a:gd name="connsiteY86" fmla="*/ 705360 h 3641849"/>
                <a:gd name="connsiteX87" fmla="*/ 1155516 w 1573156"/>
                <a:gd name="connsiteY87" fmla="*/ 687772 h 3641849"/>
                <a:gd name="connsiteX88" fmla="*/ 1213156 w 1573156"/>
                <a:gd name="connsiteY88" fmla="*/ 700189 h 3641849"/>
                <a:gd name="connsiteX89" fmla="*/ 1251949 w 1573156"/>
                <a:gd name="connsiteY89" fmla="*/ 720875 h 3641849"/>
                <a:gd name="connsiteX90" fmla="*/ 1299057 w 1573156"/>
                <a:gd name="connsiteY90" fmla="*/ 728632 h 3641849"/>
                <a:gd name="connsiteX91" fmla="*/ 1299057 w 1573156"/>
                <a:gd name="connsiteY91" fmla="*/ 733803 h 3641849"/>
                <a:gd name="connsiteX92" fmla="*/ 1321226 w 1573156"/>
                <a:gd name="connsiteY92" fmla="*/ 674332 h 3641849"/>
                <a:gd name="connsiteX93" fmla="*/ 1331201 w 1573156"/>
                <a:gd name="connsiteY93" fmla="*/ 640714 h 3641849"/>
                <a:gd name="connsiteX94" fmla="*/ 1337852 w 1573156"/>
                <a:gd name="connsiteY94" fmla="*/ 622618 h 3641849"/>
                <a:gd name="connsiteX95" fmla="*/ 1340789 w 1573156"/>
                <a:gd name="connsiteY95" fmla="*/ 591288 h 3641849"/>
                <a:gd name="connsiteX96" fmla="*/ 1260263 w 1573156"/>
                <a:gd name="connsiteY96" fmla="*/ 545048 h 3641849"/>
                <a:gd name="connsiteX97" fmla="*/ 1246408 w 1573156"/>
                <a:gd name="connsiteY97" fmla="*/ 472648 h 3641849"/>
                <a:gd name="connsiteX98" fmla="*/ 1246408 w 1573156"/>
                <a:gd name="connsiteY98" fmla="*/ 454548 h 3641849"/>
                <a:gd name="connsiteX99" fmla="*/ 1257491 w 1573156"/>
                <a:gd name="connsiteY99" fmla="*/ 431276 h 3641849"/>
                <a:gd name="connsiteX100" fmla="*/ 1260263 w 1573156"/>
                <a:gd name="connsiteY100" fmla="*/ 415762 h 3641849"/>
                <a:gd name="connsiteX101" fmla="*/ 1260262 w 1573156"/>
                <a:gd name="connsiteY101" fmla="*/ 358878 h 3641849"/>
                <a:gd name="connsiteX102" fmla="*/ 1238094 w 1573156"/>
                <a:gd name="connsiteY102" fmla="*/ 335607 h 3641849"/>
                <a:gd name="connsiteX103" fmla="*/ 1210384 w 1573156"/>
                <a:gd name="connsiteY103" fmla="*/ 304578 h 3641849"/>
                <a:gd name="connsiteX104" fmla="*/ 1206216 w 1573156"/>
                <a:gd name="connsiteY104" fmla="*/ 280325 h 3641849"/>
                <a:gd name="connsiteX105" fmla="*/ 1257492 w 1573156"/>
                <a:gd name="connsiteY105" fmla="*/ 258034 h 3641849"/>
                <a:gd name="connsiteX106" fmla="*/ 1311072 w 1573156"/>
                <a:gd name="connsiteY106" fmla="*/ 267906 h 3641849"/>
                <a:gd name="connsiteX107" fmla="*/ 1389856 w 1573156"/>
                <a:gd name="connsiteY107" fmla="*/ 279816 h 3641849"/>
                <a:gd name="connsiteX108" fmla="*/ 1474179 w 1573156"/>
                <a:gd name="connsiteY108" fmla="*/ 349175 h 3641849"/>
                <a:gd name="connsiteX109" fmla="*/ 1536314 w 1573156"/>
                <a:gd name="connsiteY109" fmla="*/ 425271 h 3641849"/>
                <a:gd name="connsiteX110" fmla="*/ 1435343 w 1573156"/>
                <a:gd name="connsiteY110" fmla="*/ 454265 h 3641849"/>
                <a:gd name="connsiteX111" fmla="*/ 1419809 w 1573156"/>
                <a:gd name="connsiteY111" fmla="*/ 501372 h 3641849"/>
                <a:gd name="connsiteX112" fmla="*/ 1477479 w 1573156"/>
                <a:gd name="connsiteY112" fmla="*/ 585862 h 3641849"/>
                <a:gd name="connsiteX113" fmla="*/ 1513013 w 1573156"/>
                <a:gd name="connsiteY113" fmla="*/ 591964 h 3641849"/>
                <a:gd name="connsiteX114" fmla="*/ 1565633 w 1573156"/>
                <a:gd name="connsiteY114" fmla="*/ 598304 h 3641849"/>
                <a:gd name="connsiteX115" fmla="*/ 1560670 w 1573156"/>
                <a:gd name="connsiteY115" fmla="*/ 709079 h 3641849"/>
                <a:gd name="connsiteX116" fmla="*/ 1571739 w 1573156"/>
                <a:gd name="connsiteY116" fmla="*/ 1040047 h 3641849"/>
                <a:gd name="connsiteX117" fmla="*/ 1562871 w 1573156"/>
                <a:gd name="connsiteY117" fmla="*/ 1842646 h 3641849"/>
                <a:gd name="connsiteX118" fmla="*/ 1571738 w 1573156"/>
                <a:gd name="connsiteY118" fmla="*/ 2297728 h 3641849"/>
                <a:gd name="connsiteX119" fmla="*/ 1545290 w 1573156"/>
                <a:gd name="connsiteY119" fmla="*/ 3607693 h 3641849"/>
                <a:gd name="connsiteX120" fmla="*/ 1286863 w 1573156"/>
                <a:gd name="connsiteY120" fmla="*/ 3564098 h 3641849"/>
                <a:gd name="connsiteX121" fmla="*/ 1118385 w 1573156"/>
                <a:gd name="connsiteY121" fmla="*/ 3497903 h 3641849"/>
                <a:gd name="connsiteX122" fmla="*/ 941039 w 1573156"/>
                <a:gd name="connsiteY122" fmla="*/ 3406887 h 3641849"/>
                <a:gd name="connsiteX123" fmla="*/ 842741 w 1573156"/>
                <a:gd name="connsiteY123" fmla="*/ 3326370 h 3641849"/>
                <a:gd name="connsiteX124" fmla="*/ 1137003 w 1573156"/>
                <a:gd name="connsiteY124" fmla="*/ 3018734 h 3641849"/>
                <a:gd name="connsiteX125" fmla="*/ 853249 w 1573156"/>
                <a:gd name="connsiteY125" fmla="*/ 2480910 h 3641849"/>
                <a:gd name="connsiteX126" fmla="*/ 557777 w 1573156"/>
                <a:gd name="connsiteY126" fmla="*/ 2715007 h 3641849"/>
                <a:gd name="connsiteX127" fmla="*/ 531809 w 1573156"/>
                <a:gd name="connsiteY127" fmla="*/ 2657256 h 3641849"/>
                <a:gd name="connsiteX128" fmla="*/ 660385 w 1573156"/>
                <a:gd name="connsiteY128" fmla="*/ 2391963 h 3641849"/>
                <a:gd name="connsiteX129" fmla="*/ 91772 w 1573156"/>
                <a:gd name="connsiteY129" fmla="*/ 2159767 h 3641849"/>
                <a:gd name="connsiteX0" fmla="*/ 91772 w 1573156"/>
                <a:gd name="connsiteY0" fmla="*/ 2159767 h 3641849"/>
                <a:gd name="connsiteX1" fmla="*/ 112897 w 1573156"/>
                <a:gd name="connsiteY1" fmla="*/ 1811024 h 3641849"/>
                <a:gd name="connsiteX2" fmla="*/ 162776 w 1573156"/>
                <a:gd name="connsiteY2" fmla="*/ 1785166 h 3641849"/>
                <a:gd name="connsiteX3" fmla="*/ 43623 w 1573156"/>
                <a:gd name="connsiteY3" fmla="*/ 1736038 h 3641849"/>
                <a:gd name="connsiteX4" fmla="*/ 2057 w 1573156"/>
                <a:gd name="connsiteY4" fmla="*/ 1730867 h 3641849"/>
                <a:gd name="connsiteX5" fmla="*/ 38079 w 1573156"/>
                <a:gd name="connsiteY5" fmla="*/ 1689496 h 3641849"/>
                <a:gd name="connsiteX6" fmla="*/ 18683 w 1573156"/>
                <a:gd name="connsiteY6" fmla="*/ 1679153 h 3641849"/>
                <a:gd name="connsiteX7" fmla="*/ 2055 w 1573156"/>
                <a:gd name="connsiteY7" fmla="*/ 1640367 h 3641849"/>
                <a:gd name="connsiteX8" fmla="*/ 65790 w 1573156"/>
                <a:gd name="connsiteY8" fmla="*/ 1650711 h 3641849"/>
                <a:gd name="connsiteX9" fmla="*/ 93501 w 1573156"/>
                <a:gd name="connsiteY9" fmla="*/ 1627440 h 3641849"/>
                <a:gd name="connsiteX10" fmla="*/ 187716 w 1573156"/>
                <a:gd name="connsiteY10" fmla="*/ 1536941 h 3641849"/>
                <a:gd name="connsiteX11" fmla="*/ 212655 w 1573156"/>
                <a:gd name="connsiteY11" fmla="*/ 1505912 h 3641849"/>
                <a:gd name="connsiteX12" fmla="*/ 198801 w 1573156"/>
                <a:gd name="connsiteY12" fmla="*/ 1555040 h 3641849"/>
                <a:gd name="connsiteX13" fmla="*/ 218197 w 1573156"/>
                <a:gd name="connsiteY13" fmla="*/ 1588655 h 3641849"/>
                <a:gd name="connsiteX14" fmla="*/ 262534 w 1573156"/>
                <a:gd name="connsiteY14" fmla="*/ 1666225 h 3641849"/>
                <a:gd name="connsiteX15" fmla="*/ 331810 w 1573156"/>
                <a:gd name="connsiteY15" fmla="*/ 1653297 h 3641849"/>
                <a:gd name="connsiteX16" fmla="*/ 351206 w 1573156"/>
                <a:gd name="connsiteY16" fmla="*/ 1622268 h 3641849"/>
                <a:gd name="connsiteX17" fmla="*/ 365062 w 1573156"/>
                <a:gd name="connsiteY17" fmla="*/ 1557627 h 3641849"/>
                <a:gd name="connsiteX18" fmla="*/ 304099 w 1573156"/>
                <a:gd name="connsiteY18" fmla="*/ 1511084 h 3641849"/>
                <a:gd name="connsiteX19" fmla="*/ 259763 w 1573156"/>
                <a:gd name="connsiteY19" fmla="*/ 1485227 h 3641849"/>
                <a:gd name="connsiteX20" fmla="*/ 198801 w 1573156"/>
                <a:gd name="connsiteY20" fmla="*/ 1495570 h 3641849"/>
                <a:gd name="connsiteX21" fmla="*/ 376147 w 1573156"/>
                <a:gd name="connsiteY21" fmla="*/ 1299057 h 3641849"/>
                <a:gd name="connsiteX22" fmla="*/ 223740 w 1573156"/>
                <a:gd name="connsiteY22" fmla="*/ 1151672 h 3641849"/>
                <a:gd name="connsiteX23" fmla="*/ 284703 w 1573156"/>
                <a:gd name="connsiteY23" fmla="*/ 1089617 h 3641849"/>
                <a:gd name="connsiteX24" fmla="*/ 218198 w 1573156"/>
                <a:gd name="connsiteY24" fmla="*/ 1050829 h 3641849"/>
                <a:gd name="connsiteX25" fmla="*/ 259763 w 1573156"/>
                <a:gd name="connsiteY25" fmla="*/ 1019802 h 3641849"/>
                <a:gd name="connsiteX26" fmla="*/ 212657 w 1573156"/>
                <a:gd name="connsiteY26" fmla="*/ 993947 h 3641849"/>
                <a:gd name="connsiteX27" fmla="*/ 212656 w 1573156"/>
                <a:gd name="connsiteY27" fmla="*/ 794845 h 3641849"/>
                <a:gd name="connsiteX28" fmla="*/ 251451 w 1573156"/>
                <a:gd name="connsiteY28" fmla="*/ 779332 h 3641849"/>
                <a:gd name="connsiteX29" fmla="*/ 137838 w 1573156"/>
                <a:gd name="connsiteY29" fmla="*/ 551792 h 3641849"/>
                <a:gd name="connsiteX30" fmla="*/ 135067 w 1573156"/>
                <a:gd name="connsiteY30" fmla="*/ 551792 h 3641849"/>
                <a:gd name="connsiteX31" fmla="*/ 184945 w 1573156"/>
                <a:gd name="connsiteY31" fmla="*/ 469048 h 3641849"/>
                <a:gd name="connsiteX32" fmla="*/ 201571 w 1573156"/>
                <a:gd name="connsiteY32" fmla="*/ 378550 h 3641849"/>
                <a:gd name="connsiteX33" fmla="*/ 126752 w 1573156"/>
                <a:gd name="connsiteY33" fmla="*/ 319079 h 3641849"/>
                <a:gd name="connsiteX34" fmla="*/ 118440 w 1573156"/>
                <a:gd name="connsiteY34" fmla="*/ 251851 h 3641849"/>
                <a:gd name="connsiteX35" fmla="*/ 173860 w 1573156"/>
                <a:gd name="connsiteY35" fmla="*/ 158764 h 3641849"/>
                <a:gd name="connsiteX36" fmla="*/ 193258 w 1573156"/>
                <a:gd name="connsiteY36" fmla="*/ 135494 h 3641849"/>
                <a:gd name="connsiteX37" fmla="*/ 207113 w 1573156"/>
                <a:gd name="connsiteY37" fmla="*/ 117394 h 3641849"/>
                <a:gd name="connsiteX38" fmla="*/ 215426 w 1573156"/>
                <a:gd name="connsiteY38" fmla="*/ 73438 h 3641849"/>
                <a:gd name="connsiteX39" fmla="*/ 240365 w 1573156"/>
                <a:gd name="connsiteY39" fmla="*/ 101880 h 3641849"/>
                <a:gd name="connsiteX40" fmla="*/ 270847 w 1573156"/>
                <a:gd name="connsiteY40" fmla="*/ 88952 h 3641849"/>
                <a:gd name="connsiteX41" fmla="*/ 273617 w 1573156"/>
                <a:gd name="connsiteY41" fmla="*/ 63095 h 3641849"/>
                <a:gd name="connsiteX42" fmla="*/ 281931 w 1573156"/>
                <a:gd name="connsiteY42" fmla="*/ 34652 h 3641849"/>
                <a:gd name="connsiteX43" fmla="*/ 284703 w 1573156"/>
                <a:gd name="connsiteY43" fmla="*/ 3624 h 3641849"/>
                <a:gd name="connsiteX44" fmla="*/ 420483 w 1573156"/>
                <a:gd name="connsiteY44" fmla="*/ 57924 h 3641849"/>
                <a:gd name="connsiteX45" fmla="*/ 450963 w 1573156"/>
                <a:gd name="connsiteY45" fmla="*/ 161352 h 3641849"/>
                <a:gd name="connsiteX46" fmla="*/ 464819 w 1573156"/>
                <a:gd name="connsiteY46" fmla="*/ 184622 h 3641849"/>
                <a:gd name="connsiteX47" fmla="*/ 475903 w 1573156"/>
                <a:gd name="connsiteY47" fmla="*/ 187208 h 3641849"/>
                <a:gd name="connsiteX48" fmla="*/ 589515 w 1573156"/>
                <a:gd name="connsiteY48" fmla="*/ 156181 h 3641849"/>
                <a:gd name="connsiteX49" fmla="*/ 656020 w 1573156"/>
                <a:gd name="connsiteY49" fmla="*/ 166522 h 3641849"/>
                <a:gd name="connsiteX50" fmla="*/ 719754 w 1573156"/>
                <a:gd name="connsiteY50" fmla="*/ 213065 h 3641849"/>
                <a:gd name="connsiteX51" fmla="*/ 733781 w 1573156"/>
                <a:gd name="connsiteY51" fmla="*/ 242621 h 3641849"/>
                <a:gd name="connsiteX52" fmla="*/ 789028 w 1573156"/>
                <a:gd name="connsiteY52" fmla="*/ 277708 h 3641849"/>
                <a:gd name="connsiteX53" fmla="*/ 877702 w 1573156"/>
                <a:gd name="connsiteY53" fmla="*/ 303563 h 3641849"/>
                <a:gd name="connsiteX54" fmla="*/ 949748 w 1573156"/>
                <a:gd name="connsiteY54" fmla="*/ 350106 h 3641849"/>
                <a:gd name="connsiteX55" fmla="*/ 999627 w 1573156"/>
                <a:gd name="connsiteY55" fmla="*/ 401820 h 3641849"/>
                <a:gd name="connsiteX56" fmla="*/ 1024566 w 1573156"/>
                <a:gd name="connsiteY56" fmla="*/ 440606 h 3641849"/>
                <a:gd name="connsiteX57" fmla="*/ 1057819 w 1573156"/>
                <a:gd name="connsiteY57" fmla="*/ 466462 h 3641849"/>
                <a:gd name="connsiteX58" fmla="*/ 1041191 w 1573156"/>
                <a:gd name="connsiteY58" fmla="*/ 691417 h 3641849"/>
                <a:gd name="connsiteX59" fmla="*/ 913725 w 1573156"/>
                <a:gd name="connsiteY59" fmla="*/ 771575 h 3641849"/>
                <a:gd name="connsiteX60" fmla="*/ 800113 w 1573156"/>
                <a:gd name="connsiteY60" fmla="*/ 779331 h 3641849"/>
                <a:gd name="connsiteX61" fmla="*/ 661560 w 1573156"/>
                <a:gd name="connsiteY61" fmla="*/ 758645 h 3641849"/>
                <a:gd name="connsiteX62" fmla="*/ 570116 w 1573156"/>
                <a:gd name="connsiteY62" fmla="*/ 722445 h 3641849"/>
                <a:gd name="connsiteX63" fmla="*/ 550719 w 1573156"/>
                <a:gd name="connsiteY63" fmla="*/ 750888 h 3641849"/>
                <a:gd name="connsiteX64" fmla="*/ 581361 w 1573156"/>
                <a:gd name="connsiteY64" fmla="*/ 824301 h 3641849"/>
                <a:gd name="connsiteX65" fmla="*/ 586902 w 1573156"/>
                <a:gd name="connsiteY65" fmla="*/ 951000 h 3641849"/>
                <a:gd name="connsiteX66" fmla="*/ 559032 w 1573156"/>
                <a:gd name="connsiteY66" fmla="*/ 1012043 h 3641849"/>
                <a:gd name="connsiteX67" fmla="*/ 614451 w 1573156"/>
                <a:gd name="connsiteY67" fmla="*/ 1032728 h 3641849"/>
                <a:gd name="connsiteX68" fmla="*/ 631079 w 1573156"/>
                <a:gd name="connsiteY68" fmla="*/ 1048242 h 3641849"/>
                <a:gd name="connsiteX69" fmla="*/ 656019 w 1573156"/>
                <a:gd name="connsiteY69" fmla="*/ 1074099 h 3641849"/>
                <a:gd name="connsiteX70" fmla="*/ 653248 w 1573156"/>
                <a:gd name="connsiteY70" fmla="*/ 1076685 h 3641849"/>
                <a:gd name="connsiteX71" fmla="*/ 692041 w 1573156"/>
                <a:gd name="connsiteY71" fmla="*/ 1071514 h 3641849"/>
                <a:gd name="connsiteX72" fmla="*/ 700355 w 1573156"/>
                <a:gd name="connsiteY72" fmla="*/ 1035314 h 3641849"/>
                <a:gd name="connsiteX73" fmla="*/ 661560 w 1573156"/>
                <a:gd name="connsiteY73" fmla="*/ 957743 h 3641849"/>
                <a:gd name="connsiteX74" fmla="*/ 730836 w 1573156"/>
                <a:gd name="connsiteY74" fmla="*/ 911200 h 3641849"/>
                <a:gd name="connsiteX75" fmla="*/ 798608 w 1573156"/>
                <a:gd name="connsiteY75" fmla="*/ 918934 h 3641849"/>
                <a:gd name="connsiteX76" fmla="*/ 822441 w 1573156"/>
                <a:gd name="connsiteY76" fmla="*/ 951001 h 3641849"/>
                <a:gd name="connsiteX77" fmla="*/ 978170 w 1573156"/>
                <a:gd name="connsiteY77" fmla="*/ 1007364 h 3641849"/>
                <a:gd name="connsiteX78" fmla="*/ 963762 w 1573156"/>
                <a:gd name="connsiteY78" fmla="*/ 971687 h 3641849"/>
                <a:gd name="connsiteX79" fmla="*/ 930510 w 1573156"/>
                <a:gd name="connsiteY79" fmla="*/ 932901 h 3641849"/>
                <a:gd name="connsiteX80" fmla="*/ 919426 w 1573156"/>
                <a:gd name="connsiteY80" fmla="*/ 881187 h 3641849"/>
                <a:gd name="connsiteX81" fmla="*/ 958221 w 1573156"/>
                <a:gd name="connsiteY81" fmla="*/ 832060 h 3641849"/>
                <a:gd name="connsiteX82" fmla="*/ 985931 w 1573156"/>
                <a:gd name="connsiteY82" fmla="*/ 803617 h 3641849"/>
                <a:gd name="connsiteX83" fmla="*/ 1010871 w 1573156"/>
                <a:gd name="connsiteY83" fmla="*/ 767417 h 3641849"/>
                <a:gd name="connsiteX84" fmla="*/ 1091231 w 1573156"/>
                <a:gd name="connsiteY84" fmla="*/ 762245 h 3641849"/>
                <a:gd name="connsiteX85" fmla="*/ 1096772 w 1573156"/>
                <a:gd name="connsiteY85" fmla="*/ 741560 h 3641849"/>
                <a:gd name="connsiteX86" fmla="*/ 1121712 w 1573156"/>
                <a:gd name="connsiteY86" fmla="*/ 705360 h 3641849"/>
                <a:gd name="connsiteX87" fmla="*/ 1155516 w 1573156"/>
                <a:gd name="connsiteY87" fmla="*/ 687772 h 3641849"/>
                <a:gd name="connsiteX88" fmla="*/ 1213156 w 1573156"/>
                <a:gd name="connsiteY88" fmla="*/ 700189 h 3641849"/>
                <a:gd name="connsiteX89" fmla="*/ 1251949 w 1573156"/>
                <a:gd name="connsiteY89" fmla="*/ 720875 h 3641849"/>
                <a:gd name="connsiteX90" fmla="*/ 1299057 w 1573156"/>
                <a:gd name="connsiteY90" fmla="*/ 728632 h 3641849"/>
                <a:gd name="connsiteX91" fmla="*/ 1299057 w 1573156"/>
                <a:gd name="connsiteY91" fmla="*/ 733803 h 3641849"/>
                <a:gd name="connsiteX92" fmla="*/ 1321226 w 1573156"/>
                <a:gd name="connsiteY92" fmla="*/ 674332 h 3641849"/>
                <a:gd name="connsiteX93" fmla="*/ 1331201 w 1573156"/>
                <a:gd name="connsiteY93" fmla="*/ 640714 h 3641849"/>
                <a:gd name="connsiteX94" fmla="*/ 1337852 w 1573156"/>
                <a:gd name="connsiteY94" fmla="*/ 622618 h 3641849"/>
                <a:gd name="connsiteX95" fmla="*/ 1340789 w 1573156"/>
                <a:gd name="connsiteY95" fmla="*/ 591288 h 3641849"/>
                <a:gd name="connsiteX96" fmla="*/ 1260263 w 1573156"/>
                <a:gd name="connsiteY96" fmla="*/ 545048 h 3641849"/>
                <a:gd name="connsiteX97" fmla="*/ 1246408 w 1573156"/>
                <a:gd name="connsiteY97" fmla="*/ 472648 h 3641849"/>
                <a:gd name="connsiteX98" fmla="*/ 1246408 w 1573156"/>
                <a:gd name="connsiteY98" fmla="*/ 454548 h 3641849"/>
                <a:gd name="connsiteX99" fmla="*/ 1257491 w 1573156"/>
                <a:gd name="connsiteY99" fmla="*/ 431276 h 3641849"/>
                <a:gd name="connsiteX100" fmla="*/ 1260263 w 1573156"/>
                <a:gd name="connsiteY100" fmla="*/ 415762 h 3641849"/>
                <a:gd name="connsiteX101" fmla="*/ 1260262 w 1573156"/>
                <a:gd name="connsiteY101" fmla="*/ 358878 h 3641849"/>
                <a:gd name="connsiteX102" fmla="*/ 1238094 w 1573156"/>
                <a:gd name="connsiteY102" fmla="*/ 335607 h 3641849"/>
                <a:gd name="connsiteX103" fmla="*/ 1210384 w 1573156"/>
                <a:gd name="connsiteY103" fmla="*/ 304578 h 3641849"/>
                <a:gd name="connsiteX104" fmla="*/ 1206216 w 1573156"/>
                <a:gd name="connsiteY104" fmla="*/ 280325 h 3641849"/>
                <a:gd name="connsiteX105" fmla="*/ 1257492 w 1573156"/>
                <a:gd name="connsiteY105" fmla="*/ 258034 h 3641849"/>
                <a:gd name="connsiteX106" fmla="*/ 1311072 w 1573156"/>
                <a:gd name="connsiteY106" fmla="*/ 267906 h 3641849"/>
                <a:gd name="connsiteX107" fmla="*/ 1389856 w 1573156"/>
                <a:gd name="connsiteY107" fmla="*/ 279816 h 3641849"/>
                <a:gd name="connsiteX108" fmla="*/ 1474179 w 1573156"/>
                <a:gd name="connsiteY108" fmla="*/ 349175 h 3641849"/>
                <a:gd name="connsiteX109" fmla="*/ 1536314 w 1573156"/>
                <a:gd name="connsiteY109" fmla="*/ 425271 h 3641849"/>
                <a:gd name="connsiteX110" fmla="*/ 1435343 w 1573156"/>
                <a:gd name="connsiteY110" fmla="*/ 454265 h 3641849"/>
                <a:gd name="connsiteX111" fmla="*/ 1419809 w 1573156"/>
                <a:gd name="connsiteY111" fmla="*/ 501372 h 3641849"/>
                <a:gd name="connsiteX112" fmla="*/ 1477479 w 1573156"/>
                <a:gd name="connsiteY112" fmla="*/ 585862 h 3641849"/>
                <a:gd name="connsiteX113" fmla="*/ 1513013 w 1573156"/>
                <a:gd name="connsiteY113" fmla="*/ 591964 h 3641849"/>
                <a:gd name="connsiteX114" fmla="*/ 1565633 w 1573156"/>
                <a:gd name="connsiteY114" fmla="*/ 598304 h 3641849"/>
                <a:gd name="connsiteX115" fmla="*/ 1560670 w 1573156"/>
                <a:gd name="connsiteY115" fmla="*/ 709079 h 3641849"/>
                <a:gd name="connsiteX116" fmla="*/ 1571739 w 1573156"/>
                <a:gd name="connsiteY116" fmla="*/ 1040047 h 3641849"/>
                <a:gd name="connsiteX117" fmla="*/ 1562871 w 1573156"/>
                <a:gd name="connsiteY117" fmla="*/ 1842646 h 3641849"/>
                <a:gd name="connsiteX118" fmla="*/ 1571738 w 1573156"/>
                <a:gd name="connsiteY118" fmla="*/ 2297728 h 3641849"/>
                <a:gd name="connsiteX119" fmla="*/ 1545290 w 1573156"/>
                <a:gd name="connsiteY119" fmla="*/ 3607693 h 3641849"/>
                <a:gd name="connsiteX120" fmla="*/ 1286863 w 1573156"/>
                <a:gd name="connsiteY120" fmla="*/ 3564098 h 3641849"/>
                <a:gd name="connsiteX121" fmla="*/ 1118385 w 1573156"/>
                <a:gd name="connsiteY121" fmla="*/ 3497903 h 3641849"/>
                <a:gd name="connsiteX122" fmla="*/ 941039 w 1573156"/>
                <a:gd name="connsiteY122" fmla="*/ 3406887 h 3641849"/>
                <a:gd name="connsiteX123" fmla="*/ 842741 w 1573156"/>
                <a:gd name="connsiteY123" fmla="*/ 3326370 h 3641849"/>
                <a:gd name="connsiteX124" fmla="*/ 1137003 w 1573156"/>
                <a:gd name="connsiteY124" fmla="*/ 3018734 h 3641849"/>
                <a:gd name="connsiteX125" fmla="*/ 853249 w 1573156"/>
                <a:gd name="connsiteY125" fmla="*/ 2480910 h 3641849"/>
                <a:gd name="connsiteX126" fmla="*/ 557777 w 1573156"/>
                <a:gd name="connsiteY126" fmla="*/ 2715007 h 3641849"/>
                <a:gd name="connsiteX127" fmla="*/ 531809 w 1573156"/>
                <a:gd name="connsiteY127" fmla="*/ 2657256 h 3641849"/>
                <a:gd name="connsiteX128" fmla="*/ 660385 w 1573156"/>
                <a:gd name="connsiteY128" fmla="*/ 2391963 h 3641849"/>
                <a:gd name="connsiteX129" fmla="*/ 91772 w 1573156"/>
                <a:gd name="connsiteY129" fmla="*/ 2159767 h 3641849"/>
                <a:gd name="connsiteX0" fmla="*/ 91772 w 1573156"/>
                <a:gd name="connsiteY0" fmla="*/ 2159767 h 3641849"/>
                <a:gd name="connsiteX1" fmla="*/ 112897 w 1573156"/>
                <a:gd name="connsiteY1" fmla="*/ 1811024 h 3641849"/>
                <a:gd name="connsiteX2" fmla="*/ 162776 w 1573156"/>
                <a:gd name="connsiteY2" fmla="*/ 1785166 h 3641849"/>
                <a:gd name="connsiteX3" fmla="*/ 40851 w 1573156"/>
                <a:gd name="connsiteY3" fmla="*/ 1746381 h 3641849"/>
                <a:gd name="connsiteX4" fmla="*/ 2057 w 1573156"/>
                <a:gd name="connsiteY4" fmla="*/ 1730867 h 3641849"/>
                <a:gd name="connsiteX5" fmla="*/ 38079 w 1573156"/>
                <a:gd name="connsiteY5" fmla="*/ 1689496 h 3641849"/>
                <a:gd name="connsiteX6" fmla="*/ 18683 w 1573156"/>
                <a:gd name="connsiteY6" fmla="*/ 1679153 h 3641849"/>
                <a:gd name="connsiteX7" fmla="*/ 2055 w 1573156"/>
                <a:gd name="connsiteY7" fmla="*/ 1640367 h 3641849"/>
                <a:gd name="connsiteX8" fmla="*/ 65790 w 1573156"/>
                <a:gd name="connsiteY8" fmla="*/ 1650711 h 3641849"/>
                <a:gd name="connsiteX9" fmla="*/ 93501 w 1573156"/>
                <a:gd name="connsiteY9" fmla="*/ 1627440 h 3641849"/>
                <a:gd name="connsiteX10" fmla="*/ 187716 w 1573156"/>
                <a:gd name="connsiteY10" fmla="*/ 1536941 h 3641849"/>
                <a:gd name="connsiteX11" fmla="*/ 212655 w 1573156"/>
                <a:gd name="connsiteY11" fmla="*/ 1505912 h 3641849"/>
                <a:gd name="connsiteX12" fmla="*/ 198801 w 1573156"/>
                <a:gd name="connsiteY12" fmla="*/ 1555040 h 3641849"/>
                <a:gd name="connsiteX13" fmla="*/ 218197 w 1573156"/>
                <a:gd name="connsiteY13" fmla="*/ 1588655 h 3641849"/>
                <a:gd name="connsiteX14" fmla="*/ 262534 w 1573156"/>
                <a:gd name="connsiteY14" fmla="*/ 1666225 h 3641849"/>
                <a:gd name="connsiteX15" fmla="*/ 331810 w 1573156"/>
                <a:gd name="connsiteY15" fmla="*/ 1653297 h 3641849"/>
                <a:gd name="connsiteX16" fmla="*/ 351206 w 1573156"/>
                <a:gd name="connsiteY16" fmla="*/ 1622268 h 3641849"/>
                <a:gd name="connsiteX17" fmla="*/ 365062 w 1573156"/>
                <a:gd name="connsiteY17" fmla="*/ 1557627 h 3641849"/>
                <a:gd name="connsiteX18" fmla="*/ 304099 w 1573156"/>
                <a:gd name="connsiteY18" fmla="*/ 1511084 h 3641849"/>
                <a:gd name="connsiteX19" fmla="*/ 259763 w 1573156"/>
                <a:gd name="connsiteY19" fmla="*/ 1485227 h 3641849"/>
                <a:gd name="connsiteX20" fmla="*/ 198801 w 1573156"/>
                <a:gd name="connsiteY20" fmla="*/ 1495570 h 3641849"/>
                <a:gd name="connsiteX21" fmla="*/ 376147 w 1573156"/>
                <a:gd name="connsiteY21" fmla="*/ 1299057 h 3641849"/>
                <a:gd name="connsiteX22" fmla="*/ 223740 w 1573156"/>
                <a:gd name="connsiteY22" fmla="*/ 1151672 h 3641849"/>
                <a:gd name="connsiteX23" fmla="*/ 284703 w 1573156"/>
                <a:gd name="connsiteY23" fmla="*/ 1089617 h 3641849"/>
                <a:gd name="connsiteX24" fmla="*/ 218198 w 1573156"/>
                <a:gd name="connsiteY24" fmla="*/ 1050829 h 3641849"/>
                <a:gd name="connsiteX25" fmla="*/ 259763 w 1573156"/>
                <a:gd name="connsiteY25" fmla="*/ 1019802 h 3641849"/>
                <a:gd name="connsiteX26" fmla="*/ 212657 w 1573156"/>
                <a:gd name="connsiteY26" fmla="*/ 993947 h 3641849"/>
                <a:gd name="connsiteX27" fmla="*/ 212656 w 1573156"/>
                <a:gd name="connsiteY27" fmla="*/ 794845 h 3641849"/>
                <a:gd name="connsiteX28" fmla="*/ 251451 w 1573156"/>
                <a:gd name="connsiteY28" fmla="*/ 779332 h 3641849"/>
                <a:gd name="connsiteX29" fmla="*/ 137838 w 1573156"/>
                <a:gd name="connsiteY29" fmla="*/ 551792 h 3641849"/>
                <a:gd name="connsiteX30" fmla="*/ 135067 w 1573156"/>
                <a:gd name="connsiteY30" fmla="*/ 551792 h 3641849"/>
                <a:gd name="connsiteX31" fmla="*/ 184945 w 1573156"/>
                <a:gd name="connsiteY31" fmla="*/ 469048 h 3641849"/>
                <a:gd name="connsiteX32" fmla="*/ 201571 w 1573156"/>
                <a:gd name="connsiteY32" fmla="*/ 378550 h 3641849"/>
                <a:gd name="connsiteX33" fmla="*/ 126752 w 1573156"/>
                <a:gd name="connsiteY33" fmla="*/ 319079 h 3641849"/>
                <a:gd name="connsiteX34" fmla="*/ 118440 w 1573156"/>
                <a:gd name="connsiteY34" fmla="*/ 251851 h 3641849"/>
                <a:gd name="connsiteX35" fmla="*/ 173860 w 1573156"/>
                <a:gd name="connsiteY35" fmla="*/ 158764 h 3641849"/>
                <a:gd name="connsiteX36" fmla="*/ 193258 w 1573156"/>
                <a:gd name="connsiteY36" fmla="*/ 135494 h 3641849"/>
                <a:gd name="connsiteX37" fmla="*/ 207113 w 1573156"/>
                <a:gd name="connsiteY37" fmla="*/ 117394 h 3641849"/>
                <a:gd name="connsiteX38" fmla="*/ 215426 w 1573156"/>
                <a:gd name="connsiteY38" fmla="*/ 73438 h 3641849"/>
                <a:gd name="connsiteX39" fmla="*/ 240365 w 1573156"/>
                <a:gd name="connsiteY39" fmla="*/ 101880 h 3641849"/>
                <a:gd name="connsiteX40" fmla="*/ 270847 w 1573156"/>
                <a:gd name="connsiteY40" fmla="*/ 88952 h 3641849"/>
                <a:gd name="connsiteX41" fmla="*/ 273617 w 1573156"/>
                <a:gd name="connsiteY41" fmla="*/ 63095 h 3641849"/>
                <a:gd name="connsiteX42" fmla="*/ 281931 w 1573156"/>
                <a:gd name="connsiteY42" fmla="*/ 34652 h 3641849"/>
                <a:gd name="connsiteX43" fmla="*/ 284703 w 1573156"/>
                <a:gd name="connsiteY43" fmla="*/ 3624 h 3641849"/>
                <a:gd name="connsiteX44" fmla="*/ 420483 w 1573156"/>
                <a:gd name="connsiteY44" fmla="*/ 57924 h 3641849"/>
                <a:gd name="connsiteX45" fmla="*/ 450963 w 1573156"/>
                <a:gd name="connsiteY45" fmla="*/ 161352 h 3641849"/>
                <a:gd name="connsiteX46" fmla="*/ 464819 w 1573156"/>
                <a:gd name="connsiteY46" fmla="*/ 184622 h 3641849"/>
                <a:gd name="connsiteX47" fmla="*/ 475903 w 1573156"/>
                <a:gd name="connsiteY47" fmla="*/ 187208 h 3641849"/>
                <a:gd name="connsiteX48" fmla="*/ 589515 w 1573156"/>
                <a:gd name="connsiteY48" fmla="*/ 156181 h 3641849"/>
                <a:gd name="connsiteX49" fmla="*/ 656020 w 1573156"/>
                <a:gd name="connsiteY49" fmla="*/ 166522 h 3641849"/>
                <a:gd name="connsiteX50" fmla="*/ 719754 w 1573156"/>
                <a:gd name="connsiteY50" fmla="*/ 213065 h 3641849"/>
                <a:gd name="connsiteX51" fmla="*/ 733781 w 1573156"/>
                <a:gd name="connsiteY51" fmla="*/ 242621 h 3641849"/>
                <a:gd name="connsiteX52" fmla="*/ 789028 w 1573156"/>
                <a:gd name="connsiteY52" fmla="*/ 277708 h 3641849"/>
                <a:gd name="connsiteX53" fmla="*/ 877702 w 1573156"/>
                <a:gd name="connsiteY53" fmla="*/ 303563 h 3641849"/>
                <a:gd name="connsiteX54" fmla="*/ 949748 w 1573156"/>
                <a:gd name="connsiteY54" fmla="*/ 350106 h 3641849"/>
                <a:gd name="connsiteX55" fmla="*/ 999627 w 1573156"/>
                <a:gd name="connsiteY55" fmla="*/ 401820 h 3641849"/>
                <a:gd name="connsiteX56" fmla="*/ 1024566 w 1573156"/>
                <a:gd name="connsiteY56" fmla="*/ 440606 h 3641849"/>
                <a:gd name="connsiteX57" fmla="*/ 1057819 w 1573156"/>
                <a:gd name="connsiteY57" fmla="*/ 466462 h 3641849"/>
                <a:gd name="connsiteX58" fmla="*/ 1041191 w 1573156"/>
                <a:gd name="connsiteY58" fmla="*/ 691417 h 3641849"/>
                <a:gd name="connsiteX59" fmla="*/ 913725 w 1573156"/>
                <a:gd name="connsiteY59" fmla="*/ 771575 h 3641849"/>
                <a:gd name="connsiteX60" fmla="*/ 800113 w 1573156"/>
                <a:gd name="connsiteY60" fmla="*/ 779331 h 3641849"/>
                <a:gd name="connsiteX61" fmla="*/ 661560 w 1573156"/>
                <a:gd name="connsiteY61" fmla="*/ 758645 h 3641849"/>
                <a:gd name="connsiteX62" fmla="*/ 570116 w 1573156"/>
                <a:gd name="connsiteY62" fmla="*/ 722445 h 3641849"/>
                <a:gd name="connsiteX63" fmla="*/ 550719 w 1573156"/>
                <a:gd name="connsiteY63" fmla="*/ 750888 h 3641849"/>
                <a:gd name="connsiteX64" fmla="*/ 581361 w 1573156"/>
                <a:gd name="connsiteY64" fmla="*/ 824301 h 3641849"/>
                <a:gd name="connsiteX65" fmla="*/ 586902 w 1573156"/>
                <a:gd name="connsiteY65" fmla="*/ 951000 h 3641849"/>
                <a:gd name="connsiteX66" fmla="*/ 559032 w 1573156"/>
                <a:gd name="connsiteY66" fmla="*/ 1012043 h 3641849"/>
                <a:gd name="connsiteX67" fmla="*/ 614451 w 1573156"/>
                <a:gd name="connsiteY67" fmla="*/ 1032728 h 3641849"/>
                <a:gd name="connsiteX68" fmla="*/ 631079 w 1573156"/>
                <a:gd name="connsiteY68" fmla="*/ 1048242 h 3641849"/>
                <a:gd name="connsiteX69" fmla="*/ 656019 w 1573156"/>
                <a:gd name="connsiteY69" fmla="*/ 1074099 h 3641849"/>
                <a:gd name="connsiteX70" fmla="*/ 653248 w 1573156"/>
                <a:gd name="connsiteY70" fmla="*/ 1076685 h 3641849"/>
                <a:gd name="connsiteX71" fmla="*/ 692041 w 1573156"/>
                <a:gd name="connsiteY71" fmla="*/ 1071514 h 3641849"/>
                <a:gd name="connsiteX72" fmla="*/ 700355 w 1573156"/>
                <a:gd name="connsiteY72" fmla="*/ 1035314 h 3641849"/>
                <a:gd name="connsiteX73" fmla="*/ 661560 w 1573156"/>
                <a:gd name="connsiteY73" fmla="*/ 957743 h 3641849"/>
                <a:gd name="connsiteX74" fmla="*/ 730836 w 1573156"/>
                <a:gd name="connsiteY74" fmla="*/ 911200 h 3641849"/>
                <a:gd name="connsiteX75" fmla="*/ 798608 w 1573156"/>
                <a:gd name="connsiteY75" fmla="*/ 918934 h 3641849"/>
                <a:gd name="connsiteX76" fmla="*/ 822441 w 1573156"/>
                <a:gd name="connsiteY76" fmla="*/ 951001 h 3641849"/>
                <a:gd name="connsiteX77" fmla="*/ 978170 w 1573156"/>
                <a:gd name="connsiteY77" fmla="*/ 1007364 h 3641849"/>
                <a:gd name="connsiteX78" fmla="*/ 963762 w 1573156"/>
                <a:gd name="connsiteY78" fmla="*/ 971687 h 3641849"/>
                <a:gd name="connsiteX79" fmla="*/ 930510 w 1573156"/>
                <a:gd name="connsiteY79" fmla="*/ 932901 h 3641849"/>
                <a:gd name="connsiteX80" fmla="*/ 919426 w 1573156"/>
                <a:gd name="connsiteY80" fmla="*/ 881187 h 3641849"/>
                <a:gd name="connsiteX81" fmla="*/ 958221 w 1573156"/>
                <a:gd name="connsiteY81" fmla="*/ 832060 h 3641849"/>
                <a:gd name="connsiteX82" fmla="*/ 985931 w 1573156"/>
                <a:gd name="connsiteY82" fmla="*/ 803617 h 3641849"/>
                <a:gd name="connsiteX83" fmla="*/ 1010871 w 1573156"/>
                <a:gd name="connsiteY83" fmla="*/ 767417 h 3641849"/>
                <a:gd name="connsiteX84" fmla="*/ 1091231 w 1573156"/>
                <a:gd name="connsiteY84" fmla="*/ 762245 h 3641849"/>
                <a:gd name="connsiteX85" fmla="*/ 1096772 w 1573156"/>
                <a:gd name="connsiteY85" fmla="*/ 741560 h 3641849"/>
                <a:gd name="connsiteX86" fmla="*/ 1121712 w 1573156"/>
                <a:gd name="connsiteY86" fmla="*/ 705360 h 3641849"/>
                <a:gd name="connsiteX87" fmla="*/ 1155516 w 1573156"/>
                <a:gd name="connsiteY87" fmla="*/ 687772 h 3641849"/>
                <a:gd name="connsiteX88" fmla="*/ 1213156 w 1573156"/>
                <a:gd name="connsiteY88" fmla="*/ 700189 h 3641849"/>
                <a:gd name="connsiteX89" fmla="*/ 1251949 w 1573156"/>
                <a:gd name="connsiteY89" fmla="*/ 720875 h 3641849"/>
                <a:gd name="connsiteX90" fmla="*/ 1299057 w 1573156"/>
                <a:gd name="connsiteY90" fmla="*/ 728632 h 3641849"/>
                <a:gd name="connsiteX91" fmla="*/ 1299057 w 1573156"/>
                <a:gd name="connsiteY91" fmla="*/ 733803 h 3641849"/>
                <a:gd name="connsiteX92" fmla="*/ 1321226 w 1573156"/>
                <a:gd name="connsiteY92" fmla="*/ 674332 h 3641849"/>
                <a:gd name="connsiteX93" fmla="*/ 1331201 w 1573156"/>
                <a:gd name="connsiteY93" fmla="*/ 640714 h 3641849"/>
                <a:gd name="connsiteX94" fmla="*/ 1337852 w 1573156"/>
                <a:gd name="connsiteY94" fmla="*/ 622618 h 3641849"/>
                <a:gd name="connsiteX95" fmla="*/ 1340789 w 1573156"/>
                <a:gd name="connsiteY95" fmla="*/ 591288 h 3641849"/>
                <a:gd name="connsiteX96" fmla="*/ 1260263 w 1573156"/>
                <a:gd name="connsiteY96" fmla="*/ 545048 h 3641849"/>
                <a:gd name="connsiteX97" fmla="*/ 1246408 w 1573156"/>
                <a:gd name="connsiteY97" fmla="*/ 472648 h 3641849"/>
                <a:gd name="connsiteX98" fmla="*/ 1246408 w 1573156"/>
                <a:gd name="connsiteY98" fmla="*/ 454548 h 3641849"/>
                <a:gd name="connsiteX99" fmla="*/ 1257491 w 1573156"/>
                <a:gd name="connsiteY99" fmla="*/ 431276 h 3641849"/>
                <a:gd name="connsiteX100" fmla="*/ 1260263 w 1573156"/>
                <a:gd name="connsiteY100" fmla="*/ 415762 h 3641849"/>
                <a:gd name="connsiteX101" fmla="*/ 1260262 w 1573156"/>
                <a:gd name="connsiteY101" fmla="*/ 358878 h 3641849"/>
                <a:gd name="connsiteX102" fmla="*/ 1238094 w 1573156"/>
                <a:gd name="connsiteY102" fmla="*/ 335607 h 3641849"/>
                <a:gd name="connsiteX103" fmla="*/ 1210384 w 1573156"/>
                <a:gd name="connsiteY103" fmla="*/ 304578 h 3641849"/>
                <a:gd name="connsiteX104" fmla="*/ 1206216 w 1573156"/>
                <a:gd name="connsiteY104" fmla="*/ 280325 h 3641849"/>
                <a:gd name="connsiteX105" fmla="*/ 1257492 w 1573156"/>
                <a:gd name="connsiteY105" fmla="*/ 258034 h 3641849"/>
                <a:gd name="connsiteX106" fmla="*/ 1311072 w 1573156"/>
                <a:gd name="connsiteY106" fmla="*/ 267906 h 3641849"/>
                <a:gd name="connsiteX107" fmla="*/ 1389856 w 1573156"/>
                <a:gd name="connsiteY107" fmla="*/ 279816 h 3641849"/>
                <a:gd name="connsiteX108" fmla="*/ 1474179 w 1573156"/>
                <a:gd name="connsiteY108" fmla="*/ 349175 h 3641849"/>
                <a:gd name="connsiteX109" fmla="*/ 1536314 w 1573156"/>
                <a:gd name="connsiteY109" fmla="*/ 425271 h 3641849"/>
                <a:gd name="connsiteX110" fmla="*/ 1435343 w 1573156"/>
                <a:gd name="connsiteY110" fmla="*/ 454265 h 3641849"/>
                <a:gd name="connsiteX111" fmla="*/ 1419809 w 1573156"/>
                <a:gd name="connsiteY111" fmla="*/ 501372 h 3641849"/>
                <a:gd name="connsiteX112" fmla="*/ 1477479 w 1573156"/>
                <a:gd name="connsiteY112" fmla="*/ 585862 h 3641849"/>
                <a:gd name="connsiteX113" fmla="*/ 1513013 w 1573156"/>
                <a:gd name="connsiteY113" fmla="*/ 591964 h 3641849"/>
                <a:gd name="connsiteX114" fmla="*/ 1565633 w 1573156"/>
                <a:gd name="connsiteY114" fmla="*/ 598304 h 3641849"/>
                <a:gd name="connsiteX115" fmla="*/ 1560670 w 1573156"/>
                <a:gd name="connsiteY115" fmla="*/ 709079 h 3641849"/>
                <a:gd name="connsiteX116" fmla="*/ 1571739 w 1573156"/>
                <a:gd name="connsiteY116" fmla="*/ 1040047 h 3641849"/>
                <a:gd name="connsiteX117" fmla="*/ 1562871 w 1573156"/>
                <a:gd name="connsiteY117" fmla="*/ 1842646 h 3641849"/>
                <a:gd name="connsiteX118" fmla="*/ 1571738 w 1573156"/>
                <a:gd name="connsiteY118" fmla="*/ 2297728 h 3641849"/>
                <a:gd name="connsiteX119" fmla="*/ 1545290 w 1573156"/>
                <a:gd name="connsiteY119" fmla="*/ 3607693 h 3641849"/>
                <a:gd name="connsiteX120" fmla="*/ 1286863 w 1573156"/>
                <a:gd name="connsiteY120" fmla="*/ 3564098 h 3641849"/>
                <a:gd name="connsiteX121" fmla="*/ 1118385 w 1573156"/>
                <a:gd name="connsiteY121" fmla="*/ 3497903 h 3641849"/>
                <a:gd name="connsiteX122" fmla="*/ 941039 w 1573156"/>
                <a:gd name="connsiteY122" fmla="*/ 3406887 h 3641849"/>
                <a:gd name="connsiteX123" fmla="*/ 842741 w 1573156"/>
                <a:gd name="connsiteY123" fmla="*/ 3326370 h 3641849"/>
                <a:gd name="connsiteX124" fmla="*/ 1137003 w 1573156"/>
                <a:gd name="connsiteY124" fmla="*/ 3018734 h 3641849"/>
                <a:gd name="connsiteX125" fmla="*/ 853249 w 1573156"/>
                <a:gd name="connsiteY125" fmla="*/ 2480910 h 3641849"/>
                <a:gd name="connsiteX126" fmla="*/ 557777 w 1573156"/>
                <a:gd name="connsiteY126" fmla="*/ 2715007 h 3641849"/>
                <a:gd name="connsiteX127" fmla="*/ 531809 w 1573156"/>
                <a:gd name="connsiteY127" fmla="*/ 2657256 h 3641849"/>
                <a:gd name="connsiteX128" fmla="*/ 660385 w 1573156"/>
                <a:gd name="connsiteY128" fmla="*/ 2391963 h 3641849"/>
                <a:gd name="connsiteX129" fmla="*/ 91772 w 1573156"/>
                <a:gd name="connsiteY129" fmla="*/ 2159767 h 3641849"/>
                <a:gd name="connsiteX0" fmla="*/ 91772 w 1573156"/>
                <a:gd name="connsiteY0" fmla="*/ 2159767 h 3641849"/>
                <a:gd name="connsiteX1" fmla="*/ 112897 w 1573156"/>
                <a:gd name="connsiteY1" fmla="*/ 1811024 h 3641849"/>
                <a:gd name="connsiteX2" fmla="*/ 162776 w 1573156"/>
                <a:gd name="connsiteY2" fmla="*/ 1785166 h 3641849"/>
                <a:gd name="connsiteX3" fmla="*/ 107355 w 1573156"/>
                <a:gd name="connsiteY3" fmla="*/ 1751552 h 3641849"/>
                <a:gd name="connsiteX4" fmla="*/ 40851 w 1573156"/>
                <a:gd name="connsiteY4" fmla="*/ 1746381 h 3641849"/>
                <a:gd name="connsiteX5" fmla="*/ 2057 w 1573156"/>
                <a:gd name="connsiteY5" fmla="*/ 1730867 h 3641849"/>
                <a:gd name="connsiteX6" fmla="*/ 38079 w 1573156"/>
                <a:gd name="connsiteY6" fmla="*/ 1689496 h 3641849"/>
                <a:gd name="connsiteX7" fmla="*/ 18683 w 1573156"/>
                <a:gd name="connsiteY7" fmla="*/ 1679153 h 3641849"/>
                <a:gd name="connsiteX8" fmla="*/ 2055 w 1573156"/>
                <a:gd name="connsiteY8" fmla="*/ 1640367 h 3641849"/>
                <a:gd name="connsiteX9" fmla="*/ 65790 w 1573156"/>
                <a:gd name="connsiteY9" fmla="*/ 1650711 h 3641849"/>
                <a:gd name="connsiteX10" fmla="*/ 93501 w 1573156"/>
                <a:gd name="connsiteY10" fmla="*/ 1627440 h 3641849"/>
                <a:gd name="connsiteX11" fmla="*/ 187716 w 1573156"/>
                <a:gd name="connsiteY11" fmla="*/ 1536941 h 3641849"/>
                <a:gd name="connsiteX12" fmla="*/ 212655 w 1573156"/>
                <a:gd name="connsiteY12" fmla="*/ 1505912 h 3641849"/>
                <a:gd name="connsiteX13" fmla="*/ 198801 w 1573156"/>
                <a:gd name="connsiteY13" fmla="*/ 1555040 h 3641849"/>
                <a:gd name="connsiteX14" fmla="*/ 218197 w 1573156"/>
                <a:gd name="connsiteY14" fmla="*/ 1588655 h 3641849"/>
                <a:gd name="connsiteX15" fmla="*/ 262534 w 1573156"/>
                <a:gd name="connsiteY15" fmla="*/ 1666225 h 3641849"/>
                <a:gd name="connsiteX16" fmla="*/ 331810 w 1573156"/>
                <a:gd name="connsiteY16" fmla="*/ 1653297 h 3641849"/>
                <a:gd name="connsiteX17" fmla="*/ 351206 w 1573156"/>
                <a:gd name="connsiteY17" fmla="*/ 1622268 h 3641849"/>
                <a:gd name="connsiteX18" fmla="*/ 365062 w 1573156"/>
                <a:gd name="connsiteY18" fmla="*/ 1557627 h 3641849"/>
                <a:gd name="connsiteX19" fmla="*/ 304099 w 1573156"/>
                <a:gd name="connsiteY19" fmla="*/ 1511084 h 3641849"/>
                <a:gd name="connsiteX20" fmla="*/ 259763 w 1573156"/>
                <a:gd name="connsiteY20" fmla="*/ 1485227 h 3641849"/>
                <a:gd name="connsiteX21" fmla="*/ 198801 w 1573156"/>
                <a:gd name="connsiteY21" fmla="*/ 1495570 h 3641849"/>
                <a:gd name="connsiteX22" fmla="*/ 376147 w 1573156"/>
                <a:gd name="connsiteY22" fmla="*/ 1299057 h 3641849"/>
                <a:gd name="connsiteX23" fmla="*/ 223740 w 1573156"/>
                <a:gd name="connsiteY23" fmla="*/ 1151672 h 3641849"/>
                <a:gd name="connsiteX24" fmla="*/ 284703 w 1573156"/>
                <a:gd name="connsiteY24" fmla="*/ 1089617 h 3641849"/>
                <a:gd name="connsiteX25" fmla="*/ 218198 w 1573156"/>
                <a:gd name="connsiteY25" fmla="*/ 1050829 h 3641849"/>
                <a:gd name="connsiteX26" fmla="*/ 259763 w 1573156"/>
                <a:gd name="connsiteY26" fmla="*/ 1019802 h 3641849"/>
                <a:gd name="connsiteX27" fmla="*/ 212657 w 1573156"/>
                <a:gd name="connsiteY27" fmla="*/ 993947 h 3641849"/>
                <a:gd name="connsiteX28" fmla="*/ 212656 w 1573156"/>
                <a:gd name="connsiteY28" fmla="*/ 794845 h 3641849"/>
                <a:gd name="connsiteX29" fmla="*/ 251451 w 1573156"/>
                <a:gd name="connsiteY29" fmla="*/ 779332 h 3641849"/>
                <a:gd name="connsiteX30" fmla="*/ 137838 w 1573156"/>
                <a:gd name="connsiteY30" fmla="*/ 551792 h 3641849"/>
                <a:gd name="connsiteX31" fmla="*/ 135067 w 1573156"/>
                <a:gd name="connsiteY31" fmla="*/ 551792 h 3641849"/>
                <a:gd name="connsiteX32" fmla="*/ 184945 w 1573156"/>
                <a:gd name="connsiteY32" fmla="*/ 469048 h 3641849"/>
                <a:gd name="connsiteX33" fmla="*/ 201571 w 1573156"/>
                <a:gd name="connsiteY33" fmla="*/ 378550 h 3641849"/>
                <a:gd name="connsiteX34" fmla="*/ 126752 w 1573156"/>
                <a:gd name="connsiteY34" fmla="*/ 319079 h 3641849"/>
                <a:gd name="connsiteX35" fmla="*/ 118440 w 1573156"/>
                <a:gd name="connsiteY35" fmla="*/ 251851 h 3641849"/>
                <a:gd name="connsiteX36" fmla="*/ 173860 w 1573156"/>
                <a:gd name="connsiteY36" fmla="*/ 158764 h 3641849"/>
                <a:gd name="connsiteX37" fmla="*/ 193258 w 1573156"/>
                <a:gd name="connsiteY37" fmla="*/ 135494 h 3641849"/>
                <a:gd name="connsiteX38" fmla="*/ 207113 w 1573156"/>
                <a:gd name="connsiteY38" fmla="*/ 117394 h 3641849"/>
                <a:gd name="connsiteX39" fmla="*/ 215426 w 1573156"/>
                <a:gd name="connsiteY39" fmla="*/ 73438 h 3641849"/>
                <a:gd name="connsiteX40" fmla="*/ 240365 w 1573156"/>
                <a:gd name="connsiteY40" fmla="*/ 101880 h 3641849"/>
                <a:gd name="connsiteX41" fmla="*/ 270847 w 1573156"/>
                <a:gd name="connsiteY41" fmla="*/ 88952 h 3641849"/>
                <a:gd name="connsiteX42" fmla="*/ 273617 w 1573156"/>
                <a:gd name="connsiteY42" fmla="*/ 63095 h 3641849"/>
                <a:gd name="connsiteX43" fmla="*/ 281931 w 1573156"/>
                <a:gd name="connsiteY43" fmla="*/ 34652 h 3641849"/>
                <a:gd name="connsiteX44" fmla="*/ 284703 w 1573156"/>
                <a:gd name="connsiteY44" fmla="*/ 3624 h 3641849"/>
                <a:gd name="connsiteX45" fmla="*/ 420483 w 1573156"/>
                <a:gd name="connsiteY45" fmla="*/ 57924 h 3641849"/>
                <a:gd name="connsiteX46" fmla="*/ 450963 w 1573156"/>
                <a:gd name="connsiteY46" fmla="*/ 161352 h 3641849"/>
                <a:gd name="connsiteX47" fmla="*/ 464819 w 1573156"/>
                <a:gd name="connsiteY47" fmla="*/ 184622 h 3641849"/>
                <a:gd name="connsiteX48" fmla="*/ 475903 w 1573156"/>
                <a:gd name="connsiteY48" fmla="*/ 187208 h 3641849"/>
                <a:gd name="connsiteX49" fmla="*/ 589515 w 1573156"/>
                <a:gd name="connsiteY49" fmla="*/ 156181 h 3641849"/>
                <a:gd name="connsiteX50" fmla="*/ 656020 w 1573156"/>
                <a:gd name="connsiteY50" fmla="*/ 166522 h 3641849"/>
                <a:gd name="connsiteX51" fmla="*/ 719754 w 1573156"/>
                <a:gd name="connsiteY51" fmla="*/ 213065 h 3641849"/>
                <a:gd name="connsiteX52" fmla="*/ 733781 w 1573156"/>
                <a:gd name="connsiteY52" fmla="*/ 242621 h 3641849"/>
                <a:gd name="connsiteX53" fmla="*/ 789028 w 1573156"/>
                <a:gd name="connsiteY53" fmla="*/ 277708 h 3641849"/>
                <a:gd name="connsiteX54" fmla="*/ 877702 w 1573156"/>
                <a:gd name="connsiteY54" fmla="*/ 303563 h 3641849"/>
                <a:gd name="connsiteX55" fmla="*/ 949748 w 1573156"/>
                <a:gd name="connsiteY55" fmla="*/ 350106 h 3641849"/>
                <a:gd name="connsiteX56" fmla="*/ 999627 w 1573156"/>
                <a:gd name="connsiteY56" fmla="*/ 401820 h 3641849"/>
                <a:gd name="connsiteX57" fmla="*/ 1024566 w 1573156"/>
                <a:gd name="connsiteY57" fmla="*/ 440606 h 3641849"/>
                <a:gd name="connsiteX58" fmla="*/ 1057819 w 1573156"/>
                <a:gd name="connsiteY58" fmla="*/ 466462 h 3641849"/>
                <a:gd name="connsiteX59" fmla="*/ 1041191 w 1573156"/>
                <a:gd name="connsiteY59" fmla="*/ 691417 h 3641849"/>
                <a:gd name="connsiteX60" fmla="*/ 913725 w 1573156"/>
                <a:gd name="connsiteY60" fmla="*/ 771575 h 3641849"/>
                <a:gd name="connsiteX61" fmla="*/ 800113 w 1573156"/>
                <a:gd name="connsiteY61" fmla="*/ 779331 h 3641849"/>
                <a:gd name="connsiteX62" fmla="*/ 661560 w 1573156"/>
                <a:gd name="connsiteY62" fmla="*/ 758645 h 3641849"/>
                <a:gd name="connsiteX63" fmla="*/ 570116 w 1573156"/>
                <a:gd name="connsiteY63" fmla="*/ 722445 h 3641849"/>
                <a:gd name="connsiteX64" fmla="*/ 550719 w 1573156"/>
                <a:gd name="connsiteY64" fmla="*/ 750888 h 3641849"/>
                <a:gd name="connsiteX65" fmla="*/ 581361 w 1573156"/>
                <a:gd name="connsiteY65" fmla="*/ 824301 h 3641849"/>
                <a:gd name="connsiteX66" fmla="*/ 586902 w 1573156"/>
                <a:gd name="connsiteY66" fmla="*/ 951000 h 3641849"/>
                <a:gd name="connsiteX67" fmla="*/ 559032 w 1573156"/>
                <a:gd name="connsiteY67" fmla="*/ 1012043 h 3641849"/>
                <a:gd name="connsiteX68" fmla="*/ 614451 w 1573156"/>
                <a:gd name="connsiteY68" fmla="*/ 1032728 h 3641849"/>
                <a:gd name="connsiteX69" fmla="*/ 631079 w 1573156"/>
                <a:gd name="connsiteY69" fmla="*/ 1048242 h 3641849"/>
                <a:gd name="connsiteX70" fmla="*/ 656019 w 1573156"/>
                <a:gd name="connsiteY70" fmla="*/ 1074099 h 3641849"/>
                <a:gd name="connsiteX71" fmla="*/ 653248 w 1573156"/>
                <a:gd name="connsiteY71" fmla="*/ 1076685 h 3641849"/>
                <a:gd name="connsiteX72" fmla="*/ 692041 w 1573156"/>
                <a:gd name="connsiteY72" fmla="*/ 1071514 h 3641849"/>
                <a:gd name="connsiteX73" fmla="*/ 700355 w 1573156"/>
                <a:gd name="connsiteY73" fmla="*/ 1035314 h 3641849"/>
                <a:gd name="connsiteX74" fmla="*/ 661560 w 1573156"/>
                <a:gd name="connsiteY74" fmla="*/ 957743 h 3641849"/>
                <a:gd name="connsiteX75" fmla="*/ 730836 w 1573156"/>
                <a:gd name="connsiteY75" fmla="*/ 911200 h 3641849"/>
                <a:gd name="connsiteX76" fmla="*/ 798608 w 1573156"/>
                <a:gd name="connsiteY76" fmla="*/ 918934 h 3641849"/>
                <a:gd name="connsiteX77" fmla="*/ 822441 w 1573156"/>
                <a:gd name="connsiteY77" fmla="*/ 951001 h 3641849"/>
                <a:gd name="connsiteX78" fmla="*/ 978170 w 1573156"/>
                <a:gd name="connsiteY78" fmla="*/ 1007364 h 3641849"/>
                <a:gd name="connsiteX79" fmla="*/ 963762 w 1573156"/>
                <a:gd name="connsiteY79" fmla="*/ 971687 h 3641849"/>
                <a:gd name="connsiteX80" fmla="*/ 930510 w 1573156"/>
                <a:gd name="connsiteY80" fmla="*/ 932901 h 3641849"/>
                <a:gd name="connsiteX81" fmla="*/ 919426 w 1573156"/>
                <a:gd name="connsiteY81" fmla="*/ 881187 h 3641849"/>
                <a:gd name="connsiteX82" fmla="*/ 958221 w 1573156"/>
                <a:gd name="connsiteY82" fmla="*/ 832060 h 3641849"/>
                <a:gd name="connsiteX83" fmla="*/ 985931 w 1573156"/>
                <a:gd name="connsiteY83" fmla="*/ 803617 h 3641849"/>
                <a:gd name="connsiteX84" fmla="*/ 1010871 w 1573156"/>
                <a:gd name="connsiteY84" fmla="*/ 767417 h 3641849"/>
                <a:gd name="connsiteX85" fmla="*/ 1091231 w 1573156"/>
                <a:gd name="connsiteY85" fmla="*/ 762245 h 3641849"/>
                <a:gd name="connsiteX86" fmla="*/ 1096772 w 1573156"/>
                <a:gd name="connsiteY86" fmla="*/ 741560 h 3641849"/>
                <a:gd name="connsiteX87" fmla="*/ 1121712 w 1573156"/>
                <a:gd name="connsiteY87" fmla="*/ 705360 h 3641849"/>
                <a:gd name="connsiteX88" fmla="*/ 1155516 w 1573156"/>
                <a:gd name="connsiteY88" fmla="*/ 687772 h 3641849"/>
                <a:gd name="connsiteX89" fmla="*/ 1213156 w 1573156"/>
                <a:gd name="connsiteY89" fmla="*/ 700189 h 3641849"/>
                <a:gd name="connsiteX90" fmla="*/ 1251949 w 1573156"/>
                <a:gd name="connsiteY90" fmla="*/ 720875 h 3641849"/>
                <a:gd name="connsiteX91" fmla="*/ 1299057 w 1573156"/>
                <a:gd name="connsiteY91" fmla="*/ 728632 h 3641849"/>
                <a:gd name="connsiteX92" fmla="*/ 1299057 w 1573156"/>
                <a:gd name="connsiteY92" fmla="*/ 733803 h 3641849"/>
                <a:gd name="connsiteX93" fmla="*/ 1321226 w 1573156"/>
                <a:gd name="connsiteY93" fmla="*/ 674332 h 3641849"/>
                <a:gd name="connsiteX94" fmla="*/ 1331201 w 1573156"/>
                <a:gd name="connsiteY94" fmla="*/ 640714 h 3641849"/>
                <a:gd name="connsiteX95" fmla="*/ 1337852 w 1573156"/>
                <a:gd name="connsiteY95" fmla="*/ 622618 h 3641849"/>
                <a:gd name="connsiteX96" fmla="*/ 1340789 w 1573156"/>
                <a:gd name="connsiteY96" fmla="*/ 591288 h 3641849"/>
                <a:gd name="connsiteX97" fmla="*/ 1260263 w 1573156"/>
                <a:gd name="connsiteY97" fmla="*/ 545048 h 3641849"/>
                <a:gd name="connsiteX98" fmla="*/ 1246408 w 1573156"/>
                <a:gd name="connsiteY98" fmla="*/ 472648 h 3641849"/>
                <a:gd name="connsiteX99" fmla="*/ 1246408 w 1573156"/>
                <a:gd name="connsiteY99" fmla="*/ 454548 h 3641849"/>
                <a:gd name="connsiteX100" fmla="*/ 1257491 w 1573156"/>
                <a:gd name="connsiteY100" fmla="*/ 431276 h 3641849"/>
                <a:gd name="connsiteX101" fmla="*/ 1260263 w 1573156"/>
                <a:gd name="connsiteY101" fmla="*/ 415762 h 3641849"/>
                <a:gd name="connsiteX102" fmla="*/ 1260262 w 1573156"/>
                <a:gd name="connsiteY102" fmla="*/ 358878 h 3641849"/>
                <a:gd name="connsiteX103" fmla="*/ 1238094 w 1573156"/>
                <a:gd name="connsiteY103" fmla="*/ 335607 h 3641849"/>
                <a:gd name="connsiteX104" fmla="*/ 1210384 w 1573156"/>
                <a:gd name="connsiteY104" fmla="*/ 304578 h 3641849"/>
                <a:gd name="connsiteX105" fmla="*/ 1206216 w 1573156"/>
                <a:gd name="connsiteY105" fmla="*/ 280325 h 3641849"/>
                <a:gd name="connsiteX106" fmla="*/ 1257492 w 1573156"/>
                <a:gd name="connsiteY106" fmla="*/ 258034 h 3641849"/>
                <a:gd name="connsiteX107" fmla="*/ 1311072 w 1573156"/>
                <a:gd name="connsiteY107" fmla="*/ 267906 h 3641849"/>
                <a:gd name="connsiteX108" fmla="*/ 1389856 w 1573156"/>
                <a:gd name="connsiteY108" fmla="*/ 279816 h 3641849"/>
                <a:gd name="connsiteX109" fmla="*/ 1474179 w 1573156"/>
                <a:gd name="connsiteY109" fmla="*/ 349175 h 3641849"/>
                <a:gd name="connsiteX110" fmla="*/ 1536314 w 1573156"/>
                <a:gd name="connsiteY110" fmla="*/ 425271 h 3641849"/>
                <a:gd name="connsiteX111" fmla="*/ 1435343 w 1573156"/>
                <a:gd name="connsiteY111" fmla="*/ 454265 h 3641849"/>
                <a:gd name="connsiteX112" fmla="*/ 1419809 w 1573156"/>
                <a:gd name="connsiteY112" fmla="*/ 501372 h 3641849"/>
                <a:gd name="connsiteX113" fmla="*/ 1477479 w 1573156"/>
                <a:gd name="connsiteY113" fmla="*/ 585862 h 3641849"/>
                <a:gd name="connsiteX114" fmla="*/ 1513013 w 1573156"/>
                <a:gd name="connsiteY114" fmla="*/ 591964 h 3641849"/>
                <a:gd name="connsiteX115" fmla="*/ 1565633 w 1573156"/>
                <a:gd name="connsiteY115" fmla="*/ 598304 h 3641849"/>
                <a:gd name="connsiteX116" fmla="*/ 1560670 w 1573156"/>
                <a:gd name="connsiteY116" fmla="*/ 709079 h 3641849"/>
                <a:gd name="connsiteX117" fmla="*/ 1571739 w 1573156"/>
                <a:gd name="connsiteY117" fmla="*/ 1040047 h 3641849"/>
                <a:gd name="connsiteX118" fmla="*/ 1562871 w 1573156"/>
                <a:gd name="connsiteY118" fmla="*/ 1842646 h 3641849"/>
                <a:gd name="connsiteX119" fmla="*/ 1571738 w 1573156"/>
                <a:gd name="connsiteY119" fmla="*/ 2297728 h 3641849"/>
                <a:gd name="connsiteX120" fmla="*/ 1545290 w 1573156"/>
                <a:gd name="connsiteY120" fmla="*/ 3607693 h 3641849"/>
                <a:gd name="connsiteX121" fmla="*/ 1286863 w 1573156"/>
                <a:gd name="connsiteY121" fmla="*/ 3564098 h 3641849"/>
                <a:gd name="connsiteX122" fmla="*/ 1118385 w 1573156"/>
                <a:gd name="connsiteY122" fmla="*/ 3497903 h 3641849"/>
                <a:gd name="connsiteX123" fmla="*/ 941039 w 1573156"/>
                <a:gd name="connsiteY123" fmla="*/ 3406887 h 3641849"/>
                <a:gd name="connsiteX124" fmla="*/ 842741 w 1573156"/>
                <a:gd name="connsiteY124" fmla="*/ 3326370 h 3641849"/>
                <a:gd name="connsiteX125" fmla="*/ 1137003 w 1573156"/>
                <a:gd name="connsiteY125" fmla="*/ 3018734 h 3641849"/>
                <a:gd name="connsiteX126" fmla="*/ 853249 w 1573156"/>
                <a:gd name="connsiteY126" fmla="*/ 2480910 h 3641849"/>
                <a:gd name="connsiteX127" fmla="*/ 557777 w 1573156"/>
                <a:gd name="connsiteY127" fmla="*/ 2715007 h 3641849"/>
                <a:gd name="connsiteX128" fmla="*/ 531809 w 1573156"/>
                <a:gd name="connsiteY128" fmla="*/ 2657256 h 3641849"/>
                <a:gd name="connsiteX129" fmla="*/ 660385 w 1573156"/>
                <a:gd name="connsiteY129" fmla="*/ 2391963 h 3641849"/>
                <a:gd name="connsiteX130" fmla="*/ 91772 w 1573156"/>
                <a:gd name="connsiteY130" fmla="*/ 2159767 h 3641849"/>
                <a:gd name="connsiteX0" fmla="*/ 91772 w 1573156"/>
                <a:gd name="connsiteY0" fmla="*/ 2159767 h 3641849"/>
                <a:gd name="connsiteX1" fmla="*/ 112897 w 1573156"/>
                <a:gd name="connsiteY1" fmla="*/ 1811024 h 3641849"/>
                <a:gd name="connsiteX2" fmla="*/ 162776 w 1573156"/>
                <a:gd name="connsiteY2" fmla="*/ 1785166 h 3641849"/>
                <a:gd name="connsiteX3" fmla="*/ 107355 w 1573156"/>
                <a:gd name="connsiteY3" fmla="*/ 1751552 h 3641849"/>
                <a:gd name="connsiteX4" fmla="*/ 40851 w 1573156"/>
                <a:gd name="connsiteY4" fmla="*/ 1746381 h 3641849"/>
                <a:gd name="connsiteX5" fmla="*/ 2057 w 1573156"/>
                <a:gd name="connsiteY5" fmla="*/ 1730867 h 3641849"/>
                <a:gd name="connsiteX6" fmla="*/ 38079 w 1573156"/>
                <a:gd name="connsiteY6" fmla="*/ 1689496 h 3641849"/>
                <a:gd name="connsiteX7" fmla="*/ 18683 w 1573156"/>
                <a:gd name="connsiteY7" fmla="*/ 1679153 h 3641849"/>
                <a:gd name="connsiteX8" fmla="*/ 2055 w 1573156"/>
                <a:gd name="connsiteY8" fmla="*/ 1640367 h 3641849"/>
                <a:gd name="connsiteX9" fmla="*/ 65790 w 1573156"/>
                <a:gd name="connsiteY9" fmla="*/ 1650711 h 3641849"/>
                <a:gd name="connsiteX10" fmla="*/ 93501 w 1573156"/>
                <a:gd name="connsiteY10" fmla="*/ 1627440 h 3641849"/>
                <a:gd name="connsiteX11" fmla="*/ 187716 w 1573156"/>
                <a:gd name="connsiteY11" fmla="*/ 1536941 h 3641849"/>
                <a:gd name="connsiteX12" fmla="*/ 212655 w 1573156"/>
                <a:gd name="connsiteY12" fmla="*/ 1505912 h 3641849"/>
                <a:gd name="connsiteX13" fmla="*/ 198801 w 1573156"/>
                <a:gd name="connsiteY13" fmla="*/ 1555040 h 3641849"/>
                <a:gd name="connsiteX14" fmla="*/ 218197 w 1573156"/>
                <a:gd name="connsiteY14" fmla="*/ 1588655 h 3641849"/>
                <a:gd name="connsiteX15" fmla="*/ 262534 w 1573156"/>
                <a:gd name="connsiteY15" fmla="*/ 1666225 h 3641849"/>
                <a:gd name="connsiteX16" fmla="*/ 331810 w 1573156"/>
                <a:gd name="connsiteY16" fmla="*/ 1653297 h 3641849"/>
                <a:gd name="connsiteX17" fmla="*/ 351206 w 1573156"/>
                <a:gd name="connsiteY17" fmla="*/ 1622268 h 3641849"/>
                <a:gd name="connsiteX18" fmla="*/ 365062 w 1573156"/>
                <a:gd name="connsiteY18" fmla="*/ 1557627 h 3641849"/>
                <a:gd name="connsiteX19" fmla="*/ 304099 w 1573156"/>
                <a:gd name="connsiteY19" fmla="*/ 1511084 h 3641849"/>
                <a:gd name="connsiteX20" fmla="*/ 259763 w 1573156"/>
                <a:gd name="connsiteY20" fmla="*/ 1485227 h 3641849"/>
                <a:gd name="connsiteX21" fmla="*/ 198801 w 1573156"/>
                <a:gd name="connsiteY21" fmla="*/ 1495570 h 3641849"/>
                <a:gd name="connsiteX22" fmla="*/ 376147 w 1573156"/>
                <a:gd name="connsiteY22" fmla="*/ 1299057 h 3641849"/>
                <a:gd name="connsiteX23" fmla="*/ 223740 w 1573156"/>
                <a:gd name="connsiteY23" fmla="*/ 1151672 h 3641849"/>
                <a:gd name="connsiteX24" fmla="*/ 284703 w 1573156"/>
                <a:gd name="connsiteY24" fmla="*/ 1089617 h 3641849"/>
                <a:gd name="connsiteX25" fmla="*/ 218198 w 1573156"/>
                <a:gd name="connsiteY25" fmla="*/ 1050829 h 3641849"/>
                <a:gd name="connsiteX26" fmla="*/ 259763 w 1573156"/>
                <a:gd name="connsiteY26" fmla="*/ 1019802 h 3641849"/>
                <a:gd name="connsiteX27" fmla="*/ 212657 w 1573156"/>
                <a:gd name="connsiteY27" fmla="*/ 993947 h 3641849"/>
                <a:gd name="connsiteX28" fmla="*/ 212656 w 1573156"/>
                <a:gd name="connsiteY28" fmla="*/ 794845 h 3641849"/>
                <a:gd name="connsiteX29" fmla="*/ 251451 w 1573156"/>
                <a:gd name="connsiteY29" fmla="*/ 779332 h 3641849"/>
                <a:gd name="connsiteX30" fmla="*/ 137838 w 1573156"/>
                <a:gd name="connsiteY30" fmla="*/ 551792 h 3641849"/>
                <a:gd name="connsiteX31" fmla="*/ 135067 w 1573156"/>
                <a:gd name="connsiteY31" fmla="*/ 551792 h 3641849"/>
                <a:gd name="connsiteX32" fmla="*/ 184945 w 1573156"/>
                <a:gd name="connsiteY32" fmla="*/ 469048 h 3641849"/>
                <a:gd name="connsiteX33" fmla="*/ 201571 w 1573156"/>
                <a:gd name="connsiteY33" fmla="*/ 378550 h 3641849"/>
                <a:gd name="connsiteX34" fmla="*/ 126752 w 1573156"/>
                <a:gd name="connsiteY34" fmla="*/ 319079 h 3641849"/>
                <a:gd name="connsiteX35" fmla="*/ 118440 w 1573156"/>
                <a:gd name="connsiteY35" fmla="*/ 251851 h 3641849"/>
                <a:gd name="connsiteX36" fmla="*/ 173860 w 1573156"/>
                <a:gd name="connsiteY36" fmla="*/ 158764 h 3641849"/>
                <a:gd name="connsiteX37" fmla="*/ 193258 w 1573156"/>
                <a:gd name="connsiteY37" fmla="*/ 135494 h 3641849"/>
                <a:gd name="connsiteX38" fmla="*/ 207113 w 1573156"/>
                <a:gd name="connsiteY38" fmla="*/ 117394 h 3641849"/>
                <a:gd name="connsiteX39" fmla="*/ 215426 w 1573156"/>
                <a:gd name="connsiteY39" fmla="*/ 73438 h 3641849"/>
                <a:gd name="connsiteX40" fmla="*/ 240365 w 1573156"/>
                <a:gd name="connsiteY40" fmla="*/ 101880 h 3641849"/>
                <a:gd name="connsiteX41" fmla="*/ 270847 w 1573156"/>
                <a:gd name="connsiteY41" fmla="*/ 88952 h 3641849"/>
                <a:gd name="connsiteX42" fmla="*/ 273617 w 1573156"/>
                <a:gd name="connsiteY42" fmla="*/ 63095 h 3641849"/>
                <a:gd name="connsiteX43" fmla="*/ 281931 w 1573156"/>
                <a:gd name="connsiteY43" fmla="*/ 34652 h 3641849"/>
                <a:gd name="connsiteX44" fmla="*/ 284703 w 1573156"/>
                <a:gd name="connsiteY44" fmla="*/ 3624 h 3641849"/>
                <a:gd name="connsiteX45" fmla="*/ 420483 w 1573156"/>
                <a:gd name="connsiteY45" fmla="*/ 57924 h 3641849"/>
                <a:gd name="connsiteX46" fmla="*/ 450963 w 1573156"/>
                <a:gd name="connsiteY46" fmla="*/ 161352 h 3641849"/>
                <a:gd name="connsiteX47" fmla="*/ 464819 w 1573156"/>
                <a:gd name="connsiteY47" fmla="*/ 184622 h 3641849"/>
                <a:gd name="connsiteX48" fmla="*/ 475903 w 1573156"/>
                <a:gd name="connsiteY48" fmla="*/ 187208 h 3641849"/>
                <a:gd name="connsiteX49" fmla="*/ 589515 w 1573156"/>
                <a:gd name="connsiteY49" fmla="*/ 156181 h 3641849"/>
                <a:gd name="connsiteX50" fmla="*/ 656020 w 1573156"/>
                <a:gd name="connsiteY50" fmla="*/ 166522 h 3641849"/>
                <a:gd name="connsiteX51" fmla="*/ 719754 w 1573156"/>
                <a:gd name="connsiteY51" fmla="*/ 213065 h 3641849"/>
                <a:gd name="connsiteX52" fmla="*/ 733781 w 1573156"/>
                <a:gd name="connsiteY52" fmla="*/ 242621 h 3641849"/>
                <a:gd name="connsiteX53" fmla="*/ 789028 w 1573156"/>
                <a:gd name="connsiteY53" fmla="*/ 277708 h 3641849"/>
                <a:gd name="connsiteX54" fmla="*/ 877702 w 1573156"/>
                <a:gd name="connsiteY54" fmla="*/ 303563 h 3641849"/>
                <a:gd name="connsiteX55" fmla="*/ 949748 w 1573156"/>
                <a:gd name="connsiteY55" fmla="*/ 350106 h 3641849"/>
                <a:gd name="connsiteX56" fmla="*/ 999627 w 1573156"/>
                <a:gd name="connsiteY56" fmla="*/ 401820 h 3641849"/>
                <a:gd name="connsiteX57" fmla="*/ 1024566 w 1573156"/>
                <a:gd name="connsiteY57" fmla="*/ 440606 h 3641849"/>
                <a:gd name="connsiteX58" fmla="*/ 1057819 w 1573156"/>
                <a:gd name="connsiteY58" fmla="*/ 466462 h 3641849"/>
                <a:gd name="connsiteX59" fmla="*/ 1041191 w 1573156"/>
                <a:gd name="connsiteY59" fmla="*/ 691417 h 3641849"/>
                <a:gd name="connsiteX60" fmla="*/ 913725 w 1573156"/>
                <a:gd name="connsiteY60" fmla="*/ 771575 h 3641849"/>
                <a:gd name="connsiteX61" fmla="*/ 800113 w 1573156"/>
                <a:gd name="connsiteY61" fmla="*/ 779331 h 3641849"/>
                <a:gd name="connsiteX62" fmla="*/ 661560 w 1573156"/>
                <a:gd name="connsiteY62" fmla="*/ 758645 h 3641849"/>
                <a:gd name="connsiteX63" fmla="*/ 570116 w 1573156"/>
                <a:gd name="connsiteY63" fmla="*/ 722445 h 3641849"/>
                <a:gd name="connsiteX64" fmla="*/ 550719 w 1573156"/>
                <a:gd name="connsiteY64" fmla="*/ 750888 h 3641849"/>
                <a:gd name="connsiteX65" fmla="*/ 581361 w 1573156"/>
                <a:gd name="connsiteY65" fmla="*/ 824301 h 3641849"/>
                <a:gd name="connsiteX66" fmla="*/ 586902 w 1573156"/>
                <a:gd name="connsiteY66" fmla="*/ 951000 h 3641849"/>
                <a:gd name="connsiteX67" fmla="*/ 559032 w 1573156"/>
                <a:gd name="connsiteY67" fmla="*/ 1012043 h 3641849"/>
                <a:gd name="connsiteX68" fmla="*/ 614451 w 1573156"/>
                <a:gd name="connsiteY68" fmla="*/ 1032728 h 3641849"/>
                <a:gd name="connsiteX69" fmla="*/ 631079 w 1573156"/>
                <a:gd name="connsiteY69" fmla="*/ 1048242 h 3641849"/>
                <a:gd name="connsiteX70" fmla="*/ 656019 w 1573156"/>
                <a:gd name="connsiteY70" fmla="*/ 1074099 h 3641849"/>
                <a:gd name="connsiteX71" fmla="*/ 653248 w 1573156"/>
                <a:gd name="connsiteY71" fmla="*/ 1076685 h 3641849"/>
                <a:gd name="connsiteX72" fmla="*/ 692041 w 1573156"/>
                <a:gd name="connsiteY72" fmla="*/ 1071514 h 3641849"/>
                <a:gd name="connsiteX73" fmla="*/ 700355 w 1573156"/>
                <a:gd name="connsiteY73" fmla="*/ 1035314 h 3641849"/>
                <a:gd name="connsiteX74" fmla="*/ 661560 w 1573156"/>
                <a:gd name="connsiteY74" fmla="*/ 957743 h 3641849"/>
                <a:gd name="connsiteX75" fmla="*/ 730836 w 1573156"/>
                <a:gd name="connsiteY75" fmla="*/ 911200 h 3641849"/>
                <a:gd name="connsiteX76" fmla="*/ 798608 w 1573156"/>
                <a:gd name="connsiteY76" fmla="*/ 918934 h 3641849"/>
                <a:gd name="connsiteX77" fmla="*/ 822441 w 1573156"/>
                <a:gd name="connsiteY77" fmla="*/ 951001 h 3641849"/>
                <a:gd name="connsiteX78" fmla="*/ 978170 w 1573156"/>
                <a:gd name="connsiteY78" fmla="*/ 1007364 h 3641849"/>
                <a:gd name="connsiteX79" fmla="*/ 963762 w 1573156"/>
                <a:gd name="connsiteY79" fmla="*/ 971687 h 3641849"/>
                <a:gd name="connsiteX80" fmla="*/ 930510 w 1573156"/>
                <a:gd name="connsiteY80" fmla="*/ 932901 h 3641849"/>
                <a:gd name="connsiteX81" fmla="*/ 919426 w 1573156"/>
                <a:gd name="connsiteY81" fmla="*/ 881187 h 3641849"/>
                <a:gd name="connsiteX82" fmla="*/ 958221 w 1573156"/>
                <a:gd name="connsiteY82" fmla="*/ 832060 h 3641849"/>
                <a:gd name="connsiteX83" fmla="*/ 985931 w 1573156"/>
                <a:gd name="connsiteY83" fmla="*/ 803617 h 3641849"/>
                <a:gd name="connsiteX84" fmla="*/ 1010871 w 1573156"/>
                <a:gd name="connsiteY84" fmla="*/ 767417 h 3641849"/>
                <a:gd name="connsiteX85" fmla="*/ 1091231 w 1573156"/>
                <a:gd name="connsiteY85" fmla="*/ 762245 h 3641849"/>
                <a:gd name="connsiteX86" fmla="*/ 1096772 w 1573156"/>
                <a:gd name="connsiteY86" fmla="*/ 741560 h 3641849"/>
                <a:gd name="connsiteX87" fmla="*/ 1121712 w 1573156"/>
                <a:gd name="connsiteY87" fmla="*/ 705360 h 3641849"/>
                <a:gd name="connsiteX88" fmla="*/ 1155516 w 1573156"/>
                <a:gd name="connsiteY88" fmla="*/ 687772 h 3641849"/>
                <a:gd name="connsiteX89" fmla="*/ 1213156 w 1573156"/>
                <a:gd name="connsiteY89" fmla="*/ 700189 h 3641849"/>
                <a:gd name="connsiteX90" fmla="*/ 1251949 w 1573156"/>
                <a:gd name="connsiteY90" fmla="*/ 720875 h 3641849"/>
                <a:gd name="connsiteX91" fmla="*/ 1299057 w 1573156"/>
                <a:gd name="connsiteY91" fmla="*/ 728632 h 3641849"/>
                <a:gd name="connsiteX92" fmla="*/ 1299057 w 1573156"/>
                <a:gd name="connsiteY92" fmla="*/ 733803 h 3641849"/>
                <a:gd name="connsiteX93" fmla="*/ 1321226 w 1573156"/>
                <a:gd name="connsiteY93" fmla="*/ 674332 h 3641849"/>
                <a:gd name="connsiteX94" fmla="*/ 1331201 w 1573156"/>
                <a:gd name="connsiteY94" fmla="*/ 640714 h 3641849"/>
                <a:gd name="connsiteX95" fmla="*/ 1337852 w 1573156"/>
                <a:gd name="connsiteY95" fmla="*/ 622618 h 3641849"/>
                <a:gd name="connsiteX96" fmla="*/ 1340789 w 1573156"/>
                <a:gd name="connsiteY96" fmla="*/ 591288 h 3641849"/>
                <a:gd name="connsiteX97" fmla="*/ 1260263 w 1573156"/>
                <a:gd name="connsiteY97" fmla="*/ 545048 h 3641849"/>
                <a:gd name="connsiteX98" fmla="*/ 1246408 w 1573156"/>
                <a:gd name="connsiteY98" fmla="*/ 472648 h 3641849"/>
                <a:gd name="connsiteX99" fmla="*/ 1246408 w 1573156"/>
                <a:gd name="connsiteY99" fmla="*/ 454548 h 3641849"/>
                <a:gd name="connsiteX100" fmla="*/ 1257491 w 1573156"/>
                <a:gd name="connsiteY100" fmla="*/ 431276 h 3641849"/>
                <a:gd name="connsiteX101" fmla="*/ 1260263 w 1573156"/>
                <a:gd name="connsiteY101" fmla="*/ 415762 h 3641849"/>
                <a:gd name="connsiteX102" fmla="*/ 1260262 w 1573156"/>
                <a:gd name="connsiteY102" fmla="*/ 358878 h 3641849"/>
                <a:gd name="connsiteX103" fmla="*/ 1238094 w 1573156"/>
                <a:gd name="connsiteY103" fmla="*/ 335607 h 3641849"/>
                <a:gd name="connsiteX104" fmla="*/ 1210384 w 1573156"/>
                <a:gd name="connsiteY104" fmla="*/ 304578 h 3641849"/>
                <a:gd name="connsiteX105" fmla="*/ 1206216 w 1573156"/>
                <a:gd name="connsiteY105" fmla="*/ 280325 h 3641849"/>
                <a:gd name="connsiteX106" fmla="*/ 1257492 w 1573156"/>
                <a:gd name="connsiteY106" fmla="*/ 258034 h 3641849"/>
                <a:gd name="connsiteX107" fmla="*/ 1311072 w 1573156"/>
                <a:gd name="connsiteY107" fmla="*/ 267906 h 3641849"/>
                <a:gd name="connsiteX108" fmla="*/ 1389856 w 1573156"/>
                <a:gd name="connsiteY108" fmla="*/ 279816 h 3641849"/>
                <a:gd name="connsiteX109" fmla="*/ 1474179 w 1573156"/>
                <a:gd name="connsiteY109" fmla="*/ 349175 h 3641849"/>
                <a:gd name="connsiteX110" fmla="*/ 1536314 w 1573156"/>
                <a:gd name="connsiteY110" fmla="*/ 425271 h 3641849"/>
                <a:gd name="connsiteX111" fmla="*/ 1435343 w 1573156"/>
                <a:gd name="connsiteY111" fmla="*/ 454265 h 3641849"/>
                <a:gd name="connsiteX112" fmla="*/ 1419809 w 1573156"/>
                <a:gd name="connsiteY112" fmla="*/ 501372 h 3641849"/>
                <a:gd name="connsiteX113" fmla="*/ 1477479 w 1573156"/>
                <a:gd name="connsiteY113" fmla="*/ 585862 h 3641849"/>
                <a:gd name="connsiteX114" fmla="*/ 1513013 w 1573156"/>
                <a:gd name="connsiteY114" fmla="*/ 591964 h 3641849"/>
                <a:gd name="connsiteX115" fmla="*/ 1565633 w 1573156"/>
                <a:gd name="connsiteY115" fmla="*/ 598304 h 3641849"/>
                <a:gd name="connsiteX116" fmla="*/ 1560670 w 1573156"/>
                <a:gd name="connsiteY116" fmla="*/ 709079 h 3641849"/>
                <a:gd name="connsiteX117" fmla="*/ 1571739 w 1573156"/>
                <a:gd name="connsiteY117" fmla="*/ 1040047 h 3641849"/>
                <a:gd name="connsiteX118" fmla="*/ 1562871 w 1573156"/>
                <a:gd name="connsiteY118" fmla="*/ 1842646 h 3641849"/>
                <a:gd name="connsiteX119" fmla="*/ 1571738 w 1573156"/>
                <a:gd name="connsiteY119" fmla="*/ 2297728 h 3641849"/>
                <a:gd name="connsiteX120" fmla="*/ 1545290 w 1573156"/>
                <a:gd name="connsiteY120" fmla="*/ 3607693 h 3641849"/>
                <a:gd name="connsiteX121" fmla="*/ 1286863 w 1573156"/>
                <a:gd name="connsiteY121" fmla="*/ 3564098 h 3641849"/>
                <a:gd name="connsiteX122" fmla="*/ 1118385 w 1573156"/>
                <a:gd name="connsiteY122" fmla="*/ 3497903 h 3641849"/>
                <a:gd name="connsiteX123" fmla="*/ 941039 w 1573156"/>
                <a:gd name="connsiteY123" fmla="*/ 3406887 h 3641849"/>
                <a:gd name="connsiteX124" fmla="*/ 842741 w 1573156"/>
                <a:gd name="connsiteY124" fmla="*/ 3326370 h 3641849"/>
                <a:gd name="connsiteX125" fmla="*/ 1137003 w 1573156"/>
                <a:gd name="connsiteY125" fmla="*/ 3018734 h 3641849"/>
                <a:gd name="connsiteX126" fmla="*/ 853249 w 1573156"/>
                <a:gd name="connsiteY126" fmla="*/ 2480910 h 3641849"/>
                <a:gd name="connsiteX127" fmla="*/ 557777 w 1573156"/>
                <a:gd name="connsiteY127" fmla="*/ 2715007 h 3641849"/>
                <a:gd name="connsiteX128" fmla="*/ 531809 w 1573156"/>
                <a:gd name="connsiteY128" fmla="*/ 2657256 h 3641849"/>
                <a:gd name="connsiteX129" fmla="*/ 660385 w 1573156"/>
                <a:gd name="connsiteY129" fmla="*/ 2391963 h 3641849"/>
                <a:gd name="connsiteX130" fmla="*/ 91772 w 1573156"/>
                <a:gd name="connsiteY130" fmla="*/ 2159767 h 3641849"/>
                <a:gd name="connsiteX0" fmla="*/ 91772 w 1573156"/>
                <a:gd name="connsiteY0" fmla="*/ 2159767 h 3641849"/>
                <a:gd name="connsiteX1" fmla="*/ 112897 w 1573156"/>
                <a:gd name="connsiteY1" fmla="*/ 1811024 h 3641849"/>
                <a:gd name="connsiteX2" fmla="*/ 162776 w 1573156"/>
                <a:gd name="connsiteY2" fmla="*/ 1785166 h 3641849"/>
                <a:gd name="connsiteX3" fmla="*/ 107355 w 1573156"/>
                <a:gd name="connsiteY3" fmla="*/ 1751552 h 3641849"/>
                <a:gd name="connsiteX4" fmla="*/ 40851 w 1573156"/>
                <a:gd name="connsiteY4" fmla="*/ 1746381 h 3641849"/>
                <a:gd name="connsiteX5" fmla="*/ 2057 w 1573156"/>
                <a:gd name="connsiteY5" fmla="*/ 1730867 h 3641849"/>
                <a:gd name="connsiteX6" fmla="*/ 38079 w 1573156"/>
                <a:gd name="connsiteY6" fmla="*/ 1689496 h 3641849"/>
                <a:gd name="connsiteX7" fmla="*/ 18683 w 1573156"/>
                <a:gd name="connsiteY7" fmla="*/ 1679153 h 3641849"/>
                <a:gd name="connsiteX8" fmla="*/ 2055 w 1573156"/>
                <a:gd name="connsiteY8" fmla="*/ 1640367 h 3641849"/>
                <a:gd name="connsiteX9" fmla="*/ 65790 w 1573156"/>
                <a:gd name="connsiteY9" fmla="*/ 1650711 h 3641849"/>
                <a:gd name="connsiteX10" fmla="*/ 93501 w 1573156"/>
                <a:gd name="connsiteY10" fmla="*/ 1627440 h 3641849"/>
                <a:gd name="connsiteX11" fmla="*/ 187716 w 1573156"/>
                <a:gd name="connsiteY11" fmla="*/ 1536941 h 3641849"/>
                <a:gd name="connsiteX12" fmla="*/ 212655 w 1573156"/>
                <a:gd name="connsiteY12" fmla="*/ 1505912 h 3641849"/>
                <a:gd name="connsiteX13" fmla="*/ 198801 w 1573156"/>
                <a:gd name="connsiteY13" fmla="*/ 1555040 h 3641849"/>
                <a:gd name="connsiteX14" fmla="*/ 218197 w 1573156"/>
                <a:gd name="connsiteY14" fmla="*/ 1588655 h 3641849"/>
                <a:gd name="connsiteX15" fmla="*/ 262534 w 1573156"/>
                <a:gd name="connsiteY15" fmla="*/ 1666225 h 3641849"/>
                <a:gd name="connsiteX16" fmla="*/ 331810 w 1573156"/>
                <a:gd name="connsiteY16" fmla="*/ 1653297 h 3641849"/>
                <a:gd name="connsiteX17" fmla="*/ 351206 w 1573156"/>
                <a:gd name="connsiteY17" fmla="*/ 1622268 h 3641849"/>
                <a:gd name="connsiteX18" fmla="*/ 365062 w 1573156"/>
                <a:gd name="connsiteY18" fmla="*/ 1557627 h 3641849"/>
                <a:gd name="connsiteX19" fmla="*/ 304099 w 1573156"/>
                <a:gd name="connsiteY19" fmla="*/ 1511084 h 3641849"/>
                <a:gd name="connsiteX20" fmla="*/ 259763 w 1573156"/>
                <a:gd name="connsiteY20" fmla="*/ 1485227 h 3641849"/>
                <a:gd name="connsiteX21" fmla="*/ 198801 w 1573156"/>
                <a:gd name="connsiteY21" fmla="*/ 1495570 h 3641849"/>
                <a:gd name="connsiteX22" fmla="*/ 376147 w 1573156"/>
                <a:gd name="connsiteY22" fmla="*/ 1299057 h 3641849"/>
                <a:gd name="connsiteX23" fmla="*/ 223740 w 1573156"/>
                <a:gd name="connsiteY23" fmla="*/ 1151672 h 3641849"/>
                <a:gd name="connsiteX24" fmla="*/ 284703 w 1573156"/>
                <a:gd name="connsiteY24" fmla="*/ 1089617 h 3641849"/>
                <a:gd name="connsiteX25" fmla="*/ 218198 w 1573156"/>
                <a:gd name="connsiteY25" fmla="*/ 1050829 h 3641849"/>
                <a:gd name="connsiteX26" fmla="*/ 259763 w 1573156"/>
                <a:gd name="connsiteY26" fmla="*/ 1019802 h 3641849"/>
                <a:gd name="connsiteX27" fmla="*/ 212657 w 1573156"/>
                <a:gd name="connsiteY27" fmla="*/ 993947 h 3641849"/>
                <a:gd name="connsiteX28" fmla="*/ 212656 w 1573156"/>
                <a:gd name="connsiteY28" fmla="*/ 794845 h 3641849"/>
                <a:gd name="connsiteX29" fmla="*/ 251451 w 1573156"/>
                <a:gd name="connsiteY29" fmla="*/ 779332 h 3641849"/>
                <a:gd name="connsiteX30" fmla="*/ 137838 w 1573156"/>
                <a:gd name="connsiteY30" fmla="*/ 551792 h 3641849"/>
                <a:gd name="connsiteX31" fmla="*/ 135067 w 1573156"/>
                <a:gd name="connsiteY31" fmla="*/ 551792 h 3641849"/>
                <a:gd name="connsiteX32" fmla="*/ 184945 w 1573156"/>
                <a:gd name="connsiteY32" fmla="*/ 469048 h 3641849"/>
                <a:gd name="connsiteX33" fmla="*/ 201571 w 1573156"/>
                <a:gd name="connsiteY33" fmla="*/ 378550 h 3641849"/>
                <a:gd name="connsiteX34" fmla="*/ 126752 w 1573156"/>
                <a:gd name="connsiteY34" fmla="*/ 319079 h 3641849"/>
                <a:gd name="connsiteX35" fmla="*/ 118440 w 1573156"/>
                <a:gd name="connsiteY35" fmla="*/ 251851 h 3641849"/>
                <a:gd name="connsiteX36" fmla="*/ 173860 w 1573156"/>
                <a:gd name="connsiteY36" fmla="*/ 158764 h 3641849"/>
                <a:gd name="connsiteX37" fmla="*/ 193258 w 1573156"/>
                <a:gd name="connsiteY37" fmla="*/ 135494 h 3641849"/>
                <a:gd name="connsiteX38" fmla="*/ 207113 w 1573156"/>
                <a:gd name="connsiteY38" fmla="*/ 117394 h 3641849"/>
                <a:gd name="connsiteX39" fmla="*/ 215426 w 1573156"/>
                <a:gd name="connsiteY39" fmla="*/ 73438 h 3641849"/>
                <a:gd name="connsiteX40" fmla="*/ 240365 w 1573156"/>
                <a:gd name="connsiteY40" fmla="*/ 101880 h 3641849"/>
                <a:gd name="connsiteX41" fmla="*/ 270847 w 1573156"/>
                <a:gd name="connsiteY41" fmla="*/ 88952 h 3641849"/>
                <a:gd name="connsiteX42" fmla="*/ 273617 w 1573156"/>
                <a:gd name="connsiteY42" fmla="*/ 63095 h 3641849"/>
                <a:gd name="connsiteX43" fmla="*/ 281931 w 1573156"/>
                <a:gd name="connsiteY43" fmla="*/ 34652 h 3641849"/>
                <a:gd name="connsiteX44" fmla="*/ 284703 w 1573156"/>
                <a:gd name="connsiteY44" fmla="*/ 3624 h 3641849"/>
                <a:gd name="connsiteX45" fmla="*/ 420483 w 1573156"/>
                <a:gd name="connsiteY45" fmla="*/ 57924 h 3641849"/>
                <a:gd name="connsiteX46" fmla="*/ 450963 w 1573156"/>
                <a:gd name="connsiteY46" fmla="*/ 161352 h 3641849"/>
                <a:gd name="connsiteX47" fmla="*/ 464819 w 1573156"/>
                <a:gd name="connsiteY47" fmla="*/ 184622 h 3641849"/>
                <a:gd name="connsiteX48" fmla="*/ 475903 w 1573156"/>
                <a:gd name="connsiteY48" fmla="*/ 187208 h 3641849"/>
                <a:gd name="connsiteX49" fmla="*/ 589515 w 1573156"/>
                <a:gd name="connsiteY49" fmla="*/ 156181 h 3641849"/>
                <a:gd name="connsiteX50" fmla="*/ 656020 w 1573156"/>
                <a:gd name="connsiteY50" fmla="*/ 166522 h 3641849"/>
                <a:gd name="connsiteX51" fmla="*/ 719754 w 1573156"/>
                <a:gd name="connsiteY51" fmla="*/ 213065 h 3641849"/>
                <a:gd name="connsiteX52" fmla="*/ 733781 w 1573156"/>
                <a:gd name="connsiteY52" fmla="*/ 242621 h 3641849"/>
                <a:gd name="connsiteX53" fmla="*/ 789028 w 1573156"/>
                <a:gd name="connsiteY53" fmla="*/ 277708 h 3641849"/>
                <a:gd name="connsiteX54" fmla="*/ 877702 w 1573156"/>
                <a:gd name="connsiteY54" fmla="*/ 303563 h 3641849"/>
                <a:gd name="connsiteX55" fmla="*/ 949748 w 1573156"/>
                <a:gd name="connsiteY55" fmla="*/ 350106 h 3641849"/>
                <a:gd name="connsiteX56" fmla="*/ 999627 w 1573156"/>
                <a:gd name="connsiteY56" fmla="*/ 401820 h 3641849"/>
                <a:gd name="connsiteX57" fmla="*/ 1024566 w 1573156"/>
                <a:gd name="connsiteY57" fmla="*/ 440606 h 3641849"/>
                <a:gd name="connsiteX58" fmla="*/ 1057819 w 1573156"/>
                <a:gd name="connsiteY58" fmla="*/ 466462 h 3641849"/>
                <a:gd name="connsiteX59" fmla="*/ 1041191 w 1573156"/>
                <a:gd name="connsiteY59" fmla="*/ 691417 h 3641849"/>
                <a:gd name="connsiteX60" fmla="*/ 913725 w 1573156"/>
                <a:gd name="connsiteY60" fmla="*/ 771575 h 3641849"/>
                <a:gd name="connsiteX61" fmla="*/ 800113 w 1573156"/>
                <a:gd name="connsiteY61" fmla="*/ 779331 h 3641849"/>
                <a:gd name="connsiteX62" fmla="*/ 661560 w 1573156"/>
                <a:gd name="connsiteY62" fmla="*/ 758645 h 3641849"/>
                <a:gd name="connsiteX63" fmla="*/ 570116 w 1573156"/>
                <a:gd name="connsiteY63" fmla="*/ 722445 h 3641849"/>
                <a:gd name="connsiteX64" fmla="*/ 550719 w 1573156"/>
                <a:gd name="connsiteY64" fmla="*/ 750888 h 3641849"/>
                <a:gd name="connsiteX65" fmla="*/ 581361 w 1573156"/>
                <a:gd name="connsiteY65" fmla="*/ 824301 h 3641849"/>
                <a:gd name="connsiteX66" fmla="*/ 586902 w 1573156"/>
                <a:gd name="connsiteY66" fmla="*/ 951000 h 3641849"/>
                <a:gd name="connsiteX67" fmla="*/ 559032 w 1573156"/>
                <a:gd name="connsiteY67" fmla="*/ 1012043 h 3641849"/>
                <a:gd name="connsiteX68" fmla="*/ 614451 w 1573156"/>
                <a:gd name="connsiteY68" fmla="*/ 1032728 h 3641849"/>
                <a:gd name="connsiteX69" fmla="*/ 631079 w 1573156"/>
                <a:gd name="connsiteY69" fmla="*/ 1048242 h 3641849"/>
                <a:gd name="connsiteX70" fmla="*/ 656019 w 1573156"/>
                <a:gd name="connsiteY70" fmla="*/ 1074099 h 3641849"/>
                <a:gd name="connsiteX71" fmla="*/ 653248 w 1573156"/>
                <a:gd name="connsiteY71" fmla="*/ 1076685 h 3641849"/>
                <a:gd name="connsiteX72" fmla="*/ 692041 w 1573156"/>
                <a:gd name="connsiteY72" fmla="*/ 1071514 h 3641849"/>
                <a:gd name="connsiteX73" fmla="*/ 700355 w 1573156"/>
                <a:gd name="connsiteY73" fmla="*/ 1035314 h 3641849"/>
                <a:gd name="connsiteX74" fmla="*/ 661560 w 1573156"/>
                <a:gd name="connsiteY74" fmla="*/ 957743 h 3641849"/>
                <a:gd name="connsiteX75" fmla="*/ 730836 w 1573156"/>
                <a:gd name="connsiteY75" fmla="*/ 911200 h 3641849"/>
                <a:gd name="connsiteX76" fmla="*/ 798608 w 1573156"/>
                <a:gd name="connsiteY76" fmla="*/ 918934 h 3641849"/>
                <a:gd name="connsiteX77" fmla="*/ 822441 w 1573156"/>
                <a:gd name="connsiteY77" fmla="*/ 951001 h 3641849"/>
                <a:gd name="connsiteX78" fmla="*/ 978170 w 1573156"/>
                <a:gd name="connsiteY78" fmla="*/ 1007364 h 3641849"/>
                <a:gd name="connsiteX79" fmla="*/ 963762 w 1573156"/>
                <a:gd name="connsiteY79" fmla="*/ 971687 h 3641849"/>
                <a:gd name="connsiteX80" fmla="*/ 930510 w 1573156"/>
                <a:gd name="connsiteY80" fmla="*/ 932901 h 3641849"/>
                <a:gd name="connsiteX81" fmla="*/ 919426 w 1573156"/>
                <a:gd name="connsiteY81" fmla="*/ 881187 h 3641849"/>
                <a:gd name="connsiteX82" fmla="*/ 958221 w 1573156"/>
                <a:gd name="connsiteY82" fmla="*/ 832060 h 3641849"/>
                <a:gd name="connsiteX83" fmla="*/ 985931 w 1573156"/>
                <a:gd name="connsiteY83" fmla="*/ 803617 h 3641849"/>
                <a:gd name="connsiteX84" fmla="*/ 1010871 w 1573156"/>
                <a:gd name="connsiteY84" fmla="*/ 767417 h 3641849"/>
                <a:gd name="connsiteX85" fmla="*/ 1091231 w 1573156"/>
                <a:gd name="connsiteY85" fmla="*/ 762245 h 3641849"/>
                <a:gd name="connsiteX86" fmla="*/ 1096772 w 1573156"/>
                <a:gd name="connsiteY86" fmla="*/ 741560 h 3641849"/>
                <a:gd name="connsiteX87" fmla="*/ 1121712 w 1573156"/>
                <a:gd name="connsiteY87" fmla="*/ 705360 h 3641849"/>
                <a:gd name="connsiteX88" fmla="*/ 1155516 w 1573156"/>
                <a:gd name="connsiteY88" fmla="*/ 687772 h 3641849"/>
                <a:gd name="connsiteX89" fmla="*/ 1213156 w 1573156"/>
                <a:gd name="connsiteY89" fmla="*/ 700189 h 3641849"/>
                <a:gd name="connsiteX90" fmla="*/ 1251949 w 1573156"/>
                <a:gd name="connsiteY90" fmla="*/ 720875 h 3641849"/>
                <a:gd name="connsiteX91" fmla="*/ 1299057 w 1573156"/>
                <a:gd name="connsiteY91" fmla="*/ 728632 h 3641849"/>
                <a:gd name="connsiteX92" fmla="*/ 1299057 w 1573156"/>
                <a:gd name="connsiteY92" fmla="*/ 733803 h 3641849"/>
                <a:gd name="connsiteX93" fmla="*/ 1321226 w 1573156"/>
                <a:gd name="connsiteY93" fmla="*/ 674332 h 3641849"/>
                <a:gd name="connsiteX94" fmla="*/ 1331201 w 1573156"/>
                <a:gd name="connsiteY94" fmla="*/ 640714 h 3641849"/>
                <a:gd name="connsiteX95" fmla="*/ 1337852 w 1573156"/>
                <a:gd name="connsiteY95" fmla="*/ 622618 h 3641849"/>
                <a:gd name="connsiteX96" fmla="*/ 1340789 w 1573156"/>
                <a:gd name="connsiteY96" fmla="*/ 591288 h 3641849"/>
                <a:gd name="connsiteX97" fmla="*/ 1260263 w 1573156"/>
                <a:gd name="connsiteY97" fmla="*/ 545048 h 3641849"/>
                <a:gd name="connsiteX98" fmla="*/ 1246408 w 1573156"/>
                <a:gd name="connsiteY98" fmla="*/ 472648 h 3641849"/>
                <a:gd name="connsiteX99" fmla="*/ 1246408 w 1573156"/>
                <a:gd name="connsiteY99" fmla="*/ 454548 h 3641849"/>
                <a:gd name="connsiteX100" fmla="*/ 1257491 w 1573156"/>
                <a:gd name="connsiteY100" fmla="*/ 431276 h 3641849"/>
                <a:gd name="connsiteX101" fmla="*/ 1260263 w 1573156"/>
                <a:gd name="connsiteY101" fmla="*/ 415762 h 3641849"/>
                <a:gd name="connsiteX102" fmla="*/ 1260262 w 1573156"/>
                <a:gd name="connsiteY102" fmla="*/ 358878 h 3641849"/>
                <a:gd name="connsiteX103" fmla="*/ 1238094 w 1573156"/>
                <a:gd name="connsiteY103" fmla="*/ 335607 h 3641849"/>
                <a:gd name="connsiteX104" fmla="*/ 1210384 w 1573156"/>
                <a:gd name="connsiteY104" fmla="*/ 304578 h 3641849"/>
                <a:gd name="connsiteX105" fmla="*/ 1206216 w 1573156"/>
                <a:gd name="connsiteY105" fmla="*/ 280325 h 3641849"/>
                <a:gd name="connsiteX106" fmla="*/ 1257492 w 1573156"/>
                <a:gd name="connsiteY106" fmla="*/ 258034 h 3641849"/>
                <a:gd name="connsiteX107" fmla="*/ 1311072 w 1573156"/>
                <a:gd name="connsiteY107" fmla="*/ 267906 h 3641849"/>
                <a:gd name="connsiteX108" fmla="*/ 1389856 w 1573156"/>
                <a:gd name="connsiteY108" fmla="*/ 279816 h 3641849"/>
                <a:gd name="connsiteX109" fmla="*/ 1474179 w 1573156"/>
                <a:gd name="connsiteY109" fmla="*/ 349175 h 3641849"/>
                <a:gd name="connsiteX110" fmla="*/ 1536314 w 1573156"/>
                <a:gd name="connsiteY110" fmla="*/ 425271 h 3641849"/>
                <a:gd name="connsiteX111" fmla="*/ 1435343 w 1573156"/>
                <a:gd name="connsiteY111" fmla="*/ 454265 h 3641849"/>
                <a:gd name="connsiteX112" fmla="*/ 1419809 w 1573156"/>
                <a:gd name="connsiteY112" fmla="*/ 501372 h 3641849"/>
                <a:gd name="connsiteX113" fmla="*/ 1477479 w 1573156"/>
                <a:gd name="connsiteY113" fmla="*/ 585862 h 3641849"/>
                <a:gd name="connsiteX114" fmla="*/ 1513013 w 1573156"/>
                <a:gd name="connsiteY114" fmla="*/ 591964 h 3641849"/>
                <a:gd name="connsiteX115" fmla="*/ 1565633 w 1573156"/>
                <a:gd name="connsiteY115" fmla="*/ 598304 h 3641849"/>
                <a:gd name="connsiteX116" fmla="*/ 1560670 w 1573156"/>
                <a:gd name="connsiteY116" fmla="*/ 709079 h 3641849"/>
                <a:gd name="connsiteX117" fmla="*/ 1571739 w 1573156"/>
                <a:gd name="connsiteY117" fmla="*/ 1040047 h 3641849"/>
                <a:gd name="connsiteX118" fmla="*/ 1562871 w 1573156"/>
                <a:gd name="connsiteY118" fmla="*/ 1842646 h 3641849"/>
                <a:gd name="connsiteX119" fmla="*/ 1571738 w 1573156"/>
                <a:gd name="connsiteY119" fmla="*/ 2297728 h 3641849"/>
                <a:gd name="connsiteX120" fmla="*/ 1545290 w 1573156"/>
                <a:gd name="connsiteY120" fmla="*/ 3607693 h 3641849"/>
                <a:gd name="connsiteX121" fmla="*/ 1286863 w 1573156"/>
                <a:gd name="connsiteY121" fmla="*/ 3564098 h 3641849"/>
                <a:gd name="connsiteX122" fmla="*/ 1118385 w 1573156"/>
                <a:gd name="connsiteY122" fmla="*/ 3497903 h 3641849"/>
                <a:gd name="connsiteX123" fmla="*/ 941039 w 1573156"/>
                <a:gd name="connsiteY123" fmla="*/ 3406887 h 3641849"/>
                <a:gd name="connsiteX124" fmla="*/ 842741 w 1573156"/>
                <a:gd name="connsiteY124" fmla="*/ 3326370 h 3641849"/>
                <a:gd name="connsiteX125" fmla="*/ 1137003 w 1573156"/>
                <a:gd name="connsiteY125" fmla="*/ 3018734 h 3641849"/>
                <a:gd name="connsiteX126" fmla="*/ 853249 w 1573156"/>
                <a:gd name="connsiteY126" fmla="*/ 2480910 h 3641849"/>
                <a:gd name="connsiteX127" fmla="*/ 557777 w 1573156"/>
                <a:gd name="connsiteY127" fmla="*/ 2715007 h 3641849"/>
                <a:gd name="connsiteX128" fmla="*/ 531809 w 1573156"/>
                <a:gd name="connsiteY128" fmla="*/ 2657256 h 3641849"/>
                <a:gd name="connsiteX129" fmla="*/ 660385 w 1573156"/>
                <a:gd name="connsiteY129" fmla="*/ 2391963 h 3641849"/>
                <a:gd name="connsiteX130" fmla="*/ 91772 w 1573156"/>
                <a:gd name="connsiteY130" fmla="*/ 2159767 h 3641849"/>
                <a:gd name="connsiteX0" fmla="*/ 91772 w 1573156"/>
                <a:gd name="connsiteY0" fmla="*/ 2159767 h 3641849"/>
                <a:gd name="connsiteX1" fmla="*/ 112897 w 1573156"/>
                <a:gd name="connsiteY1" fmla="*/ 1811024 h 3641849"/>
                <a:gd name="connsiteX2" fmla="*/ 112899 w 1573156"/>
                <a:gd name="connsiteY2" fmla="*/ 1782581 h 3641849"/>
                <a:gd name="connsiteX3" fmla="*/ 107355 w 1573156"/>
                <a:gd name="connsiteY3" fmla="*/ 1751552 h 3641849"/>
                <a:gd name="connsiteX4" fmla="*/ 40851 w 1573156"/>
                <a:gd name="connsiteY4" fmla="*/ 1746381 h 3641849"/>
                <a:gd name="connsiteX5" fmla="*/ 2057 w 1573156"/>
                <a:gd name="connsiteY5" fmla="*/ 1730867 h 3641849"/>
                <a:gd name="connsiteX6" fmla="*/ 38079 w 1573156"/>
                <a:gd name="connsiteY6" fmla="*/ 1689496 h 3641849"/>
                <a:gd name="connsiteX7" fmla="*/ 18683 w 1573156"/>
                <a:gd name="connsiteY7" fmla="*/ 1679153 h 3641849"/>
                <a:gd name="connsiteX8" fmla="*/ 2055 w 1573156"/>
                <a:gd name="connsiteY8" fmla="*/ 1640367 h 3641849"/>
                <a:gd name="connsiteX9" fmla="*/ 65790 w 1573156"/>
                <a:gd name="connsiteY9" fmla="*/ 1650711 h 3641849"/>
                <a:gd name="connsiteX10" fmla="*/ 93501 w 1573156"/>
                <a:gd name="connsiteY10" fmla="*/ 1627440 h 3641849"/>
                <a:gd name="connsiteX11" fmla="*/ 187716 w 1573156"/>
                <a:gd name="connsiteY11" fmla="*/ 1536941 h 3641849"/>
                <a:gd name="connsiteX12" fmla="*/ 212655 w 1573156"/>
                <a:gd name="connsiteY12" fmla="*/ 1505912 h 3641849"/>
                <a:gd name="connsiteX13" fmla="*/ 198801 w 1573156"/>
                <a:gd name="connsiteY13" fmla="*/ 1555040 h 3641849"/>
                <a:gd name="connsiteX14" fmla="*/ 218197 w 1573156"/>
                <a:gd name="connsiteY14" fmla="*/ 1588655 h 3641849"/>
                <a:gd name="connsiteX15" fmla="*/ 262534 w 1573156"/>
                <a:gd name="connsiteY15" fmla="*/ 1666225 h 3641849"/>
                <a:gd name="connsiteX16" fmla="*/ 331810 w 1573156"/>
                <a:gd name="connsiteY16" fmla="*/ 1653297 h 3641849"/>
                <a:gd name="connsiteX17" fmla="*/ 351206 w 1573156"/>
                <a:gd name="connsiteY17" fmla="*/ 1622268 h 3641849"/>
                <a:gd name="connsiteX18" fmla="*/ 365062 w 1573156"/>
                <a:gd name="connsiteY18" fmla="*/ 1557627 h 3641849"/>
                <a:gd name="connsiteX19" fmla="*/ 304099 w 1573156"/>
                <a:gd name="connsiteY19" fmla="*/ 1511084 h 3641849"/>
                <a:gd name="connsiteX20" fmla="*/ 259763 w 1573156"/>
                <a:gd name="connsiteY20" fmla="*/ 1485227 h 3641849"/>
                <a:gd name="connsiteX21" fmla="*/ 198801 w 1573156"/>
                <a:gd name="connsiteY21" fmla="*/ 1495570 h 3641849"/>
                <a:gd name="connsiteX22" fmla="*/ 376147 w 1573156"/>
                <a:gd name="connsiteY22" fmla="*/ 1299057 h 3641849"/>
                <a:gd name="connsiteX23" fmla="*/ 223740 w 1573156"/>
                <a:gd name="connsiteY23" fmla="*/ 1151672 h 3641849"/>
                <a:gd name="connsiteX24" fmla="*/ 284703 w 1573156"/>
                <a:gd name="connsiteY24" fmla="*/ 1089617 h 3641849"/>
                <a:gd name="connsiteX25" fmla="*/ 218198 w 1573156"/>
                <a:gd name="connsiteY25" fmla="*/ 1050829 h 3641849"/>
                <a:gd name="connsiteX26" fmla="*/ 259763 w 1573156"/>
                <a:gd name="connsiteY26" fmla="*/ 1019802 h 3641849"/>
                <a:gd name="connsiteX27" fmla="*/ 212657 w 1573156"/>
                <a:gd name="connsiteY27" fmla="*/ 993947 h 3641849"/>
                <a:gd name="connsiteX28" fmla="*/ 212656 w 1573156"/>
                <a:gd name="connsiteY28" fmla="*/ 794845 h 3641849"/>
                <a:gd name="connsiteX29" fmla="*/ 251451 w 1573156"/>
                <a:gd name="connsiteY29" fmla="*/ 779332 h 3641849"/>
                <a:gd name="connsiteX30" fmla="*/ 137838 w 1573156"/>
                <a:gd name="connsiteY30" fmla="*/ 551792 h 3641849"/>
                <a:gd name="connsiteX31" fmla="*/ 135067 w 1573156"/>
                <a:gd name="connsiteY31" fmla="*/ 551792 h 3641849"/>
                <a:gd name="connsiteX32" fmla="*/ 184945 w 1573156"/>
                <a:gd name="connsiteY32" fmla="*/ 469048 h 3641849"/>
                <a:gd name="connsiteX33" fmla="*/ 201571 w 1573156"/>
                <a:gd name="connsiteY33" fmla="*/ 378550 h 3641849"/>
                <a:gd name="connsiteX34" fmla="*/ 126752 w 1573156"/>
                <a:gd name="connsiteY34" fmla="*/ 319079 h 3641849"/>
                <a:gd name="connsiteX35" fmla="*/ 118440 w 1573156"/>
                <a:gd name="connsiteY35" fmla="*/ 251851 h 3641849"/>
                <a:gd name="connsiteX36" fmla="*/ 173860 w 1573156"/>
                <a:gd name="connsiteY36" fmla="*/ 158764 h 3641849"/>
                <a:gd name="connsiteX37" fmla="*/ 193258 w 1573156"/>
                <a:gd name="connsiteY37" fmla="*/ 135494 h 3641849"/>
                <a:gd name="connsiteX38" fmla="*/ 207113 w 1573156"/>
                <a:gd name="connsiteY38" fmla="*/ 117394 h 3641849"/>
                <a:gd name="connsiteX39" fmla="*/ 215426 w 1573156"/>
                <a:gd name="connsiteY39" fmla="*/ 73438 h 3641849"/>
                <a:gd name="connsiteX40" fmla="*/ 240365 w 1573156"/>
                <a:gd name="connsiteY40" fmla="*/ 101880 h 3641849"/>
                <a:gd name="connsiteX41" fmla="*/ 270847 w 1573156"/>
                <a:gd name="connsiteY41" fmla="*/ 88952 h 3641849"/>
                <a:gd name="connsiteX42" fmla="*/ 273617 w 1573156"/>
                <a:gd name="connsiteY42" fmla="*/ 63095 h 3641849"/>
                <a:gd name="connsiteX43" fmla="*/ 281931 w 1573156"/>
                <a:gd name="connsiteY43" fmla="*/ 34652 h 3641849"/>
                <a:gd name="connsiteX44" fmla="*/ 284703 w 1573156"/>
                <a:gd name="connsiteY44" fmla="*/ 3624 h 3641849"/>
                <a:gd name="connsiteX45" fmla="*/ 420483 w 1573156"/>
                <a:gd name="connsiteY45" fmla="*/ 57924 h 3641849"/>
                <a:gd name="connsiteX46" fmla="*/ 450963 w 1573156"/>
                <a:gd name="connsiteY46" fmla="*/ 161352 h 3641849"/>
                <a:gd name="connsiteX47" fmla="*/ 464819 w 1573156"/>
                <a:gd name="connsiteY47" fmla="*/ 184622 h 3641849"/>
                <a:gd name="connsiteX48" fmla="*/ 475903 w 1573156"/>
                <a:gd name="connsiteY48" fmla="*/ 187208 h 3641849"/>
                <a:gd name="connsiteX49" fmla="*/ 589515 w 1573156"/>
                <a:gd name="connsiteY49" fmla="*/ 156181 h 3641849"/>
                <a:gd name="connsiteX50" fmla="*/ 656020 w 1573156"/>
                <a:gd name="connsiteY50" fmla="*/ 166522 h 3641849"/>
                <a:gd name="connsiteX51" fmla="*/ 719754 w 1573156"/>
                <a:gd name="connsiteY51" fmla="*/ 213065 h 3641849"/>
                <a:gd name="connsiteX52" fmla="*/ 733781 w 1573156"/>
                <a:gd name="connsiteY52" fmla="*/ 242621 h 3641849"/>
                <a:gd name="connsiteX53" fmla="*/ 789028 w 1573156"/>
                <a:gd name="connsiteY53" fmla="*/ 277708 h 3641849"/>
                <a:gd name="connsiteX54" fmla="*/ 877702 w 1573156"/>
                <a:gd name="connsiteY54" fmla="*/ 303563 h 3641849"/>
                <a:gd name="connsiteX55" fmla="*/ 949748 w 1573156"/>
                <a:gd name="connsiteY55" fmla="*/ 350106 h 3641849"/>
                <a:gd name="connsiteX56" fmla="*/ 999627 w 1573156"/>
                <a:gd name="connsiteY56" fmla="*/ 401820 h 3641849"/>
                <a:gd name="connsiteX57" fmla="*/ 1024566 w 1573156"/>
                <a:gd name="connsiteY57" fmla="*/ 440606 h 3641849"/>
                <a:gd name="connsiteX58" fmla="*/ 1057819 w 1573156"/>
                <a:gd name="connsiteY58" fmla="*/ 466462 h 3641849"/>
                <a:gd name="connsiteX59" fmla="*/ 1041191 w 1573156"/>
                <a:gd name="connsiteY59" fmla="*/ 691417 h 3641849"/>
                <a:gd name="connsiteX60" fmla="*/ 913725 w 1573156"/>
                <a:gd name="connsiteY60" fmla="*/ 771575 h 3641849"/>
                <a:gd name="connsiteX61" fmla="*/ 800113 w 1573156"/>
                <a:gd name="connsiteY61" fmla="*/ 779331 h 3641849"/>
                <a:gd name="connsiteX62" fmla="*/ 661560 w 1573156"/>
                <a:gd name="connsiteY62" fmla="*/ 758645 h 3641849"/>
                <a:gd name="connsiteX63" fmla="*/ 570116 w 1573156"/>
                <a:gd name="connsiteY63" fmla="*/ 722445 h 3641849"/>
                <a:gd name="connsiteX64" fmla="*/ 550719 w 1573156"/>
                <a:gd name="connsiteY64" fmla="*/ 750888 h 3641849"/>
                <a:gd name="connsiteX65" fmla="*/ 581361 w 1573156"/>
                <a:gd name="connsiteY65" fmla="*/ 824301 h 3641849"/>
                <a:gd name="connsiteX66" fmla="*/ 586902 w 1573156"/>
                <a:gd name="connsiteY66" fmla="*/ 951000 h 3641849"/>
                <a:gd name="connsiteX67" fmla="*/ 559032 w 1573156"/>
                <a:gd name="connsiteY67" fmla="*/ 1012043 h 3641849"/>
                <a:gd name="connsiteX68" fmla="*/ 614451 w 1573156"/>
                <a:gd name="connsiteY68" fmla="*/ 1032728 h 3641849"/>
                <a:gd name="connsiteX69" fmla="*/ 631079 w 1573156"/>
                <a:gd name="connsiteY69" fmla="*/ 1048242 h 3641849"/>
                <a:gd name="connsiteX70" fmla="*/ 656019 w 1573156"/>
                <a:gd name="connsiteY70" fmla="*/ 1074099 h 3641849"/>
                <a:gd name="connsiteX71" fmla="*/ 653248 w 1573156"/>
                <a:gd name="connsiteY71" fmla="*/ 1076685 h 3641849"/>
                <a:gd name="connsiteX72" fmla="*/ 692041 w 1573156"/>
                <a:gd name="connsiteY72" fmla="*/ 1071514 h 3641849"/>
                <a:gd name="connsiteX73" fmla="*/ 700355 w 1573156"/>
                <a:gd name="connsiteY73" fmla="*/ 1035314 h 3641849"/>
                <a:gd name="connsiteX74" fmla="*/ 661560 w 1573156"/>
                <a:gd name="connsiteY74" fmla="*/ 957743 h 3641849"/>
                <a:gd name="connsiteX75" fmla="*/ 730836 w 1573156"/>
                <a:gd name="connsiteY75" fmla="*/ 911200 h 3641849"/>
                <a:gd name="connsiteX76" fmla="*/ 798608 w 1573156"/>
                <a:gd name="connsiteY76" fmla="*/ 918934 h 3641849"/>
                <a:gd name="connsiteX77" fmla="*/ 822441 w 1573156"/>
                <a:gd name="connsiteY77" fmla="*/ 951001 h 3641849"/>
                <a:gd name="connsiteX78" fmla="*/ 978170 w 1573156"/>
                <a:gd name="connsiteY78" fmla="*/ 1007364 h 3641849"/>
                <a:gd name="connsiteX79" fmla="*/ 963762 w 1573156"/>
                <a:gd name="connsiteY79" fmla="*/ 971687 h 3641849"/>
                <a:gd name="connsiteX80" fmla="*/ 930510 w 1573156"/>
                <a:gd name="connsiteY80" fmla="*/ 932901 h 3641849"/>
                <a:gd name="connsiteX81" fmla="*/ 919426 w 1573156"/>
                <a:gd name="connsiteY81" fmla="*/ 881187 h 3641849"/>
                <a:gd name="connsiteX82" fmla="*/ 958221 w 1573156"/>
                <a:gd name="connsiteY82" fmla="*/ 832060 h 3641849"/>
                <a:gd name="connsiteX83" fmla="*/ 985931 w 1573156"/>
                <a:gd name="connsiteY83" fmla="*/ 803617 h 3641849"/>
                <a:gd name="connsiteX84" fmla="*/ 1010871 w 1573156"/>
                <a:gd name="connsiteY84" fmla="*/ 767417 h 3641849"/>
                <a:gd name="connsiteX85" fmla="*/ 1091231 w 1573156"/>
                <a:gd name="connsiteY85" fmla="*/ 762245 h 3641849"/>
                <a:gd name="connsiteX86" fmla="*/ 1096772 w 1573156"/>
                <a:gd name="connsiteY86" fmla="*/ 741560 h 3641849"/>
                <a:gd name="connsiteX87" fmla="*/ 1121712 w 1573156"/>
                <a:gd name="connsiteY87" fmla="*/ 705360 h 3641849"/>
                <a:gd name="connsiteX88" fmla="*/ 1155516 w 1573156"/>
                <a:gd name="connsiteY88" fmla="*/ 687772 h 3641849"/>
                <a:gd name="connsiteX89" fmla="*/ 1213156 w 1573156"/>
                <a:gd name="connsiteY89" fmla="*/ 700189 h 3641849"/>
                <a:gd name="connsiteX90" fmla="*/ 1251949 w 1573156"/>
                <a:gd name="connsiteY90" fmla="*/ 720875 h 3641849"/>
                <a:gd name="connsiteX91" fmla="*/ 1299057 w 1573156"/>
                <a:gd name="connsiteY91" fmla="*/ 728632 h 3641849"/>
                <a:gd name="connsiteX92" fmla="*/ 1299057 w 1573156"/>
                <a:gd name="connsiteY92" fmla="*/ 733803 h 3641849"/>
                <a:gd name="connsiteX93" fmla="*/ 1321226 w 1573156"/>
                <a:gd name="connsiteY93" fmla="*/ 674332 h 3641849"/>
                <a:gd name="connsiteX94" fmla="*/ 1331201 w 1573156"/>
                <a:gd name="connsiteY94" fmla="*/ 640714 h 3641849"/>
                <a:gd name="connsiteX95" fmla="*/ 1337852 w 1573156"/>
                <a:gd name="connsiteY95" fmla="*/ 622618 h 3641849"/>
                <a:gd name="connsiteX96" fmla="*/ 1340789 w 1573156"/>
                <a:gd name="connsiteY96" fmla="*/ 591288 h 3641849"/>
                <a:gd name="connsiteX97" fmla="*/ 1260263 w 1573156"/>
                <a:gd name="connsiteY97" fmla="*/ 545048 h 3641849"/>
                <a:gd name="connsiteX98" fmla="*/ 1246408 w 1573156"/>
                <a:gd name="connsiteY98" fmla="*/ 472648 h 3641849"/>
                <a:gd name="connsiteX99" fmla="*/ 1246408 w 1573156"/>
                <a:gd name="connsiteY99" fmla="*/ 454548 h 3641849"/>
                <a:gd name="connsiteX100" fmla="*/ 1257491 w 1573156"/>
                <a:gd name="connsiteY100" fmla="*/ 431276 h 3641849"/>
                <a:gd name="connsiteX101" fmla="*/ 1260263 w 1573156"/>
                <a:gd name="connsiteY101" fmla="*/ 415762 h 3641849"/>
                <a:gd name="connsiteX102" fmla="*/ 1260262 w 1573156"/>
                <a:gd name="connsiteY102" fmla="*/ 358878 h 3641849"/>
                <a:gd name="connsiteX103" fmla="*/ 1238094 w 1573156"/>
                <a:gd name="connsiteY103" fmla="*/ 335607 h 3641849"/>
                <a:gd name="connsiteX104" fmla="*/ 1210384 w 1573156"/>
                <a:gd name="connsiteY104" fmla="*/ 304578 h 3641849"/>
                <a:gd name="connsiteX105" fmla="*/ 1206216 w 1573156"/>
                <a:gd name="connsiteY105" fmla="*/ 280325 h 3641849"/>
                <a:gd name="connsiteX106" fmla="*/ 1257492 w 1573156"/>
                <a:gd name="connsiteY106" fmla="*/ 258034 h 3641849"/>
                <a:gd name="connsiteX107" fmla="*/ 1311072 w 1573156"/>
                <a:gd name="connsiteY107" fmla="*/ 267906 h 3641849"/>
                <a:gd name="connsiteX108" fmla="*/ 1389856 w 1573156"/>
                <a:gd name="connsiteY108" fmla="*/ 279816 h 3641849"/>
                <a:gd name="connsiteX109" fmla="*/ 1474179 w 1573156"/>
                <a:gd name="connsiteY109" fmla="*/ 349175 h 3641849"/>
                <a:gd name="connsiteX110" fmla="*/ 1536314 w 1573156"/>
                <a:gd name="connsiteY110" fmla="*/ 425271 h 3641849"/>
                <a:gd name="connsiteX111" fmla="*/ 1435343 w 1573156"/>
                <a:gd name="connsiteY111" fmla="*/ 454265 h 3641849"/>
                <a:gd name="connsiteX112" fmla="*/ 1419809 w 1573156"/>
                <a:gd name="connsiteY112" fmla="*/ 501372 h 3641849"/>
                <a:gd name="connsiteX113" fmla="*/ 1477479 w 1573156"/>
                <a:gd name="connsiteY113" fmla="*/ 585862 h 3641849"/>
                <a:gd name="connsiteX114" fmla="*/ 1513013 w 1573156"/>
                <a:gd name="connsiteY114" fmla="*/ 591964 h 3641849"/>
                <a:gd name="connsiteX115" fmla="*/ 1565633 w 1573156"/>
                <a:gd name="connsiteY115" fmla="*/ 598304 h 3641849"/>
                <a:gd name="connsiteX116" fmla="*/ 1560670 w 1573156"/>
                <a:gd name="connsiteY116" fmla="*/ 709079 h 3641849"/>
                <a:gd name="connsiteX117" fmla="*/ 1571739 w 1573156"/>
                <a:gd name="connsiteY117" fmla="*/ 1040047 h 3641849"/>
                <a:gd name="connsiteX118" fmla="*/ 1562871 w 1573156"/>
                <a:gd name="connsiteY118" fmla="*/ 1842646 h 3641849"/>
                <a:gd name="connsiteX119" fmla="*/ 1571738 w 1573156"/>
                <a:gd name="connsiteY119" fmla="*/ 2297728 h 3641849"/>
                <a:gd name="connsiteX120" fmla="*/ 1545290 w 1573156"/>
                <a:gd name="connsiteY120" fmla="*/ 3607693 h 3641849"/>
                <a:gd name="connsiteX121" fmla="*/ 1286863 w 1573156"/>
                <a:gd name="connsiteY121" fmla="*/ 3564098 h 3641849"/>
                <a:gd name="connsiteX122" fmla="*/ 1118385 w 1573156"/>
                <a:gd name="connsiteY122" fmla="*/ 3497903 h 3641849"/>
                <a:gd name="connsiteX123" fmla="*/ 941039 w 1573156"/>
                <a:gd name="connsiteY123" fmla="*/ 3406887 h 3641849"/>
                <a:gd name="connsiteX124" fmla="*/ 842741 w 1573156"/>
                <a:gd name="connsiteY124" fmla="*/ 3326370 h 3641849"/>
                <a:gd name="connsiteX125" fmla="*/ 1137003 w 1573156"/>
                <a:gd name="connsiteY125" fmla="*/ 3018734 h 3641849"/>
                <a:gd name="connsiteX126" fmla="*/ 853249 w 1573156"/>
                <a:gd name="connsiteY126" fmla="*/ 2480910 h 3641849"/>
                <a:gd name="connsiteX127" fmla="*/ 557777 w 1573156"/>
                <a:gd name="connsiteY127" fmla="*/ 2715007 h 3641849"/>
                <a:gd name="connsiteX128" fmla="*/ 531809 w 1573156"/>
                <a:gd name="connsiteY128" fmla="*/ 2657256 h 3641849"/>
                <a:gd name="connsiteX129" fmla="*/ 660385 w 1573156"/>
                <a:gd name="connsiteY129" fmla="*/ 2391963 h 3641849"/>
                <a:gd name="connsiteX130" fmla="*/ 91772 w 1573156"/>
                <a:gd name="connsiteY130" fmla="*/ 2159767 h 3641849"/>
                <a:gd name="connsiteX0" fmla="*/ 91772 w 1573156"/>
                <a:gd name="connsiteY0" fmla="*/ 2159767 h 3641849"/>
                <a:gd name="connsiteX1" fmla="*/ 112897 w 1573156"/>
                <a:gd name="connsiteY1" fmla="*/ 1811024 h 3641849"/>
                <a:gd name="connsiteX2" fmla="*/ 112899 w 1573156"/>
                <a:gd name="connsiteY2" fmla="*/ 1782581 h 3641849"/>
                <a:gd name="connsiteX3" fmla="*/ 107355 w 1573156"/>
                <a:gd name="connsiteY3" fmla="*/ 1751552 h 3641849"/>
                <a:gd name="connsiteX4" fmla="*/ 40851 w 1573156"/>
                <a:gd name="connsiteY4" fmla="*/ 1746381 h 3641849"/>
                <a:gd name="connsiteX5" fmla="*/ 2057 w 1573156"/>
                <a:gd name="connsiteY5" fmla="*/ 1730867 h 3641849"/>
                <a:gd name="connsiteX6" fmla="*/ 38079 w 1573156"/>
                <a:gd name="connsiteY6" fmla="*/ 1689496 h 3641849"/>
                <a:gd name="connsiteX7" fmla="*/ 18683 w 1573156"/>
                <a:gd name="connsiteY7" fmla="*/ 1679153 h 3641849"/>
                <a:gd name="connsiteX8" fmla="*/ 2055 w 1573156"/>
                <a:gd name="connsiteY8" fmla="*/ 1640367 h 3641849"/>
                <a:gd name="connsiteX9" fmla="*/ 65790 w 1573156"/>
                <a:gd name="connsiteY9" fmla="*/ 1650711 h 3641849"/>
                <a:gd name="connsiteX10" fmla="*/ 93501 w 1573156"/>
                <a:gd name="connsiteY10" fmla="*/ 1627440 h 3641849"/>
                <a:gd name="connsiteX11" fmla="*/ 187716 w 1573156"/>
                <a:gd name="connsiteY11" fmla="*/ 1536941 h 3641849"/>
                <a:gd name="connsiteX12" fmla="*/ 212655 w 1573156"/>
                <a:gd name="connsiteY12" fmla="*/ 1505912 h 3641849"/>
                <a:gd name="connsiteX13" fmla="*/ 198801 w 1573156"/>
                <a:gd name="connsiteY13" fmla="*/ 1555040 h 3641849"/>
                <a:gd name="connsiteX14" fmla="*/ 218197 w 1573156"/>
                <a:gd name="connsiteY14" fmla="*/ 1588655 h 3641849"/>
                <a:gd name="connsiteX15" fmla="*/ 262534 w 1573156"/>
                <a:gd name="connsiteY15" fmla="*/ 1666225 h 3641849"/>
                <a:gd name="connsiteX16" fmla="*/ 331810 w 1573156"/>
                <a:gd name="connsiteY16" fmla="*/ 1653297 h 3641849"/>
                <a:gd name="connsiteX17" fmla="*/ 351206 w 1573156"/>
                <a:gd name="connsiteY17" fmla="*/ 1622268 h 3641849"/>
                <a:gd name="connsiteX18" fmla="*/ 365062 w 1573156"/>
                <a:gd name="connsiteY18" fmla="*/ 1557627 h 3641849"/>
                <a:gd name="connsiteX19" fmla="*/ 304099 w 1573156"/>
                <a:gd name="connsiteY19" fmla="*/ 1511084 h 3641849"/>
                <a:gd name="connsiteX20" fmla="*/ 259763 w 1573156"/>
                <a:gd name="connsiteY20" fmla="*/ 1485227 h 3641849"/>
                <a:gd name="connsiteX21" fmla="*/ 198801 w 1573156"/>
                <a:gd name="connsiteY21" fmla="*/ 1495570 h 3641849"/>
                <a:gd name="connsiteX22" fmla="*/ 376147 w 1573156"/>
                <a:gd name="connsiteY22" fmla="*/ 1299057 h 3641849"/>
                <a:gd name="connsiteX23" fmla="*/ 223740 w 1573156"/>
                <a:gd name="connsiteY23" fmla="*/ 1151672 h 3641849"/>
                <a:gd name="connsiteX24" fmla="*/ 284703 w 1573156"/>
                <a:gd name="connsiteY24" fmla="*/ 1089617 h 3641849"/>
                <a:gd name="connsiteX25" fmla="*/ 218198 w 1573156"/>
                <a:gd name="connsiteY25" fmla="*/ 1050829 h 3641849"/>
                <a:gd name="connsiteX26" fmla="*/ 259763 w 1573156"/>
                <a:gd name="connsiteY26" fmla="*/ 1019802 h 3641849"/>
                <a:gd name="connsiteX27" fmla="*/ 212657 w 1573156"/>
                <a:gd name="connsiteY27" fmla="*/ 993947 h 3641849"/>
                <a:gd name="connsiteX28" fmla="*/ 212656 w 1573156"/>
                <a:gd name="connsiteY28" fmla="*/ 794845 h 3641849"/>
                <a:gd name="connsiteX29" fmla="*/ 251451 w 1573156"/>
                <a:gd name="connsiteY29" fmla="*/ 779332 h 3641849"/>
                <a:gd name="connsiteX30" fmla="*/ 137838 w 1573156"/>
                <a:gd name="connsiteY30" fmla="*/ 551792 h 3641849"/>
                <a:gd name="connsiteX31" fmla="*/ 135067 w 1573156"/>
                <a:gd name="connsiteY31" fmla="*/ 551792 h 3641849"/>
                <a:gd name="connsiteX32" fmla="*/ 184945 w 1573156"/>
                <a:gd name="connsiteY32" fmla="*/ 469048 h 3641849"/>
                <a:gd name="connsiteX33" fmla="*/ 201571 w 1573156"/>
                <a:gd name="connsiteY33" fmla="*/ 378550 h 3641849"/>
                <a:gd name="connsiteX34" fmla="*/ 126752 w 1573156"/>
                <a:gd name="connsiteY34" fmla="*/ 319079 h 3641849"/>
                <a:gd name="connsiteX35" fmla="*/ 118440 w 1573156"/>
                <a:gd name="connsiteY35" fmla="*/ 251851 h 3641849"/>
                <a:gd name="connsiteX36" fmla="*/ 173860 w 1573156"/>
                <a:gd name="connsiteY36" fmla="*/ 158764 h 3641849"/>
                <a:gd name="connsiteX37" fmla="*/ 193258 w 1573156"/>
                <a:gd name="connsiteY37" fmla="*/ 135494 h 3641849"/>
                <a:gd name="connsiteX38" fmla="*/ 207113 w 1573156"/>
                <a:gd name="connsiteY38" fmla="*/ 117394 h 3641849"/>
                <a:gd name="connsiteX39" fmla="*/ 215426 w 1573156"/>
                <a:gd name="connsiteY39" fmla="*/ 73438 h 3641849"/>
                <a:gd name="connsiteX40" fmla="*/ 240365 w 1573156"/>
                <a:gd name="connsiteY40" fmla="*/ 101880 h 3641849"/>
                <a:gd name="connsiteX41" fmla="*/ 270847 w 1573156"/>
                <a:gd name="connsiteY41" fmla="*/ 88952 h 3641849"/>
                <a:gd name="connsiteX42" fmla="*/ 273617 w 1573156"/>
                <a:gd name="connsiteY42" fmla="*/ 63095 h 3641849"/>
                <a:gd name="connsiteX43" fmla="*/ 281931 w 1573156"/>
                <a:gd name="connsiteY43" fmla="*/ 34652 h 3641849"/>
                <a:gd name="connsiteX44" fmla="*/ 284703 w 1573156"/>
                <a:gd name="connsiteY44" fmla="*/ 3624 h 3641849"/>
                <a:gd name="connsiteX45" fmla="*/ 420483 w 1573156"/>
                <a:gd name="connsiteY45" fmla="*/ 57924 h 3641849"/>
                <a:gd name="connsiteX46" fmla="*/ 450963 w 1573156"/>
                <a:gd name="connsiteY46" fmla="*/ 161352 h 3641849"/>
                <a:gd name="connsiteX47" fmla="*/ 464819 w 1573156"/>
                <a:gd name="connsiteY47" fmla="*/ 184622 h 3641849"/>
                <a:gd name="connsiteX48" fmla="*/ 475903 w 1573156"/>
                <a:gd name="connsiteY48" fmla="*/ 187208 h 3641849"/>
                <a:gd name="connsiteX49" fmla="*/ 589515 w 1573156"/>
                <a:gd name="connsiteY49" fmla="*/ 156181 h 3641849"/>
                <a:gd name="connsiteX50" fmla="*/ 656020 w 1573156"/>
                <a:gd name="connsiteY50" fmla="*/ 166522 h 3641849"/>
                <a:gd name="connsiteX51" fmla="*/ 719754 w 1573156"/>
                <a:gd name="connsiteY51" fmla="*/ 213065 h 3641849"/>
                <a:gd name="connsiteX52" fmla="*/ 733781 w 1573156"/>
                <a:gd name="connsiteY52" fmla="*/ 242621 h 3641849"/>
                <a:gd name="connsiteX53" fmla="*/ 789028 w 1573156"/>
                <a:gd name="connsiteY53" fmla="*/ 277708 h 3641849"/>
                <a:gd name="connsiteX54" fmla="*/ 877702 w 1573156"/>
                <a:gd name="connsiteY54" fmla="*/ 303563 h 3641849"/>
                <a:gd name="connsiteX55" fmla="*/ 949748 w 1573156"/>
                <a:gd name="connsiteY55" fmla="*/ 350106 h 3641849"/>
                <a:gd name="connsiteX56" fmla="*/ 999627 w 1573156"/>
                <a:gd name="connsiteY56" fmla="*/ 401820 h 3641849"/>
                <a:gd name="connsiteX57" fmla="*/ 1024566 w 1573156"/>
                <a:gd name="connsiteY57" fmla="*/ 440606 h 3641849"/>
                <a:gd name="connsiteX58" fmla="*/ 1057819 w 1573156"/>
                <a:gd name="connsiteY58" fmla="*/ 466462 h 3641849"/>
                <a:gd name="connsiteX59" fmla="*/ 1041191 w 1573156"/>
                <a:gd name="connsiteY59" fmla="*/ 691417 h 3641849"/>
                <a:gd name="connsiteX60" fmla="*/ 913725 w 1573156"/>
                <a:gd name="connsiteY60" fmla="*/ 771575 h 3641849"/>
                <a:gd name="connsiteX61" fmla="*/ 800113 w 1573156"/>
                <a:gd name="connsiteY61" fmla="*/ 779331 h 3641849"/>
                <a:gd name="connsiteX62" fmla="*/ 661560 w 1573156"/>
                <a:gd name="connsiteY62" fmla="*/ 758645 h 3641849"/>
                <a:gd name="connsiteX63" fmla="*/ 570116 w 1573156"/>
                <a:gd name="connsiteY63" fmla="*/ 722445 h 3641849"/>
                <a:gd name="connsiteX64" fmla="*/ 550719 w 1573156"/>
                <a:gd name="connsiteY64" fmla="*/ 750888 h 3641849"/>
                <a:gd name="connsiteX65" fmla="*/ 581361 w 1573156"/>
                <a:gd name="connsiteY65" fmla="*/ 824301 h 3641849"/>
                <a:gd name="connsiteX66" fmla="*/ 586902 w 1573156"/>
                <a:gd name="connsiteY66" fmla="*/ 951000 h 3641849"/>
                <a:gd name="connsiteX67" fmla="*/ 559032 w 1573156"/>
                <a:gd name="connsiteY67" fmla="*/ 1012043 h 3641849"/>
                <a:gd name="connsiteX68" fmla="*/ 614451 w 1573156"/>
                <a:gd name="connsiteY68" fmla="*/ 1032728 h 3641849"/>
                <a:gd name="connsiteX69" fmla="*/ 631079 w 1573156"/>
                <a:gd name="connsiteY69" fmla="*/ 1048242 h 3641849"/>
                <a:gd name="connsiteX70" fmla="*/ 656019 w 1573156"/>
                <a:gd name="connsiteY70" fmla="*/ 1074099 h 3641849"/>
                <a:gd name="connsiteX71" fmla="*/ 653248 w 1573156"/>
                <a:gd name="connsiteY71" fmla="*/ 1076685 h 3641849"/>
                <a:gd name="connsiteX72" fmla="*/ 692041 w 1573156"/>
                <a:gd name="connsiteY72" fmla="*/ 1071514 h 3641849"/>
                <a:gd name="connsiteX73" fmla="*/ 700355 w 1573156"/>
                <a:gd name="connsiteY73" fmla="*/ 1035314 h 3641849"/>
                <a:gd name="connsiteX74" fmla="*/ 661560 w 1573156"/>
                <a:gd name="connsiteY74" fmla="*/ 957743 h 3641849"/>
                <a:gd name="connsiteX75" fmla="*/ 730836 w 1573156"/>
                <a:gd name="connsiteY75" fmla="*/ 911200 h 3641849"/>
                <a:gd name="connsiteX76" fmla="*/ 798608 w 1573156"/>
                <a:gd name="connsiteY76" fmla="*/ 918934 h 3641849"/>
                <a:gd name="connsiteX77" fmla="*/ 822441 w 1573156"/>
                <a:gd name="connsiteY77" fmla="*/ 951001 h 3641849"/>
                <a:gd name="connsiteX78" fmla="*/ 978170 w 1573156"/>
                <a:gd name="connsiteY78" fmla="*/ 1007364 h 3641849"/>
                <a:gd name="connsiteX79" fmla="*/ 963762 w 1573156"/>
                <a:gd name="connsiteY79" fmla="*/ 971687 h 3641849"/>
                <a:gd name="connsiteX80" fmla="*/ 930510 w 1573156"/>
                <a:gd name="connsiteY80" fmla="*/ 932901 h 3641849"/>
                <a:gd name="connsiteX81" fmla="*/ 919426 w 1573156"/>
                <a:gd name="connsiteY81" fmla="*/ 881187 h 3641849"/>
                <a:gd name="connsiteX82" fmla="*/ 958221 w 1573156"/>
                <a:gd name="connsiteY82" fmla="*/ 832060 h 3641849"/>
                <a:gd name="connsiteX83" fmla="*/ 985931 w 1573156"/>
                <a:gd name="connsiteY83" fmla="*/ 803617 h 3641849"/>
                <a:gd name="connsiteX84" fmla="*/ 1010871 w 1573156"/>
                <a:gd name="connsiteY84" fmla="*/ 767417 h 3641849"/>
                <a:gd name="connsiteX85" fmla="*/ 1091231 w 1573156"/>
                <a:gd name="connsiteY85" fmla="*/ 762245 h 3641849"/>
                <a:gd name="connsiteX86" fmla="*/ 1096772 w 1573156"/>
                <a:gd name="connsiteY86" fmla="*/ 741560 h 3641849"/>
                <a:gd name="connsiteX87" fmla="*/ 1121712 w 1573156"/>
                <a:gd name="connsiteY87" fmla="*/ 705360 h 3641849"/>
                <a:gd name="connsiteX88" fmla="*/ 1155516 w 1573156"/>
                <a:gd name="connsiteY88" fmla="*/ 687772 h 3641849"/>
                <a:gd name="connsiteX89" fmla="*/ 1213156 w 1573156"/>
                <a:gd name="connsiteY89" fmla="*/ 700189 h 3641849"/>
                <a:gd name="connsiteX90" fmla="*/ 1251949 w 1573156"/>
                <a:gd name="connsiteY90" fmla="*/ 720875 h 3641849"/>
                <a:gd name="connsiteX91" fmla="*/ 1299057 w 1573156"/>
                <a:gd name="connsiteY91" fmla="*/ 728632 h 3641849"/>
                <a:gd name="connsiteX92" fmla="*/ 1299057 w 1573156"/>
                <a:gd name="connsiteY92" fmla="*/ 733803 h 3641849"/>
                <a:gd name="connsiteX93" fmla="*/ 1321226 w 1573156"/>
                <a:gd name="connsiteY93" fmla="*/ 674332 h 3641849"/>
                <a:gd name="connsiteX94" fmla="*/ 1331201 w 1573156"/>
                <a:gd name="connsiteY94" fmla="*/ 640714 h 3641849"/>
                <a:gd name="connsiteX95" fmla="*/ 1337852 w 1573156"/>
                <a:gd name="connsiteY95" fmla="*/ 622618 h 3641849"/>
                <a:gd name="connsiteX96" fmla="*/ 1340789 w 1573156"/>
                <a:gd name="connsiteY96" fmla="*/ 591288 h 3641849"/>
                <a:gd name="connsiteX97" fmla="*/ 1260263 w 1573156"/>
                <a:gd name="connsiteY97" fmla="*/ 545048 h 3641849"/>
                <a:gd name="connsiteX98" fmla="*/ 1246408 w 1573156"/>
                <a:gd name="connsiteY98" fmla="*/ 472648 h 3641849"/>
                <a:gd name="connsiteX99" fmla="*/ 1246408 w 1573156"/>
                <a:gd name="connsiteY99" fmla="*/ 454548 h 3641849"/>
                <a:gd name="connsiteX100" fmla="*/ 1257491 w 1573156"/>
                <a:gd name="connsiteY100" fmla="*/ 431276 h 3641849"/>
                <a:gd name="connsiteX101" fmla="*/ 1260263 w 1573156"/>
                <a:gd name="connsiteY101" fmla="*/ 415762 h 3641849"/>
                <a:gd name="connsiteX102" fmla="*/ 1260262 w 1573156"/>
                <a:gd name="connsiteY102" fmla="*/ 358878 h 3641849"/>
                <a:gd name="connsiteX103" fmla="*/ 1238094 w 1573156"/>
                <a:gd name="connsiteY103" fmla="*/ 335607 h 3641849"/>
                <a:gd name="connsiteX104" fmla="*/ 1210384 w 1573156"/>
                <a:gd name="connsiteY104" fmla="*/ 304578 h 3641849"/>
                <a:gd name="connsiteX105" fmla="*/ 1206216 w 1573156"/>
                <a:gd name="connsiteY105" fmla="*/ 280325 h 3641849"/>
                <a:gd name="connsiteX106" fmla="*/ 1257492 w 1573156"/>
                <a:gd name="connsiteY106" fmla="*/ 258034 h 3641849"/>
                <a:gd name="connsiteX107" fmla="*/ 1311072 w 1573156"/>
                <a:gd name="connsiteY107" fmla="*/ 267906 h 3641849"/>
                <a:gd name="connsiteX108" fmla="*/ 1389856 w 1573156"/>
                <a:gd name="connsiteY108" fmla="*/ 279816 h 3641849"/>
                <a:gd name="connsiteX109" fmla="*/ 1474179 w 1573156"/>
                <a:gd name="connsiteY109" fmla="*/ 349175 h 3641849"/>
                <a:gd name="connsiteX110" fmla="*/ 1536314 w 1573156"/>
                <a:gd name="connsiteY110" fmla="*/ 425271 h 3641849"/>
                <a:gd name="connsiteX111" fmla="*/ 1435343 w 1573156"/>
                <a:gd name="connsiteY111" fmla="*/ 454265 h 3641849"/>
                <a:gd name="connsiteX112" fmla="*/ 1419809 w 1573156"/>
                <a:gd name="connsiteY112" fmla="*/ 501372 h 3641849"/>
                <a:gd name="connsiteX113" fmla="*/ 1477479 w 1573156"/>
                <a:gd name="connsiteY113" fmla="*/ 585862 h 3641849"/>
                <a:gd name="connsiteX114" fmla="*/ 1513013 w 1573156"/>
                <a:gd name="connsiteY114" fmla="*/ 591964 h 3641849"/>
                <a:gd name="connsiteX115" fmla="*/ 1565633 w 1573156"/>
                <a:gd name="connsiteY115" fmla="*/ 598304 h 3641849"/>
                <a:gd name="connsiteX116" fmla="*/ 1560670 w 1573156"/>
                <a:gd name="connsiteY116" fmla="*/ 709079 h 3641849"/>
                <a:gd name="connsiteX117" fmla="*/ 1571739 w 1573156"/>
                <a:gd name="connsiteY117" fmla="*/ 1040047 h 3641849"/>
                <a:gd name="connsiteX118" fmla="*/ 1562871 w 1573156"/>
                <a:gd name="connsiteY118" fmla="*/ 1842646 h 3641849"/>
                <a:gd name="connsiteX119" fmla="*/ 1571738 w 1573156"/>
                <a:gd name="connsiteY119" fmla="*/ 2297728 h 3641849"/>
                <a:gd name="connsiteX120" fmla="*/ 1545290 w 1573156"/>
                <a:gd name="connsiteY120" fmla="*/ 3607693 h 3641849"/>
                <a:gd name="connsiteX121" fmla="*/ 1286863 w 1573156"/>
                <a:gd name="connsiteY121" fmla="*/ 3564098 h 3641849"/>
                <a:gd name="connsiteX122" fmla="*/ 1118385 w 1573156"/>
                <a:gd name="connsiteY122" fmla="*/ 3497903 h 3641849"/>
                <a:gd name="connsiteX123" fmla="*/ 941039 w 1573156"/>
                <a:gd name="connsiteY123" fmla="*/ 3406887 h 3641849"/>
                <a:gd name="connsiteX124" fmla="*/ 842741 w 1573156"/>
                <a:gd name="connsiteY124" fmla="*/ 3326370 h 3641849"/>
                <a:gd name="connsiteX125" fmla="*/ 1137003 w 1573156"/>
                <a:gd name="connsiteY125" fmla="*/ 3018734 h 3641849"/>
                <a:gd name="connsiteX126" fmla="*/ 853249 w 1573156"/>
                <a:gd name="connsiteY126" fmla="*/ 2480910 h 3641849"/>
                <a:gd name="connsiteX127" fmla="*/ 557777 w 1573156"/>
                <a:gd name="connsiteY127" fmla="*/ 2715007 h 3641849"/>
                <a:gd name="connsiteX128" fmla="*/ 531809 w 1573156"/>
                <a:gd name="connsiteY128" fmla="*/ 2657256 h 3641849"/>
                <a:gd name="connsiteX129" fmla="*/ 660385 w 1573156"/>
                <a:gd name="connsiteY129" fmla="*/ 2391963 h 3641849"/>
                <a:gd name="connsiteX130" fmla="*/ 91772 w 1573156"/>
                <a:gd name="connsiteY130" fmla="*/ 2159767 h 3641849"/>
                <a:gd name="connsiteX0" fmla="*/ 91772 w 1573156"/>
                <a:gd name="connsiteY0" fmla="*/ 2159767 h 3641849"/>
                <a:gd name="connsiteX1" fmla="*/ 51935 w 1573156"/>
                <a:gd name="connsiteY1" fmla="*/ 1927380 h 3641849"/>
                <a:gd name="connsiteX2" fmla="*/ 112899 w 1573156"/>
                <a:gd name="connsiteY2" fmla="*/ 1782581 h 3641849"/>
                <a:gd name="connsiteX3" fmla="*/ 107355 w 1573156"/>
                <a:gd name="connsiteY3" fmla="*/ 1751552 h 3641849"/>
                <a:gd name="connsiteX4" fmla="*/ 40851 w 1573156"/>
                <a:gd name="connsiteY4" fmla="*/ 1746381 h 3641849"/>
                <a:gd name="connsiteX5" fmla="*/ 2057 w 1573156"/>
                <a:gd name="connsiteY5" fmla="*/ 1730867 h 3641849"/>
                <a:gd name="connsiteX6" fmla="*/ 38079 w 1573156"/>
                <a:gd name="connsiteY6" fmla="*/ 1689496 h 3641849"/>
                <a:gd name="connsiteX7" fmla="*/ 18683 w 1573156"/>
                <a:gd name="connsiteY7" fmla="*/ 1679153 h 3641849"/>
                <a:gd name="connsiteX8" fmla="*/ 2055 w 1573156"/>
                <a:gd name="connsiteY8" fmla="*/ 1640367 h 3641849"/>
                <a:gd name="connsiteX9" fmla="*/ 65790 w 1573156"/>
                <a:gd name="connsiteY9" fmla="*/ 1650711 h 3641849"/>
                <a:gd name="connsiteX10" fmla="*/ 93501 w 1573156"/>
                <a:gd name="connsiteY10" fmla="*/ 1627440 h 3641849"/>
                <a:gd name="connsiteX11" fmla="*/ 187716 w 1573156"/>
                <a:gd name="connsiteY11" fmla="*/ 1536941 h 3641849"/>
                <a:gd name="connsiteX12" fmla="*/ 212655 w 1573156"/>
                <a:gd name="connsiteY12" fmla="*/ 1505912 h 3641849"/>
                <a:gd name="connsiteX13" fmla="*/ 198801 w 1573156"/>
                <a:gd name="connsiteY13" fmla="*/ 1555040 h 3641849"/>
                <a:gd name="connsiteX14" fmla="*/ 218197 w 1573156"/>
                <a:gd name="connsiteY14" fmla="*/ 1588655 h 3641849"/>
                <a:gd name="connsiteX15" fmla="*/ 262534 w 1573156"/>
                <a:gd name="connsiteY15" fmla="*/ 1666225 h 3641849"/>
                <a:gd name="connsiteX16" fmla="*/ 331810 w 1573156"/>
                <a:gd name="connsiteY16" fmla="*/ 1653297 h 3641849"/>
                <a:gd name="connsiteX17" fmla="*/ 351206 w 1573156"/>
                <a:gd name="connsiteY17" fmla="*/ 1622268 h 3641849"/>
                <a:gd name="connsiteX18" fmla="*/ 365062 w 1573156"/>
                <a:gd name="connsiteY18" fmla="*/ 1557627 h 3641849"/>
                <a:gd name="connsiteX19" fmla="*/ 304099 w 1573156"/>
                <a:gd name="connsiteY19" fmla="*/ 1511084 h 3641849"/>
                <a:gd name="connsiteX20" fmla="*/ 259763 w 1573156"/>
                <a:gd name="connsiteY20" fmla="*/ 1485227 h 3641849"/>
                <a:gd name="connsiteX21" fmla="*/ 198801 w 1573156"/>
                <a:gd name="connsiteY21" fmla="*/ 1495570 h 3641849"/>
                <a:gd name="connsiteX22" fmla="*/ 376147 w 1573156"/>
                <a:gd name="connsiteY22" fmla="*/ 1299057 h 3641849"/>
                <a:gd name="connsiteX23" fmla="*/ 223740 w 1573156"/>
                <a:gd name="connsiteY23" fmla="*/ 1151672 h 3641849"/>
                <a:gd name="connsiteX24" fmla="*/ 284703 w 1573156"/>
                <a:gd name="connsiteY24" fmla="*/ 1089617 h 3641849"/>
                <a:gd name="connsiteX25" fmla="*/ 218198 w 1573156"/>
                <a:gd name="connsiteY25" fmla="*/ 1050829 h 3641849"/>
                <a:gd name="connsiteX26" fmla="*/ 259763 w 1573156"/>
                <a:gd name="connsiteY26" fmla="*/ 1019802 h 3641849"/>
                <a:gd name="connsiteX27" fmla="*/ 212657 w 1573156"/>
                <a:gd name="connsiteY27" fmla="*/ 993947 h 3641849"/>
                <a:gd name="connsiteX28" fmla="*/ 212656 w 1573156"/>
                <a:gd name="connsiteY28" fmla="*/ 794845 h 3641849"/>
                <a:gd name="connsiteX29" fmla="*/ 251451 w 1573156"/>
                <a:gd name="connsiteY29" fmla="*/ 779332 h 3641849"/>
                <a:gd name="connsiteX30" fmla="*/ 137838 w 1573156"/>
                <a:gd name="connsiteY30" fmla="*/ 551792 h 3641849"/>
                <a:gd name="connsiteX31" fmla="*/ 135067 w 1573156"/>
                <a:gd name="connsiteY31" fmla="*/ 551792 h 3641849"/>
                <a:gd name="connsiteX32" fmla="*/ 184945 w 1573156"/>
                <a:gd name="connsiteY32" fmla="*/ 469048 h 3641849"/>
                <a:gd name="connsiteX33" fmla="*/ 201571 w 1573156"/>
                <a:gd name="connsiteY33" fmla="*/ 378550 h 3641849"/>
                <a:gd name="connsiteX34" fmla="*/ 126752 w 1573156"/>
                <a:gd name="connsiteY34" fmla="*/ 319079 h 3641849"/>
                <a:gd name="connsiteX35" fmla="*/ 118440 w 1573156"/>
                <a:gd name="connsiteY35" fmla="*/ 251851 h 3641849"/>
                <a:gd name="connsiteX36" fmla="*/ 173860 w 1573156"/>
                <a:gd name="connsiteY36" fmla="*/ 158764 h 3641849"/>
                <a:gd name="connsiteX37" fmla="*/ 193258 w 1573156"/>
                <a:gd name="connsiteY37" fmla="*/ 135494 h 3641849"/>
                <a:gd name="connsiteX38" fmla="*/ 207113 w 1573156"/>
                <a:gd name="connsiteY38" fmla="*/ 117394 h 3641849"/>
                <a:gd name="connsiteX39" fmla="*/ 215426 w 1573156"/>
                <a:gd name="connsiteY39" fmla="*/ 73438 h 3641849"/>
                <a:gd name="connsiteX40" fmla="*/ 240365 w 1573156"/>
                <a:gd name="connsiteY40" fmla="*/ 101880 h 3641849"/>
                <a:gd name="connsiteX41" fmla="*/ 270847 w 1573156"/>
                <a:gd name="connsiteY41" fmla="*/ 88952 h 3641849"/>
                <a:gd name="connsiteX42" fmla="*/ 273617 w 1573156"/>
                <a:gd name="connsiteY42" fmla="*/ 63095 h 3641849"/>
                <a:gd name="connsiteX43" fmla="*/ 281931 w 1573156"/>
                <a:gd name="connsiteY43" fmla="*/ 34652 h 3641849"/>
                <a:gd name="connsiteX44" fmla="*/ 284703 w 1573156"/>
                <a:gd name="connsiteY44" fmla="*/ 3624 h 3641849"/>
                <a:gd name="connsiteX45" fmla="*/ 420483 w 1573156"/>
                <a:gd name="connsiteY45" fmla="*/ 57924 h 3641849"/>
                <a:gd name="connsiteX46" fmla="*/ 450963 w 1573156"/>
                <a:gd name="connsiteY46" fmla="*/ 161352 h 3641849"/>
                <a:gd name="connsiteX47" fmla="*/ 464819 w 1573156"/>
                <a:gd name="connsiteY47" fmla="*/ 184622 h 3641849"/>
                <a:gd name="connsiteX48" fmla="*/ 475903 w 1573156"/>
                <a:gd name="connsiteY48" fmla="*/ 187208 h 3641849"/>
                <a:gd name="connsiteX49" fmla="*/ 589515 w 1573156"/>
                <a:gd name="connsiteY49" fmla="*/ 156181 h 3641849"/>
                <a:gd name="connsiteX50" fmla="*/ 656020 w 1573156"/>
                <a:gd name="connsiteY50" fmla="*/ 166522 h 3641849"/>
                <a:gd name="connsiteX51" fmla="*/ 719754 w 1573156"/>
                <a:gd name="connsiteY51" fmla="*/ 213065 h 3641849"/>
                <a:gd name="connsiteX52" fmla="*/ 733781 w 1573156"/>
                <a:gd name="connsiteY52" fmla="*/ 242621 h 3641849"/>
                <a:gd name="connsiteX53" fmla="*/ 789028 w 1573156"/>
                <a:gd name="connsiteY53" fmla="*/ 277708 h 3641849"/>
                <a:gd name="connsiteX54" fmla="*/ 877702 w 1573156"/>
                <a:gd name="connsiteY54" fmla="*/ 303563 h 3641849"/>
                <a:gd name="connsiteX55" fmla="*/ 949748 w 1573156"/>
                <a:gd name="connsiteY55" fmla="*/ 350106 h 3641849"/>
                <a:gd name="connsiteX56" fmla="*/ 999627 w 1573156"/>
                <a:gd name="connsiteY56" fmla="*/ 401820 h 3641849"/>
                <a:gd name="connsiteX57" fmla="*/ 1024566 w 1573156"/>
                <a:gd name="connsiteY57" fmla="*/ 440606 h 3641849"/>
                <a:gd name="connsiteX58" fmla="*/ 1057819 w 1573156"/>
                <a:gd name="connsiteY58" fmla="*/ 466462 h 3641849"/>
                <a:gd name="connsiteX59" fmla="*/ 1041191 w 1573156"/>
                <a:gd name="connsiteY59" fmla="*/ 691417 h 3641849"/>
                <a:gd name="connsiteX60" fmla="*/ 913725 w 1573156"/>
                <a:gd name="connsiteY60" fmla="*/ 771575 h 3641849"/>
                <a:gd name="connsiteX61" fmla="*/ 800113 w 1573156"/>
                <a:gd name="connsiteY61" fmla="*/ 779331 h 3641849"/>
                <a:gd name="connsiteX62" fmla="*/ 661560 w 1573156"/>
                <a:gd name="connsiteY62" fmla="*/ 758645 h 3641849"/>
                <a:gd name="connsiteX63" fmla="*/ 570116 w 1573156"/>
                <a:gd name="connsiteY63" fmla="*/ 722445 h 3641849"/>
                <a:gd name="connsiteX64" fmla="*/ 550719 w 1573156"/>
                <a:gd name="connsiteY64" fmla="*/ 750888 h 3641849"/>
                <a:gd name="connsiteX65" fmla="*/ 581361 w 1573156"/>
                <a:gd name="connsiteY65" fmla="*/ 824301 h 3641849"/>
                <a:gd name="connsiteX66" fmla="*/ 586902 w 1573156"/>
                <a:gd name="connsiteY66" fmla="*/ 951000 h 3641849"/>
                <a:gd name="connsiteX67" fmla="*/ 559032 w 1573156"/>
                <a:gd name="connsiteY67" fmla="*/ 1012043 h 3641849"/>
                <a:gd name="connsiteX68" fmla="*/ 614451 w 1573156"/>
                <a:gd name="connsiteY68" fmla="*/ 1032728 h 3641849"/>
                <a:gd name="connsiteX69" fmla="*/ 631079 w 1573156"/>
                <a:gd name="connsiteY69" fmla="*/ 1048242 h 3641849"/>
                <a:gd name="connsiteX70" fmla="*/ 656019 w 1573156"/>
                <a:gd name="connsiteY70" fmla="*/ 1074099 h 3641849"/>
                <a:gd name="connsiteX71" fmla="*/ 653248 w 1573156"/>
                <a:gd name="connsiteY71" fmla="*/ 1076685 h 3641849"/>
                <a:gd name="connsiteX72" fmla="*/ 692041 w 1573156"/>
                <a:gd name="connsiteY72" fmla="*/ 1071514 h 3641849"/>
                <a:gd name="connsiteX73" fmla="*/ 700355 w 1573156"/>
                <a:gd name="connsiteY73" fmla="*/ 1035314 h 3641849"/>
                <a:gd name="connsiteX74" fmla="*/ 661560 w 1573156"/>
                <a:gd name="connsiteY74" fmla="*/ 957743 h 3641849"/>
                <a:gd name="connsiteX75" fmla="*/ 730836 w 1573156"/>
                <a:gd name="connsiteY75" fmla="*/ 911200 h 3641849"/>
                <a:gd name="connsiteX76" fmla="*/ 798608 w 1573156"/>
                <a:gd name="connsiteY76" fmla="*/ 918934 h 3641849"/>
                <a:gd name="connsiteX77" fmla="*/ 822441 w 1573156"/>
                <a:gd name="connsiteY77" fmla="*/ 951001 h 3641849"/>
                <a:gd name="connsiteX78" fmla="*/ 978170 w 1573156"/>
                <a:gd name="connsiteY78" fmla="*/ 1007364 h 3641849"/>
                <a:gd name="connsiteX79" fmla="*/ 963762 w 1573156"/>
                <a:gd name="connsiteY79" fmla="*/ 971687 h 3641849"/>
                <a:gd name="connsiteX80" fmla="*/ 930510 w 1573156"/>
                <a:gd name="connsiteY80" fmla="*/ 932901 h 3641849"/>
                <a:gd name="connsiteX81" fmla="*/ 919426 w 1573156"/>
                <a:gd name="connsiteY81" fmla="*/ 881187 h 3641849"/>
                <a:gd name="connsiteX82" fmla="*/ 958221 w 1573156"/>
                <a:gd name="connsiteY82" fmla="*/ 832060 h 3641849"/>
                <a:gd name="connsiteX83" fmla="*/ 985931 w 1573156"/>
                <a:gd name="connsiteY83" fmla="*/ 803617 h 3641849"/>
                <a:gd name="connsiteX84" fmla="*/ 1010871 w 1573156"/>
                <a:gd name="connsiteY84" fmla="*/ 767417 h 3641849"/>
                <a:gd name="connsiteX85" fmla="*/ 1091231 w 1573156"/>
                <a:gd name="connsiteY85" fmla="*/ 762245 h 3641849"/>
                <a:gd name="connsiteX86" fmla="*/ 1096772 w 1573156"/>
                <a:gd name="connsiteY86" fmla="*/ 741560 h 3641849"/>
                <a:gd name="connsiteX87" fmla="*/ 1121712 w 1573156"/>
                <a:gd name="connsiteY87" fmla="*/ 705360 h 3641849"/>
                <a:gd name="connsiteX88" fmla="*/ 1155516 w 1573156"/>
                <a:gd name="connsiteY88" fmla="*/ 687772 h 3641849"/>
                <a:gd name="connsiteX89" fmla="*/ 1213156 w 1573156"/>
                <a:gd name="connsiteY89" fmla="*/ 700189 h 3641849"/>
                <a:gd name="connsiteX90" fmla="*/ 1251949 w 1573156"/>
                <a:gd name="connsiteY90" fmla="*/ 720875 h 3641849"/>
                <a:gd name="connsiteX91" fmla="*/ 1299057 w 1573156"/>
                <a:gd name="connsiteY91" fmla="*/ 728632 h 3641849"/>
                <a:gd name="connsiteX92" fmla="*/ 1299057 w 1573156"/>
                <a:gd name="connsiteY92" fmla="*/ 733803 h 3641849"/>
                <a:gd name="connsiteX93" fmla="*/ 1321226 w 1573156"/>
                <a:gd name="connsiteY93" fmla="*/ 674332 h 3641849"/>
                <a:gd name="connsiteX94" fmla="*/ 1331201 w 1573156"/>
                <a:gd name="connsiteY94" fmla="*/ 640714 h 3641849"/>
                <a:gd name="connsiteX95" fmla="*/ 1337852 w 1573156"/>
                <a:gd name="connsiteY95" fmla="*/ 622618 h 3641849"/>
                <a:gd name="connsiteX96" fmla="*/ 1340789 w 1573156"/>
                <a:gd name="connsiteY96" fmla="*/ 591288 h 3641849"/>
                <a:gd name="connsiteX97" fmla="*/ 1260263 w 1573156"/>
                <a:gd name="connsiteY97" fmla="*/ 545048 h 3641849"/>
                <a:gd name="connsiteX98" fmla="*/ 1246408 w 1573156"/>
                <a:gd name="connsiteY98" fmla="*/ 472648 h 3641849"/>
                <a:gd name="connsiteX99" fmla="*/ 1246408 w 1573156"/>
                <a:gd name="connsiteY99" fmla="*/ 454548 h 3641849"/>
                <a:gd name="connsiteX100" fmla="*/ 1257491 w 1573156"/>
                <a:gd name="connsiteY100" fmla="*/ 431276 h 3641849"/>
                <a:gd name="connsiteX101" fmla="*/ 1260263 w 1573156"/>
                <a:gd name="connsiteY101" fmla="*/ 415762 h 3641849"/>
                <a:gd name="connsiteX102" fmla="*/ 1260262 w 1573156"/>
                <a:gd name="connsiteY102" fmla="*/ 358878 h 3641849"/>
                <a:gd name="connsiteX103" fmla="*/ 1238094 w 1573156"/>
                <a:gd name="connsiteY103" fmla="*/ 335607 h 3641849"/>
                <a:gd name="connsiteX104" fmla="*/ 1210384 w 1573156"/>
                <a:gd name="connsiteY104" fmla="*/ 304578 h 3641849"/>
                <a:gd name="connsiteX105" fmla="*/ 1206216 w 1573156"/>
                <a:gd name="connsiteY105" fmla="*/ 280325 h 3641849"/>
                <a:gd name="connsiteX106" fmla="*/ 1257492 w 1573156"/>
                <a:gd name="connsiteY106" fmla="*/ 258034 h 3641849"/>
                <a:gd name="connsiteX107" fmla="*/ 1311072 w 1573156"/>
                <a:gd name="connsiteY107" fmla="*/ 267906 h 3641849"/>
                <a:gd name="connsiteX108" fmla="*/ 1389856 w 1573156"/>
                <a:gd name="connsiteY108" fmla="*/ 279816 h 3641849"/>
                <a:gd name="connsiteX109" fmla="*/ 1474179 w 1573156"/>
                <a:gd name="connsiteY109" fmla="*/ 349175 h 3641849"/>
                <a:gd name="connsiteX110" fmla="*/ 1536314 w 1573156"/>
                <a:gd name="connsiteY110" fmla="*/ 425271 h 3641849"/>
                <a:gd name="connsiteX111" fmla="*/ 1435343 w 1573156"/>
                <a:gd name="connsiteY111" fmla="*/ 454265 h 3641849"/>
                <a:gd name="connsiteX112" fmla="*/ 1419809 w 1573156"/>
                <a:gd name="connsiteY112" fmla="*/ 501372 h 3641849"/>
                <a:gd name="connsiteX113" fmla="*/ 1477479 w 1573156"/>
                <a:gd name="connsiteY113" fmla="*/ 585862 h 3641849"/>
                <a:gd name="connsiteX114" fmla="*/ 1513013 w 1573156"/>
                <a:gd name="connsiteY114" fmla="*/ 591964 h 3641849"/>
                <a:gd name="connsiteX115" fmla="*/ 1565633 w 1573156"/>
                <a:gd name="connsiteY115" fmla="*/ 598304 h 3641849"/>
                <a:gd name="connsiteX116" fmla="*/ 1560670 w 1573156"/>
                <a:gd name="connsiteY116" fmla="*/ 709079 h 3641849"/>
                <a:gd name="connsiteX117" fmla="*/ 1571739 w 1573156"/>
                <a:gd name="connsiteY117" fmla="*/ 1040047 h 3641849"/>
                <a:gd name="connsiteX118" fmla="*/ 1562871 w 1573156"/>
                <a:gd name="connsiteY118" fmla="*/ 1842646 h 3641849"/>
                <a:gd name="connsiteX119" fmla="*/ 1571738 w 1573156"/>
                <a:gd name="connsiteY119" fmla="*/ 2297728 h 3641849"/>
                <a:gd name="connsiteX120" fmla="*/ 1545290 w 1573156"/>
                <a:gd name="connsiteY120" fmla="*/ 3607693 h 3641849"/>
                <a:gd name="connsiteX121" fmla="*/ 1286863 w 1573156"/>
                <a:gd name="connsiteY121" fmla="*/ 3564098 h 3641849"/>
                <a:gd name="connsiteX122" fmla="*/ 1118385 w 1573156"/>
                <a:gd name="connsiteY122" fmla="*/ 3497903 h 3641849"/>
                <a:gd name="connsiteX123" fmla="*/ 941039 w 1573156"/>
                <a:gd name="connsiteY123" fmla="*/ 3406887 h 3641849"/>
                <a:gd name="connsiteX124" fmla="*/ 842741 w 1573156"/>
                <a:gd name="connsiteY124" fmla="*/ 3326370 h 3641849"/>
                <a:gd name="connsiteX125" fmla="*/ 1137003 w 1573156"/>
                <a:gd name="connsiteY125" fmla="*/ 3018734 h 3641849"/>
                <a:gd name="connsiteX126" fmla="*/ 853249 w 1573156"/>
                <a:gd name="connsiteY126" fmla="*/ 2480910 h 3641849"/>
                <a:gd name="connsiteX127" fmla="*/ 557777 w 1573156"/>
                <a:gd name="connsiteY127" fmla="*/ 2715007 h 3641849"/>
                <a:gd name="connsiteX128" fmla="*/ 531809 w 1573156"/>
                <a:gd name="connsiteY128" fmla="*/ 2657256 h 3641849"/>
                <a:gd name="connsiteX129" fmla="*/ 660385 w 1573156"/>
                <a:gd name="connsiteY129" fmla="*/ 2391963 h 3641849"/>
                <a:gd name="connsiteX130" fmla="*/ 91772 w 1573156"/>
                <a:gd name="connsiteY130" fmla="*/ 2159767 h 3641849"/>
                <a:gd name="connsiteX0" fmla="*/ 91772 w 1573156"/>
                <a:gd name="connsiteY0" fmla="*/ 2159767 h 3641849"/>
                <a:gd name="connsiteX1" fmla="*/ 51935 w 1573156"/>
                <a:gd name="connsiteY1" fmla="*/ 1927380 h 3641849"/>
                <a:gd name="connsiteX2" fmla="*/ 112899 w 1573156"/>
                <a:gd name="connsiteY2" fmla="*/ 1782581 h 3641849"/>
                <a:gd name="connsiteX3" fmla="*/ 96271 w 1573156"/>
                <a:gd name="connsiteY3" fmla="*/ 1754138 h 3641849"/>
                <a:gd name="connsiteX4" fmla="*/ 40851 w 1573156"/>
                <a:gd name="connsiteY4" fmla="*/ 1746381 h 3641849"/>
                <a:gd name="connsiteX5" fmla="*/ 2057 w 1573156"/>
                <a:gd name="connsiteY5" fmla="*/ 1730867 h 3641849"/>
                <a:gd name="connsiteX6" fmla="*/ 38079 w 1573156"/>
                <a:gd name="connsiteY6" fmla="*/ 1689496 h 3641849"/>
                <a:gd name="connsiteX7" fmla="*/ 18683 w 1573156"/>
                <a:gd name="connsiteY7" fmla="*/ 1679153 h 3641849"/>
                <a:gd name="connsiteX8" fmla="*/ 2055 w 1573156"/>
                <a:gd name="connsiteY8" fmla="*/ 1640367 h 3641849"/>
                <a:gd name="connsiteX9" fmla="*/ 65790 w 1573156"/>
                <a:gd name="connsiteY9" fmla="*/ 1650711 h 3641849"/>
                <a:gd name="connsiteX10" fmla="*/ 93501 w 1573156"/>
                <a:gd name="connsiteY10" fmla="*/ 1627440 h 3641849"/>
                <a:gd name="connsiteX11" fmla="*/ 187716 w 1573156"/>
                <a:gd name="connsiteY11" fmla="*/ 1536941 h 3641849"/>
                <a:gd name="connsiteX12" fmla="*/ 212655 w 1573156"/>
                <a:gd name="connsiteY12" fmla="*/ 1505912 h 3641849"/>
                <a:gd name="connsiteX13" fmla="*/ 198801 w 1573156"/>
                <a:gd name="connsiteY13" fmla="*/ 1555040 h 3641849"/>
                <a:gd name="connsiteX14" fmla="*/ 218197 w 1573156"/>
                <a:gd name="connsiteY14" fmla="*/ 1588655 h 3641849"/>
                <a:gd name="connsiteX15" fmla="*/ 262534 w 1573156"/>
                <a:gd name="connsiteY15" fmla="*/ 1666225 h 3641849"/>
                <a:gd name="connsiteX16" fmla="*/ 331810 w 1573156"/>
                <a:gd name="connsiteY16" fmla="*/ 1653297 h 3641849"/>
                <a:gd name="connsiteX17" fmla="*/ 351206 w 1573156"/>
                <a:gd name="connsiteY17" fmla="*/ 1622268 h 3641849"/>
                <a:gd name="connsiteX18" fmla="*/ 365062 w 1573156"/>
                <a:gd name="connsiteY18" fmla="*/ 1557627 h 3641849"/>
                <a:gd name="connsiteX19" fmla="*/ 304099 w 1573156"/>
                <a:gd name="connsiteY19" fmla="*/ 1511084 h 3641849"/>
                <a:gd name="connsiteX20" fmla="*/ 259763 w 1573156"/>
                <a:gd name="connsiteY20" fmla="*/ 1485227 h 3641849"/>
                <a:gd name="connsiteX21" fmla="*/ 198801 w 1573156"/>
                <a:gd name="connsiteY21" fmla="*/ 1495570 h 3641849"/>
                <a:gd name="connsiteX22" fmla="*/ 376147 w 1573156"/>
                <a:gd name="connsiteY22" fmla="*/ 1299057 h 3641849"/>
                <a:gd name="connsiteX23" fmla="*/ 223740 w 1573156"/>
                <a:gd name="connsiteY23" fmla="*/ 1151672 h 3641849"/>
                <a:gd name="connsiteX24" fmla="*/ 284703 w 1573156"/>
                <a:gd name="connsiteY24" fmla="*/ 1089617 h 3641849"/>
                <a:gd name="connsiteX25" fmla="*/ 218198 w 1573156"/>
                <a:gd name="connsiteY25" fmla="*/ 1050829 h 3641849"/>
                <a:gd name="connsiteX26" fmla="*/ 259763 w 1573156"/>
                <a:gd name="connsiteY26" fmla="*/ 1019802 h 3641849"/>
                <a:gd name="connsiteX27" fmla="*/ 212657 w 1573156"/>
                <a:gd name="connsiteY27" fmla="*/ 993947 h 3641849"/>
                <a:gd name="connsiteX28" fmla="*/ 212656 w 1573156"/>
                <a:gd name="connsiteY28" fmla="*/ 794845 h 3641849"/>
                <a:gd name="connsiteX29" fmla="*/ 251451 w 1573156"/>
                <a:gd name="connsiteY29" fmla="*/ 779332 h 3641849"/>
                <a:gd name="connsiteX30" fmla="*/ 137838 w 1573156"/>
                <a:gd name="connsiteY30" fmla="*/ 551792 h 3641849"/>
                <a:gd name="connsiteX31" fmla="*/ 135067 w 1573156"/>
                <a:gd name="connsiteY31" fmla="*/ 551792 h 3641849"/>
                <a:gd name="connsiteX32" fmla="*/ 184945 w 1573156"/>
                <a:gd name="connsiteY32" fmla="*/ 469048 h 3641849"/>
                <a:gd name="connsiteX33" fmla="*/ 201571 w 1573156"/>
                <a:gd name="connsiteY33" fmla="*/ 378550 h 3641849"/>
                <a:gd name="connsiteX34" fmla="*/ 126752 w 1573156"/>
                <a:gd name="connsiteY34" fmla="*/ 319079 h 3641849"/>
                <a:gd name="connsiteX35" fmla="*/ 118440 w 1573156"/>
                <a:gd name="connsiteY35" fmla="*/ 251851 h 3641849"/>
                <a:gd name="connsiteX36" fmla="*/ 173860 w 1573156"/>
                <a:gd name="connsiteY36" fmla="*/ 158764 h 3641849"/>
                <a:gd name="connsiteX37" fmla="*/ 193258 w 1573156"/>
                <a:gd name="connsiteY37" fmla="*/ 135494 h 3641849"/>
                <a:gd name="connsiteX38" fmla="*/ 207113 w 1573156"/>
                <a:gd name="connsiteY38" fmla="*/ 117394 h 3641849"/>
                <a:gd name="connsiteX39" fmla="*/ 215426 w 1573156"/>
                <a:gd name="connsiteY39" fmla="*/ 73438 h 3641849"/>
                <a:gd name="connsiteX40" fmla="*/ 240365 w 1573156"/>
                <a:gd name="connsiteY40" fmla="*/ 101880 h 3641849"/>
                <a:gd name="connsiteX41" fmla="*/ 270847 w 1573156"/>
                <a:gd name="connsiteY41" fmla="*/ 88952 h 3641849"/>
                <a:gd name="connsiteX42" fmla="*/ 273617 w 1573156"/>
                <a:gd name="connsiteY42" fmla="*/ 63095 h 3641849"/>
                <a:gd name="connsiteX43" fmla="*/ 281931 w 1573156"/>
                <a:gd name="connsiteY43" fmla="*/ 34652 h 3641849"/>
                <a:gd name="connsiteX44" fmla="*/ 284703 w 1573156"/>
                <a:gd name="connsiteY44" fmla="*/ 3624 h 3641849"/>
                <a:gd name="connsiteX45" fmla="*/ 420483 w 1573156"/>
                <a:gd name="connsiteY45" fmla="*/ 57924 h 3641849"/>
                <a:gd name="connsiteX46" fmla="*/ 450963 w 1573156"/>
                <a:gd name="connsiteY46" fmla="*/ 161352 h 3641849"/>
                <a:gd name="connsiteX47" fmla="*/ 464819 w 1573156"/>
                <a:gd name="connsiteY47" fmla="*/ 184622 h 3641849"/>
                <a:gd name="connsiteX48" fmla="*/ 475903 w 1573156"/>
                <a:gd name="connsiteY48" fmla="*/ 187208 h 3641849"/>
                <a:gd name="connsiteX49" fmla="*/ 589515 w 1573156"/>
                <a:gd name="connsiteY49" fmla="*/ 156181 h 3641849"/>
                <a:gd name="connsiteX50" fmla="*/ 656020 w 1573156"/>
                <a:gd name="connsiteY50" fmla="*/ 166522 h 3641849"/>
                <a:gd name="connsiteX51" fmla="*/ 719754 w 1573156"/>
                <a:gd name="connsiteY51" fmla="*/ 213065 h 3641849"/>
                <a:gd name="connsiteX52" fmla="*/ 733781 w 1573156"/>
                <a:gd name="connsiteY52" fmla="*/ 242621 h 3641849"/>
                <a:gd name="connsiteX53" fmla="*/ 789028 w 1573156"/>
                <a:gd name="connsiteY53" fmla="*/ 277708 h 3641849"/>
                <a:gd name="connsiteX54" fmla="*/ 877702 w 1573156"/>
                <a:gd name="connsiteY54" fmla="*/ 303563 h 3641849"/>
                <a:gd name="connsiteX55" fmla="*/ 949748 w 1573156"/>
                <a:gd name="connsiteY55" fmla="*/ 350106 h 3641849"/>
                <a:gd name="connsiteX56" fmla="*/ 999627 w 1573156"/>
                <a:gd name="connsiteY56" fmla="*/ 401820 h 3641849"/>
                <a:gd name="connsiteX57" fmla="*/ 1024566 w 1573156"/>
                <a:gd name="connsiteY57" fmla="*/ 440606 h 3641849"/>
                <a:gd name="connsiteX58" fmla="*/ 1057819 w 1573156"/>
                <a:gd name="connsiteY58" fmla="*/ 466462 h 3641849"/>
                <a:gd name="connsiteX59" fmla="*/ 1041191 w 1573156"/>
                <a:gd name="connsiteY59" fmla="*/ 691417 h 3641849"/>
                <a:gd name="connsiteX60" fmla="*/ 913725 w 1573156"/>
                <a:gd name="connsiteY60" fmla="*/ 771575 h 3641849"/>
                <a:gd name="connsiteX61" fmla="*/ 800113 w 1573156"/>
                <a:gd name="connsiteY61" fmla="*/ 779331 h 3641849"/>
                <a:gd name="connsiteX62" fmla="*/ 661560 w 1573156"/>
                <a:gd name="connsiteY62" fmla="*/ 758645 h 3641849"/>
                <a:gd name="connsiteX63" fmla="*/ 570116 w 1573156"/>
                <a:gd name="connsiteY63" fmla="*/ 722445 h 3641849"/>
                <a:gd name="connsiteX64" fmla="*/ 550719 w 1573156"/>
                <a:gd name="connsiteY64" fmla="*/ 750888 h 3641849"/>
                <a:gd name="connsiteX65" fmla="*/ 581361 w 1573156"/>
                <a:gd name="connsiteY65" fmla="*/ 824301 h 3641849"/>
                <a:gd name="connsiteX66" fmla="*/ 586902 w 1573156"/>
                <a:gd name="connsiteY66" fmla="*/ 951000 h 3641849"/>
                <a:gd name="connsiteX67" fmla="*/ 559032 w 1573156"/>
                <a:gd name="connsiteY67" fmla="*/ 1012043 h 3641849"/>
                <a:gd name="connsiteX68" fmla="*/ 614451 w 1573156"/>
                <a:gd name="connsiteY68" fmla="*/ 1032728 h 3641849"/>
                <a:gd name="connsiteX69" fmla="*/ 631079 w 1573156"/>
                <a:gd name="connsiteY69" fmla="*/ 1048242 h 3641849"/>
                <a:gd name="connsiteX70" fmla="*/ 656019 w 1573156"/>
                <a:gd name="connsiteY70" fmla="*/ 1074099 h 3641849"/>
                <a:gd name="connsiteX71" fmla="*/ 653248 w 1573156"/>
                <a:gd name="connsiteY71" fmla="*/ 1076685 h 3641849"/>
                <a:gd name="connsiteX72" fmla="*/ 692041 w 1573156"/>
                <a:gd name="connsiteY72" fmla="*/ 1071514 h 3641849"/>
                <a:gd name="connsiteX73" fmla="*/ 700355 w 1573156"/>
                <a:gd name="connsiteY73" fmla="*/ 1035314 h 3641849"/>
                <a:gd name="connsiteX74" fmla="*/ 661560 w 1573156"/>
                <a:gd name="connsiteY74" fmla="*/ 957743 h 3641849"/>
                <a:gd name="connsiteX75" fmla="*/ 730836 w 1573156"/>
                <a:gd name="connsiteY75" fmla="*/ 911200 h 3641849"/>
                <a:gd name="connsiteX76" fmla="*/ 798608 w 1573156"/>
                <a:gd name="connsiteY76" fmla="*/ 918934 h 3641849"/>
                <a:gd name="connsiteX77" fmla="*/ 822441 w 1573156"/>
                <a:gd name="connsiteY77" fmla="*/ 951001 h 3641849"/>
                <a:gd name="connsiteX78" fmla="*/ 978170 w 1573156"/>
                <a:gd name="connsiteY78" fmla="*/ 1007364 h 3641849"/>
                <a:gd name="connsiteX79" fmla="*/ 963762 w 1573156"/>
                <a:gd name="connsiteY79" fmla="*/ 971687 h 3641849"/>
                <a:gd name="connsiteX80" fmla="*/ 930510 w 1573156"/>
                <a:gd name="connsiteY80" fmla="*/ 932901 h 3641849"/>
                <a:gd name="connsiteX81" fmla="*/ 919426 w 1573156"/>
                <a:gd name="connsiteY81" fmla="*/ 881187 h 3641849"/>
                <a:gd name="connsiteX82" fmla="*/ 958221 w 1573156"/>
                <a:gd name="connsiteY82" fmla="*/ 832060 h 3641849"/>
                <a:gd name="connsiteX83" fmla="*/ 985931 w 1573156"/>
                <a:gd name="connsiteY83" fmla="*/ 803617 h 3641849"/>
                <a:gd name="connsiteX84" fmla="*/ 1010871 w 1573156"/>
                <a:gd name="connsiteY84" fmla="*/ 767417 h 3641849"/>
                <a:gd name="connsiteX85" fmla="*/ 1091231 w 1573156"/>
                <a:gd name="connsiteY85" fmla="*/ 762245 h 3641849"/>
                <a:gd name="connsiteX86" fmla="*/ 1096772 w 1573156"/>
                <a:gd name="connsiteY86" fmla="*/ 741560 h 3641849"/>
                <a:gd name="connsiteX87" fmla="*/ 1121712 w 1573156"/>
                <a:gd name="connsiteY87" fmla="*/ 705360 h 3641849"/>
                <a:gd name="connsiteX88" fmla="*/ 1155516 w 1573156"/>
                <a:gd name="connsiteY88" fmla="*/ 687772 h 3641849"/>
                <a:gd name="connsiteX89" fmla="*/ 1213156 w 1573156"/>
                <a:gd name="connsiteY89" fmla="*/ 700189 h 3641849"/>
                <a:gd name="connsiteX90" fmla="*/ 1251949 w 1573156"/>
                <a:gd name="connsiteY90" fmla="*/ 720875 h 3641849"/>
                <a:gd name="connsiteX91" fmla="*/ 1299057 w 1573156"/>
                <a:gd name="connsiteY91" fmla="*/ 728632 h 3641849"/>
                <a:gd name="connsiteX92" fmla="*/ 1299057 w 1573156"/>
                <a:gd name="connsiteY92" fmla="*/ 733803 h 3641849"/>
                <a:gd name="connsiteX93" fmla="*/ 1321226 w 1573156"/>
                <a:gd name="connsiteY93" fmla="*/ 674332 h 3641849"/>
                <a:gd name="connsiteX94" fmla="*/ 1331201 w 1573156"/>
                <a:gd name="connsiteY94" fmla="*/ 640714 h 3641849"/>
                <a:gd name="connsiteX95" fmla="*/ 1337852 w 1573156"/>
                <a:gd name="connsiteY95" fmla="*/ 622618 h 3641849"/>
                <a:gd name="connsiteX96" fmla="*/ 1340789 w 1573156"/>
                <a:gd name="connsiteY96" fmla="*/ 591288 h 3641849"/>
                <a:gd name="connsiteX97" fmla="*/ 1260263 w 1573156"/>
                <a:gd name="connsiteY97" fmla="*/ 545048 h 3641849"/>
                <a:gd name="connsiteX98" fmla="*/ 1246408 w 1573156"/>
                <a:gd name="connsiteY98" fmla="*/ 472648 h 3641849"/>
                <a:gd name="connsiteX99" fmla="*/ 1246408 w 1573156"/>
                <a:gd name="connsiteY99" fmla="*/ 454548 h 3641849"/>
                <a:gd name="connsiteX100" fmla="*/ 1257491 w 1573156"/>
                <a:gd name="connsiteY100" fmla="*/ 431276 h 3641849"/>
                <a:gd name="connsiteX101" fmla="*/ 1260263 w 1573156"/>
                <a:gd name="connsiteY101" fmla="*/ 415762 h 3641849"/>
                <a:gd name="connsiteX102" fmla="*/ 1260262 w 1573156"/>
                <a:gd name="connsiteY102" fmla="*/ 358878 h 3641849"/>
                <a:gd name="connsiteX103" fmla="*/ 1238094 w 1573156"/>
                <a:gd name="connsiteY103" fmla="*/ 335607 h 3641849"/>
                <a:gd name="connsiteX104" fmla="*/ 1210384 w 1573156"/>
                <a:gd name="connsiteY104" fmla="*/ 304578 h 3641849"/>
                <a:gd name="connsiteX105" fmla="*/ 1206216 w 1573156"/>
                <a:gd name="connsiteY105" fmla="*/ 280325 h 3641849"/>
                <a:gd name="connsiteX106" fmla="*/ 1257492 w 1573156"/>
                <a:gd name="connsiteY106" fmla="*/ 258034 h 3641849"/>
                <a:gd name="connsiteX107" fmla="*/ 1311072 w 1573156"/>
                <a:gd name="connsiteY107" fmla="*/ 267906 h 3641849"/>
                <a:gd name="connsiteX108" fmla="*/ 1389856 w 1573156"/>
                <a:gd name="connsiteY108" fmla="*/ 279816 h 3641849"/>
                <a:gd name="connsiteX109" fmla="*/ 1474179 w 1573156"/>
                <a:gd name="connsiteY109" fmla="*/ 349175 h 3641849"/>
                <a:gd name="connsiteX110" fmla="*/ 1536314 w 1573156"/>
                <a:gd name="connsiteY110" fmla="*/ 425271 h 3641849"/>
                <a:gd name="connsiteX111" fmla="*/ 1435343 w 1573156"/>
                <a:gd name="connsiteY111" fmla="*/ 454265 h 3641849"/>
                <a:gd name="connsiteX112" fmla="*/ 1419809 w 1573156"/>
                <a:gd name="connsiteY112" fmla="*/ 501372 h 3641849"/>
                <a:gd name="connsiteX113" fmla="*/ 1477479 w 1573156"/>
                <a:gd name="connsiteY113" fmla="*/ 585862 h 3641849"/>
                <a:gd name="connsiteX114" fmla="*/ 1513013 w 1573156"/>
                <a:gd name="connsiteY114" fmla="*/ 591964 h 3641849"/>
                <a:gd name="connsiteX115" fmla="*/ 1565633 w 1573156"/>
                <a:gd name="connsiteY115" fmla="*/ 598304 h 3641849"/>
                <a:gd name="connsiteX116" fmla="*/ 1560670 w 1573156"/>
                <a:gd name="connsiteY116" fmla="*/ 709079 h 3641849"/>
                <a:gd name="connsiteX117" fmla="*/ 1571739 w 1573156"/>
                <a:gd name="connsiteY117" fmla="*/ 1040047 h 3641849"/>
                <a:gd name="connsiteX118" fmla="*/ 1562871 w 1573156"/>
                <a:gd name="connsiteY118" fmla="*/ 1842646 h 3641849"/>
                <a:gd name="connsiteX119" fmla="*/ 1571738 w 1573156"/>
                <a:gd name="connsiteY119" fmla="*/ 2297728 h 3641849"/>
                <a:gd name="connsiteX120" fmla="*/ 1545290 w 1573156"/>
                <a:gd name="connsiteY120" fmla="*/ 3607693 h 3641849"/>
                <a:gd name="connsiteX121" fmla="*/ 1286863 w 1573156"/>
                <a:gd name="connsiteY121" fmla="*/ 3564098 h 3641849"/>
                <a:gd name="connsiteX122" fmla="*/ 1118385 w 1573156"/>
                <a:gd name="connsiteY122" fmla="*/ 3497903 h 3641849"/>
                <a:gd name="connsiteX123" fmla="*/ 941039 w 1573156"/>
                <a:gd name="connsiteY123" fmla="*/ 3406887 h 3641849"/>
                <a:gd name="connsiteX124" fmla="*/ 842741 w 1573156"/>
                <a:gd name="connsiteY124" fmla="*/ 3326370 h 3641849"/>
                <a:gd name="connsiteX125" fmla="*/ 1137003 w 1573156"/>
                <a:gd name="connsiteY125" fmla="*/ 3018734 h 3641849"/>
                <a:gd name="connsiteX126" fmla="*/ 853249 w 1573156"/>
                <a:gd name="connsiteY126" fmla="*/ 2480910 h 3641849"/>
                <a:gd name="connsiteX127" fmla="*/ 557777 w 1573156"/>
                <a:gd name="connsiteY127" fmla="*/ 2715007 h 3641849"/>
                <a:gd name="connsiteX128" fmla="*/ 531809 w 1573156"/>
                <a:gd name="connsiteY128" fmla="*/ 2657256 h 3641849"/>
                <a:gd name="connsiteX129" fmla="*/ 660385 w 1573156"/>
                <a:gd name="connsiteY129" fmla="*/ 2391963 h 3641849"/>
                <a:gd name="connsiteX130" fmla="*/ 91772 w 1573156"/>
                <a:gd name="connsiteY130" fmla="*/ 2159767 h 3641849"/>
                <a:gd name="connsiteX0" fmla="*/ 91772 w 1573156"/>
                <a:gd name="connsiteY0" fmla="*/ 2159767 h 3641849"/>
                <a:gd name="connsiteX1" fmla="*/ 51935 w 1573156"/>
                <a:gd name="connsiteY1" fmla="*/ 1927380 h 3641849"/>
                <a:gd name="connsiteX2" fmla="*/ 51934 w 1573156"/>
                <a:gd name="connsiteY2" fmla="*/ 1860152 h 3641849"/>
                <a:gd name="connsiteX3" fmla="*/ 112899 w 1573156"/>
                <a:gd name="connsiteY3" fmla="*/ 1782581 h 3641849"/>
                <a:gd name="connsiteX4" fmla="*/ 96271 w 1573156"/>
                <a:gd name="connsiteY4" fmla="*/ 1754138 h 3641849"/>
                <a:gd name="connsiteX5" fmla="*/ 40851 w 1573156"/>
                <a:gd name="connsiteY5" fmla="*/ 1746381 h 3641849"/>
                <a:gd name="connsiteX6" fmla="*/ 2057 w 1573156"/>
                <a:gd name="connsiteY6" fmla="*/ 1730867 h 3641849"/>
                <a:gd name="connsiteX7" fmla="*/ 38079 w 1573156"/>
                <a:gd name="connsiteY7" fmla="*/ 1689496 h 3641849"/>
                <a:gd name="connsiteX8" fmla="*/ 18683 w 1573156"/>
                <a:gd name="connsiteY8" fmla="*/ 1679153 h 3641849"/>
                <a:gd name="connsiteX9" fmla="*/ 2055 w 1573156"/>
                <a:gd name="connsiteY9" fmla="*/ 1640367 h 3641849"/>
                <a:gd name="connsiteX10" fmla="*/ 65790 w 1573156"/>
                <a:gd name="connsiteY10" fmla="*/ 1650711 h 3641849"/>
                <a:gd name="connsiteX11" fmla="*/ 93501 w 1573156"/>
                <a:gd name="connsiteY11" fmla="*/ 1627440 h 3641849"/>
                <a:gd name="connsiteX12" fmla="*/ 187716 w 1573156"/>
                <a:gd name="connsiteY12" fmla="*/ 1536941 h 3641849"/>
                <a:gd name="connsiteX13" fmla="*/ 212655 w 1573156"/>
                <a:gd name="connsiteY13" fmla="*/ 1505912 h 3641849"/>
                <a:gd name="connsiteX14" fmla="*/ 198801 w 1573156"/>
                <a:gd name="connsiteY14" fmla="*/ 1555040 h 3641849"/>
                <a:gd name="connsiteX15" fmla="*/ 218197 w 1573156"/>
                <a:gd name="connsiteY15" fmla="*/ 1588655 h 3641849"/>
                <a:gd name="connsiteX16" fmla="*/ 262534 w 1573156"/>
                <a:gd name="connsiteY16" fmla="*/ 1666225 h 3641849"/>
                <a:gd name="connsiteX17" fmla="*/ 331810 w 1573156"/>
                <a:gd name="connsiteY17" fmla="*/ 1653297 h 3641849"/>
                <a:gd name="connsiteX18" fmla="*/ 351206 w 1573156"/>
                <a:gd name="connsiteY18" fmla="*/ 1622268 h 3641849"/>
                <a:gd name="connsiteX19" fmla="*/ 365062 w 1573156"/>
                <a:gd name="connsiteY19" fmla="*/ 1557627 h 3641849"/>
                <a:gd name="connsiteX20" fmla="*/ 304099 w 1573156"/>
                <a:gd name="connsiteY20" fmla="*/ 1511084 h 3641849"/>
                <a:gd name="connsiteX21" fmla="*/ 259763 w 1573156"/>
                <a:gd name="connsiteY21" fmla="*/ 1485227 h 3641849"/>
                <a:gd name="connsiteX22" fmla="*/ 198801 w 1573156"/>
                <a:gd name="connsiteY22" fmla="*/ 1495570 h 3641849"/>
                <a:gd name="connsiteX23" fmla="*/ 376147 w 1573156"/>
                <a:gd name="connsiteY23" fmla="*/ 1299057 h 3641849"/>
                <a:gd name="connsiteX24" fmla="*/ 223740 w 1573156"/>
                <a:gd name="connsiteY24" fmla="*/ 1151672 h 3641849"/>
                <a:gd name="connsiteX25" fmla="*/ 284703 w 1573156"/>
                <a:gd name="connsiteY25" fmla="*/ 1089617 h 3641849"/>
                <a:gd name="connsiteX26" fmla="*/ 218198 w 1573156"/>
                <a:gd name="connsiteY26" fmla="*/ 1050829 h 3641849"/>
                <a:gd name="connsiteX27" fmla="*/ 259763 w 1573156"/>
                <a:gd name="connsiteY27" fmla="*/ 1019802 h 3641849"/>
                <a:gd name="connsiteX28" fmla="*/ 212657 w 1573156"/>
                <a:gd name="connsiteY28" fmla="*/ 993947 h 3641849"/>
                <a:gd name="connsiteX29" fmla="*/ 212656 w 1573156"/>
                <a:gd name="connsiteY29" fmla="*/ 794845 h 3641849"/>
                <a:gd name="connsiteX30" fmla="*/ 251451 w 1573156"/>
                <a:gd name="connsiteY30" fmla="*/ 779332 h 3641849"/>
                <a:gd name="connsiteX31" fmla="*/ 137838 w 1573156"/>
                <a:gd name="connsiteY31" fmla="*/ 551792 h 3641849"/>
                <a:gd name="connsiteX32" fmla="*/ 135067 w 1573156"/>
                <a:gd name="connsiteY32" fmla="*/ 551792 h 3641849"/>
                <a:gd name="connsiteX33" fmla="*/ 184945 w 1573156"/>
                <a:gd name="connsiteY33" fmla="*/ 469048 h 3641849"/>
                <a:gd name="connsiteX34" fmla="*/ 201571 w 1573156"/>
                <a:gd name="connsiteY34" fmla="*/ 378550 h 3641849"/>
                <a:gd name="connsiteX35" fmla="*/ 126752 w 1573156"/>
                <a:gd name="connsiteY35" fmla="*/ 319079 h 3641849"/>
                <a:gd name="connsiteX36" fmla="*/ 118440 w 1573156"/>
                <a:gd name="connsiteY36" fmla="*/ 251851 h 3641849"/>
                <a:gd name="connsiteX37" fmla="*/ 173860 w 1573156"/>
                <a:gd name="connsiteY37" fmla="*/ 158764 h 3641849"/>
                <a:gd name="connsiteX38" fmla="*/ 193258 w 1573156"/>
                <a:gd name="connsiteY38" fmla="*/ 135494 h 3641849"/>
                <a:gd name="connsiteX39" fmla="*/ 207113 w 1573156"/>
                <a:gd name="connsiteY39" fmla="*/ 117394 h 3641849"/>
                <a:gd name="connsiteX40" fmla="*/ 215426 w 1573156"/>
                <a:gd name="connsiteY40" fmla="*/ 73438 h 3641849"/>
                <a:gd name="connsiteX41" fmla="*/ 240365 w 1573156"/>
                <a:gd name="connsiteY41" fmla="*/ 101880 h 3641849"/>
                <a:gd name="connsiteX42" fmla="*/ 270847 w 1573156"/>
                <a:gd name="connsiteY42" fmla="*/ 88952 h 3641849"/>
                <a:gd name="connsiteX43" fmla="*/ 273617 w 1573156"/>
                <a:gd name="connsiteY43" fmla="*/ 63095 h 3641849"/>
                <a:gd name="connsiteX44" fmla="*/ 281931 w 1573156"/>
                <a:gd name="connsiteY44" fmla="*/ 34652 h 3641849"/>
                <a:gd name="connsiteX45" fmla="*/ 284703 w 1573156"/>
                <a:gd name="connsiteY45" fmla="*/ 3624 h 3641849"/>
                <a:gd name="connsiteX46" fmla="*/ 420483 w 1573156"/>
                <a:gd name="connsiteY46" fmla="*/ 57924 h 3641849"/>
                <a:gd name="connsiteX47" fmla="*/ 450963 w 1573156"/>
                <a:gd name="connsiteY47" fmla="*/ 161352 h 3641849"/>
                <a:gd name="connsiteX48" fmla="*/ 464819 w 1573156"/>
                <a:gd name="connsiteY48" fmla="*/ 184622 h 3641849"/>
                <a:gd name="connsiteX49" fmla="*/ 475903 w 1573156"/>
                <a:gd name="connsiteY49" fmla="*/ 187208 h 3641849"/>
                <a:gd name="connsiteX50" fmla="*/ 589515 w 1573156"/>
                <a:gd name="connsiteY50" fmla="*/ 156181 h 3641849"/>
                <a:gd name="connsiteX51" fmla="*/ 656020 w 1573156"/>
                <a:gd name="connsiteY51" fmla="*/ 166522 h 3641849"/>
                <a:gd name="connsiteX52" fmla="*/ 719754 w 1573156"/>
                <a:gd name="connsiteY52" fmla="*/ 213065 h 3641849"/>
                <a:gd name="connsiteX53" fmla="*/ 733781 w 1573156"/>
                <a:gd name="connsiteY53" fmla="*/ 242621 h 3641849"/>
                <a:gd name="connsiteX54" fmla="*/ 789028 w 1573156"/>
                <a:gd name="connsiteY54" fmla="*/ 277708 h 3641849"/>
                <a:gd name="connsiteX55" fmla="*/ 877702 w 1573156"/>
                <a:gd name="connsiteY55" fmla="*/ 303563 h 3641849"/>
                <a:gd name="connsiteX56" fmla="*/ 949748 w 1573156"/>
                <a:gd name="connsiteY56" fmla="*/ 350106 h 3641849"/>
                <a:gd name="connsiteX57" fmla="*/ 999627 w 1573156"/>
                <a:gd name="connsiteY57" fmla="*/ 401820 h 3641849"/>
                <a:gd name="connsiteX58" fmla="*/ 1024566 w 1573156"/>
                <a:gd name="connsiteY58" fmla="*/ 440606 h 3641849"/>
                <a:gd name="connsiteX59" fmla="*/ 1057819 w 1573156"/>
                <a:gd name="connsiteY59" fmla="*/ 466462 h 3641849"/>
                <a:gd name="connsiteX60" fmla="*/ 1041191 w 1573156"/>
                <a:gd name="connsiteY60" fmla="*/ 691417 h 3641849"/>
                <a:gd name="connsiteX61" fmla="*/ 913725 w 1573156"/>
                <a:gd name="connsiteY61" fmla="*/ 771575 h 3641849"/>
                <a:gd name="connsiteX62" fmla="*/ 800113 w 1573156"/>
                <a:gd name="connsiteY62" fmla="*/ 779331 h 3641849"/>
                <a:gd name="connsiteX63" fmla="*/ 661560 w 1573156"/>
                <a:gd name="connsiteY63" fmla="*/ 758645 h 3641849"/>
                <a:gd name="connsiteX64" fmla="*/ 570116 w 1573156"/>
                <a:gd name="connsiteY64" fmla="*/ 722445 h 3641849"/>
                <a:gd name="connsiteX65" fmla="*/ 550719 w 1573156"/>
                <a:gd name="connsiteY65" fmla="*/ 750888 h 3641849"/>
                <a:gd name="connsiteX66" fmla="*/ 581361 w 1573156"/>
                <a:gd name="connsiteY66" fmla="*/ 824301 h 3641849"/>
                <a:gd name="connsiteX67" fmla="*/ 586902 w 1573156"/>
                <a:gd name="connsiteY67" fmla="*/ 951000 h 3641849"/>
                <a:gd name="connsiteX68" fmla="*/ 559032 w 1573156"/>
                <a:gd name="connsiteY68" fmla="*/ 1012043 h 3641849"/>
                <a:gd name="connsiteX69" fmla="*/ 614451 w 1573156"/>
                <a:gd name="connsiteY69" fmla="*/ 1032728 h 3641849"/>
                <a:gd name="connsiteX70" fmla="*/ 631079 w 1573156"/>
                <a:gd name="connsiteY70" fmla="*/ 1048242 h 3641849"/>
                <a:gd name="connsiteX71" fmla="*/ 656019 w 1573156"/>
                <a:gd name="connsiteY71" fmla="*/ 1074099 h 3641849"/>
                <a:gd name="connsiteX72" fmla="*/ 653248 w 1573156"/>
                <a:gd name="connsiteY72" fmla="*/ 1076685 h 3641849"/>
                <a:gd name="connsiteX73" fmla="*/ 692041 w 1573156"/>
                <a:gd name="connsiteY73" fmla="*/ 1071514 h 3641849"/>
                <a:gd name="connsiteX74" fmla="*/ 700355 w 1573156"/>
                <a:gd name="connsiteY74" fmla="*/ 1035314 h 3641849"/>
                <a:gd name="connsiteX75" fmla="*/ 661560 w 1573156"/>
                <a:gd name="connsiteY75" fmla="*/ 957743 h 3641849"/>
                <a:gd name="connsiteX76" fmla="*/ 730836 w 1573156"/>
                <a:gd name="connsiteY76" fmla="*/ 911200 h 3641849"/>
                <a:gd name="connsiteX77" fmla="*/ 798608 w 1573156"/>
                <a:gd name="connsiteY77" fmla="*/ 918934 h 3641849"/>
                <a:gd name="connsiteX78" fmla="*/ 822441 w 1573156"/>
                <a:gd name="connsiteY78" fmla="*/ 951001 h 3641849"/>
                <a:gd name="connsiteX79" fmla="*/ 978170 w 1573156"/>
                <a:gd name="connsiteY79" fmla="*/ 1007364 h 3641849"/>
                <a:gd name="connsiteX80" fmla="*/ 963762 w 1573156"/>
                <a:gd name="connsiteY80" fmla="*/ 971687 h 3641849"/>
                <a:gd name="connsiteX81" fmla="*/ 930510 w 1573156"/>
                <a:gd name="connsiteY81" fmla="*/ 932901 h 3641849"/>
                <a:gd name="connsiteX82" fmla="*/ 919426 w 1573156"/>
                <a:gd name="connsiteY82" fmla="*/ 881187 h 3641849"/>
                <a:gd name="connsiteX83" fmla="*/ 958221 w 1573156"/>
                <a:gd name="connsiteY83" fmla="*/ 832060 h 3641849"/>
                <a:gd name="connsiteX84" fmla="*/ 985931 w 1573156"/>
                <a:gd name="connsiteY84" fmla="*/ 803617 h 3641849"/>
                <a:gd name="connsiteX85" fmla="*/ 1010871 w 1573156"/>
                <a:gd name="connsiteY85" fmla="*/ 767417 h 3641849"/>
                <a:gd name="connsiteX86" fmla="*/ 1091231 w 1573156"/>
                <a:gd name="connsiteY86" fmla="*/ 762245 h 3641849"/>
                <a:gd name="connsiteX87" fmla="*/ 1096772 w 1573156"/>
                <a:gd name="connsiteY87" fmla="*/ 741560 h 3641849"/>
                <a:gd name="connsiteX88" fmla="*/ 1121712 w 1573156"/>
                <a:gd name="connsiteY88" fmla="*/ 705360 h 3641849"/>
                <a:gd name="connsiteX89" fmla="*/ 1155516 w 1573156"/>
                <a:gd name="connsiteY89" fmla="*/ 687772 h 3641849"/>
                <a:gd name="connsiteX90" fmla="*/ 1213156 w 1573156"/>
                <a:gd name="connsiteY90" fmla="*/ 700189 h 3641849"/>
                <a:gd name="connsiteX91" fmla="*/ 1251949 w 1573156"/>
                <a:gd name="connsiteY91" fmla="*/ 720875 h 3641849"/>
                <a:gd name="connsiteX92" fmla="*/ 1299057 w 1573156"/>
                <a:gd name="connsiteY92" fmla="*/ 728632 h 3641849"/>
                <a:gd name="connsiteX93" fmla="*/ 1299057 w 1573156"/>
                <a:gd name="connsiteY93" fmla="*/ 733803 h 3641849"/>
                <a:gd name="connsiteX94" fmla="*/ 1321226 w 1573156"/>
                <a:gd name="connsiteY94" fmla="*/ 674332 h 3641849"/>
                <a:gd name="connsiteX95" fmla="*/ 1331201 w 1573156"/>
                <a:gd name="connsiteY95" fmla="*/ 640714 h 3641849"/>
                <a:gd name="connsiteX96" fmla="*/ 1337852 w 1573156"/>
                <a:gd name="connsiteY96" fmla="*/ 622618 h 3641849"/>
                <a:gd name="connsiteX97" fmla="*/ 1340789 w 1573156"/>
                <a:gd name="connsiteY97" fmla="*/ 591288 h 3641849"/>
                <a:gd name="connsiteX98" fmla="*/ 1260263 w 1573156"/>
                <a:gd name="connsiteY98" fmla="*/ 545048 h 3641849"/>
                <a:gd name="connsiteX99" fmla="*/ 1246408 w 1573156"/>
                <a:gd name="connsiteY99" fmla="*/ 472648 h 3641849"/>
                <a:gd name="connsiteX100" fmla="*/ 1246408 w 1573156"/>
                <a:gd name="connsiteY100" fmla="*/ 454548 h 3641849"/>
                <a:gd name="connsiteX101" fmla="*/ 1257491 w 1573156"/>
                <a:gd name="connsiteY101" fmla="*/ 431276 h 3641849"/>
                <a:gd name="connsiteX102" fmla="*/ 1260263 w 1573156"/>
                <a:gd name="connsiteY102" fmla="*/ 415762 h 3641849"/>
                <a:gd name="connsiteX103" fmla="*/ 1260262 w 1573156"/>
                <a:gd name="connsiteY103" fmla="*/ 358878 h 3641849"/>
                <a:gd name="connsiteX104" fmla="*/ 1238094 w 1573156"/>
                <a:gd name="connsiteY104" fmla="*/ 335607 h 3641849"/>
                <a:gd name="connsiteX105" fmla="*/ 1210384 w 1573156"/>
                <a:gd name="connsiteY105" fmla="*/ 304578 h 3641849"/>
                <a:gd name="connsiteX106" fmla="*/ 1206216 w 1573156"/>
                <a:gd name="connsiteY106" fmla="*/ 280325 h 3641849"/>
                <a:gd name="connsiteX107" fmla="*/ 1257492 w 1573156"/>
                <a:gd name="connsiteY107" fmla="*/ 258034 h 3641849"/>
                <a:gd name="connsiteX108" fmla="*/ 1311072 w 1573156"/>
                <a:gd name="connsiteY108" fmla="*/ 267906 h 3641849"/>
                <a:gd name="connsiteX109" fmla="*/ 1389856 w 1573156"/>
                <a:gd name="connsiteY109" fmla="*/ 279816 h 3641849"/>
                <a:gd name="connsiteX110" fmla="*/ 1474179 w 1573156"/>
                <a:gd name="connsiteY110" fmla="*/ 349175 h 3641849"/>
                <a:gd name="connsiteX111" fmla="*/ 1536314 w 1573156"/>
                <a:gd name="connsiteY111" fmla="*/ 425271 h 3641849"/>
                <a:gd name="connsiteX112" fmla="*/ 1435343 w 1573156"/>
                <a:gd name="connsiteY112" fmla="*/ 454265 h 3641849"/>
                <a:gd name="connsiteX113" fmla="*/ 1419809 w 1573156"/>
                <a:gd name="connsiteY113" fmla="*/ 501372 h 3641849"/>
                <a:gd name="connsiteX114" fmla="*/ 1477479 w 1573156"/>
                <a:gd name="connsiteY114" fmla="*/ 585862 h 3641849"/>
                <a:gd name="connsiteX115" fmla="*/ 1513013 w 1573156"/>
                <a:gd name="connsiteY115" fmla="*/ 591964 h 3641849"/>
                <a:gd name="connsiteX116" fmla="*/ 1565633 w 1573156"/>
                <a:gd name="connsiteY116" fmla="*/ 598304 h 3641849"/>
                <a:gd name="connsiteX117" fmla="*/ 1560670 w 1573156"/>
                <a:gd name="connsiteY117" fmla="*/ 709079 h 3641849"/>
                <a:gd name="connsiteX118" fmla="*/ 1571739 w 1573156"/>
                <a:gd name="connsiteY118" fmla="*/ 1040047 h 3641849"/>
                <a:gd name="connsiteX119" fmla="*/ 1562871 w 1573156"/>
                <a:gd name="connsiteY119" fmla="*/ 1842646 h 3641849"/>
                <a:gd name="connsiteX120" fmla="*/ 1571738 w 1573156"/>
                <a:gd name="connsiteY120" fmla="*/ 2297728 h 3641849"/>
                <a:gd name="connsiteX121" fmla="*/ 1545290 w 1573156"/>
                <a:gd name="connsiteY121" fmla="*/ 3607693 h 3641849"/>
                <a:gd name="connsiteX122" fmla="*/ 1286863 w 1573156"/>
                <a:gd name="connsiteY122" fmla="*/ 3564098 h 3641849"/>
                <a:gd name="connsiteX123" fmla="*/ 1118385 w 1573156"/>
                <a:gd name="connsiteY123" fmla="*/ 3497903 h 3641849"/>
                <a:gd name="connsiteX124" fmla="*/ 941039 w 1573156"/>
                <a:gd name="connsiteY124" fmla="*/ 3406887 h 3641849"/>
                <a:gd name="connsiteX125" fmla="*/ 842741 w 1573156"/>
                <a:gd name="connsiteY125" fmla="*/ 3326370 h 3641849"/>
                <a:gd name="connsiteX126" fmla="*/ 1137003 w 1573156"/>
                <a:gd name="connsiteY126" fmla="*/ 3018734 h 3641849"/>
                <a:gd name="connsiteX127" fmla="*/ 853249 w 1573156"/>
                <a:gd name="connsiteY127" fmla="*/ 2480910 h 3641849"/>
                <a:gd name="connsiteX128" fmla="*/ 557777 w 1573156"/>
                <a:gd name="connsiteY128" fmla="*/ 2715007 h 3641849"/>
                <a:gd name="connsiteX129" fmla="*/ 531809 w 1573156"/>
                <a:gd name="connsiteY129" fmla="*/ 2657256 h 3641849"/>
                <a:gd name="connsiteX130" fmla="*/ 660385 w 1573156"/>
                <a:gd name="connsiteY130" fmla="*/ 2391963 h 3641849"/>
                <a:gd name="connsiteX131" fmla="*/ 91772 w 1573156"/>
                <a:gd name="connsiteY131" fmla="*/ 2159767 h 3641849"/>
                <a:gd name="connsiteX0" fmla="*/ 91772 w 1573156"/>
                <a:gd name="connsiteY0" fmla="*/ 2159767 h 3641849"/>
                <a:gd name="connsiteX1" fmla="*/ 51935 w 1573156"/>
                <a:gd name="connsiteY1" fmla="*/ 1927380 h 3641849"/>
                <a:gd name="connsiteX2" fmla="*/ 43621 w 1573156"/>
                <a:gd name="connsiteY2" fmla="*/ 1844639 h 3641849"/>
                <a:gd name="connsiteX3" fmla="*/ 112899 w 1573156"/>
                <a:gd name="connsiteY3" fmla="*/ 1782581 h 3641849"/>
                <a:gd name="connsiteX4" fmla="*/ 96271 w 1573156"/>
                <a:gd name="connsiteY4" fmla="*/ 1754138 h 3641849"/>
                <a:gd name="connsiteX5" fmla="*/ 40851 w 1573156"/>
                <a:gd name="connsiteY5" fmla="*/ 1746381 h 3641849"/>
                <a:gd name="connsiteX6" fmla="*/ 2057 w 1573156"/>
                <a:gd name="connsiteY6" fmla="*/ 1730867 h 3641849"/>
                <a:gd name="connsiteX7" fmla="*/ 38079 w 1573156"/>
                <a:gd name="connsiteY7" fmla="*/ 1689496 h 3641849"/>
                <a:gd name="connsiteX8" fmla="*/ 18683 w 1573156"/>
                <a:gd name="connsiteY8" fmla="*/ 1679153 h 3641849"/>
                <a:gd name="connsiteX9" fmla="*/ 2055 w 1573156"/>
                <a:gd name="connsiteY9" fmla="*/ 1640367 h 3641849"/>
                <a:gd name="connsiteX10" fmla="*/ 65790 w 1573156"/>
                <a:gd name="connsiteY10" fmla="*/ 1650711 h 3641849"/>
                <a:gd name="connsiteX11" fmla="*/ 93501 w 1573156"/>
                <a:gd name="connsiteY11" fmla="*/ 1627440 h 3641849"/>
                <a:gd name="connsiteX12" fmla="*/ 187716 w 1573156"/>
                <a:gd name="connsiteY12" fmla="*/ 1536941 h 3641849"/>
                <a:gd name="connsiteX13" fmla="*/ 212655 w 1573156"/>
                <a:gd name="connsiteY13" fmla="*/ 1505912 h 3641849"/>
                <a:gd name="connsiteX14" fmla="*/ 198801 w 1573156"/>
                <a:gd name="connsiteY14" fmla="*/ 1555040 h 3641849"/>
                <a:gd name="connsiteX15" fmla="*/ 218197 w 1573156"/>
                <a:gd name="connsiteY15" fmla="*/ 1588655 h 3641849"/>
                <a:gd name="connsiteX16" fmla="*/ 262534 w 1573156"/>
                <a:gd name="connsiteY16" fmla="*/ 1666225 h 3641849"/>
                <a:gd name="connsiteX17" fmla="*/ 331810 w 1573156"/>
                <a:gd name="connsiteY17" fmla="*/ 1653297 h 3641849"/>
                <a:gd name="connsiteX18" fmla="*/ 351206 w 1573156"/>
                <a:gd name="connsiteY18" fmla="*/ 1622268 h 3641849"/>
                <a:gd name="connsiteX19" fmla="*/ 365062 w 1573156"/>
                <a:gd name="connsiteY19" fmla="*/ 1557627 h 3641849"/>
                <a:gd name="connsiteX20" fmla="*/ 304099 w 1573156"/>
                <a:gd name="connsiteY20" fmla="*/ 1511084 h 3641849"/>
                <a:gd name="connsiteX21" fmla="*/ 259763 w 1573156"/>
                <a:gd name="connsiteY21" fmla="*/ 1485227 h 3641849"/>
                <a:gd name="connsiteX22" fmla="*/ 198801 w 1573156"/>
                <a:gd name="connsiteY22" fmla="*/ 1495570 h 3641849"/>
                <a:gd name="connsiteX23" fmla="*/ 376147 w 1573156"/>
                <a:gd name="connsiteY23" fmla="*/ 1299057 h 3641849"/>
                <a:gd name="connsiteX24" fmla="*/ 223740 w 1573156"/>
                <a:gd name="connsiteY24" fmla="*/ 1151672 h 3641849"/>
                <a:gd name="connsiteX25" fmla="*/ 284703 w 1573156"/>
                <a:gd name="connsiteY25" fmla="*/ 1089617 h 3641849"/>
                <a:gd name="connsiteX26" fmla="*/ 218198 w 1573156"/>
                <a:gd name="connsiteY26" fmla="*/ 1050829 h 3641849"/>
                <a:gd name="connsiteX27" fmla="*/ 259763 w 1573156"/>
                <a:gd name="connsiteY27" fmla="*/ 1019802 h 3641849"/>
                <a:gd name="connsiteX28" fmla="*/ 212657 w 1573156"/>
                <a:gd name="connsiteY28" fmla="*/ 993947 h 3641849"/>
                <a:gd name="connsiteX29" fmla="*/ 212656 w 1573156"/>
                <a:gd name="connsiteY29" fmla="*/ 794845 h 3641849"/>
                <a:gd name="connsiteX30" fmla="*/ 251451 w 1573156"/>
                <a:gd name="connsiteY30" fmla="*/ 779332 h 3641849"/>
                <a:gd name="connsiteX31" fmla="*/ 137838 w 1573156"/>
                <a:gd name="connsiteY31" fmla="*/ 551792 h 3641849"/>
                <a:gd name="connsiteX32" fmla="*/ 135067 w 1573156"/>
                <a:gd name="connsiteY32" fmla="*/ 551792 h 3641849"/>
                <a:gd name="connsiteX33" fmla="*/ 184945 w 1573156"/>
                <a:gd name="connsiteY33" fmla="*/ 469048 h 3641849"/>
                <a:gd name="connsiteX34" fmla="*/ 201571 w 1573156"/>
                <a:gd name="connsiteY34" fmla="*/ 378550 h 3641849"/>
                <a:gd name="connsiteX35" fmla="*/ 126752 w 1573156"/>
                <a:gd name="connsiteY35" fmla="*/ 319079 h 3641849"/>
                <a:gd name="connsiteX36" fmla="*/ 118440 w 1573156"/>
                <a:gd name="connsiteY36" fmla="*/ 251851 h 3641849"/>
                <a:gd name="connsiteX37" fmla="*/ 173860 w 1573156"/>
                <a:gd name="connsiteY37" fmla="*/ 158764 h 3641849"/>
                <a:gd name="connsiteX38" fmla="*/ 193258 w 1573156"/>
                <a:gd name="connsiteY38" fmla="*/ 135494 h 3641849"/>
                <a:gd name="connsiteX39" fmla="*/ 207113 w 1573156"/>
                <a:gd name="connsiteY39" fmla="*/ 117394 h 3641849"/>
                <a:gd name="connsiteX40" fmla="*/ 215426 w 1573156"/>
                <a:gd name="connsiteY40" fmla="*/ 73438 h 3641849"/>
                <a:gd name="connsiteX41" fmla="*/ 240365 w 1573156"/>
                <a:gd name="connsiteY41" fmla="*/ 101880 h 3641849"/>
                <a:gd name="connsiteX42" fmla="*/ 270847 w 1573156"/>
                <a:gd name="connsiteY42" fmla="*/ 88952 h 3641849"/>
                <a:gd name="connsiteX43" fmla="*/ 273617 w 1573156"/>
                <a:gd name="connsiteY43" fmla="*/ 63095 h 3641849"/>
                <a:gd name="connsiteX44" fmla="*/ 281931 w 1573156"/>
                <a:gd name="connsiteY44" fmla="*/ 34652 h 3641849"/>
                <a:gd name="connsiteX45" fmla="*/ 284703 w 1573156"/>
                <a:gd name="connsiteY45" fmla="*/ 3624 h 3641849"/>
                <a:gd name="connsiteX46" fmla="*/ 420483 w 1573156"/>
                <a:gd name="connsiteY46" fmla="*/ 57924 h 3641849"/>
                <a:gd name="connsiteX47" fmla="*/ 450963 w 1573156"/>
                <a:gd name="connsiteY47" fmla="*/ 161352 h 3641849"/>
                <a:gd name="connsiteX48" fmla="*/ 464819 w 1573156"/>
                <a:gd name="connsiteY48" fmla="*/ 184622 h 3641849"/>
                <a:gd name="connsiteX49" fmla="*/ 475903 w 1573156"/>
                <a:gd name="connsiteY49" fmla="*/ 187208 h 3641849"/>
                <a:gd name="connsiteX50" fmla="*/ 589515 w 1573156"/>
                <a:gd name="connsiteY50" fmla="*/ 156181 h 3641849"/>
                <a:gd name="connsiteX51" fmla="*/ 656020 w 1573156"/>
                <a:gd name="connsiteY51" fmla="*/ 166522 h 3641849"/>
                <a:gd name="connsiteX52" fmla="*/ 719754 w 1573156"/>
                <a:gd name="connsiteY52" fmla="*/ 213065 h 3641849"/>
                <a:gd name="connsiteX53" fmla="*/ 733781 w 1573156"/>
                <a:gd name="connsiteY53" fmla="*/ 242621 h 3641849"/>
                <a:gd name="connsiteX54" fmla="*/ 789028 w 1573156"/>
                <a:gd name="connsiteY54" fmla="*/ 277708 h 3641849"/>
                <a:gd name="connsiteX55" fmla="*/ 877702 w 1573156"/>
                <a:gd name="connsiteY55" fmla="*/ 303563 h 3641849"/>
                <a:gd name="connsiteX56" fmla="*/ 949748 w 1573156"/>
                <a:gd name="connsiteY56" fmla="*/ 350106 h 3641849"/>
                <a:gd name="connsiteX57" fmla="*/ 999627 w 1573156"/>
                <a:gd name="connsiteY57" fmla="*/ 401820 h 3641849"/>
                <a:gd name="connsiteX58" fmla="*/ 1024566 w 1573156"/>
                <a:gd name="connsiteY58" fmla="*/ 440606 h 3641849"/>
                <a:gd name="connsiteX59" fmla="*/ 1057819 w 1573156"/>
                <a:gd name="connsiteY59" fmla="*/ 466462 h 3641849"/>
                <a:gd name="connsiteX60" fmla="*/ 1041191 w 1573156"/>
                <a:gd name="connsiteY60" fmla="*/ 691417 h 3641849"/>
                <a:gd name="connsiteX61" fmla="*/ 913725 w 1573156"/>
                <a:gd name="connsiteY61" fmla="*/ 771575 h 3641849"/>
                <a:gd name="connsiteX62" fmla="*/ 800113 w 1573156"/>
                <a:gd name="connsiteY62" fmla="*/ 779331 h 3641849"/>
                <a:gd name="connsiteX63" fmla="*/ 661560 w 1573156"/>
                <a:gd name="connsiteY63" fmla="*/ 758645 h 3641849"/>
                <a:gd name="connsiteX64" fmla="*/ 570116 w 1573156"/>
                <a:gd name="connsiteY64" fmla="*/ 722445 h 3641849"/>
                <a:gd name="connsiteX65" fmla="*/ 550719 w 1573156"/>
                <a:gd name="connsiteY65" fmla="*/ 750888 h 3641849"/>
                <a:gd name="connsiteX66" fmla="*/ 581361 w 1573156"/>
                <a:gd name="connsiteY66" fmla="*/ 824301 h 3641849"/>
                <a:gd name="connsiteX67" fmla="*/ 586902 w 1573156"/>
                <a:gd name="connsiteY67" fmla="*/ 951000 h 3641849"/>
                <a:gd name="connsiteX68" fmla="*/ 559032 w 1573156"/>
                <a:gd name="connsiteY68" fmla="*/ 1012043 h 3641849"/>
                <a:gd name="connsiteX69" fmla="*/ 614451 w 1573156"/>
                <a:gd name="connsiteY69" fmla="*/ 1032728 h 3641849"/>
                <a:gd name="connsiteX70" fmla="*/ 631079 w 1573156"/>
                <a:gd name="connsiteY70" fmla="*/ 1048242 h 3641849"/>
                <a:gd name="connsiteX71" fmla="*/ 656019 w 1573156"/>
                <a:gd name="connsiteY71" fmla="*/ 1074099 h 3641849"/>
                <a:gd name="connsiteX72" fmla="*/ 653248 w 1573156"/>
                <a:gd name="connsiteY72" fmla="*/ 1076685 h 3641849"/>
                <a:gd name="connsiteX73" fmla="*/ 692041 w 1573156"/>
                <a:gd name="connsiteY73" fmla="*/ 1071514 h 3641849"/>
                <a:gd name="connsiteX74" fmla="*/ 700355 w 1573156"/>
                <a:gd name="connsiteY74" fmla="*/ 1035314 h 3641849"/>
                <a:gd name="connsiteX75" fmla="*/ 661560 w 1573156"/>
                <a:gd name="connsiteY75" fmla="*/ 957743 h 3641849"/>
                <a:gd name="connsiteX76" fmla="*/ 730836 w 1573156"/>
                <a:gd name="connsiteY76" fmla="*/ 911200 h 3641849"/>
                <a:gd name="connsiteX77" fmla="*/ 798608 w 1573156"/>
                <a:gd name="connsiteY77" fmla="*/ 918934 h 3641849"/>
                <a:gd name="connsiteX78" fmla="*/ 822441 w 1573156"/>
                <a:gd name="connsiteY78" fmla="*/ 951001 h 3641849"/>
                <a:gd name="connsiteX79" fmla="*/ 978170 w 1573156"/>
                <a:gd name="connsiteY79" fmla="*/ 1007364 h 3641849"/>
                <a:gd name="connsiteX80" fmla="*/ 963762 w 1573156"/>
                <a:gd name="connsiteY80" fmla="*/ 971687 h 3641849"/>
                <a:gd name="connsiteX81" fmla="*/ 930510 w 1573156"/>
                <a:gd name="connsiteY81" fmla="*/ 932901 h 3641849"/>
                <a:gd name="connsiteX82" fmla="*/ 919426 w 1573156"/>
                <a:gd name="connsiteY82" fmla="*/ 881187 h 3641849"/>
                <a:gd name="connsiteX83" fmla="*/ 958221 w 1573156"/>
                <a:gd name="connsiteY83" fmla="*/ 832060 h 3641849"/>
                <a:gd name="connsiteX84" fmla="*/ 985931 w 1573156"/>
                <a:gd name="connsiteY84" fmla="*/ 803617 h 3641849"/>
                <a:gd name="connsiteX85" fmla="*/ 1010871 w 1573156"/>
                <a:gd name="connsiteY85" fmla="*/ 767417 h 3641849"/>
                <a:gd name="connsiteX86" fmla="*/ 1091231 w 1573156"/>
                <a:gd name="connsiteY86" fmla="*/ 762245 h 3641849"/>
                <a:gd name="connsiteX87" fmla="*/ 1096772 w 1573156"/>
                <a:gd name="connsiteY87" fmla="*/ 741560 h 3641849"/>
                <a:gd name="connsiteX88" fmla="*/ 1121712 w 1573156"/>
                <a:gd name="connsiteY88" fmla="*/ 705360 h 3641849"/>
                <a:gd name="connsiteX89" fmla="*/ 1155516 w 1573156"/>
                <a:gd name="connsiteY89" fmla="*/ 687772 h 3641849"/>
                <a:gd name="connsiteX90" fmla="*/ 1213156 w 1573156"/>
                <a:gd name="connsiteY90" fmla="*/ 700189 h 3641849"/>
                <a:gd name="connsiteX91" fmla="*/ 1251949 w 1573156"/>
                <a:gd name="connsiteY91" fmla="*/ 720875 h 3641849"/>
                <a:gd name="connsiteX92" fmla="*/ 1299057 w 1573156"/>
                <a:gd name="connsiteY92" fmla="*/ 728632 h 3641849"/>
                <a:gd name="connsiteX93" fmla="*/ 1299057 w 1573156"/>
                <a:gd name="connsiteY93" fmla="*/ 733803 h 3641849"/>
                <a:gd name="connsiteX94" fmla="*/ 1321226 w 1573156"/>
                <a:gd name="connsiteY94" fmla="*/ 674332 h 3641849"/>
                <a:gd name="connsiteX95" fmla="*/ 1331201 w 1573156"/>
                <a:gd name="connsiteY95" fmla="*/ 640714 h 3641849"/>
                <a:gd name="connsiteX96" fmla="*/ 1337852 w 1573156"/>
                <a:gd name="connsiteY96" fmla="*/ 622618 h 3641849"/>
                <a:gd name="connsiteX97" fmla="*/ 1340789 w 1573156"/>
                <a:gd name="connsiteY97" fmla="*/ 591288 h 3641849"/>
                <a:gd name="connsiteX98" fmla="*/ 1260263 w 1573156"/>
                <a:gd name="connsiteY98" fmla="*/ 545048 h 3641849"/>
                <a:gd name="connsiteX99" fmla="*/ 1246408 w 1573156"/>
                <a:gd name="connsiteY99" fmla="*/ 472648 h 3641849"/>
                <a:gd name="connsiteX100" fmla="*/ 1246408 w 1573156"/>
                <a:gd name="connsiteY100" fmla="*/ 454548 h 3641849"/>
                <a:gd name="connsiteX101" fmla="*/ 1257491 w 1573156"/>
                <a:gd name="connsiteY101" fmla="*/ 431276 h 3641849"/>
                <a:gd name="connsiteX102" fmla="*/ 1260263 w 1573156"/>
                <a:gd name="connsiteY102" fmla="*/ 415762 h 3641849"/>
                <a:gd name="connsiteX103" fmla="*/ 1260262 w 1573156"/>
                <a:gd name="connsiteY103" fmla="*/ 358878 h 3641849"/>
                <a:gd name="connsiteX104" fmla="*/ 1238094 w 1573156"/>
                <a:gd name="connsiteY104" fmla="*/ 335607 h 3641849"/>
                <a:gd name="connsiteX105" fmla="*/ 1210384 w 1573156"/>
                <a:gd name="connsiteY105" fmla="*/ 304578 h 3641849"/>
                <a:gd name="connsiteX106" fmla="*/ 1206216 w 1573156"/>
                <a:gd name="connsiteY106" fmla="*/ 280325 h 3641849"/>
                <a:gd name="connsiteX107" fmla="*/ 1257492 w 1573156"/>
                <a:gd name="connsiteY107" fmla="*/ 258034 h 3641849"/>
                <a:gd name="connsiteX108" fmla="*/ 1311072 w 1573156"/>
                <a:gd name="connsiteY108" fmla="*/ 267906 h 3641849"/>
                <a:gd name="connsiteX109" fmla="*/ 1389856 w 1573156"/>
                <a:gd name="connsiteY109" fmla="*/ 279816 h 3641849"/>
                <a:gd name="connsiteX110" fmla="*/ 1474179 w 1573156"/>
                <a:gd name="connsiteY110" fmla="*/ 349175 h 3641849"/>
                <a:gd name="connsiteX111" fmla="*/ 1536314 w 1573156"/>
                <a:gd name="connsiteY111" fmla="*/ 425271 h 3641849"/>
                <a:gd name="connsiteX112" fmla="*/ 1435343 w 1573156"/>
                <a:gd name="connsiteY112" fmla="*/ 454265 h 3641849"/>
                <a:gd name="connsiteX113" fmla="*/ 1419809 w 1573156"/>
                <a:gd name="connsiteY113" fmla="*/ 501372 h 3641849"/>
                <a:gd name="connsiteX114" fmla="*/ 1477479 w 1573156"/>
                <a:gd name="connsiteY114" fmla="*/ 585862 h 3641849"/>
                <a:gd name="connsiteX115" fmla="*/ 1513013 w 1573156"/>
                <a:gd name="connsiteY115" fmla="*/ 591964 h 3641849"/>
                <a:gd name="connsiteX116" fmla="*/ 1565633 w 1573156"/>
                <a:gd name="connsiteY116" fmla="*/ 598304 h 3641849"/>
                <a:gd name="connsiteX117" fmla="*/ 1560670 w 1573156"/>
                <a:gd name="connsiteY117" fmla="*/ 709079 h 3641849"/>
                <a:gd name="connsiteX118" fmla="*/ 1571739 w 1573156"/>
                <a:gd name="connsiteY118" fmla="*/ 1040047 h 3641849"/>
                <a:gd name="connsiteX119" fmla="*/ 1562871 w 1573156"/>
                <a:gd name="connsiteY119" fmla="*/ 1842646 h 3641849"/>
                <a:gd name="connsiteX120" fmla="*/ 1571738 w 1573156"/>
                <a:gd name="connsiteY120" fmla="*/ 2297728 h 3641849"/>
                <a:gd name="connsiteX121" fmla="*/ 1545290 w 1573156"/>
                <a:gd name="connsiteY121" fmla="*/ 3607693 h 3641849"/>
                <a:gd name="connsiteX122" fmla="*/ 1286863 w 1573156"/>
                <a:gd name="connsiteY122" fmla="*/ 3564098 h 3641849"/>
                <a:gd name="connsiteX123" fmla="*/ 1118385 w 1573156"/>
                <a:gd name="connsiteY123" fmla="*/ 3497903 h 3641849"/>
                <a:gd name="connsiteX124" fmla="*/ 941039 w 1573156"/>
                <a:gd name="connsiteY124" fmla="*/ 3406887 h 3641849"/>
                <a:gd name="connsiteX125" fmla="*/ 842741 w 1573156"/>
                <a:gd name="connsiteY125" fmla="*/ 3326370 h 3641849"/>
                <a:gd name="connsiteX126" fmla="*/ 1137003 w 1573156"/>
                <a:gd name="connsiteY126" fmla="*/ 3018734 h 3641849"/>
                <a:gd name="connsiteX127" fmla="*/ 853249 w 1573156"/>
                <a:gd name="connsiteY127" fmla="*/ 2480910 h 3641849"/>
                <a:gd name="connsiteX128" fmla="*/ 557777 w 1573156"/>
                <a:gd name="connsiteY128" fmla="*/ 2715007 h 3641849"/>
                <a:gd name="connsiteX129" fmla="*/ 531809 w 1573156"/>
                <a:gd name="connsiteY129" fmla="*/ 2657256 h 3641849"/>
                <a:gd name="connsiteX130" fmla="*/ 660385 w 1573156"/>
                <a:gd name="connsiteY130" fmla="*/ 2391963 h 3641849"/>
                <a:gd name="connsiteX131" fmla="*/ 91772 w 1573156"/>
                <a:gd name="connsiteY131" fmla="*/ 2159767 h 3641849"/>
                <a:gd name="connsiteX0" fmla="*/ 91772 w 1573156"/>
                <a:gd name="connsiteY0" fmla="*/ 2159767 h 3641849"/>
                <a:gd name="connsiteX1" fmla="*/ 51935 w 1573156"/>
                <a:gd name="connsiteY1" fmla="*/ 1927380 h 3641849"/>
                <a:gd name="connsiteX2" fmla="*/ 43621 w 1573156"/>
                <a:gd name="connsiteY2" fmla="*/ 1844639 h 3641849"/>
                <a:gd name="connsiteX3" fmla="*/ 82416 w 1573156"/>
                <a:gd name="connsiteY3" fmla="*/ 1826538 h 3641849"/>
                <a:gd name="connsiteX4" fmla="*/ 112899 w 1573156"/>
                <a:gd name="connsiteY4" fmla="*/ 1782581 h 3641849"/>
                <a:gd name="connsiteX5" fmla="*/ 96271 w 1573156"/>
                <a:gd name="connsiteY5" fmla="*/ 1754138 h 3641849"/>
                <a:gd name="connsiteX6" fmla="*/ 40851 w 1573156"/>
                <a:gd name="connsiteY6" fmla="*/ 1746381 h 3641849"/>
                <a:gd name="connsiteX7" fmla="*/ 2057 w 1573156"/>
                <a:gd name="connsiteY7" fmla="*/ 1730867 h 3641849"/>
                <a:gd name="connsiteX8" fmla="*/ 38079 w 1573156"/>
                <a:gd name="connsiteY8" fmla="*/ 1689496 h 3641849"/>
                <a:gd name="connsiteX9" fmla="*/ 18683 w 1573156"/>
                <a:gd name="connsiteY9" fmla="*/ 1679153 h 3641849"/>
                <a:gd name="connsiteX10" fmla="*/ 2055 w 1573156"/>
                <a:gd name="connsiteY10" fmla="*/ 1640367 h 3641849"/>
                <a:gd name="connsiteX11" fmla="*/ 65790 w 1573156"/>
                <a:gd name="connsiteY11" fmla="*/ 1650711 h 3641849"/>
                <a:gd name="connsiteX12" fmla="*/ 93501 w 1573156"/>
                <a:gd name="connsiteY12" fmla="*/ 1627440 h 3641849"/>
                <a:gd name="connsiteX13" fmla="*/ 187716 w 1573156"/>
                <a:gd name="connsiteY13" fmla="*/ 1536941 h 3641849"/>
                <a:gd name="connsiteX14" fmla="*/ 212655 w 1573156"/>
                <a:gd name="connsiteY14" fmla="*/ 1505912 h 3641849"/>
                <a:gd name="connsiteX15" fmla="*/ 198801 w 1573156"/>
                <a:gd name="connsiteY15" fmla="*/ 1555040 h 3641849"/>
                <a:gd name="connsiteX16" fmla="*/ 218197 w 1573156"/>
                <a:gd name="connsiteY16" fmla="*/ 1588655 h 3641849"/>
                <a:gd name="connsiteX17" fmla="*/ 262534 w 1573156"/>
                <a:gd name="connsiteY17" fmla="*/ 1666225 h 3641849"/>
                <a:gd name="connsiteX18" fmla="*/ 331810 w 1573156"/>
                <a:gd name="connsiteY18" fmla="*/ 1653297 h 3641849"/>
                <a:gd name="connsiteX19" fmla="*/ 351206 w 1573156"/>
                <a:gd name="connsiteY19" fmla="*/ 1622268 h 3641849"/>
                <a:gd name="connsiteX20" fmla="*/ 365062 w 1573156"/>
                <a:gd name="connsiteY20" fmla="*/ 1557627 h 3641849"/>
                <a:gd name="connsiteX21" fmla="*/ 304099 w 1573156"/>
                <a:gd name="connsiteY21" fmla="*/ 1511084 h 3641849"/>
                <a:gd name="connsiteX22" fmla="*/ 259763 w 1573156"/>
                <a:gd name="connsiteY22" fmla="*/ 1485227 h 3641849"/>
                <a:gd name="connsiteX23" fmla="*/ 198801 w 1573156"/>
                <a:gd name="connsiteY23" fmla="*/ 1495570 h 3641849"/>
                <a:gd name="connsiteX24" fmla="*/ 376147 w 1573156"/>
                <a:gd name="connsiteY24" fmla="*/ 1299057 h 3641849"/>
                <a:gd name="connsiteX25" fmla="*/ 223740 w 1573156"/>
                <a:gd name="connsiteY25" fmla="*/ 1151672 h 3641849"/>
                <a:gd name="connsiteX26" fmla="*/ 284703 w 1573156"/>
                <a:gd name="connsiteY26" fmla="*/ 1089617 h 3641849"/>
                <a:gd name="connsiteX27" fmla="*/ 218198 w 1573156"/>
                <a:gd name="connsiteY27" fmla="*/ 1050829 h 3641849"/>
                <a:gd name="connsiteX28" fmla="*/ 259763 w 1573156"/>
                <a:gd name="connsiteY28" fmla="*/ 1019802 h 3641849"/>
                <a:gd name="connsiteX29" fmla="*/ 212657 w 1573156"/>
                <a:gd name="connsiteY29" fmla="*/ 993947 h 3641849"/>
                <a:gd name="connsiteX30" fmla="*/ 212656 w 1573156"/>
                <a:gd name="connsiteY30" fmla="*/ 794845 h 3641849"/>
                <a:gd name="connsiteX31" fmla="*/ 251451 w 1573156"/>
                <a:gd name="connsiteY31" fmla="*/ 779332 h 3641849"/>
                <a:gd name="connsiteX32" fmla="*/ 137838 w 1573156"/>
                <a:gd name="connsiteY32" fmla="*/ 551792 h 3641849"/>
                <a:gd name="connsiteX33" fmla="*/ 135067 w 1573156"/>
                <a:gd name="connsiteY33" fmla="*/ 551792 h 3641849"/>
                <a:gd name="connsiteX34" fmla="*/ 184945 w 1573156"/>
                <a:gd name="connsiteY34" fmla="*/ 469048 h 3641849"/>
                <a:gd name="connsiteX35" fmla="*/ 201571 w 1573156"/>
                <a:gd name="connsiteY35" fmla="*/ 378550 h 3641849"/>
                <a:gd name="connsiteX36" fmla="*/ 126752 w 1573156"/>
                <a:gd name="connsiteY36" fmla="*/ 319079 h 3641849"/>
                <a:gd name="connsiteX37" fmla="*/ 118440 w 1573156"/>
                <a:gd name="connsiteY37" fmla="*/ 251851 h 3641849"/>
                <a:gd name="connsiteX38" fmla="*/ 173860 w 1573156"/>
                <a:gd name="connsiteY38" fmla="*/ 158764 h 3641849"/>
                <a:gd name="connsiteX39" fmla="*/ 193258 w 1573156"/>
                <a:gd name="connsiteY39" fmla="*/ 135494 h 3641849"/>
                <a:gd name="connsiteX40" fmla="*/ 207113 w 1573156"/>
                <a:gd name="connsiteY40" fmla="*/ 117394 h 3641849"/>
                <a:gd name="connsiteX41" fmla="*/ 215426 w 1573156"/>
                <a:gd name="connsiteY41" fmla="*/ 73438 h 3641849"/>
                <a:gd name="connsiteX42" fmla="*/ 240365 w 1573156"/>
                <a:gd name="connsiteY42" fmla="*/ 101880 h 3641849"/>
                <a:gd name="connsiteX43" fmla="*/ 270847 w 1573156"/>
                <a:gd name="connsiteY43" fmla="*/ 88952 h 3641849"/>
                <a:gd name="connsiteX44" fmla="*/ 273617 w 1573156"/>
                <a:gd name="connsiteY44" fmla="*/ 63095 h 3641849"/>
                <a:gd name="connsiteX45" fmla="*/ 281931 w 1573156"/>
                <a:gd name="connsiteY45" fmla="*/ 34652 h 3641849"/>
                <a:gd name="connsiteX46" fmla="*/ 284703 w 1573156"/>
                <a:gd name="connsiteY46" fmla="*/ 3624 h 3641849"/>
                <a:gd name="connsiteX47" fmla="*/ 420483 w 1573156"/>
                <a:gd name="connsiteY47" fmla="*/ 57924 h 3641849"/>
                <a:gd name="connsiteX48" fmla="*/ 450963 w 1573156"/>
                <a:gd name="connsiteY48" fmla="*/ 161352 h 3641849"/>
                <a:gd name="connsiteX49" fmla="*/ 464819 w 1573156"/>
                <a:gd name="connsiteY49" fmla="*/ 184622 h 3641849"/>
                <a:gd name="connsiteX50" fmla="*/ 475903 w 1573156"/>
                <a:gd name="connsiteY50" fmla="*/ 187208 h 3641849"/>
                <a:gd name="connsiteX51" fmla="*/ 589515 w 1573156"/>
                <a:gd name="connsiteY51" fmla="*/ 156181 h 3641849"/>
                <a:gd name="connsiteX52" fmla="*/ 656020 w 1573156"/>
                <a:gd name="connsiteY52" fmla="*/ 166522 h 3641849"/>
                <a:gd name="connsiteX53" fmla="*/ 719754 w 1573156"/>
                <a:gd name="connsiteY53" fmla="*/ 213065 h 3641849"/>
                <a:gd name="connsiteX54" fmla="*/ 733781 w 1573156"/>
                <a:gd name="connsiteY54" fmla="*/ 242621 h 3641849"/>
                <a:gd name="connsiteX55" fmla="*/ 789028 w 1573156"/>
                <a:gd name="connsiteY55" fmla="*/ 277708 h 3641849"/>
                <a:gd name="connsiteX56" fmla="*/ 877702 w 1573156"/>
                <a:gd name="connsiteY56" fmla="*/ 303563 h 3641849"/>
                <a:gd name="connsiteX57" fmla="*/ 949748 w 1573156"/>
                <a:gd name="connsiteY57" fmla="*/ 350106 h 3641849"/>
                <a:gd name="connsiteX58" fmla="*/ 999627 w 1573156"/>
                <a:gd name="connsiteY58" fmla="*/ 401820 h 3641849"/>
                <a:gd name="connsiteX59" fmla="*/ 1024566 w 1573156"/>
                <a:gd name="connsiteY59" fmla="*/ 440606 h 3641849"/>
                <a:gd name="connsiteX60" fmla="*/ 1057819 w 1573156"/>
                <a:gd name="connsiteY60" fmla="*/ 466462 h 3641849"/>
                <a:gd name="connsiteX61" fmla="*/ 1041191 w 1573156"/>
                <a:gd name="connsiteY61" fmla="*/ 691417 h 3641849"/>
                <a:gd name="connsiteX62" fmla="*/ 913725 w 1573156"/>
                <a:gd name="connsiteY62" fmla="*/ 771575 h 3641849"/>
                <a:gd name="connsiteX63" fmla="*/ 800113 w 1573156"/>
                <a:gd name="connsiteY63" fmla="*/ 779331 h 3641849"/>
                <a:gd name="connsiteX64" fmla="*/ 661560 w 1573156"/>
                <a:gd name="connsiteY64" fmla="*/ 758645 h 3641849"/>
                <a:gd name="connsiteX65" fmla="*/ 570116 w 1573156"/>
                <a:gd name="connsiteY65" fmla="*/ 722445 h 3641849"/>
                <a:gd name="connsiteX66" fmla="*/ 550719 w 1573156"/>
                <a:gd name="connsiteY66" fmla="*/ 750888 h 3641849"/>
                <a:gd name="connsiteX67" fmla="*/ 581361 w 1573156"/>
                <a:gd name="connsiteY67" fmla="*/ 824301 h 3641849"/>
                <a:gd name="connsiteX68" fmla="*/ 586902 w 1573156"/>
                <a:gd name="connsiteY68" fmla="*/ 951000 h 3641849"/>
                <a:gd name="connsiteX69" fmla="*/ 559032 w 1573156"/>
                <a:gd name="connsiteY69" fmla="*/ 1012043 h 3641849"/>
                <a:gd name="connsiteX70" fmla="*/ 614451 w 1573156"/>
                <a:gd name="connsiteY70" fmla="*/ 1032728 h 3641849"/>
                <a:gd name="connsiteX71" fmla="*/ 631079 w 1573156"/>
                <a:gd name="connsiteY71" fmla="*/ 1048242 h 3641849"/>
                <a:gd name="connsiteX72" fmla="*/ 656019 w 1573156"/>
                <a:gd name="connsiteY72" fmla="*/ 1074099 h 3641849"/>
                <a:gd name="connsiteX73" fmla="*/ 653248 w 1573156"/>
                <a:gd name="connsiteY73" fmla="*/ 1076685 h 3641849"/>
                <a:gd name="connsiteX74" fmla="*/ 692041 w 1573156"/>
                <a:gd name="connsiteY74" fmla="*/ 1071514 h 3641849"/>
                <a:gd name="connsiteX75" fmla="*/ 700355 w 1573156"/>
                <a:gd name="connsiteY75" fmla="*/ 1035314 h 3641849"/>
                <a:gd name="connsiteX76" fmla="*/ 661560 w 1573156"/>
                <a:gd name="connsiteY76" fmla="*/ 957743 h 3641849"/>
                <a:gd name="connsiteX77" fmla="*/ 730836 w 1573156"/>
                <a:gd name="connsiteY77" fmla="*/ 911200 h 3641849"/>
                <a:gd name="connsiteX78" fmla="*/ 798608 w 1573156"/>
                <a:gd name="connsiteY78" fmla="*/ 918934 h 3641849"/>
                <a:gd name="connsiteX79" fmla="*/ 822441 w 1573156"/>
                <a:gd name="connsiteY79" fmla="*/ 951001 h 3641849"/>
                <a:gd name="connsiteX80" fmla="*/ 978170 w 1573156"/>
                <a:gd name="connsiteY80" fmla="*/ 1007364 h 3641849"/>
                <a:gd name="connsiteX81" fmla="*/ 963762 w 1573156"/>
                <a:gd name="connsiteY81" fmla="*/ 971687 h 3641849"/>
                <a:gd name="connsiteX82" fmla="*/ 930510 w 1573156"/>
                <a:gd name="connsiteY82" fmla="*/ 932901 h 3641849"/>
                <a:gd name="connsiteX83" fmla="*/ 919426 w 1573156"/>
                <a:gd name="connsiteY83" fmla="*/ 881187 h 3641849"/>
                <a:gd name="connsiteX84" fmla="*/ 958221 w 1573156"/>
                <a:gd name="connsiteY84" fmla="*/ 832060 h 3641849"/>
                <a:gd name="connsiteX85" fmla="*/ 985931 w 1573156"/>
                <a:gd name="connsiteY85" fmla="*/ 803617 h 3641849"/>
                <a:gd name="connsiteX86" fmla="*/ 1010871 w 1573156"/>
                <a:gd name="connsiteY86" fmla="*/ 767417 h 3641849"/>
                <a:gd name="connsiteX87" fmla="*/ 1091231 w 1573156"/>
                <a:gd name="connsiteY87" fmla="*/ 762245 h 3641849"/>
                <a:gd name="connsiteX88" fmla="*/ 1096772 w 1573156"/>
                <a:gd name="connsiteY88" fmla="*/ 741560 h 3641849"/>
                <a:gd name="connsiteX89" fmla="*/ 1121712 w 1573156"/>
                <a:gd name="connsiteY89" fmla="*/ 705360 h 3641849"/>
                <a:gd name="connsiteX90" fmla="*/ 1155516 w 1573156"/>
                <a:gd name="connsiteY90" fmla="*/ 687772 h 3641849"/>
                <a:gd name="connsiteX91" fmla="*/ 1213156 w 1573156"/>
                <a:gd name="connsiteY91" fmla="*/ 700189 h 3641849"/>
                <a:gd name="connsiteX92" fmla="*/ 1251949 w 1573156"/>
                <a:gd name="connsiteY92" fmla="*/ 720875 h 3641849"/>
                <a:gd name="connsiteX93" fmla="*/ 1299057 w 1573156"/>
                <a:gd name="connsiteY93" fmla="*/ 728632 h 3641849"/>
                <a:gd name="connsiteX94" fmla="*/ 1299057 w 1573156"/>
                <a:gd name="connsiteY94" fmla="*/ 733803 h 3641849"/>
                <a:gd name="connsiteX95" fmla="*/ 1321226 w 1573156"/>
                <a:gd name="connsiteY95" fmla="*/ 674332 h 3641849"/>
                <a:gd name="connsiteX96" fmla="*/ 1331201 w 1573156"/>
                <a:gd name="connsiteY96" fmla="*/ 640714 h 3641849"/>
                <a:gd name="connsiteX97" fmla="*/ 1337852 w 1573156"/>
                <a:gd name="connsiteY97" fmla="*/ 622618 h 3641849"/>
                <a:gd name="connsiteX98" fmla="*/ 1340789 w 1573156"/>
                <a:gd name="connsiteY98" fmla="*/ 591288 h 3641849"/>
                <a:gd name="connsiteX99" fmla="*/ 1260263 w 1573156"/>
                <a:gd name="connsiteY99" fmla="*/ 545048 h 3641849"/>
                <a:gd name="connsiteX100" fmla="*/ 1246408 w 1573156"/>
                <a:gd name="connsiteY100" fmla="*/ 472648 h 3641849"/>
                <a:gd name="connsiteX101" fmla="*/ 1246408 w 1573156"/>
                <a:gd name="connsiteY101" fmla="*/ 454548 h 3641849"/>
                <a:gd name="connsiteX102" fmla="*/ 1257491 w 1573156"/>
                <a:gd name="connsiteY102" fmla="*/ 431276 h 3641849"/>
                <a:gd name="connsiteX103" fmla="*/ 1260263 w 1573156"/>
                <a:gd name="connsiteY103" fmla="*/ 415762 h 3641849"/>
                <a:gd name="connsiteX104" fmla="*/ 1260262 w 1573156"/>
                <a:gd name="connsiteY104" fmla="*/ 358878 h 3641849"/>
                <a:gd name="connsiteX105" fmla="*/ 1238094 w 1573156"/>
                <a:gd name="connsiteY105" fmla="*/ 335607 h 3641849"/>
                <a:gd name="connsiteX106" fmla="*/ 1210384 w 1573156"/>
                <a:gd name="connsiteY106" fmla="*/ 304578 h 3641849"/>
                <a:gd name="connsiteX107" fmla="*/ 1206216 w 1573156"/>
                <a:gd name="connsiteY107" fmla="*/ 280325 h 3641849"/>
                <a:gd name="connsiteX108" fmla="*/ 1257492 w 1573156"/>
                <a:gd name="connsiteY108" fmla="*/ 258034 h 3641849"/>
                <a:gd name="connsiteX109" fmla="*/ 1311072 w 1573156"/>
                <a:gd name="connsiteY109" fmla="*/ 267906 h 3641849"/>
                <a:gd name="connsiteX110" fmla="*/ 1389856 w 1573156"/>
                <a:gd name="connsiteY110" fmla="*/ 279816 h 3641849"/>
                <a:gd name="connsiteX111" fmla="*/ 1474179 w 1573156"/>
                <a:gd name="connsiteY111" fmla="*/ 349175 h 3641849"/>
                <a:gd name="connsiteX112" fmla="*/ 1536314 w 1573156"/>
                <a:gd name="connsiteY112" fmla="*/ 425271 h 3641849"/>
                <a:gd name="connsiteX113" fmla="*/ 1435343 w 1573156"/>
                <a:gd name="connsiteY113" fmla="*/ 454265 h 3641849"/>
                <a:gd name="connsiteX114" fmla="*/ 1419809 w 1573156"/>
                <a:gd name="connsiteY114" fmla="*/ 501372 h 3641849"/>
                <a:gd name="connsiteX115" fmla="*/ 1477479 w 1573156"/>
                <a:gd name="connsiteY115" fmla="*/ 585862 h 3641849"/>
                <a:gd name="connsiteX116" fmla="*/ 1513013 w 1573156"/>
                <a:gd name="connsiteY116" fmla="*/ 591964 h 3641849"/>
                <a:gd name="connsiteX117" fmla="*/ 1565633 w 1573156"/>
                <a:gd name="connsiteY117" fmla="*/ 598304 h 3641849"/>
                <a:gd name="connsiteX118" fmla="*/ 1560670 w 1573156"/>
                <a:gd name="connsiteY118" fmla="*/ 709079 h 3641849"/>
                <a:gd name="connsiteX119" fmla="*/ 1571739 w 1573156"/>
                <a:gd name="connsiteY119" fmla="*/ 1040047 h 3641849"/>
                <a:gd name="connsiteX120" fmla="*/ 1562871 w 1573156"/>
                <a:gd name="connsiteY120" fmla="*/ 1842646 h 3641849"/>
                <a:gd name="connsiteX121" fmla="*/ 1571738 w 1573156"/>
                <a:gd name="connsiteY121" fmla="*/ 2297728 h 3641849"/>
                <a:gd name="connsiteX122" fmla="*/ 1545290 w 1573156"/>
                <a:gd name="connsiteY122" fmla="*/ 3607693 h 3641849"/>
                <a:gd name="connsiteX123" fmla="*/ 1286863 w 1573156"/>
                <a:gd name="connsiteY123" fmla="*/ 3564098 h 3641849"/>
                <a:gd name="connsiteX124" fmla="*/ 1118385 w 1573156"/>
                <a:gd name="connsiteY124" fmla="*/ 3497903 h 3641849"/>
                <a:gd name="connsiteX125" fmla="*/ 941039 w 1573156"/>
                <a:gd name="connsiteY125" fmla="*/ 3406887 h 3641849"/>
                <a:gd name="connsiteX126" fmla="*/ 842741 w 1573156"/>
                <a:gd name="connsiteY126" fmla="*/ 3326370 h 3641849"/>
                <a:gd name="connsiteX127" fmla="*/ 1137003 w 1573156"/>
                <a:gd name="connsiteY127" fmla="*/ 3018734 h 3641849"/>
                <a:gd name="connsiteX128" fmla="*/ 853249 w 1573156"/>
                <a:gd name="connsiteY128" fmla="*/ 2480910 h 3641849"/>
                <a:gd name="connsiteX129" fmla="*/ 557777 w 1573156"/>
                <a:gd name="connsiteY129" fmla="*/ 2715007 h 3641849"/>
                <a:gd name="connsiteX130" fmla="*/ 531809 w 1573156"/>
                <a:gd name="connsiteY130" fmla="*/ 2657256 h 3641849"/>
                <a:gd name="connsiteX131" fmla="*/ 660385 w 1573156"/>
                <a:gd name="connsiteY131" fmla="*/ 2391963 h 3641849"/>
                <a:gd name="connsiteX132" fmla="*/ 91772 w 1573156"/>
                <a:gd name="connsiteY132" fmla="*/ 2159767 h 3641849"/>
                <a:gd name="connsiteX0" fmla="*/ 91772 w 1573156"/>
                <a:gd name="connsiteY0" fmla="*/ 2159767 h 3641849"/>
                <a:gd name="connsiteX1" fmla="*/ 51935 w 1573156"/>
                <a:gd name="connsiteY1" fmla="*/ 1927380 h 3641849"/>
                <a:gd name="connsiteX2" fmla="*/ 40850 w 1573156"/>
                <a:gd name="connsiteY2" fmla="*/ 1893766 h 3641849"/>
                <a:gd name="connsiteX3" fmla="*/ 43621 w 1573156"/>
                <a:gd name="connsiteY3" fmla="*/ 1844639 h 3641849"/>
                <a:gd name="connsiteX4" fmla="*/ 82416 w 1573156"/>
                <a:gd name="connsiteY4" fmla="*/ 1826538 h 3641849"/>
                <a:gd name="connsiteX5" fmla="*/ 112899 w 1573156"/>
                <a:gd name="connsiteY5" fmla="*/ 1782581 h 3641849"/>
                <a:gd name="connsiteX6" fmla="*/ 96271 w 1573156"/>
                <a:gd name="connsiteY6" fmla="*/ 1754138 h 3641849"/>
                <a:gd name="connsiteX7" fmla="*/ 40851 w 1573156"/>
                <a:gd name="connsiteY7" fmla="*/ 1746381 h 3641849"/>
                <a:gd name="connsiteX8" fmla="*/ 2057 w 1573156"/>
                <a:gd name="connsiteY8" fmla="*/ 1730867 h 3641849"/>
                <a:gd name="connsiteX9" fmla="*/ 38079 w 1573156"/>
                <a:gd name="connsiteY9" fmla="*/ 1689496 h 3641849"/>
                <a:gd name="connsiteX10" fmla="*/ 18683 w 1573156"/>
                <a:gd name="connsiteY10" fmla="*/ 1679153 h 3641849"/>
                <a:gd name="connsiteX11" fmla="*/ 2055 w 1573156"/>
                <a:gd name="connsiteY11" fmla="*/ 1640367 h 3641849"/>
                <a:gd name="connsiteX12" fmla="*/ 65790 w 1573156"/>
                <a:gd name="connsiteY12" fmla="*/ 1650711 h 3641849"/>
                <a:gd name="connsiteX13" fmla="*/ 93501 w 1573156"/>
                <a:gd name="connsiteY13" fmla="*/ 1627440 h 3641849"/>
                <a:gd name="connsiteX14" fmla="*/ 187716 w 1573156"/>
                <a:gd name="connsiteY14" fmla="*/ 1536941 h 3641849"/>
                <a:gd name="connsiteX15" fmla="*/ 212655 w 1573156"/>
                <a:gd name="connsiteY15" fmla="*/ 1505912 h 3641849"/>
                <a:gd name="connsiteX16" fmla="*/ 198801 w 1573156"/>
                <a:gd name="connsiteY16" fmla="*/ 1555040 h 3641849"/>
                <a:gd name="connsiteX17" fmla="*/ 218197 w 1573156"/>
                <a:gd name="connsiteY17" fmla="*/ 1588655 h 3641849"/>
                <a:gd name="connsiteX18" fmla="*/ 262534 w 1573156"/>
                <a:gd name="connsiteY18" fmla="*/ 1666225 h 3641849"/>
                <a:gd name="connsiteX19" fmla="*/ 331810 w 1573156"/>
                <a:gd name="connsiteY19" fmla="*/ 1653297 h 3641849"/>
                <a:gd name="connsiteX20" fmla="*/ 351206 w 1573156"/>
                <a:gd name="connsiteY20" fmla="*/ 1622268 h 3641849"/>
                <a:gd name="connsiteX21" fmla="*/ 365062 w 1573156"/>
                <a:gd name="connsiteY21" fmla="*/ 1557627 h 3641849"/>
                <a:gd name="connsiteX22" fmla="*/ 304099 w 1573156"/>
                <a:gd name="connsiteY22" fmla="*/ 1511084 h 3641849"/>
                <a:gd name="connsiteX23" fmla="*/ 259763 w 1573156"/>
                <a:gd name="connsiteY23" fmla="*/ 1485227 h 3641849"/>
                <a:gd name="connsiteX24" fmla="*/ 198801 w 1573156"/>
                <a:gd name="connsiteY24" fmla="*/ 1495570 h 3641849"/>
                <a:gd name="connsiteX25" fmla="*/ 376147 w 1573156"/>
                <a:gd name="connsiteY25" fmla="*/ 1299057 h 3641849"/>
                <a:gd name="connsiteX26" fmla="*/ 223740 w 1573156"/>
                <a:gd name="connsiteY26" fmla="*/ 1151672 h 3641849"/>
                <a:gd name="connsiteX27" fmla="*/ 284703 w 1573156"/>
                <a:gd name="connsiteY27" fmla="*/ 1089617 h 3641849"/>
                <a:gd name="connsiteX28" fmla="*/ 218198 w 1573156"/>
                <a:gd name="connsiteY28" fmla="*/ 1050829 h 3641849"/>
                <a:gd name="connsiteX29" fmla="*/ 259763 w 1573156"/>
                <a:gd name="connsiteY29" fmla="*/ 1019802 h 3641849"/>
                <a:gd name="connsiteX30" fmla="*/ 212657 w 1573156"/>
                <a:gd name="connsiteY30" fmla="*/ 993947 h 3641849"/>
                <a:gd name="connsiteX31" fmla="*/ 212656 w 1573156"/>
                <a:gd name="connsiteY31" fmla="*/ 794845 h 3641849"/>
                <a:gd name="connsiteX32" fmla="*/ 251451 w 1573156"/>
                <a:gd name="connsiteY32" fmla="*/ 779332 h 3641849"/>
                <a:gd name="connsiteX33" fmla="*/ 137838 w 1573156"/>
                <a:gd name="connsiteY33" fmla="*/ 551792 h 3641849"/>
                <a:gd name="connsiteX34" fmla="*/ 135067 w 1573156"/>
                <a:gd name="connsiteY34" fmla="*/ 551792 h 3641849"/>
                <a:gd name="connsiteX35" fmla="*/ 184945 w 1573156"/>
                <a:gd name="connsiteY35" fmla="*/ 469048 h 3641849"/>
                <a:gd name="connsiteX36" fmla="*/ 201571 w 1573156"/>
                <a:gd name="connsiteY36" fmla="*/ 378550 h 3641849"/>
                <a:gd name="connsiteX37" fmla="*/ 126752 w 1573156"/>
                <a:gd name="connsiteY37" fmla="*/ 319079 h 3641849"/>
                <a:gd name="connsiteX38" fmla="*/ 118440 w 1573156"/>
                <a:gd name="connsiteY38" fmla="*/ 251851 h 3641849"/>
                <a:gd name="connsiteX39" fmla="*/ 173860 w 1573156"/>
                <a:gd name="connsiteY39" fmla="*/ 158764 h 3641849"/>
                <a:gd name="connsiteX40" fmla="*/ 193258 w 1573156"/>
                <a:gd name="connsiteY40" fmla="*/ 135494 h 3641849"/>
                <a:gd name="connsiteX41" fmla="*/ 207113 w 1573156"/>
                <a:gd name="connsiteY41" fmla="*/ 117394 h 3641849"/>
                <a:gd name="connsiteX42" fmla="*/ 215426 w 1573156"/>
                <a:gd name="connsiteY42" fmla="*/ 73438 h 3641849"/>
                <a:gd name="connsiteX43" fmla="*/ 240365 w 1573156"/>
                <a:gd name="connsiteY43" fmla="*/ 101880 h 3641849"/>
                <a:gd name="connsiteX44" fmla="*/ 270847 w 1573156"/>
                <a:gd name="connsiteY44" fmla="*/ 88952 h 3641849"/>
                <a:gd name="connsiteX45" fmla="*/ 273617 w 1573156"/>
                <a:gd name="connsiteY45" fmla="*/ 63095 h 3641849"/>
                <a:gd name="connsiteX46" fmla="*/ 281931 w 1573156"/>
                <a:gd name="connsiteY46" fmla="*/ 34652 h 3641849"/>
                <a:gd name="connsiteX47" fmla="*/ 284703 w 1573156"/>
                <a:gd name="connsiteY47" fmla="*/ 3624 h 3641849"/>
                <a:gd name="connsiteX48" fmla="*/ 420483 w 1573156"/>
                <a:gd name="connsiteY48" fmla="*/ 57924 h 3641849"/>
                <a:gd name="connsiteX49" fmla="*/ 450963 w 1573156"/>
                <a:gd name="connsiteY49" fmla="*/ 161352 h 3641849"/>
                <a:gd name="connsiteX50" fmla="*/ 464819 w 1573156"/>
                <a:gd name="connsiteY50" fmla="*/ 184622 h 3641849"/>
                <a:gd name="connsiteX51" fmla="*/ 475903 w 1573156"/>
                <a:gd name="connsiteY51" fmla="*/ 187208 h 3641849"/>
                <a:gd name="connsiteX52" fmla="*/ 589515 w 1573156"/>
                <a:gd name="connsiteY52" fmla="*/ 156181 h 3641849"/>
                <a:gd name="connsiteX53" fmla="*/ 656020 w 1573156"/>
                <a:gd name="connsiteY53" fmla="*/ 166522 h 3641849"/>
                <a:gd name="connsiteX54" fmla="*/ 719754 w 1573156"/>
                <a:gd name="connsiteY54" fmla="*/ 213065 h 3641849"/>
                <a:gd name="connsiteX55" fmla="*/ 733781 w 1573156"/>
                <a:gd name="connsiteY55" fmla="*/ 242621 h 3641849"/>
                <a:gd name="connsiteX56" fmla="*/ 789028 w 1573156"/>
                <a:gd name="connsiteY56" fmla="*/ 277708 h 3641849"/>
                <a:gd name="connsiteX57" fmla="*/ 877702 w 1573156"/>
                <a:gd name="connsiteY57" fmla="*/ 303563 h 3641849"/>
                <a:gd name="connsiteX58" fmla="*/ 949748 w 1573156"/>
                <a:gd name="connsiteY58" fmla="*/ 350106 h 3641849"/>
                <a:gd name="connsiteX59" fmla="*/ 999627 w 1573156"/>
                <a:gd name="connsiteY59" fmla="*/ 401820 h 3641849"/>
                <a:gd name="connsiteX60" fmla="*/ 1024566 w 1573156"/>
                <a:gd name="connsiteY60" fmla="*/ 440606 h 3641849"/>
                <a:gd name="connsiteX61" fmla="*/ 1057819 w 1573156"/>
                <a:gd name="connsiteY61" fmla="*/ 466462 h 3641849"/>
                <a:gd name="connsiteX62" fmla="*/ 1041191 w 1573156"/>
                <a:gd name="connsiteY62" fmla="*/ 691417 h 3641849"/>
                <a:gd name="connsiteX63" fmla="*/ 913725 w 1573156"/>
                <a:gd name="connsiteY63" fmla="*/ 771575 h 3641849"/>
                <a:gd name="connsiteX64" fmla="*/ 800113 w 1573156"/>
                <a:gd name="connsiteY64" fmla="*/ 779331 h 3641849"/>
                <a:gd name="connsiteX65" fmla="*/ 661560 w 1573156"/>
                <a:gd name="connsiteY65" fmla="*/ 758645 h 3641849"/>
                <a:gd name="connsiteX66" fmla="*/ 570116 w 1573156"/>
                <a:gd name="connsiteY66" fmla="*/ 722445 h 3641849"/>
                <a:gd name="connsiteX67" fmla="*/ 550719 w 1573156"/>
                <a:gd name="connsiteY67" fmla="*/ 750888 h 3641849"/>
                <a:gd name="connsiteX68" fmla="*/ 581361 w 1573156"/>
                <a:gd name="connsiteY68" fmla="*/ 824301 h 3641849"/>
                <a:gd name="connsiteX69" fmla="*/ 586902 w 1573156"/>
                <a:gd name="connsiteY69" fmla="*/ 951000 h 3641849"/>
                <a:gd name="connsiteX70" fmla="*/ 559032 w 1573156"/>
                <a:gd name="connsiteY70" fmla="*/ 1012043 h 3641849"/>
                <a:gd name="connsiteX71" fmla="*/ 614451 w 1573156"/>
                <a:gd name="connsiteY71" fmla="*/ 1032728 h 3641849"/>
                <a:gd name="connsiteX72" fmla="*/ 631079 w 1573156"/>
                <a:gd name="connsiteY72" fmla="*/ 1048242 h 3641849"/>
                <a:gd name="connsiteX73" fmla="*/ 656019 w 1573156"/>
                <a:gd name="connsiteY73" fmla="*/ 1074099 h 3641849"/>
                <a:gd name="connsiteX74" fmla="*/ 653248 w 1573156"/>
                <a:gd name="connsiteY74" fmla="*/ 1076685 h 3641849"/>
                <a:gd name="connsiteX75" fmla="*/ 692041 w 1573156"/>
                <a:gd name="connsiteY75" fmla="*/ 1071514 h 3641849"/>
                <a:gd name="connsiteX76" fmla="*/ 700355 w 1573156"/>
                <a:gd name="connsiteY76" fmla="*/ 1035314 h 3641849"/>
                <a:gd name="connsiteX77" fmla="*/ 661560 w 1573156"/>
                <a:gd name="connsiteY77" fmla="*/ 957743 h 3641849"/>
                <a:gd name="connsiteX78" fmla="*/ 730836 w 1573156"/>
                <a:gd name="connsiteY78" fmla="*/ 911200 h 3641849"/>
                <a:gd name="connsiteX79" fmla="*/ 798608 w 1573156"/>
                <a:gd name="connsiteY79" fmla="*/ 918934 h 3641849"/>
                <a:gd name="connsiteX80" fmla="*/ 822441 w 1573156"/>
                <a:gd name="connsiteY80" fmla="*/ 951001 h 3641849"/>
                <a:gd name="connsiteX81" fmla="*/ 978170 w 1573156"/>
                <a:gd name="connsiteY81" fmla="*/ 1007364 h 3641849"/>
                <a:gd name="connsiteX82" fmla="*/ 963762 w 1573156"/>
                <a:gd name="connsiteY82" fmla="*/ 971687 h 3641849"/>
                <a:gd name="connsiteX83" fmla="*/ 930510 w 1573156"/>
                <a:gd name="connsiteY83" fmla="*/ 932901 h 3641849"/>
                <a:gd name="connsiteX84" fmla="*/ 919426 w 1573156"/>
                <a:gd name="connsiteY84" fmla="*/ 881187 h 3641849"/>
                <a:gd name="connsiteX85" fmla="*/ 958221 w 1573156"/>
                <a:gd name="connsiteY85" fmla="*/ 832060 h 3641849"/>
                <a:gd name="connsiteX86" fmla="*/ 985931 w 1573156"/>
                <a:gd name="connsiteY86" fmla="*/ 803617 h 3641849"/>
                <a:gd name="connsiteX87" fmla="*/ 1010871 w 1573156"/>
                <a:gd name="connsiteY87" fmla="*/ 767417 h 3641849"/>
                <a:gd name="connsiteX88" fmla="*/ 1091231 w 1573156"/>
                <a:gd name="connsiteY88" fmla="*/ 762245 h 3641849"/>
                <a:gd name="connsiteX89" fmla="*/ 1096772 w 1573156"/>
                <a:gd name="connsiteY89" fmla="*/ 741560 h 3641849"/>
                <a:gd name="connsiteX90" fmla="*/ 1121712 w 1573156"/>
                <a:gd name="connsiteY90" fmla="*/ 705360 h 3641849"/>
                <a:gd name="connsiteX91" fmla="*/ 1155516 w 1573156"/>
                <a:gd name="connsiteY91" fmla="*/ 687772 h 3641849"/>
                <a:gd name="connsiteX92" fmla="*/ 1213156 w 1573156"/>
                <a:gd name="connsiteY92" fmla="*/ 700189 h 3641849"/>
                <a:gd name="connsiteX93" fmla="*/ 1251949 w 1573156"/>
                <a:gd name="connsiteY93" fmla="*/ 720875 h 3641849"/>
                <a:gd name="connsiteX94" fmla="*/ 1299057 w 1573156"/>
                <a:gd name="connsiteY94" fmla="*/ 728632 h 3641849"/>
                <a:gd name="connsiteX95" fmla="*/ 1299057 w 1573156"/>
                <a:gd name="connsiteY95" fmla="*/ 733803 h 3641849"/>
                <a:gd name="connsiteX96" fmla="*/ 1321226 w 1573156"/>
                <a:gd name="connsiteY96" fmla="*/ 674332 h 3641849"/>
                <a:gd name="connsiteX97" fmla="*/ 1331201 w 1573156"/>
                <a:gd name="connsiteY97" fmla="*/ 640714 h 3641849"/>
                <a:gd name="connsiteX98" fmla="*/ 1337852 w 1573156"/>
                <a:gd name="connsiteY98" fmla="*/ 622618 h 3641849"/>
                <a:gd name="connsiteX99" fmla="*/ 1340789 w 1573156"/>
                <a:gd name="connsiteY99" fmla="*/ 591288 h 3641849"/>
                <a:gd name="connsiteX100" fmla="*/ 1260263 w 1573156"/>
                <a:gd name="connsiteY100" fmla="*/ 545048 h 3641849"/>
                <a:gd name="connsiteX101" fmla="*/ 1246408 w 1573156"/>
                <a:gd name="connsiteY101" fmla="*/ 472648 h 3641849"/>
                <a:gd name="connsiteX102" fmla="*/ 1246408 w 1573156"/>
                <a:gd name="connsiteY102" fmla="*/ 454548 h 3641849"/>
                <a:gd name="connsiteX103" fmla="*/ 1257491 w 1573156"/>
                <a:gd name="connsiteY103" fmla="*/ 431276 h 3641849"/>
                <a:gd name="connsiteX104" fmla="*/ 1260263 w 1573156"/>
                <a:gd name="connsiteY104" fmla="*/ 415762 h 3641849"/>
                <a:gd name="connsiteX105" fmla="*/ 1260262 w 1573156"/>
                <a:gd name="connsiteY105" fmla="*/ 358878 h 3641849"/>
                <a:gd name="connsiteX106" fmla="*/ 1238094 w 1573156"/>
                <a:gd name="connsiteY106" fmla="*/ 335607 h 3641849"/>
                <a:gd name="connsiteX107" fmla="*/ 1210384 w 1573156"/>
                <a:gd name="connsiteY107" fmla="*/ 304578 h 3641849"/>
                <a:gd name="connsiteX108" fmla="*/ 1206216 w 1573156"/>
                <a:gd name="connsiteY108" fmla="*/ 280325 h 3641849"/>
                <a:gd name="connsiteX109" fmla="*/ 1257492 w 1573156"/>
                <a:gd name="connsiteY109" fmla="*/ 258034 h 3641849"/>
                <a:gd name="connsiteX110" fmla="*/ 1311072 w 1573156"/>
                <a:gd name="connsiteY110" fmla="*/ 267906 h 3641849"/>
                <a:gd name="connsiteX111" fmla="*/ 1389856 w 1573156"/>
                <a:gd name="connsiteY111" fmla="*/ 279816 h 3641849"/>
                <a:gd name="connsiteX112" fmla="*/ 1474179 w 1573156"/>
                <a:gd name="connsiteY112" fmla="*/ 349175 h 3641849"/>
                <a:gd name="connsiteX113" fmla="*/ 1536314 w 1573156"/>
                <a:gd name="connsiteY113" fmla="*/ 425271 h 3641849"/>
                <a:gd name="connsiteX114" fmla="*/ 1435343 w 1573156"/>
                <a:gd name="connsiteY114" fmla="*/ 454265 h 3641849"/>
                <a:gd name="connsiteX115" fmla="*/ 1419809 w 1573156"/>
                <a:gd name="connsiteY115" fmla="*/ 501372 h 3641849"/>
                <a:gd name="connsiteX116" fmla="*/ 1477479 w 1573156"/>
                <a:gd name="connsiteY116" fmla="*/ 585862 h 3641849"/>
                <a:gd name="connsiteX117" fmla="*/ 1513013 w 1573156"/>
                <a:gd name="connsiteY117" fmla="*/ 591964 h 3641849"/>
                <a:gd name="connsiteX118" fmla="*/ 1565633 w 1573156"/>
                <a:gd name="connsiteY118" fmla="*/ 598304 h 3641849"/>
                <a:gd name="connsiteX119" fmla="*/ 1560670 w 1573156"/>
                <a:gd name="connsiteY119" fmla="*/ 709079 h 3641849"/>
                <a:gd name="connsiteX120" fmla="*/ 1571739 w 1573156"/>
                <a:gd name="connsiteY120" fmla="*/ 1040047 h 3641849"/>
                <a:gd name="connsiteX121" fmla="*/ 1562871 w 1573156"/>
                <a:gd name="connsiteY121" fmla="*/ 1842646 h 3641849"/>
                <a:gd name="connsiteX122" fmla="*/ 1571738 w 1573156"/>
                <a:gd name="connsiteY122" fmla="*/ 2297728 h 3641849"/>
                <a:gd name="connsiteX123" fmla="*/ 1545290 w 1573156"/>
                <a:gd name="connsiteY123" fmla="*/ 3607693 h 3641849"/>
                <a:gd name="connsiteX124" fmla="*/ 1286863 w 1573156"/>
                <a:gd name="connsiteY124" fmla="*/ 3564098 h 3641849"/>
                <a:gd name="connsiteX125" fmla="*/ 1118385 w 1573156"/>
                <a:gd name="connsiteY125" fmla="*/ 3497903 h 3641849"/>
                <a:gd name="connsiteX126" fmla="*/ 941039 w 1573156"/>
                <a:gd name="connsiteY126" fmla="*/ 3406887 h 3641849"/>
                <a:gd name="connsiteX127" fmla="*/ 842741 w 1573156"/>
                <a:gd name="connsiteY127" fmla="*/ 3326370 h 3641849"/>
                <a:gd name="connsiteX128" fmla="*/ 1137003 w 1573156"/>
                <a:gd name="connsiteY128" fmla="*/ 3018734 h 3641849"/>
                <a:gd name="connsiteX129" fmla="*/ 853249 w 1573156"/>
                <a:gd name="connsiteY129" fmla="*/ 2480910 h 3641849"/>
                <a:gd name="connsiteX130" fmla="*/ 557777 w 1573156"/>
                <a:gd name="connsiteY130" fmla="*/ 2715007 h 3641849"/>
                <a:gd name="connsiteX131" fmla="*/ 531809 w 1573156"/>
                <a:gd name="connsiteY131" fmla="*/ 2657256 h 3641849"/>
                <a:gd name="connsiteX132" fmla="*/ 660385 w 1573156"/>
                <a:gd name="connsiteY132" fmla="*/ 2391963 h 3641849"/>
                <a:gd name="connsiteX133" fmla="*/ 91772 w 1573156"/>
                <a:gd name="connsiteY133" fmla="*/ 2159767 h 3641849"/>
                <a:gd name="connsiteX0" fmla="*/ 136108 w 1573156"/>
                <a:gd name="connsiteY0" fmla="*/ 2193381 h 3641849"/>
                <a:gd name="connsiteX1" fmla="*/ 51935 w 1573156"/>
                <a:gd name="connsiteY1" fmla="*/ 1927380 h 3641849"/>
                <a:gd name="connsiteX2" fmla="*/ 40850 w 1573156"/>
                <a:gd name="connsiteY2" fmla="*/ 1893766 h 3641849"/>
                <a:gd name="connsiteX3" fmla="*/ 43621 w 1573156"/>
                <a:gd name="connsiteY3" fmla="*/ 1844639 h 3641849"/>
                <a:gd name="connsiteX4" fmla="*/ 82416 w 1573156"/>
                <a:gd name="connsiteY4" fmla="*/ 1826538 h 3641849"/>
                <a:gd name="connsiteX5" fmla="*/ 112899 w 1573156"/>
                <a:gd name="connsiteY5" fmla="*/ 1782581 h 3641849"/>
                <a:gd name="connsiteX6" fmla="*/ 96271 w 1573156"/>
                <a:gd name="connsiteY6" fmla="*/ 1754138 h 3641849"/>
                <a:gd name="connsiteX7" fmla="*/ 40851 w 1573156"/>
                <a:gd name="connsiteY7" fmla="*/ 1746381 h 3641849"/>
                <a:gd name="connsiteX8" fmla="*/ 2057 w 1573156"/>
                <a:gd name="connsiteY8" fmla="*/ 1730867 h 3641849"/>
                <a:gd name="connsiteX9" fmla="*/ 38079 w 1573156"/>
                <a:gd name="connsiteY9" fmla="*/ 1689496 h 3641849"/>
                <a:gd name="connsiteX10" fmla="*/ 18683 w 1573156"/>
                <a:gd name="connsiteY10" fmla="*/ 1679153 h 3641849"/>
                <a:gd name="connsiteX11" fmla="*/ 2055 w 1573156"/>
                <a:gd name="connsiteY11" fmla="*/ 1640367 h 3641849"/>
                <a:gd name="connsiteX12" fmla="*/ 65790 w 1573156"/>
                <a:gd name="connsiteY12" fmla="*/ 1650711 h 3641849"/>
                <a:gd name="connsiteX13" fmla="*/ 93501 w 1573156"/>
                <a:gd name="connsiteY13" fmla="*/ 1627440 h 3641849"/>
                <a:gd name="connsiteX14" fmla="*/ 187716 w 1573156"/>
                <a:gd name="connsiteY14" fmla="*/ 1536941 h 3641849"/>
                <a:gd name="connsiteX15" fmla="*/ 212655 w 1573156"/>
                <a:gd name="connsiteY15" fmla="*/ 1505912 h 3641849"/>
                <a:gd name="connsiteX16" fmla="*/ 198801 w 1573156"/>
                <a:gd name="connsiteY16" fmla="*/ 1555040 h 3641849"/>
                <a:gd name="connsiteX17" fmla="*/ 218197 w 1573156"/>
                <a:gd name="connsiteY17" fmla="*/ 1588655 h 3641849"/>
                <a:gd name="connsiteX18" fmla="*/ 262534 w 1573156"/>
                <a:gd name="connsiteY18" fmla="*/ 1666225 h 3641849"/>
                <a:gd name="connsiteX19" fmla="*/ 331810 w 1573156"/>
                <a:gd name="connsiteY19" fmla="*/ 1653297 h 3641849"/>
                <a:gd name="connsiteX20" fmla="*/ 351206 w 1573156"/>
                <a:gd name="connsiteY20" fmla="*/ 1622268 h 3641849"/>
                <a:gd name="connsiteX21" fmla="*/ 365062 w 1573156"/>
                <a:gd name="connsiteY21" fmla="*/ 1557627 h 3641849"/>
                <a:gd name="connsiteX22" fmla="*/ 304099 w 1573156"/>
                <a:gd name="connsiteY22" fmla="*/ 1511084 h 3641849"/>
                <a:gd name="connsiteX23" fmla="*/ 259763 w 1573156"/>
                <a:gd name="connsiteY23" fmla="*/ 1485227 h 3641849"/>
                <a:gd name="connsiteX24" fmla="*/ 198801 w 1573156"/>
                <a:gd name="connsiteY24" fmla="*/ 1495570 h 3641849"/>
                <a:gd name="connsiteX25" fmla="*/ 376147 w 1573156"/>
                <a:gd name="connsiteY25" fmla="*/ 1299057 h 3641849"/>
                <a:gd name="connsiteX26" fmla="*/ 223740 w 1573156"/>
                <a:gd name="connsiteY26" fmla="*/ 1151672 h 3641849"/>
                <a:gd name="connsiteX27" fmla="*/ 284703 w 1573156"/>
                <a:gd name="connsiteY27" fmla="*/ 1089617 h 3641849"/>
                <a:gd name="connsiteX28" fmla="*/ 218198 w 1573156"/>
                <a:gd name="connsiteY28" fmla="*/ 1050829 h 3641849"/>
                <a:gd name="connsiteX29" fmla="*/ 259763 w 1573156"/>
                <a:gd name="connsiteY29" fmla="*/ 1019802 h 3641849"/>
                <a:gd name="connsiteX30" fmla="*/ 212657 w 1573156"/>
                <a:gd name="connsiteY30" fmla="*/ 993947 h 3641849"/>
                <a:gd name="connsiteX31" fmla="*/ 212656 w 1573156"/>
                <a:gd name="connsiteY31" fmla="*/ 794845 h 3641849"/>
                <a:gd name="connsiteX32" fmla="*/ 251451 w 1573156"/>
                <a:gd name="connsiteY32" fmla="*/ 779332 h 3641849"/>
                <a:gd name="connsiteX33" fmla="*/ 137838 w 1573156"/>
                <a:gd name="connsiteY33" fmla="*/ 551792 h 3641849"/>
                <a:gd name="connsiteX34" fmla="*/ 135067 w 1573156"/>
                <a:gd name="connsiteY34" fmla="*/ 551792 h 3641849"/>
                <a:gd name="connsiteX35" fmla="*/ 184945 w 1573156"/>
                <a:gd name="connsiteY35" fmla="*/ 469048 h 3641849"/>
                <a:gd name="connsiteX36" fmla="*/ 201571 w 1573156"/>
                <a:gd name="connsiteY36" fmla="*/ 378550 h 3641849"/>
                <a:gd name="connsiteX37" fmla="*/ 126752 w 1573156"/>
                <a:gd name="connsiteY37" fmla="*/ 319079 h 3641849"/>
                <a:gd name="connsiteX38" fmla="*/ 118440 w 1573156"/>
                <a:gd name="connsiteY38" fmla="*/ 251851 h 3641849"/>
                <a:gd name="connsiteX39" fmla="*/ 173860 w 1573156"/>
                <a:gd name="connsiteY39" fmla="*/ 158764 h 3641849"/>
                <a:gd name="connsiteX40" fmla="*/ 193258 w 1573156"/>
                <a:gd name="connsiteY40" fmla="*/ 135494 h 3641849"/>
                <a:gd name="connsiteX41" fmla="*/ 207113 w 1573156"/>
                <a:gd name="connsiteY41" fmla="*/ 117394 h 3641849"/>
                <a:gd name="connsiteX42" fmla="*/ 215426 w 1573156"/>
                <a:gd name="connsiteY42" fmla="*/ 73438 h 3641849"/>
                <a:gd name="connsiteX43" fmla="*/ 240365 w 1573156"/>
                <a:gd name="connsiteY43" fmla="*/ 101880 h 3641849"/>
                <a:gd name="connsiteX44" fmla="*/ 270847 w 1573156"/>
                <a:gd name="connsiteY44" fmla="*/ 88952 h 3641849"/>
                <a:gd name="connsiteX45" fmla="*/ 273617 w 1573156"/>
                <a:gd name="connsiteY45" fmla="*/ 63095 h 3641849"/>
                <a:gd name="connsiteX46" fmla="*/ 281931 w 1573156"/>
                <a:gd name="connsiteY46" fmla="*/ 34652 h 3641849"/>
                <a:gd name="connsiteX47" fmla="*/ 284703 w 1573156"/>
                <a:gd name="connsiteY47" fmla="*/ 3624 h 3641849"/>
                <a:gd name="connsiteX48" fmla="*/ 420483 w 1573156"/>
                <a:gd name="connsiteY48" fmla="*/ 57924 h 3641849"/>
                <a:gd name="connsiteX49" fmla="*/ 450963 w 1573156"/>
                <a:gd name="connsiteY49" fmla="*/ 161352 h 3641849"/>
                <a:gd name="connsiteX50" fmla="*/ 464819 w 1573156"/>
                <a:gd name="connsiteY50" fmla="*/ 184622 h 3641849"/>
                <a:gd name="connsiteX51" fmla="*/ 475903 w 1573156"/>
                <a:gd name="connsiteY51" fmla="*/ 187208 h 3641849"/>
                <a:gd name="connsiteX52" fmla="*/ 589515 w 1573156"/>
                <a:gd name="connsiteY52" fmla="*/ 156181 h 3641849"/>
                <a:gd name="connsiteX53" fmla="*/ 656020 w 1573156"/>
                <a:gd name="connsiteY53" fmla="*/ 166522 h 3641849"/>
                <a:gd name="connsiteX54" fmla="*/ 719754 w 1573156"/>
                <a:gd name="connsiteY54" fmla="*/ 213065 h 3641849"/>
                <a:gd name="connsiteX55" fmla="*/ 733781 w 1573156"/>
                <a:gd name="connsiteY55" fmla="*/ 242621 h 3641849"/>
                <a:gd name="connsiteX56" fmla="*/ 789028 w 1573156"/>
                <a:gd name="connsiteY56" fmla="*/ 277708 h 3641849"/>
                <a:gd name="connsiteX57" fmla="*/ 877702 w 1573156"/>
                <a:gd name="connsiteY57" fmla="*/ 303563 h 3641849"/>
                <a:gd name="connsiteX58" fmla="*/ 949748 w 1573156"/>
                <a:gd name="connsiteY58" fmla="*/ 350106 h 3641849"/>
                <a:gd name="connsiteX59" fmla="*/ 999627 w 1573156"/>
                <a:gd name="connsiteY59" fmla="*/ 401820 h 3641849"/>
                <a:gd name="connsiteX60" fmla="*/ 1024566 w 1573156"/>
                <a:gd name="connsiteY60" fmla="*/ 440606 h 3641849"/>
                <a:gd name="connsiteX61" fmla="*/ 1057819 w 1573156"/>
                <a:gd name="connsiteY61" fmla="*/ 466462 h 3641849"/>
                <a:gd name="connsiteX62" fmla="*/ 1041191 w 1573156"/>
                <a:gd name="connsiteY62" fmla="*/ 691417 h 3641849"/>
                <a:gd name="connsiteX63" fmla="*/ 913725 w 1573156"/>
                <a:gd name="connsiteY63" fmla="*/ 771575 h 3641849"/>
                <a:gd name="connsiteX64" fmla="*/ 800113 w 1573156"/>
                <a:gd name="connsiteY64" fmla="*/ 779331 h 3641849"/>
                <a:gd name="connsiteX65" fmla="*/ 661560 w 1573156"/>
                <a:gd name="connsiteY65" fmla="*/ 758645 h 3641849"/>
                <a:gd name="connsiteX66" fmla="*/ 570116 w 1573156"/>
                <a:gd name="connsiteY66" fmla="*/ 722445 h 3641849"/>
                <a:gd name="connsiteX67" fmla="*/ 550719 w 1573156"/>
                <a:gd name="connsiteY67" fmla="*/ 750888 h 3641849"/>
                <a:gd name="connsiteX68" fmla="*/ 581361 w 1573156"/>
                <a:gd name="connsiteY68" fmla="*/ 824301 h 3641849"/>
                <a:gd name="connsiteX69" fmla="*/ 586902 w 1573156"/>
                <a:gd name="connsiteY69" fmla="*/ 951000 h 3641849"/>
                <a:gd name="connsiteX70" fmla="*/ 559032 w 1573156"/>
                <a:gd name="connsiteY70" fmla="*/ 1012043 h 3641849"/>
                <a:gd name="connsiteX71" fmla="*/ 614451 w 1573156"/>
                <a:gd name="connsiteY71" fmla="*/ 1032728 h 3641849"/>
                <a:gd name="connsiteX72" fmla="*/ 631079 w 1573156"/>
                <a:gd name="connsiteY72" fmla="*/ 1048242 h 3641849"/>
                <a:gd name="connsiteX73" fmla="*/ 656019 w 1573156"/>
                <a:gd name="connsiteY73" fmla="*/ 1074099 h 3641849"/>
                <a:gd name="connsiteX74" fmla="*/ 653248 w 1573156"/>
                <a:gd name="connsiteY74" fmla="*/ 1076685 h 3641849"/>
                <a:gd name="connsiteX75" fmla="*/ 692041 w 1573156"/>
                <a:gd name="connsiteY75" fmla="*/ 1071514 h 3641849"/>
                <a:gd name="connsiteX76" fmla="*/ 700355 w 1573156"/>
                <a:gd name="connsiteY76" fmla="*/ 1035314 h 3641849"/>
                <a:gd name="connsiteX77" fmla="*/ 661560 w 1573156"/>
                <a:gd name="connsiteY77" fmla="*/ 957743 h 3641849"/>
                <a:gd name="connsiteX78" fmla="*/ 730836 w 1573156"/>
                <a:gd name="connsiteY78" fmla="*/ 911200 h 3641849"/>
                <a:gd name="connsiteX79" fmla="*/ 798608 w 1573156"/>
                <a:gd name="connsiteY79" fmla="*/ 918934 h 3641849"/>
                <a:gd name="connsiteX80" fmla="*/ 822441 w 1573156"/>
                <a:gd name="connsiteY80" fmla="*/ 951001 h 3641849"/>
                <a:gd name="connsiteX81" fmla="*/ 978170 w 1573156"/>
                <a:gd name="connsiteY81" fmla="*/ 1007364 h 3641849"/>
                <a:gd name="connsiteX82" fmla="*/ 963762 w 1573156"/>
                <a:gd name="connsiteY82" fmla="*/ 971687 h 3641849"/>
                <a:gd name="connsiteX83" fmla="*/ 930510 w 1573156"/>
                <a:gd name="connsiteY83" fmla="*/ 932901 h 3641849"/>
                <a:gd name="connsiteX84" fmla="*/ 919426 w 1573156"/>
                <a:gd name="connsiteY84" fmla="*/ 881187 h 3641849"/>
                <a:gd name="connsiteX85" fmla="*/ 958221 w 1573156"/>
                <a:gd name="connsiteY85" fmla="*/ 832060 h 3641849"/>
                <a:gd name="connsiteX86" fmla="*/ 985931 w 1573156"/>
                <a:gd name="connsiteY86" fmla="*/ 803617 h 3641849"/>
                <a:gd name="connsiteX87" fmla="*/ 1010871 w 1573156"/>
                <a:gd name="connsiteY87" fmla="*/ 767417 h 3641849"/>
                <a:gd name="connsiteX88" fmla="*/ 1091231 w 1573156"/>
                <a:gd name="connsiteY88" fmla="*/ 762245 h 3641849"/>
                <a:gd name="connsiteX89" fmla="*/ 1096772 w 1573156"/>
                <a:gd name="connsiteY89" fmla="*/ 741560 h 3641849"/>
                <a:gd name="connsiteX90" fmla="*/ 1121712 w 1573156"/>
                <a:gd name="connsiteY90" fmla="*/ 705360 h 3641849"/>
                <a:gd name="connsiteX91" fmla="*/ 1155516 w 1573156"/>
                <a:gd name="connsiteY91" fmla="*/ 687772 h 3641849"/>
                <a:gd name="connsiteX92" fmla="*/ 1213156 w 1573156"/>
                <a:gd name="connsiteY92" fmla="*/ 700189 h 3641849"/>
                <a:gd name="connsiteX93" fmla="*/ 1251949 w 1573156"/>
                <a:gd name="connsiteY93" fmla="*/ 720875 h 3641849"/>
                <a:gd name="connsiteX94" fmla="*/ 1299057 w 1573156"/>
                <a:gd name="connsiteY94" fmla="*/ 728632 h 3641849"/>
                <a:gd name="connsiteX95" fmla="*/ 1299057 w 1573156"/>
                <a:gd name="connsiteY95" fmla="*/ 733803 h 3641849"/>
                <a:gd name="connsiteX96" fmla="*/ 1321226 w 1573156"/>
                <a:gd name="connsiteY96" fmla="*/ 674332 h 3641849"/>
                <a:gd name="connsiteX97" fmla="*/ 1331201 w 1573156"/>
                <a:gd name="connsiteY97" fmla="*/ 640714 h 3641849"/>
                <a:gd name="connsiteX98" fmla="*/ 1337852 w 1573156"/>
                <a:gd name="connsiteY98" fmla="*/ 622618 h 3641849"/>
                <a:gd name="connsiteX99" fmla="*/ 1340789 w 1573156"/>
                <a:gd name="connsiteY99" fmla="*/ 591288 h 3641849"/>
                <a:gd name="connsiteX100" fmla="*/ 1260263 w 1573156"/>
                <a:gd name="connsiteY100" fmla="*/ 545048 h 3641849"/>
                <a:gd name="connsiteX101" fmla="*/ 1246408 w 1573156"/>
                <a:gd name="connsiteY101" fmla="*/ 472648 h 3641849"/>
                <a:gd name="connsiteX102" fmla="*/ 1246408 w 1573156"/>
                <a:gd name="connsiteY102" fmla="*/ 454548 h 3641849"/>
                <a:gd name="connsiteX103" fmla="*/ 1257491 w 1573156"/>
                <a:gd name="connsiteY103" fmla="*/ 431276 h 3641849"/>
                <a:gd name="connsiteX104" fmla="*/ 1260263 w 1573156"/>
                <a:gd name="connsiteY104" fmla="*/ 415762 h 3641849"/>
                <a:gd name="connsiteX105" fmla="*/ 1260262 w 1573156"/>
                <a:gd name="connsiteY105" fmla="*/ 358878 h 3641849"/>
                <a:gd name="connsiteX106" fmla="*/ 1238094 w 1573156"/>
                <a:gd name="connsiteY106" fmla="*/ 335607 h 3641849"/>
                <a:gd name="connsiteX107" fmla="*/ 1210384 w 1573156"/>
                <a:gd name="connsiteY107" fmla="*/ 304578 h 3641849"/>
                <a:gd name="connsiteX108" fmla="*/ 1206216 w 1573156"/>
                <a:gd name="connsiteY108" fmla="*/ 280325 h 3641849"/>
                <a:gd name="connsiteX109" fmla="*/ 1257492 w 1573156"/>
                <a:gd name="connsiteY109" fmla="*/ 258034 h 3641849"/>
                <a:gd name="connsiteX110" fmla="*/ 1311072 w 1573156"/>
                <a:gd name="connsiteY110" fmla="*/ 267906 h 3641849"/>
                <a:gd name="connsiteX111" fmla="*/ 1389856 w 1573156"/>
                <a:gd name="connsiteY111" fmla="*/ 279816 h 3641849"/>
                <a:gd name="connsiteX112" fmla="*/ 1474179 w 1573156"/>
                <a:gd name="connsiteY112" fmla="*/ 349175 h 3641849"/>
                <a:gd name="connsiteX113" fmla="*/ 1536314 w 1573156"/>
                <a:gd name="connsiteY113" fmla="*/ 425271 h 3641849"/>
                <a:gd name="connsiteX114" fmla="*/ 1435343 w 1573156"/>
                <a:gd name="connsiteY114" fmla="*/ 454265 h 3641849"/>
                <a:gd name="connsiteX115" fmla="*/ 1419809 w 1573156"/>
                <a:gd name="connsiteY115" fmla="*/ 501372 h 3641849"/>
                <a:gd name="connsiteX116" fmla="*/ 1477479 w 1573156"/>
                <a:gd name="connsiteY116" fmla="*/ 585862 h 3641849"/>
                <a:gd name="connsiteX117" fmla="*/ 1513013 w 1573156"/>
                <a:gd name="connsiteY117" fmla="*/ 591964 h 3641849"/>
                <a:gd name="connsiteX118" fmla="*/ 1565633 w 1573156"/>
                <a:gd name="connsiteY118" fmla="*/ 598304 h 3641849"/>
                <a:gd name="connsiteX119" fmla="*/ 1560670 w 1573156"/>
                <a:gd name="connsiteY119" fmla="*/ 709079 h 3641849"/>
                <a:gd name="connsiteX120" fmla="*/ 1571739 w 1573156"/>
                <a:gd name="connsiteY120" fmla="*/ 1040047 h 3641849"/>
                <a:gd name="connsiteX121" fmla="*/ 1562871 w 1573156"/>
                <a:gd name="connsiteY121" fmla="*/ 1842646 h 3641849"/>
                <a:gd name="connsiteX122" fmla="*/ 1571738 w 1573156"/>
                <a:gd name="connsiteY122" fmla="*/ 2297728 h 3641849"/>
                <a:gd name="connsiteX123" fmla="*/ 1545290 w 1573156"/>
                <a:gd name="connsiteY123" fmla="*/ 3607693 h 3641849"/>
                <a:gd name="connsiteX124" fmla="*/ 1286863 w 1573156"/>
                <a:gd name="connsiteY124" fmla="*/ 3564098 h 3641849"/>
                <a:gd name="connsiteX125" fmla="*/ 1118385 w 1573156"/>
                <a:gd name="connsiteY125" fmla="*/ 3497903 h 3641849"/>
                <a:gd name="connsiteX126" fmla="*/ 941039 w 1573156"/>
                <a:gd name="connsiteY126" fmla="*/ 3406887 h 3641849"/>
                <a:gd name="connsiteX127" fmla="*/ 842741 w 1573156"/>
                <a:gd name="connsiteY127" fmla="*/ 3326370 h 3641849"/>
                <a:gd name="connsiteX128" fmla="*/ 1137003 w 1573156"/>
                <a:gd name="connsiteY128" fmla="*/ 3018734 h 3641849"/>
                <a:gd name="connsiteX129" fmla="*/ 853249 w 1573156"/>
                <a:gd name="connsiteY129" fmla="*/ 2480910 h 3641849"/>
                <a:gd name="connsiteX130" fmla="*/ 557777 w 1573156"/>
                <a:gd name="connsiteY130" fmla="*/ 2715007 h 3641849"/>
                <a:gd name="connsiteX131" fmla="*/ 531809 w 1573156"/>
                <a:gd name="connsiteY131" fmla="*/ 2657256 h 3641849"/>
                <a:gd name="connsiteX132" fmla="*/ 660385 w 1573156"/>
                <a:gd name="connsiteY132" fmla="*/ 2391963 h 3641849"/>
                <a:gd name="connsiteX133" fmla="*/ 136108 w 1573156"/>
                <a:gd name="connsiteY133" fmla="*/ 2193381 h 3641849"/>
                <a:gd name="connsiteX0" fmla="*/ 136108 w 1573156"/>
                <a:gd name="connsiteY0" fmla="*/ 2193381 h 3641849"/>
                <a:gd name="connsiteX1" fmla="*/ 90729 w 1573156"/>
                <a:gd name="connsiteY1" fmla="*/ 2023051 h 3641849"/>
                <a:gd name="connsiteX2" fmla="*/ 51935 w 1573156"/>
                <a:gd name="connsiteY2" fmla="*/ 1927380 h 3641849"/>
                <a:gd name="connsiteX3" fmla="*/ 40850 w 1573156"/>
                <a:gd name="connsiteY3" fmla="*/ 1893766 h 3641849"/>
                <a:gd name="connsiteX4" fmla="*/ 43621 w 1573156"/>
                <a:gd name="connsiteY4" fmla="*/ 1844639 h 3641849"/>
                <a:gd name="connsiteX5" fmla="*/ 82416 w 1573156"/>
                <a:gd name="connsiteY5" fmla="*/ 1826538 h 3641849"/>
                <a:gd name="connsiteX6" fmla="*/ 112899 w 1573156"/>
                <a:gd name="connsiteY6" fmla="*/ 1782581 h 3641849"/>
                <a:gd name="connsiteX7" fmla="*/ 96271 w 1573156"/>
                <a:gd name="connsiteY7" fmla="*/ 1754138 h 3641849"/>
                <a:gd name="connsiteX8" fmla="*/ 40851 w 1573156"/>
                <a:gd name="connsiteY8" fmla="*/ 1746381 h 3641849"/>
                <a:gd name="connsiteX9" fmla="*/ 2057 w 1573156"/>
                <a:gd name="connsiteY9" fmla="*/ 1730867 h 3641849"/>
                <a:gd name="connsiteX10" fmla="*/ 38079 w 1573156"/>
                <a:gd name="connsiteY10" fmla="*/ 1689496 h 3641849"/>
                <a:gd name="connsiteX11" fmla="*/ 18683 w 1573156"/>
                <a:gd name="connsiteY11" fmla="*/ 1679153 h 3641849"/>
                <a:gd name="connsiteX12" fmla="*/ 2055 w 1573156"/>
                <a:gd name="connsiteY12" fmla="*/ 1640367 h 3641849"/>
                <a:gd name="connsiteX13" fmla="*/ 65790 w 1573156"/>
                <a:gd name="connsiteY13" fmla="*/ 1650711 h 3641849"/>
                <a:gd name="connsiteX14" fmla="*/ 93501 w 1573156"/>
                <a:gd name="connsiteY14" fmla="*/ 1627440 h 3641849"/>
                <a:gd name="connsiteX15" fmla="*/ 187716 w 1573156"/>
                <a:gd name="connsiteY15" fmla="*/ 1536941 h 3641849"/>
                <a:gd name="connsiteX16" fmla="*/ 212655 w 1573156"/>
                <a:gd name="connsiteY16" fmla="*/ 1505912 h 3641849"/>
                <a:gd name="connsiteX17" fmla="*/ 198801 w 1573156"/>
                <a:gd name="connsiteY17" fmla="*/ 1555040 h 3641849"/>
                <a:gd name="connsiteX18" fmla="*/ 218197 w 1573156"/>
                <a:gd name="connsiteY18" fmla="*/ 1588655 h 3641849"/>
                <a:gd name="connsiteX19" fmla="*/ 262534 w 1573156"/>
                <a:gd name="connsiteY19" fmla="*/ 1666225 h 3641849"/>
                <a:gd name="connsiteX20" fmla="*/ 331810 w 1573156"/>
                <a:gd name="connsiteY20" fmla="*/ 1653297 h 3641849"/>
                <a:gd name="connsiteX21" fmla="*/ 351206 w 1573156"/>
                <a:gd name="connsiteY21" fmla="*/ 1622268 h 3641849"/>
                <a:gd name="connsiteX22" fmla="*/ 365062 w 1573156"/>
                <a:gd name="connsiteY22" fmla="*/ 1557627 h 3641849"/>
                <a:gd name="connsiteX23" fmla="*/ 304099 w 1573156"/>
                <a:gd name="connsiteY23" fmla="*/ 1511084 h 3641849"/>
                <a:gd name="connsiteX24" fmla="*/ 259763 w 1573156"/>
                <a:gd name="connsiteY24" fmla="*/ 1485227 h 3641849"/>
                <a:gd name="connsiteX25" fmla="*/ 198801 w 1573156"/>
                <a:gd name="connsiteY25" fmla="*/ 1495570 h 3641849"/>
                <a:gd name="connsiteX26" fmla="*/ 376147 w 1573156"/>
                <a:gd name="connsiteY26" fmla="*/ 1299057 h 3641849"/>
                <a:gd name="connsiteX27" fmla="*/ 223740 w 1573156"/>
                <a:gd name="connsiteY27" fmla="*/ 1151672 h 3641849"/>
                <a:gd name="connsiteX28" fmla="*/ 284703 w 1573156"/>
                <a:gd name="connsiteY28" fmla="*/ 1089617 h 3641849"/>
                <a:gd name="connsiteX29" fmla="*/ 218198 w 1573156"/>
                <a:gd name="connsiteY29" fmla="*/ 1050829 h 3641849"/>
                <a:gd name="connsiteX30" fmla="*/ 259763 w 1573156"/>
                <a:gd name="connsiteY30" fmla="*/ 1019802 h 3641849"/>
                <a:gd name="connsiteX31" fmla="*/ 212657 w 1573156"/>
                <a:gd name="connsiteY31" fmla="*/ 993947 h 3641849"/>
                <a:gd name="connsiteX32" fmla="*/ 212656 w 1573156"/>
                <a:gd name="connsiteY32" fmla="*/ 794845 h 3641849"/>
                <a:gd name="connsiteX33" fmla="*/ 251451 w 1573156"/>
                <a:gd name="connsiteY33" fmla="*/ 779332 h 3641849"/>
                <a:gd name="connsiteX34" fmla="*/ 137838 w 1573156"/>
                <a:gd name="connsiteY34" fmla="*/ 551792 h 3641849"/>
                <a:gd name="connsiteX35" fmla="*/ 135067 w 1573156"/>
                <a:gd name="connsiteY35" fmla="*/ 551792 h 3641849"/>
                <a:gd name="connsiteX36" fmla="*/ 184945 w 1573156"/>
                <a:gd name="connsiteY36" fmla="*/ 469048 h 3641849"/>
                <a:gd name="connsiteX37" fmla="*/ 201571 w 1573156"/>
                <a:gd name="connsiteY37" fmla="*/ 378550 h 3641849"/>
                <a:gd name="connsiteX38" fmla="*/ 126752 w 1573156"/>
                <a:gd name="connsiteY38" fmla="*/ 319079 h 3641849"/>
                <a:gd name="connsiteX39" fmla="*/ 118440 w 1573156"/>
                <a:gd name="connsiteY39" fmla="*/ 251851 h 3641849"/>
                <a:gd name="connsiteX40" fmla="*/ 173860 w 1573156"/>
                <a:gd name="connsiteY40" fmla="*/ 158764 h 3641849"/>
                <a:gd name="connsiteX41" fmla="*/ 193258 w 1573156"/>
                <a:gd name="connsiteY41" fmla="*/ 135494 h 3641849"/>
                <a:gd name="connsiteX42" fmla="*/ 207113 w 1573156"/>
                <a:gd name="connsiteY42" fmla="*/ 117394 h 3641849"/>
                <a:gd name="connsiteX43" fmla="*/ 215426 w 1573156"/>
                <a:gd name="connsiteY43" fmla="*/ 73438 h 3641849"/>
                <a:gd name="connsiteX44" fmla="*/ 240365 w 1573156"/>
                <a:gd name="connsiteY44" fmla="*/ 101880 h 3641849"/>
                <a:gd name="connsiteX45" fmla="*/ 270847 w 1573156"/>
                <a:gd name="connsiteY45" fmla="*/ 88952 h 3641849"/>
                <a:gd name="connsiteX46" fmla="*/ 273617 w 1573156"/>
                <a:gd name="connsiteY46" fmla="*/ 63095 h 3641849"/>
                <a:gd name="connsiteX47" fmla="*/ 281931 w 1573156"/>
                <a:gd name="connsiteY47" fmla="*/ 34652 h 3641849"/>
                <a:gd name="connsiteX48" fmla="*/ 284703 w 1573156"/>
                <a:gd name="connsiteY48" fmla="*/ 3624 h 3641849"/>
                <a:gd name="connsiteX49" fmla="*/ 420483 w 1573156"/>
                <a:gd name="connsiteY49" fmla="*/ 57924 h 3641849"/>
                <a:gd name="connsiteX50" fmla="*/ 450963 w 1573156"/>
                <a:gd name="connsiteY50" fmla="*/ 161352 h 3641849"/>
                <a:gd name="connsiteX51" fmla="*/ 464819 w 1573156"/>
                <a:gd name="connsiteY51" fmla="*/ 184622 h 3641849"/>
                <a:gd name="connsiteX52" fmla="*/ 475903 w 1573156"/>
                <a:gd name="connsiteY52" fmla="*/ 187208 h 3641849"/>
                <a:gd name="connsiteX53" fmla="*/ 589515 w 1573156"/>
                <a:gd name="connsiteY53" fmla="*/ 156181 h 3641849"/>
                <a:gd name="connsiteX54" fmla="*/ 656020 w 1573156"/>
                <a:gd name="connsiteY54" fmla="*/ 166522 h 3641849"/>
                <a:gd name="connsiteX55" fmla="*/ 719754 w 1573156"/>
                <a:gd name="connsiteY55" fmla="*/ 213065 h 3641849"/>
                <a:gd name="connsiteX56" fmla="*/ 733781 w 1573156"/>
                <a:gd name="connsiteY56" fmla="*/ 242621 h 3641849"/>
                <a:gd name="connsiteX57" fmla="*/ 789028 w 1573156"/>
                <a:gd name="connsiteY57" fmla="*/ 277708 h 3641849"/>
                <a:gd name="connsiteX58" fmla="*/ 877702 w 1573156"/>
                <a:gd name="connsiteY58" fmla="*/ 303563 h 3641849"/>
                <a:gd name="connsiteX59" fmla="*/ 949748 w 1573156"/>
                <a:gd name="connsiteY59" fmla="*/ 350106 h 3641849"/>
                <a:gd name="connsiteX60" fmla="*/ 999627 w 1573156"/>
                <a:gd name="connsiteY60" fmla="*/ 401820 h 3641849"/>
                <a:gd name="connsiteX61" fmla="*/ 1024566 w 1573156"/>
                <a:gd name="connsiteY61" fmla="*/ 440606 h 3641849"/>
                <a:gd name="connsiteX62" fmla="*/ 1057819 w 1573156"/>
                <a:gd name="connsiteY62" fmla="*/ 466462 h 3641849"/>
                <a:gd name="connsiteX63" fmla="*/ 1041191 w 1573156"/>
                <a:gd name="connsiteY63" fmla="*/ 691417 h 3641849"/>
                <a:gd name="connsiteX64" fmla="*/ 913725 w 1573156"/>
                <a:gd name="connsiteY64" fmla="*/ 771575 h 3641849"/>
                <a:gd name="connsiteX65" fmla="*/ 800113 w 1573156"/>
                <a:gd name="connsiteY65" fmla="*/ 779331 h 3641849"/>
                <a:gd name="connsiteX66" fmla="*/ 661560 w 1573156"/>
                <a:gd name="connsiteY66" fmla="*/ 758645 h 3641849"/>
                <a:gd name="connsiteX67" fmla="*/ 570116 w 1573156"/>
                <a:gd name="connsiteY67" fmla="*/ 722445 h 3641849"/>
                <a:gd name="connsiteX68" fmla="*/ 550719 w 1573156"/>
                <a:gd name="connsiteY68" fmla="*/ 750888 h 3641849"/>
                <a:gd name="connsiteX69" fmla="*/ 581361 w 1573156"/>
                <a:gd name="connsiteY69" fmla="*/ 824301 h 3641849"/>
                <a:gd name="connsiteX70" fmla="*/ 586902 w 1573156"/>
                <a:gd name="connsiteY70" fmla="*/ 951000 h 3641849"/>
                <a:gd name="connsiteX71" fmla="*/ 559032 w 1573156"/>
                <a:gd name="connsiteY71" fmla="*/ 1012043 h 3641849"/>
                <a:gd name="connsiteX72" fmla="*/ 614451 w 1573156"/>
                <a:gd name="connsiteY72" fmla="*/ 1032728 h 3641849"/>
                <a:gd name="connsiteX73" fmla="*/ 631079 w 1573156"/>
                <a:gd name="connsiteY73" fmla="*/ 1048242 h 3641849"/>
                <a:gd name="connsiteX74" fmla="*/ 656019 w 1573156"/>
                <a:gd name="connsiteY74" fmla="*/ 1074099 h 3641849"/>
                <a:gd name="connsiteX75" fmla="*/ 653248 w 1573156"/>
                <a:gd name="connsiteY75" fmla="*/ 1076685 h 3641849"/>
                <a:gd name="connsiteX76" fmla="*/ 692041 w 1573156"/>
                <a:gd name="connsiteY76" fmla="*/ 1071514 h 3641849"/>
                <a:gd name="connsiteX77" fmla="*/ 700355 w 1573156"/>
                <a:gd name="connsiteY77" fmla="*/ 1035314 h 3641849"/>
                <a:gd name="connsiteX78" fmla="*/ 661560 w 1573156"/>
                <a:gd name="connsiteY78" fmla="*/ 957743 h 3641849"/>
                <a:gd name="connsiteX79" fmla="*/ 730836 w 1573156"/>
                <a:gd name="connsiteY79" fmla="*/ 911200 h 3641849"/>
                <a:gd name="connsiteX80" fmla="*/ 798608 w 1573156"/>
                <a:gd name="connsiteY80" fmla="*/ 918934 h 3641849"/>
                <a:gd name="connsiteX81" fmla="*/ 822441 w 1573156"/>
                <a:gd name="connsiteY81" fmla="*/ 951001 h 3641849"/>
                <a:gd name="connsiteX82" fmla="*/ 978170 w 1573156"/>
                <a:gd name="connsiteY82" fmla="*/ 1007364 h 3641849"/>
                <a:gd name="connsiteX83" fmla="*/ 963762 w 1573156"/>
                <a:gd name="connsiteY83" fmla="*/ 971687 h 3641849"/>
                <a:gd name="connsiteX84" fmla="*/ 930510 w 1573156"/>
                <a:gd name="connsiteY84" fmla="*/ 932901 h 3641849"/>
                <a:gd name="connsiteX85" fmla="*/ 919426 w 1573156"/>
                <a:gd name="connsiteY85" fmla="*/ 881187 h 3641849"/>
                <a:gd name="connsiteX86" fmla="*/ 958221 w 1573156"/>
                <a:gd name="connsiteY86" fmla="*/ 832060 h 3641849"/>
                <a:gd name="connsiteX87" fmla="*/ 985931 w 1573156"/>
                <a:gd name="connsiteY87" fmla="*/ 803617 h 3641849"/>
                <a:gd name="connsiteX88" fmla="*/ 1010871 w 1573156"/>
                <a:gd name="connsiteY88" fmla="*/ 767417 h 3641849"/>
                <a:gd name="connsiteX89" fmla="*/ 1091231 w 1573156"/>
                <a:gd name="connsiteY89" fmla="*/ 762245 h 3641849"/>
                <a:gd name="connsiteX90" fmla="*/ 1096772 w 1573156"/>
                <a:gd name="connsiteY90" fmla="*/ 741560 h 3641849"/>
                <a:gd name="connsiteX91" fmla="*/ 1121712 w 1573156"/>
                <a:gd name="connsiteY91" fmla="*/ 705360 h 3641849"/>
                <a:gd name="connsiteX92" fmla="*/ 1155516 w 1573156"/>
                <a:gd name="connsiteY92" fmla="*/ 687772 h 3641849"/>
                <a:gd name="connsiteX93" fmla="*/ 1213156 w 1573156"/>
                <a:gd name="connsiteY93" fmla="*/ 700189 h 3641849"/>
                <a:gd name="connsiteX94" fmla="*/ 1251949 w 1573156"/>
                <a:gd name="connsiteY94" fmla="*/ 720875 h 3641849"/>
                <a:gd name="connsiteX95" fmla="*/ 1299057 w 1573156"/>
                <a:gd name="connsiteY95" fmla="*/ 728632 h 3641849"/>
                <a:gd name="connsiteX96" fmla="*/ 1299057 w 1573156"/>
                <a:gd name="connsiteY96" fmla="*/ 733803 h 3641849"/>
                <a:gd name="connsiteX97" fmla="*/ 1321226 w 1573156"/>
                <a:gd name="connsiteY97" fmla="*/ 674332 h 3641849"/>
                <a:gd name="connsiteX98" fmla="*/ 1331201 w 1573156"/>
                <a:gd name="connsiteY98" fmla="*/ 640714 h 3641849"/>
                <a:gd name="connsiteX99" fmla="*/ 1337852 w 1573156"/>
                <a:gd name="connsiteY99" fmla="*/ 622618 h 3641849"/>
                <a:gd name="connsiteX100" fmla="*/ 1340789 w 1573156"/>
                <a:gd name="connsiteY100" fmla="*/ 591288 h 3641849"/>
                <a:gd name="connsiteX101" fmla="*/ 1260263 w 1573156"/>
                <a:gd name="connsiteY101" fmla="*/ 545048 h 3641849"/>
                <a:gd name="connsiteX102" fmla="*/ 1246408 w 1573156"/>
                <a:gd name="connsiteY102" fmla="*/ 472648 h 3641849"/>
                <a:gd name="connsiteX103" fmla="*/ 1246408 w 1573156"/>
                <a:gd name="connsiteY103" fmla="*/ 454548 h 3641849"/>
                <a:gd name="connsiteX104" fmla="*/ 1257491 w 1573156"/>
                <a:gd name="connsiteY104" fmla="*/ 431276 h 3641849"/>
                <a:gd name="connsiteX105" fmla="*/ 1260263 w 1573156"/>
                <a:gd name="connsiteY105" fmla="*/ 415762 h 3641849"/>
                <a:gd name="connsiteX106" fmla="*/ 1260262 w 1573156"/>
                <a:gd name="connsiteY106" fmla="*/ 358878 h 3641849"/>
                <a:gd name="connsiteX107" fmla="*/ 1238094 w 1573156"/>
                <a:gd name="connsiteY107" fmla="*/ 335607 h 3641849"/>
                <a:gd name="connsiteX108" fmla="*/ 1210384 w 1573156"/>
                <a:gd name="connsiteY108" fmla="*/ 304578 h 3641849"/>
                <a:gd name="connsiteX109" fmla="*/ 1206216 w 1573156"/>
                <a:gd name="connsiteY109" fmla="*/ 280325 h 3641849"/>
                <a:gd name="connsiteX110" fmla="*/ 1257492 w 1573156"/>
                <a:gd name="connsiteY110" fmla="*/ 258034 h 3641849"/>
                <a:gd name="connsiteX111" fmla="*/ 1311072 w 1573156"/>
                <a:gd name="connsiteY111" fmla="*/ 267906 h 3641849"/>
                <a:gd name="connsiteX112" fmla="*/ 1389856 w 1573156"/>
                <a:gd name="connsiteY112" fmla="*/ 279816 h 3641849"/>
                <a:gd name="connsiteX113" fmla="*/ 1474179 w 1573156"/>
                <a:gd name="connsiteY113" fmla="*/ 349175 h 3641849"/>
                <a:gd name="connsiteX114" fmla="*/ 1536314 w 1573156"/>
                <a:gd name="connsiteY114" fmla="*/ 425271 h 3641849"/>
                <a:gd name="connsiteX115" fmla="*/ 1435343 w 1573156"/>
                <a:gd name="connsiteY115" fmla="*/ 454265 h 3641849"/>
                <a:gd name="connsiteX116" fmla="*/ 1419809 w 1573156"/>
                <a:gd name="connsiteY116" fmla="*/ 501372 h 3641849"/>
                <a:gd name="connsiteX117" fmla="*/ 1477479 w 1573156"/>
                <a:gd name="connsiteY117" fmla="*/ 585862 h 3641849"/>
                <a:gd name="connsiteX118" fmla="*/ 1513013 w 1573156"/>
                <a:gd name="connsiteY118" fmla="*/ 591964 h 3641849"/>
                <a:gd name="connsiteX119" fmla="*/ 1565633 w 1573156"/>
                <a:gd name="connsiteY119" fmla="*/ 598304 h 3641849"/>
                <a:gd name="connsiteX120" fmla="*/ 1560670 w 1573156"/>
                <a:gd name="connsiteY120" fmla="*/ 709079 h 3641849"/>
                <a:gd name="connsiteX121" fmla="*/ 1571739 w 1573156"/>
                <a:gd name="connsiteY121" fmla="*/ 1040047 h 3641849"/>
                <a:gd name="connsiteX122" fmla="*/ 1562871 w 1573156"/>
                <a:gd name="connsiteY122" fmla="*/ 1842646 h 3641849"/>
                <a:gd name="connsiteX123" fmla="*/ 1571738 w 1573156"/>
                <a:gd name="connsiteY123" fmla="*/ 2297728 h 3641849"/>
                <a:gd name="connsiteX124" fmla="*/ 1545290 w 1573156"/>
                <a:gd name="connsiteY124" fmla="*/ 3607693 h 3641849"/>
                <a:gd name="connsiteX125" fmla="*/ 1286863 w 1573156"/>
                <a:gd name="connsiteY125" fmla="*/ 3564098 h 3641849"/>
                <a:gd name="connsiteX126" fmla="*/ 1118385 w 1573156"/>
                <a:gd name="connsiteY126" fmla="*/ 3497903 h 3641849"/>
                <a:gd name="connsiteX127" fmla="*/ 941039 w 1573156"/>
                <a:gd name="connsiteY127" fmla="*/ 3406887 h 3641849"/>
                <a:gd name="connsiteX128" fmla="*/ 842741 w 1573156"/>
                <a:gd name="connsiteY128" fmla="*/ 3326370 h 3641849"/>
                <a:gd name="connsiteX129" fmla="*/ 1137003 w 1573156"/>
                <a:gd name="connsiteY129" fmla="*/ 3018734 h 3641849"/>
                <a:gd name="connsiteX130" fmla="*/ 853249 w 1573156"/>
                <a:gd name="connsiteY130" fmla="*/ 2480910 h 3641849"/>
                <a:gd name="connsiteX131" fmla="*/ 557777 w 1573156"/>
                <a:gd name="connsiteY131" fmla="*/ 2715007 h 3641849"/>
                <a:gd name="connsiteX132" fmla="*/ 531809 w 1573156"/>
                <a:gd name="connsiteY132" fmla="*/ 2657256 h 3641849"/>
                <a:gd name="connsiteX133" fmla="*/ 660385 w 1573156"/>
                <a:gd name="connsiteY133" fmla="*/ 2391963 h 3641849"/>
                <a:gd name="connsiteX134" fmla="*/ 136108 w 1573156"/>
                <a:gd name="connsiteY134" fmla="*/ 2193381 h 3641849"/>
                <a:gd name="connsiteX0" fmla="*/ 136108 w 1573156"/>
                <a:gd name="connsiteY0" fmla="*/ 2193381 h 3641849"/>
                <a:gd name="connsiteX1" fmla="*/ 90729 w 1573156"/>
                <a:gd name="connsiteY1" fmla="*/ 2023051 h 3641849"/>
                <a:gd name="connsiteX2" fmla="*/ 118439 w 1573156"/>
                <a:gd name="connsiteY2" fmla="*/ 1992023 h 3641849"/>
                <a:gd name="connsiteX3" fmla="*/ 51935 w 1573156"/>
                <a:gd name="connsiteY3" fmla="*/ 1927380 h 3641849"/>
                <a:gd name="connsiteX4" fmla="*/ 40850 w 1573156"/>
                <a:gd name="connsiteY4" fmla="*/ 1893766 h 3641849"/>
                <a:gd name="connsiteX5" fmla="*/ 43621 w 1573156"/>
                <a:gd name="connsiteY5" fmla="*/ 1844639 h 3641849"/>
                <a:gd name="connsiteX6" fmla="*/ 82416 w 1573156"/>
                <a:gd name="connsiteY6" fmla="*/ 1826538 h 3641849"/>
                <a:gd name="connsiteX7" fmla="*/ 112899 w 1573156"/>
                <a:gd name="connsiteY7" fmla="*/ 1782581 h 3641849"/>
                <a:gd name="connsiteX8" fmla="*/ 96271 w 1573156"/>
                <a:gd name="connsiteY8" fmla="*/ 1754138 h 3641849"/>
                <a:gd name="connsiteX9" fmla="*/ 40851 w 1573156"/>
                <a:gd name="connsiteY9" fmla="*/ 1746381 h 3641849"/>
                <a:gd name="connsiteX10" fmla="*/ 2057 w 1573156"/>
                <a:gd name="connsiteY10" fmla="*/ 1730867 h 3641849"/>
                <a:gd name="connsiteX11" fmla="*/ 38079 w 1573156"/>
                <a:gd name="connsiteY11" fmla="*/ 1689496 h 3641849"/>
                <a:gd name="connsiteX12" fmla="*/ 18683 w 1573156"/>
                <a:gd name="connsiteY12" fmla="*/ 1679153 h 3641849"/>
                <a:gd name="connsiteX13" fmla="*/ 2055 w 1573156"/>
                <a:gd name="connsiteY13" fmla="*/ 1640367 h 3641849"/>
                <a:gd name="connsiteX14" fmla="*/ 65790 w 1573156"/>
                <a:gd name="connsiteY14" fmla="*/ 1650711 h 3641849"/>
                <a:gd name="connsiteX15" fmla="*/ 93501 w 1573156"/>
                <a:gd name="connsiteY15" fmla="*/ 1627440 h 3641849"/>
                <a:gd name="connsiteX16" fmla="*/ 187716 w 1573156"/>
                <a:gd name="connsiteY16" fmla="*/ 1536941 h 3641849"/>
                <a:gd name="connsiteX17" fmla="*/ 212655 w 1573156"/>
                <a:gd name="connsiteY17" fmla="*/ 1505912 h 3641849"/>
                <a:gd name="connsiteX18" fmla="*/ 198801 w 1573156"/>
                <a:gd name="connsiteY18" fmla="*/ 1555040 h 3641849"/>
                <a:gd name="connsiteX19" fmla="*/ 218197 w 1573156"/>
                <a:gd name="connsiteY19" fmla="*/ 1588655 h 3641849"/>
                <a:gd name="connsiteX20" fmla="*/ 262534 w 1573156"/>
                <a:gd name="connsiteY20" fmla="*/ 1666225 h 3641849"/>
                <a:gd name="connsiteX21" fmla="*/ 331810 w 1573156"/>
                <a:gd name="connsiteY21" fmla="*/ 1653297 h 3641849"/>
                <a:gd name="connsiteX22" fmla="*/ 351206 w 1573156"/>
                <a:gd name="connsiteY22" fmla="*/ 1622268 h 3641849"/>
                <a:gd name="connsiteX23" fmla="*/ 365062 w 1573156"/>
                <a:gd name="connsiteY23" fmla="*/ 1557627 h 3641849"/>
                <a:gd name="connsiteX24" fmla="*/ 304099 w 1573156"/>
                <a:gd name="connsiteY24" fmla="*/ 1511084 h 3641849"/>
                <a:gd name="connsiteX25" fmla="*/ 259763 w 1573156"/>
                <a:gd name="connsiteY25" fmla="*/ 1485227 h 3641849"/>
                <a:gd name="connsiteX26" fmla="*/ 198801 w 1573156"/>
                <a:gd name="connsiteY26" fmla="*/ 1495570 h 3641849"/>
                <a:gd name="connsiteX27" fmla="*/ 376147 w 1573156"/>
                <a:gd name="connsiteY27" fmla="*/ 1299057 h 3641849"/>
                <a:gd name="connsiteX28" fmla="*/ 223740 w 1573156"/>
                <a:gd name="connsiteY28" fmla="*/ 1151672 h 3641849"/>
                <a:gd name="connsiteX29" fmla="*/ 284703 w 1573156"/>
                <a:gd name="connsiteY29" fmla="*/ 1089617 h 3641849"/>
                <a:gd name="connsiteX30" fmla="*/ 218198 w 1573156"/>
                <a:gd name="connsiteY30" fmla="*/ 1050829 h 3641849"/>
                <a:gd name="connsiteX31" fmla="*/ 259763 w 1573156"/>
                <a:gd name="connsiteY31" fmla="*/ 1019802 h 3641849"/>
                <a:gd name="connsiteX32" fmla="*/ 212657 w 1573156"/>
                <a:gd name="connsiteY32" fmla="*/ 993947 h 3641849"/>
                <a:gd name="connsiteX33" fmla="*/ 212656 w 1573156"/>
                <a:gd name="connsiteY33" fmla="*/ 794845 h 3641849"/>
                <a:gd name="connsiteX34" fmla="*/ 251451 w 1573156"/>
                <a:gd name="connsiteY34" fmla="*/ 779332 h 3641849"/>
                <a:gd name="connsiteX35" fmla="*/ 137838 w 1573156"/>
                <a:gd name="connsiteY35" fmla="*/ 551792 h 3641849"/>
                <a:gd name="connsiteX36" fmla="*/ 135067 w 1573156"/>
                <a:gd name="connsiteY36" fmla="*/ 551792 h 3641849"/>
                <a:gd name="connsiteX37" fmla="*/ 184945 w 1573156"/>
                <a:gd name="connsiteY37" fmla="*/ 469048 h 3641849"/>
                <a:gd name="connsiteX38" fmla="*/ 201571 w 1573156"/>
                <a:gd name="connsiteY38" fmla="*/ 378550 h 3641849"/>
                <a:gd name="connsiteX39" fmla="*/ 126752 w 1573156"/>
                <a:gd name="connsiteY39" fmla="*/ 319079 h 3641849"/>
                <a:gd name="connsiteX40" fmla="*/ 118440 w 1573156"/>
                <a:gd name="connsiteY40" fmla="*/ 251851 h 3641849"/>
                <a:gd name="connsiteX41" fmla="*/ 173860 w 1573156"/>
                <a:gd name="connsiteY41" fmla="*/ 158764 h 3641849"/>
                <a:gd name="connsiteX42" fmla="*/ 193258 w 1573156"/>
                <a:gd name="connsiteY42" fmla="*/ 135494 h 3641849"/>
                <a:gd name="connsiteX43" fmla="*/ 207113 w 1573156"/>
                <a:gd name="connsiteY43" fmla="*/ 117394 h 3641849"/>
                <a:gd name="connsiteX44" fmla="*/ 215426 w 1573156"/>
                <a:gd name="connsiteY44" fmla="*/ 73438 h 3641849"/>
                <a:gd name="connsiteX45" fmla="*/ 240365 w 1573156"/>
                <a:gd name="connsiteY45" fmla="*/ 101880 h 3641849"/>
                <a:gd name="connsiteX46" fmla="*/ 270847 w 1573156"/>
                <a:gd name="connsiteY46" fmla="*/ 88952 h 3641849"/>
                <a:gd name="connsiteX47" fmla="*/ 273617 w 1573156"/>
                <a:gd name="connsiteY47" fmla="*/ 63095 h 3641849"/>
                <a:gd name="connsiteX48" fmla="*/ 281931 w 1573156"/>
                <a:gd name="connsiteY48" fmla="*/ 34652 h 3641849"/>
                <a:gd name="connsiteX49" fmla="*/ 284703 w 1573156"/>
                <a:gd name="connsiteY49" fmla="*/ 3624 h 3641849"/>
                <a:gd name="connsiteX50" fmla="*/ 420483 w 1573156"/>
                <a:gd name="connsiteY50" fmla="*/ 57924 h 3641849"/>
                <a:gd name="connsiteX51" fmla="*/ 450963 w 1573156"/>
                <a:gd name="connsiteY51" fmla="*/ 161352 h 3641849"/>
                <a:gd name="connsiteX52" fmla="*/ 464819 w 1573156"/>
                <a:gd name="connsiteY52" fmla="*/ 184622 h 3641849"/>
                <a:gd name="connsiteX53" fmla="*/ 475903 w 1573156"/>
                <a:gd name="connsiteY53" fmla="*/ 187208 h 3641849"/>
                <a:gd name="connsiteX54" fmla="*/ 589515 w 1573156"/>
                <a:gd name="connsiteY54" fmla="*/ 156181 h 3641849"/>
                <a:gd name="connsiteX55" fmla="*/ 656020 w 1573156"/>
                <a:gd name="connsiteY55" fmla="*/ 166522 h 3641849"/>
                <a:gd name="connsiteX56" fmla="*/ 719754 w 1573156"/>
                <a:gd name="connsiteY56" fmla="*/ 213065 h 3641849"/>
                <a:gd name="connsiteX57" fmla="*/ 733781 w 1573156"/>
                <a:gd name="connsiteY57" fmla="*/ 242621 h 3641849"/>
                <a:gd name="connsiteX58" fmla="*/ 789028 w 1573156"/>
                <a:gd name="connsiteY58" fmla="*/ 277708 h 3641849"/>
                <a:gd name="connsiteX59" fmla="*/ 877702 w 1573156"/>
                <a:gd name="connsiteY59" fmla="*/ 303563 h 3641849"/>
                <a:gd name="connsiteX60" fmla="*/ 949748 w 1573156"/>
                <a:gd name="connsiteY60" fmla="*/ 350106 h 3641849"/>
                <a:gd name="connsiteX61" fmla="*/ 999627 w 1573156"/>
                <a:gd name="connsiteY61" fmla="*/ 401820 h 3641849"/>
                <a:gd name="connsiteX62" fmla="*/ 1024566 w 1573156"/>
                <a:gd name="connsiteY62" fmla="*/ 440606 h 3641849"/>
                <a:gd name="connsiteX63" fmla="*/ 1057819 w 1573156"/>
                <a:gd name="connsiteY63" fmla="*/ 466462 h 3641849"/>
                <a:gd name="connsiteX64" fmla="*/ 1041191 w 1573156"/>
                <a:gd name="connsiteY64" fmla="*/ 691417 h 3641849"/>
                <a:gd name="connsiteX65" fmla="*/ 913725 w 1573156"/>
                <a:gd name="connsiteY65" fmla="*/ 771575 h 3641849"/>
                <a:gd name="connsiteX66" fmla="*/ 800113 w 1573156"/>
                <a:gd name="connsiteY66" fmla="*/ 779331 h 3641849"/>
                <a:gd name="connsiteX67" fmla="*/ 661560 w 1573156"/>
                <a:gd name="connsiteY67" fmla="*/ 758645 h 3641849"/>
                <a:gd name="connsiteX68" fmla="*/ 570116 w 1573156"/>
                <a:gd name="connsiteY68" fmla="*/ 722445 h 3641849"/>
                <a:gd name="connsiteX69" fmla="*/ 550719 w 1573156"/>
                <a:gd name="connsiteY69" fmla="*/ 750888 h 3641849"/>
                <a:gd name="connsiteX70" fmla="*/ 581361 w 1573156"/>
                <a:gd name="connsiteY70" fmla="*/ 824301 h 3641849"/>
                <a:gd name="connsiteX71" fmla="*/ 586902 w 1573156"/>
                <a:gd name="connsiteY71" fmla="*/ 951000 h 3641849"/>
                <a:gd name="connsiteX72" fmla="*/ 559032 w 1573156"/>
                <a:gd name="connsiteY72" fmla="*/ 1012043 h 3641849"/>
                <a:gd name="connsiteX73" fmla="*/ 614451 w 1573156"/>
                <a:gd name="connsiteY73" fmla="*/ 1032728 h 3641849"/>
                <a:gd name="connsiteX74" fmla="*/ 631079 w 1573156"/>
                <a:gd name="connsiteY74" fmla="*/ 1048242 h 3641849"/>
                <a:gd name="connsiteX75" fmla="*/ 656019 w 1573156"/>
                <a:gd name="connsiteY75" fmla="*/ 1074099 h 3641849"/>
                <a:gd name="connsiteX76" fmla="*/ 653248 w 1573156"/>
                <a:gd name="connsiteY76" fmla="*/ 1076685 h 3641849"/>
                <a:gd name="connsiteX77" fmla="*/ 692041 w 1573156"/>
                <a:gd name="connsiteY77" fmla="*/ 1071514 h 3641849"/>
                <a:gd name="connsiteX78" fmla="*/ 700355 w 1573156"/>
                <a:gd name="connsiteY78" fmla="*/ 1035314 h 3641849"/>
                <a:gd name="connsiteX79" fmla="*/ 661560 w 1573156"/>
                <a:gd name="connsiteY79" fmla="*/ 957743 h 3641849"/>
                <a:gd name="connsiteX80" fmla="*/ 730836 w 1573156"/>
                <a:gd name="connsiteY80" fmla="*/ 911200 h 3641849"/>
                <a:gd name="connsiteX81" fmla="*/ 798608 w 1573156"/>
                <a:gd name="connsiteY81" fmla="*/ 918934 h 3641849"/>
                <a:gd name="connsiteX82" fmla="*/ 822441 w 1573156"/>
                <a:gd name="connsiteY82" fmla="*/ 951001 h 3641849"/>
                <a:gd name="connsiteX83" fmla="*/ 978170 w 1573156"/>
                <a:gd name="connsiteY83" fmla="*/ 1007364 h 3641849"/>
                <a:gd name="connsiteX84" fmla="*/ 963762 w 1573156"/>
                <a:gd name="connsiteY84" fmla="*/ 971687 h 3641849"/>
                <a:gd name="connsiteX85" fmla="*/ 930510 w 1573156"/>
                <a:gd name="connsiteY85" fmla="*/ 932901 h 3641849"/>
                <a:gd name="connsiteX86" fmla="*/ 919426 w 1573156"/>
                <a:gd name="connsiteY86" fmla="*/ 881187 h 3641849"/>
                <a:gd name="connsiteX87" fmla="*/ 958221 w 1573156"/>
                <a:gd name="connsiteY87" fmla="*/ 832060 h 3641849"/>
                <a:gd name="connsiteX88" fmla="*/ 985931 w 1573156"/>
                <a:gd name="connsiteY88" fmla="*/ 803617 h 3641849"/>
                <a:gd name="connsiteX89" fmla="*/ 1010871 w 1573156"/>
                <a:gd name="connsiteY89" fmla="*/ 767417 h 3641849"/>
                <a:gd name="connsiteX90" fmla="*/ 1091231 w 1573156"/>
                <a:gd name="connsiteY90" fmla="*/ 762245 h 3641849"/>
                <a:gd name="connsiteX91" fmla="*/ 1096772 w 1573156"/>
                <a:gd name="connsiteY91" fmla="*/ 741560 h 3641849"/>
                <a:gd name="connsiteX92" fmla="*/ 1121712 w 1573156"/>
                <a:gd name="connsiteY92" fmla="*/ 705360 h 3641849"/>
                <a:gd name="connsiteX93" fmla="*/ 1155516 w 1573156"/>
                <a:gd name="connsiteY93" fmla="*/ 687772 h 3641849"/>
                <a:gd name="connsiteX94" fmla="*/ 1213156 w 1573156"/>
                <a:gd name="connsiteY94" fmla="*/ 700189 h 3641849"/>
                <a:gd name="connsiteX95" fmla="*/ 1251949 w 1573156"/>
                <a:gd name="connsiteY95" fmla="*/ 720875 h 3641849"/>
                <a:gd name="connsiteX96" fmla="*/ 1299057 w 1573156"/>
                <a:gd name="connsiteY96" fmla="*/ 728632 h 3641849"/>
                <a:gd name="connsiteX97" fmla="*/ 1299057 w 1573156"/>
                <a:gd name="connsiteY97" fmla="*/ 733803 h 3641849"/>
                <a:gd name="connsiteX98" fmla="*/ 1321226 w 1573156"/>
                <a:gd name="connsiteY98" fmla="*/ 674332 h 3641849"/>
                <a:gd name="connsiteX99" fmla="*/ 1331201 w 1573156"/>
                <a:gd name="connsiteY99" fmla="*/ 640714 h 3641849"/>
                <a:gd name="connsiteX100" fmla="*/ 1337852 w 1573156"/>
                <a:gd name="connsiteY100" fmla="*/ 622618 h 3641849"/>
                <a:gd name="connsiteX101" fmla="*/ 1340789 w 1573156"/>
                <a:gd name="connsiteY101" fmla="*/ 591288 h 3641849"/>
                <a:gd name="connsiteX102" fmla="*/ 1260263 w 1573156"/>
                <a:gd name="connsiteY102" fmla="*/ 545048 h 3641849"/>
                <a:gd name="connsiteX103" fmla="*/ 1246408 w 1573156"/>
                <a:gd name="connsiteY103" fmla="*/ 472648 h 3641849"/>
                <a:gd name="connsiteX104" fmla="*/ 1246408 w 1573156"/>
                <a:gd name="connsiteY104" fmla="*/ 454548 h 3641849"/>
                <a:gd name="connsiteX105" fmla="*/ 1257491 w 1573156"/>
                <a:gd name="connsiteY105" fmla="*/ 431276 h 3641849"/>
                <a:gd name="connsiteX106" fmla="*/ 1260263 w 1573156"/>
                <a:gd name="connsiteY106" fmla="*/ 415762 h 3641849"/>
                <a:gd name="connsiteX107" fmla="*/ 1260262 w 1573156"/>
                <a:gd name="connsiteY107" fmla="*/ 358878 h 3641849"/>
                <a:gd name="connsiteX108" fmla="*/ 1238094 w 1573156"/>
                <a:gd name="connsiteY108" fmla="*/ 335607 h 3641849"/>
                <a:gd name="connsiteX109" fmla="*/ 1210384 w 1573156"/>
                <a:gd name="connsiteY109" fmla="*/ 304578 h 3641849"/>
                <a:gd name="connsiteX110" fmla="*/ 1206216 w 1573156"/>
                <a:gd name="connsiteY110" fmla="*/ 280325 h 3641849"/>
                <a:gd name="connsiteX111" fmla="*/ 1257492 w 1573156"/>
                <a:gd name="connsiteY111" fmla="*/ 258034 h 3641849"/>
                <a:gd name="connsiteX112" fmla="*/ 1311072 w 1573156"/>
                <a:gd name="connsiteY112" fmla="*/ 267906 h 3641849"/>
                <a:gd name="connsiteX113" fmla="*/ 1389856 w 1573156"/>
                <a:gd name="connsiteY113" fmla="*/ 279816 h 3641849"/>
                <a:gd name="connsiteX114" fmla="*/ 1474179 w 1573156"/>
                <a:gd name="connsiteY114" fmla="*/ 349175 h 3641849"/>
                <a:gd name="connsiteX115" fmla="*/ 1536314 w 1573156"/>
                <a:gd name="connsiteY115" fmla="*/ 425271 h 3641849"/>
                <a:gd name="connsiteX116" fmla="*/ 1435343 w 1573156"/>
                <a:gd name="connsiteY116" fmla="*/ 454265 h 3641849"/>
                <a:gd name="connsiteX117" fmla="*/ 1419809 w 1573156"/>
                <a:gd name="connsiteY117" fmla="*/ 501372 h 3641849"/>
                <a:gd name="connsiteX118" fmla="*/ 1477479 w 1573156"/>
                <a:gd name="connsiteY118" fmla="*/ 585862 h 3641849"/>
                <a:gd name="connsiteX119" fmla="*/ 1513013 w 1573156"/>
                <a:gd name="connsiteY119" fmla="*/ 591964 h 3641849"/>
                <a:gd name="connsiteX120" fmla="*/ 1565633 w 1573156"/>
                <a:gd name="connsiteY120" fmla="*/ 598304 h 3641849"/>
                <a:gd name="connsiteX121" fmla="*/ 1560670 w 1573156"/>
                <a:gd name="connsiteY121" fmla="*/ 709079 h 3641849"/>
                <a:gd name="connsiteX122" fmla="*/ 1571739 w 1573156"/>
                <a:gd name="connsiteY122" fmla="*/ 1040047 h 3641849"/>
                <a:gd name="connsiteX123" fmla="*/ 1562871 w 1573156"/>
                <a:gd name="connsiteY123" fmla="*/ 1842646 h 3641849"/>
                <a:gd name="connsiteX124" fmla="*/ 1571738 w 1573156"/>
                <a:gd name="connsiteY124" fmla="*/ 2297728 h 3641849"/>
                <a:gd name="connsiteX125" fmla="*/ 1545290 w 1573156"/>
                <a:gd name="connsiteY125" fmla="*/ 3607693 h 3641849"/>
                <a:gd name="connsiteX126" fmla="*/ 1286863 w 1573156"/>
                <a:gd name="connsiteY126" fmla="*/ 3564098 h 3641849"/>
                <a:gd name="connsiteX127" fmla="*/ 1118385 w 1573156"/>
                <a:gd name="connsiteY127" fmla="*/ 3497903 h 3641849"/>
                <a:gd name="connsiteX128" fmla="*/ 941039 w 1573156"/>
                <a:gd name="connsiteY128" fmla="*/ 3406887 h 3641849"/>
                <a:gd name="connsiteX129" fmla="*/ 842741 w 1573156"/>
                <a:gd name="connsiteY129" fmla="*/ 3326370 h 3641849"/>
                <a:gd name="connsiteX130" fmla="*/ 1137003 w 1573156"/>
                <a:gd name="connsiteY130" fmla="*/ 3018734 h 3641849"/>
                <a:gd name="connsiteX131" fmla="*/ 853249 w 1573156"/>
                <a:gd name="connsiteY131" fmla="*/ 2480910 h 3641849"/>
                <a:gd name="connsiteX132" fmla="*/ 557777 w 1573156"/>
                <a:gd name="connsiteY132" fmla="*/ 2715007 h 3641849"/>
                <a:gd name="connsiteX133" fmla="*/ 531809 w 1573156"/>
                <a:gd name="connsiteY133" fmla="*/ 2657256 h 3641849"/>
                <a:gd name="connsiteX134" fmla="*/ 660385 w 1573156"/>
                <a:gd name="connsiteY134" fmla="*/ 2391963 h 3641849"/>
                <a:gd name="connsiteX135" fmla="*/ 136108 w 1573156"/>
                <a:gd name="connsiteY135" fmla="*/ 2193381 h 3641849"/>
                <a:gd name="connsiteX0" fmla="*/ 136108 w 1573156"/>
                <a:gd name="connsiteY0" fmla="*/ 2193381 h 3641849"/>
                <a:gd name="connsiteX1" fmla="*/ 90729 w 1573156"/>
                <a:gd name="connsiteY1" fmla="*/ 2023051 h 3641849"/>
                <a:gd name="connsiteX2" fmla="*/ 118439 w 1573156"/>
                <a:gd name="connsiteY2" fmla="*/ 1992023 h 3641849"/>
                <a:gd name="connsiteX3" fmla="*/ 82416 w 1573156"/>
                <a:gd name="connsiteY3" fmla="*/ 1963580 h 3641849"/>
                <a:gd name="connsiteX4" fmla="*/ 51935 w 1573156"/>
                <a:gd name="connsiteY4" fmla="*/ 1927380 h 3641849"/>
                <a:gd name="connsiteX5" fmla="*/ 40850 w 1573156"/>
                <a:gd name="connsiteY5" fmla="*/ 1893766 h 3641849"/>
                <a:gd name="connsiteX6" fmla="*/ 43621 w 1573156"/>
                <a:gd name="connsiteY6" fmla="*/ 1844639 h 3641849"/>
                <a:gd name="connsiteX7" fmla="*/ 82416 w 1573156"/>
                <a:gd name="connsiteY7" fmla="*/ 1826538 h 3641849"/>
                <a:gd name="connsiteX8" fmla="*/ 112899 w 1573156"/>
                <a:gd name="connsiteY8" fmla="*/ 1782581 h 3641849"/>
                <a:gd name="connsiteX9" fmla="*/ 96271 w 1573156"/>
                <a:gd name="connsiteY9" fmla="*/ 1754138 h 3641849"/>
                <a:gd name="connsiteX10" fmla="*/ 40851 w 1573156"/>
                <a:gd name="connsiteY10" fmla="*/ 1746381 h 3641849"/>
                <a:gd name="connsiteX11" fmla="*/ 2057 w 1573156"/>
                <a:gd name="connsiteY11" fmla="*/ 1730867 h 3641849"/>
                <a:gd name="connsiteX12" fmla="*/ 38079 w 1573156"/>
                <a:gd name="connsiteY12" fmla="*/ 1689496 h 3641849"/>
                <a:gd name="connsiteX13" fmla="*/ 18683 w 1573156"/>
                <a:gd name="connsiteY13" fmla="*/ 1679153 h 3641849"/>
                <a:gd name="connsiteX14" fmla="*/ 2055 w 1573156"/>
                <a:gd name="connsiteY14" fmla="*/ 1640367 h 3641849"/>
                <a:gd name="connsiteX15" fmla="*/ 65790 w 1573156"/>
                <a:gd name="connsiteY15" fmla="*/ 1650711 h 3641849"/>
                <a:gd name="connsiteX16" fmla="*/ 93501 w 1573156"/>
                <a:gd name="connsiteY16" fmla="*/ 1627440 h 3641849"/>
                <a:gd name="connsiteX17" fmla="*/ 187716 w 1573156"/>
                <a:gd name="connsiteY17" fmla="*/ 1536941 h 3641849"/>
                <a:gd name="connsiteX18" fmla="*/ 212655 w 1573156"/>
                <a:gd name="connsiteY18" fmla="*/ 1505912 h 3641849"/>
                <a:gd name="connsiteX19" fmla="*/ 198801 w 1573156"/>
                <a:gd name="connsiteY19" fmla="*/ 1555040 h 3641849"/>
                <a:gd name="connsiteX20" fmla="*/ 218197 w 1573156"/>
                <a:gd name="connsiteY20" fmla="*/ 1588655 h 3641849"/>
                <a:gd name="connsiteX21" fmla="*/ 262534 w 1573156"/>
                <a:gd name="connsiteY21" fmla="*/ 1666225 h 3641849"/>
                <a:gd name="connsiteX22" fmla="*/ 331810 w 1573156"/>
                <a:gd name="connsiteY22" fmla="*/ 1653297 h 3641849"/>
                <a:gd name="connsiteX23" fmla="*/ 351206 w 1573156"/>
                <a:gd name="connsiteY23" fmla="*/ 1622268 h 3641849"/>
                <a:gd name="connsiteX24" fmla="*/ 365062 w 1573156"/>
                <a:gd name="connsiteY24" fmla="*/ 1557627 h 3641849"/>
                <a:gd name="connsiteX25" fmla="*/ 304099 w 1573156"/>
                <a:gd name="connsiteY25" fmla="*/ 1511084 h 3641849"/>
                <a:gd name="connsiteX26" fmla="*/ 259763 w 1573156"/>
                <a:gd name="connsiteY26" fmla="*/ 1485227 h 3641849"/>
                <a:gd name="connsiteX27" fmla="*/ 198801 w 1573156"/>
                <a:gd name="connsiteY27" fmla="*/ 1495570 h 3641849"/>
                <a:gd name="connsiteX28" fmla="*/ 376147 w 1573156"/>
                <a:gd name="connsiteY28" fmla="*/ 1299057 h 3641849"/>
                <a:gd name="connsiteX29" fmla="*/ 223740 w 1573156"/>
                <a:gd name="connsiteY29" fmla="*/ 1151672 h 3641849"/>
                <a:gd name="connsiteX30" fmla="*/ 284703 w 1573156"/>
                <a:gd name="connsiteY30" fmla="*/ 1089617 h 3641849"/>
                <a:gd name="connsiteX31" fmla="*/ 218198 w 1573156"/>
                <a:gd name="connsiteY31" fmla="*/ 1050829 h 3641849"/>
                <a:gd name="connsiteX32" fmla="*/ 259763 w 1573156"/>
                <a:gd name="connsiteY32" fmla="*/ 1019802 h 3641849"/>
                <a:gd name="connsiteX33" fmla="*/ 212657 w 1573156"/>
                <a:gd name="connsiteY33" fmla="*/ 993947 h 3641849"/>
                <a:gd name="connsiteX34" fmla="*/ 212656 w 1573156"/>
                <a:gd name="connsiteY34" fmla="*/ 794845 h 3641849"/>
                <a:gd name="connsiteX35" fmla="*/ 251451 w 1573156"/>
                <a:gd name="connsiteY35" fmla="*/ 779332 h 3641849"/>
                <a:gd name="connsiteX36" fmla="*/ 137838 w 1573156"/>
                <a:gd name="connsiteY36" fmla="*/ 551792 h 3641849"/>
                <a:gd name="connsiteX37" fmla="*/ 135067 w 1573156"/>
                <a:gd name="connsiteY37" fmla="*/ 551792 h 3641849"/>
                <a:gd name="connsiteX38" fmla="*/ 184945 w 1573156"/>
                <a:gd name="connsiteY38" fmla="*/ 469048 h 3641849"/>
                <a:gd name="connsiteX39" fmla="*/ 201571 w 1573156"/>
                <a:gd name="connsiteY39" fmla="*/ 378550 h 3641849"/>
                <a:gd name="connsiteX40" fmla="*/ 126752 w 1573156"/>
                <a:gd name="connsiteY40" fmla="*/ 319079 h 3641849"/>
                <a:gd name="connsiteX41" fmla="*/ 118440 w 1573156"/>
                <a:gd name="connsiteY41" fmla="*/ 251851 h 3641849"/>
                <a:gd name="connsiteX42" fmla="*/ 173860 w 1573156"/>
                <a:gd name="connsiteY42" fmla="*/ 158764 h 3641849"/>
                <a:gd name="connsiteX43" fmla="*/ 193258 w 1573156"/>
                <a:gd name="connsiteY43" fmla="*/ 135494 h 3641849"/>
                <a:gd name="connsiteX44" fmla="*/ 207113 w 1573156"/>
                <a:gd name="connsiteY44" fmla="*/ 117394 h 3641849"/>
                <a:gd name="connsiteX45" fmla="*/ 215426 w 1573156"/>
                <a:gd name="connsiteY45" fmla="*/ 73438 h 3641849"/>
                <a:gd name="connsiteX46" fmla="*/ 240365 w 1573156"/>
                <a:gd name="connsiteY46" fmla="*/ 101880 h 3641849"/>
                <a:gd name="connsiteX47" fmla="*/ 270847 w 1573156"/>
                <a:gd name="connsiteY47" fmla="*/ 88952 h 3641849"/>
                <a:gd name="connsiteX48" fmla="*/ 273617 w 1573156"/>
                <a:gd name="connsiteY48" fmla="*/ 63095 h 3641849"/>
                <a:gd name="connsiteX49" fmla="*/ 281931 w 1573156"/>
                <a:gd name="connsiteY49" fmla="*/ 34652 h 3641849"/>
                <a:gd name="connsiteX50" fmla="*/ 284703 w 1573156"/>
                <a:gd name="connsiteY50" fmla="*/ 3624 h 3641849"/>
                <a:gd name="connsiteX51" fmla="*/ 420483 w 1573156"/>
                <a:gd name="connsiteY51" fmla="*/ 57924 h 3641849"/>
                <a:gd name="connsiteX52" fmla="*/ 450963 w 1573156"/>
                <a:gd name="connsiteY52" fmla="*/ 161352 h 3641849"/>
                <a:gd name="connsiteX53" fmla="*/ 464819 w 1573156"/>
                <a:gd name="connsiteY53" fmla="*/ 184622 h 3641849"/>
                <a:gd name="connsiteX54" fmla="*/ 475903 w 1573156"/>
                <a:gd name="connsiteY54" fmla="*/ 187208 h 3641849"/>
                <a:gd name="connsiteX55" fmla="*/ 589515 w 1573156"/>
                <a:gd name="connsiteY55" fmla="*/ 156181 h 3641849"/>
                <a:gd name="connsiteX56" fmla="*/ 656020 w 1573156"/>
                <a:gd name="connsiteY56" fmla="*/ 166522 h 3641849"/>
                <a:gd name="connsiteX57" fmla="*/ 719754 w 1573156"/>
                <a:gd name="connsiteY57" fmla="*/ 213065 h 3641849"/>
                <a:gd name="connsiteX58" fmla="*/ 733781 w 1573156"/>
                <a:gd name="connsiteY58" fmla="*/ 242621 h 3641849"/>
                <a:gd name="connsiteX59" fmla="*/ 789028 w 1573156"/>
                <a:gd name="connsiteY59" fmla="*/ 277708 h 3641849"/>
                <a:gd name="connsiteX60" fmla="*/ 877702 w 1573156"/>
                <a:gd name="connsiteY60" fmla="*/ 303563 h 3641849"/>
                <a:gd name="connsiteX61" fmla="*/ 949748 w 1573156"/>
                <a:gd name="connsiteY61" fmla="*/ 350106 h 3641849"/>
                <a:gd name="connsiteX62" fmla="*/ 999627 w 1573156"/>
                <a:gd name="connsiteY62" fmla="*/ 401820 h 3641849"/>
                <a:gd name="connsiteX63" fmla="*/ 1024566 w 1573156"/>
                <a:gd name="connsiteY63" fmla="*/ 440606 h 3641849"/>
                <a:gd name="connsiteX64" fmla="*/ 1057819 w 1573156"/>
                <a:gd name="connsiteY64" fmla="*/ 466462 h 3641849"/>
                <a:gd name="connsiteX65" fmla="*/ 1041191 w 1573156"/>
                <a:gd name="connsiteY65" fmla="*/ 691417 h 3641849"/>
                <a:gd name="connsiteX66" fmla="*/ 913725 w 1573156"/>
                <a:gd name="connsiteY66" fmla="*/ 771575 h 3641849"/>
                <a:gd name="connsiteX67" fmla="*/ 800113 w 1573156"/>
                <a:gd name="connsiteY67" fmla="*/ 779331 h 3641849"/>
                <a:gd name="connsiteX68" fmla="*/ 661560 w 1573156"/>
                <a:gd name="connsiteY68" fmla="*/ 758645 h 3641849"/>
                <a:gd name="connsiteX69" fmla="*/ 570116 w 1573156"/>
                <a:gd name="connsiteY69" fmla="*/ 722445 h 3641849"/>
                <a:gd name="connsiteX70" fmla="*/ 550719 w 1573156"/>
                <a:gd name="connsiteY70" fmla="*/ 750888 h 3641849"/>
                <a:gd name="connsiteX71" fmla="*/ 581361 w 1573156"/>
                <a:gd name="connsiteY71" fmla="*/ 824301 h 3641849"/>
                <a:gd name="connsiteX72" fmla="*/ 586902 w 1573156"/>
                <a:gd name="connsiteY72" fmla="*/ 951000 h 3641849"/>
                <a:gd name="connsiteX73" fmla="*/ 559032 w 1573156"/>
                <a:gd name="connsiteY73" fmla="*/ 1012043 h 3641849"/>
                <a:gd name="connsiteX74" fmla="*/ 614451 w 1573156"/>
                <a:gd name="connsiteY74" fmla="*/ 1032728 h 3641849"/>
                <a:gd name="connsiteX75" fmla="*/ 631079 w 1573156"/>
                <a:gd name="connsiteY75" fmla="*/ 1048242 h 3641849"/>
                <a:gd name="connsiteX76" fmla="*/ 656019 w 1573156"/>
                <a:gd name="connsiteY76" fmla="*/ 1074099 h 3641849"/>
                <a:gd name="connsiteX77" fmla="*/ 653248 w 1573156"/>
                <a:gd name="connsiteY77" fmla="*/ 1076685 h 3641849"/>
                <a:gd name="connsiteX78" fmla="*/ 692041 w 1573156"/>
                <a:gd name="connsiteY78" fmla="*/ 1071514 h 3641849"/>
                <a:gd name="connsiteX79" fmla="*/ 700355 w 1573156"/>
                <a:gd name="connsiteY79" fmla="*/ 1035314 h 3641849"/>
                <a:gd name="connsiteX80" fmla="*/ 661560 w 1573156"/>
                <a:gd name="connsiteY80" fmla="*/ 957743 h 3641849"/>
                <a:gd name="connsiteX81" fmla="*/ 730836 w 1573156"/>
                <a:gd name="connsiteY81" fmla="*/ 911200 h 3641849"/>
                <a:gd name="connsiteX82" fmla="*/ 798608 w 1573156"/>
                <a:gd name="connsiteY82" fmla="*/ 918934 h 3641849"/>
                <a:gd name="connsiteX83" fmla="*/ 822441 w 1573156"/>
                <a:gd name="connsiteY83" fmla="*/ 951001 h 3641849"/>
                <a:gd name="connsiteX84" fmla="*/ 978170 w 1573156"/>
                <a:gd name="connsiteY84" fmla="*/ 1007364 h 3641849"/>
                <a:gd name="connsiteX85" fmla="*/ 963762 w 1573156"/>
                <a:gd name="connsiteY85" fmla="*/ 971687 h 3641849"/>
                <a:gd name="connsiteX86" fmla="*/ 930510 w 1573156"/>
                <a:gd name="connsiteY86" fmla="*/ 932901 h 3641849"/>
                <a:gd name="connsiteX87" fmla="*/ 919426 w 1573156"/>
                <a:gd name="connsiteY87" fmla="*/ 881187 h 3641849"/>
                <a:gd name="connsiteX88" fmla="*/ 958221 w 1573156"/>
                <a:gd name="connsiteY88" fmla="*/ 832060 h 3641849"/>
                <a:gd name="connsiteX89" fmla="*/ 985931 w 1573156"/>
                <a:gd name="connsiteY89" fmla="*/ 803617 h 3641849"/>
                <a:gd name="connsiteX90" fmla="*/ 1010871 w 1573156"/>
                <a:gd name="connsiteY90" fmla="*/ 767417 h 3641849"/>
                <a:gd name="connsiteX91" fmla="*/ 1091231 w 1573156"/>
                <a:gd name="connsiteY91" fmla="*/ 762245 h 3641849"/>
                <a:gd name="connsiteX92" fmla="*/ 1096772 w 1573156"/>
                <a:gd name="connsiteY92" fmla="*/ 741560 h 3641849"/>
                <a:gd name="connsiteX93" fmla="*/ 1121712 w 1573156"/>
                <a:gd name="connsiteY93" fmla="*/ 705360 h 3641849"/>
                <a:gd name="connsiteX94" fmla="*/ 1155516 w 1573156"/>
                <a:gd name="connsiteY94" fmla="*/ 687772 h 3641849"/>
                <a:gd name="connsiteX95" fmla="*/ 1213156 w 1573156"/>
                <a:gd name="connsiteY95" fmla="*/ 700189 h 3641849"/>
                <a:gd name="connsiteX96" fmla="*/ 1251949 w 1573156"/>
                <a:gd name="connsiteY96" fmla="*/ 720875 h 3641849"/>
                <a:gd name="connsiteX97" fmla="*/ 1299057 w 1573156"/>
                <a:gd name="connsiteY97" fmla="*/ 728632 h 3641849"/>
                <a:gd name="connsiteX98" fmla="*/ 1299057 w 1573156"/>
                <a:gd name="connsiteY98" fmla="*/ 733803 h 3641849"/>
                <a:gd name="connsiteX99" fmla="*/ 1321226 w 1573156"/>
                <a:gd name="connsiteY99" fmla="*/ 674332 h 3641849"/>
                <a:gd name="connsiteX100" fmla="*/ 1331201 w 1573156"/>
                <a:gd name="connsiteY100" fmla="*/ 640714 h 3641849"/>
                <a:gd name="connsiteX101" fmla="*/ 1337852 w 1573156"/>
                <a:gd name="connsiteY101" fmla="*/ 622618 h 3641849"/>
                <a:gd name="connsiteX102" fmla="*/ 1340789 w 1573156"/>
                <a:gd name="connsiteY102" fmla="*/ 591288 h 3641849"/>
                <a:gd name="connsiteX103" fmla="*/ 1260263 w 1573156"/>
                <a:gd name="connsiteY103" fmla="*/ 545048 h 3641849"/>
                <a:gd name="connsiteX104" fmla="*/ 1246408 w 1573156"/>
                <a:gd name="connsiteY104" fmla="*/ 472648 h 3641849"/>
                <a:gd name="connsiteX105" fmla="*/ 1246408 w 1573156"/>
                <a:gd name="connsiteY105" fmla="*/ 454548 h 3641849"/>
                <a:gd name="connsiteX106" fmla="*/ 1257491 w 1573156"/>
                <a:gd name="connsiteY106" fmla="*/ 431276 h 3641849"/>
                <a:gd name="connsiteX107" fmla="*/ 1260263 w 1573156"/>
                <a:gd name="connsiteY107" fmla="*/ 415762 h 3641849"/>
                <a:gd name="connsiteX108" fmla="*/ 1260262 w 1573156"/>
                <a:gd name="connsiteY108" fmla="*/ 358878 h 3641849"/>
                <a:gd name="connsiteX109" fmla="*/ 1238094 w 1573156"/>
                <a:gd name="connsiteY109" fmla="*/ 335607 h 3641849"/>
                <a:gd name="connsiteX110" fmla="*/ 1210384 w 1573156"/>
                <a:gd name="connsiteY110" fmla="*/ 304578 h 3641849"/>
                <a:gd name="connsiteX111" fmla="*/ 1206216 w 1573156"/>
                <a:gd name="connsiteY111" fmla="*/ 280325 h 3641849"/>
                <a:gd name="connsiteX112" fmla="*/ 1257492 w 1573156"/>
                <a:gd name="connsiteY112" fmla="*/ 258034 h 3641849"/>
                <a:gd name="connsiteX113" fmla="*/ 1311072 w 1573156"/>
                <a:gd name="connsiteY113" fmla="*/ 267906 h 3641849"/>
                <a:gd name="connsiteX114" fmla="*/ 1389856 w 1573156"/>
                <a:gd name="connsiteY114" fmla="*/ 279816 h 3641849"/>
                <a:gd name="connsiteX115" fmla="*/ 1474179 w 1573156"/>
                <a:gd name="connsiteY115" fmla="*/ 349175 h 3641849"/>
                <a:gd name="connsiteX116" fmla="*/ 1536314 w 1573156"/>
                <a:gd name="connsiteY116" fmla="*/ 425271 h 3641849"/>
                <a:gd name="connsiteX117" fmla="*/ 1435343 w 1573156"/>
                <a:gd name="connsiteY117" fmla="*/ 454265 h 3641849"/>
                <a:gd name="connsiteX118" fmla="*/ 1419809 w 1573156"/>
                <a:gd name="connsiteY118" fmla="*/ 501372 h 3641849"/>
                <a:gd name="connsiteX119" fmla="*/ 1477479 w 1573156"/>
                <a:gd name="connsiteY119" fmla="*/ 585862 h 3641849"/>
                <a:gd name="connsiteX120" fmla="*/ 1513013 w 1573156"/>
                <a:gd name="connsiteY120" fmla="*/ 591964 h 3641849"/>
                <a:gd name="connsiteX121" fmla="*/ 1565633 w 1573156"/>
                <a:gd name="connsiteY121" fmla="*/ 598304 h 3641849"/>
                <a:gd name="connsiteX122" fmla="*/ 1560670 w 1573156"/>
                <a:gd name="connsiteY122" fmla="*/ 709079 h 3641849"/>
                <a:gd name="connsiteX123" fmla="*/ 1571739 w 1573156"/>
                <a:gd name="connsiteY123" fmla="*/ 1040047 h 3641849"/>
                <a:gd name="connsiteX124" fmla="*/ 1562871 w 1573156"/>
                <a:gd name="connsiteY124" fmla="*/ 1842646 h 3641849"/>
                <a:gd name="connsiteX125" fmla="*/ 1571738 w 1573156"/>
                <a:gd name="connsiteY125" fmla="*/ 2297728 h 3641849"/>
                <a:gd name="connsiteX126" fmla="*/ 1545290 w 1573156"/>
                <a:gd name="connsiteY126" fmla="*/ 3607693 h 3641849"/>
                <a:gd name="connsiteX127" fmla="*/ 1286863 w 1573156"/>
                <a:gd name="connsiteY127" fmla="*/ 3564098 h 3641849"/>
                <a:gd name="connsiteX128" fmla="*/ 1118385 w 1573156"/>
                <a:gd name="connsiteY128" fmla="*/ 3497903 h 3641849"/>
                <a:gd name="connsiteX129" fmla="*/ 941039 w 1573156"/>
                <a:gd name="connsiteY129" fmla="*/ 3406887 h 3641849"/>
                <a:gd name="connsiteX130" fmla="*/ 842741 w 1573156"/>
                <a:gd name="connsiteY130" fmla="*/ 3326370 h 3641849"/>
                <a:gd name="connsiteX131" fmla="*/ 1137003 w 1573156"/>
                <a:gd name="connsiteY131" fmla="*/ 3018734 h 3641849"/>
                <a:gd name="connsiteX132" fmla="*/ 853249 w 1573156"/>
                <a:gd name="connsiteY132" fmla="*/ 2480910 h 3641849"/>
                <a:gd name="connsiteX133" fmla="*/ 557777 w 1573156"/>
                <a:gd name="connsiteY133" fmla="*/ 2715007 h 3641849"/>
                <a:gd name="connsiteX134" fmla="*/ 531809 w 1573156"/>
                <a:gd name="connsiteY134" fmla="*/ 2657256 h 3641849"/>
                <a:gd name="connsiteX135" fmla="*/ 660385 w 1573156"/>
                <a:gd name="connsiteY135" fmla="*/ 2391963 h 3641849"/>
                <a:gd name="connsiteX136" fmla="*/ 136108 w 1573156"/>
                <a:gd name="connsiteY136" fmla="*/ 2193381 h 3641849"/>
                <a:gd name="connsiteX0" fmla="*/ 136108 w 1573156"/>
                <a:gd name="connsiteY0" fmla="*/ 2193381 h 3641849"/>
                <a:gd name="connsiteX1" fmla="*/ 101813 w 1573156"/>
                <a:gd name="connsiteY1" fmla="*/ 2041150 h 3641849"/>
                <a:gd name="connsiteX2" fmla="*/ 118439 w 1573156"/>
                <a:gd name="connsiteY2" fmla="*/ 1992023 h 3641849"/>
                <a:gd name="connsiteX3" fmla="*/ 82416 w 1573156"/>
                <a:gd name="connsiteY3" fmla="*/ 1963580 h 3641849"/>
                <a:gd name="connsiteX4" fmla="*/ 51935 w 1573156"/>
                <a:gd name="connsiteY4" fmla="*/ 1927380 h 3641849"/>
                <a:gd name="connsiteX5" fmla="*/ 40850 w 1573156"/>
                <a:gd name="connsiteY5" fmla="*/ 1893766 h 3641849"/>
                <a:gd name="connsiteX6" fmla="*/ 43621 w 1573156"/>
                <a:gd name="connsiteY6" fmla="*/ 1844639 h 3641849"/>
                <a:gd name="connsiteX7" fmla="*/ 82416 w 1573156"/>
                <a:gd name="connsiteY7" fmla="*/ 1826538 h 3641849"/>
                <a:gd name="connsiteX8" fmla="*/ 112899 w 1573156"/>
                <a:gd name="connsiteY8" fmla="*/ 1782581 h 3641849"/>
                <a:gd name="connsiteX9" fmla="*/ 96271 w 1573156"/>
                <a:gd name="connsiteY9" fmla="*/ 1754138 h 3641849"/>
                <a:gd name="connsiteX10" fmla="*/ 40851 w 1573156"/>
                <a:gd name="connsiteY10" fmla="*/ 1746381 h 3641849"/>
                <a:gd name="connsiteX11" fmla="*/ 2057 w 1573156"/>
                <a:gd name="connsiteY11" fmla="*/ 1730867 h 3641849"/>
                <a:gd name="connsiteX12" fmla="*/ 38079 w 1573156"/>
                <a:gd name="connsiteY12" fmla="*/ 1689496 h 3641849"/>
                <a:gd name="connsiteX13" fmla="*/ 18683 w 1573156"/>
                <a:gd name="connsiteY13" fmla="*/ 1679153 h 3641849"/>
                <a:gd name="connsiteX14" fmla="*/ 2055 w 1573156"/>
                <a:gd name="connsiteY14" fmla="*/ 1640367 h 3641849"/>
                <a:gd name="connsiteX15" fmla="*/ 65790 w 1573156"/>
                <a:gd name="connsiteY15" fmla="*/ 1650711 h 3641849"/>
                <a:gd name="connsiteX16" fmla="*/ 93501 w 1573156"/>
                <a:gd name="connsiteY16" fmla="*/ 1627440 h 3641849"/>
                <a:gd name="connsiteX17" fmla="*/ 187716 w 1573156"/>
                <a:gd name="connsiteY17" fmla="*/ 1536941 h 3641849"/>
                <a:gd name="connsiteX18" fmla="*/ 212655 w 1573156"/>
                <a:gd name="connsiteY18" fmla="*/ 1505912 h 3641849"/>
                <a:gd name="connsiteX19" fmla="*/ 198801 w 1573156"/>
                <a:gd name="connsiteY19" fmla="*/ 1555040 h 3641849"/>
                <a:gd name="connsiteX20" fmla="*/ 218197 w 1573156"/>
                <a:gd name="connsiteY20" fmla="*/ 1588655 h 3641849"/>
                <a:gd name="connsiteX21" fmla="*/ 262534 w 1573156"/>
                <a:gd name="connsiteY21" fmla="*/ 1666225 h 3641849"/>
                <a:gd name="connsiteX22" fmla="*/ 331810 w 1573156"/>
                <a:gd name="connsiteY22" fmla="*/ 1653297 h 3641849"/>
                <a:gd name="connsiteX23" fmla="*/ 351206 w 1573156"/>
                <a:gd name="connsiteY23" fmla="*/ 1622268 h 3641849"/>
                <a:gd name="connsiteX24" fmla="*/ 365062 w 1573156"/>
                <a:gd name="connsiteY24" fmla="*/ 1557627 h 3641849"/>
                <a:gd name="connsiteX25" fmla="*/ 304099 w 1573156"/>
                <a:gd name="connsiteY25" fmla="*/ 1511084 h 3641849"/>
                <a:gd name="connsiteX26" fmla="*/ 259763 w 1573156"/>
                <a:gd name="connsiteY26" fmla="*/ 1485227 h 3641849"/>
                <a:gd name="connsiteX27" fmla="*/ 198801 w 1573156"/>
                <a:gd name="connsiteY27" fmla="*/ 1495570 h 3641849"/>
                <a:gd name="connsiteX28" fmla="*/ 376147 w 1573156"/>
                <a:gd name="connsiteY28" fmla="*/ 1299057 h 3641849"/>
                <a:gd name="connsiteX29" fmla="*/ 223740 w 1573156"/>
                <a:gd name="connsiteY29" fmla="*/ 1151672 h 3641849"/>
                <a:gd name="connsiteX30" fmla="*/ 284703 w 1573156"/>
                <a:gd name="connsiteY30" fmla="*/ 1089617 h 3641849"/>
                <a:gd name="connsiteX31" fmla="*/ 218198 w 1573156"/>
                <a:gd name="connsiteY31" fmla="*/ 1050829 h 3641849"/>
                <a:gd name="connsiteX32" fmla="*/ 259763 w 1573156"/>
                <a:gd name="connsiteY32" fmla="*/ 1019802 h 3641849"/>
                <a:gd name="connsiteX33" fmla="*/ 212657 w 1573156"/>
                <a:gd name="connsiteY33" fmla="*/ 993947 h 3641849"/>
                <a:gd name="connsiteX34" fmla="*/ 212656 w 1573156"/>
                <a:gd name="connsiteY34" fmla="*/ 794845 h 3641849"/>
                <a:gd name="connsiteX35" fmla="*/ 251451 w 1573156"/>
                <a:gd name="connsiteY35" fmla="*/ 779332 h 3641849"/>
                <a:gd name="connsiteX36" fmla="*/ 137838 w 1573156"/>
                <a:gd name="connsiteY36" fmla="*/ 551792 h 3641849"/>
                <a:gd name="connsiteX37" fmla="*/ 135067 w 1573156"/>
                <a:gd name="connsiteY37" fmla="*/ 551792 h 3641849"/>
                <a:gd name="connsiteX38" fmla="*/ 184945 w 1573156"/>
                <a:gd name="connsiteY38" fmla="*/ 469048 h 3641849"/>
                <a:gd name="connsiteX39" fmla="*/ 201571 w 1573156"/>
                <a:gd name="connsiteY39" fmla="*/ 378550 h 3641849"/>
                <a:gd name="connsiteX40" fmla="*/ 126752 w 1573156"/>
                <a:gd name="connsiteY40" fmla="*/ 319079 h 3641849"/>
                <a:gd name="connsiteX41" fmla="*/ 118440 w 1573156"/>
                <a:gd name="connsiteY41" fmla="*/ 251851 h 3641849"/>
                <a:gd name="connsiteX42" fmla="*/ 173860 w 1573156"/>
                <a:gd name="connsiteY42" fmla="*/ 158764 h 3641849"/>
                <a:gd name="connsiteX43" fmla="*/ 193258 w 1573156"/>
                <a:gd name="connsiteY43" fmla="*/ 135494 h 3641849"/>
                <a:gd name="connsiteX44" fmla="*/ 207113 w 1573156"/>
                <a:gd name="connsiteY44" fmla="*/ 117394 h 3641849"/>
                <a:gd name="connsiteX45" fmla="*/ 215426 w 1573156"/>
                <a:gd name="connsiteY45" fmla="*/ 73438 h 3641849"/>
                <a:gd name="connsiteX46" fmla="*/ 240365 w 1573156"/>
                <a:gd name="connsiteY46" fmla="*/ 101880 h 3641849"/>
                <a:gd name="connsiteX47" fmla="*/ 270847 w 1573156"/>
                <a:gd name="connsiteY47" fmla="*/ 88952 h 3641849"/>
                <a:gd name="connsiteX48" fmla="*/ 273617 w 1573156"/>
                <a:gd name="connsiteY48" fmla="*/ 63095 h 3641849"/>
                <a:gd name="connsiteX49" fmla="*/ 281931 w 1573156"/>
                <a:gd name="connsiteY49" fmla="*/ 34652 h 3641849"/>
                <a:gd name="connsiteX50" fmla="*/ 284703 w 1573156"/>
                <a:gd name="connsiteY50" fmla="*/ 3624 h 3641849"/>
                <a:gd name="connsiteX51" fmla="*/ 420483 w 1573156"/>
                <a:gd name="connsiteY51" fmla="*/ 57924 h 3641849"/>
                <a:gd name="connsiteX52" fmla="*/ 450963 w 1573156"/>
                <a:gd name="connsiteY52" fmla="*/ 161352 h 3641849"/>
                <a:gd name="connsiteX53" fmla="*/ 464819 w 1573156"/>
                <a:gd name="connsiteY53" fmla="*/ 184622 h 3641849"/>
                <a:gd name="connsiteX54" fmla="*/ 475903 w 1573156"/>
                <a:gd name="connsiteY54" fmla="*/ 187208 h 3641849"/>
                <a:gd name="connsiteX55" fmla="*/ 589515 w 1573156"/>
                <a:gd name="connsiteY55" fmla="*/ 156181 h 3641849"/>
                <a:gd name="connsiteX56" fmla="*/ 656020 w 1573156"/>
                <a:gd name="connsiteY56" fmla="*/ 166522 h 3641849"/>
                <a:gd name="connsiteX57" fmla="*/ 719754 w 1573156"/>
                <a:gd name="connsiteY57" fmla="*/ 213065 h 3641849"/>
                <a:gd name="connsiteX58" fmla="*/ 733781 w 1573156"/>
                <a:gd name="connsiteY58" fmla="*/ 242621 h 3641849"/>
                <a:gd name="connsiteX59" fmla="*/ 789028 w 1573156"/>
                <a:gd name="connsiteY59" fmla="*/ 277708 h 3641849"/>
                <a:gd name="connsiteX60" fmla="*/ 877702 w 1573156"/>
                <a:gd name="connsiteY60" fmla="*/ 303563 h 3641849"/>
                <a:gd name="connsiteX61" fmla="*/ 949748 w 1573156"/>
                <a:gd name="connsiteY61" fmla="*/ 350106 h 3641849"/>
                <a:gd name="connsiteX62" fmla="*/ 999627 w 1573156"/>
                <a:gd name="connsiteY62" fmla="*/ 401820 h 3641849"/>
                <a:gd name="connsiteX63" fmla="*/ 1024566 w 1573156"/>
                <a:gd name="connsiteY63" fmla="*/ 440606 h 3641849"/>
                <a:gd name="connsiteX64" fmla="*/ 1057819 w 1573156"/>
                <a:gd name="connsiteY64" fmla="*/ 466462 h 3641849"/>
                <a:gd name="connsiteX65" fmla="*/ 1041191 w 1573156"/>
                <a:gd name="connsiteY65" fmla="*/ 691417 h 3641849"/>
                <a:gd name="connsiteX66" fmla="*/ 913725 w 1573156"/>
                <a:gd name="connsiteY66" fmla="*/ 771575 h 3641849"/>
                <a:gd name="connsiteX67" fmla="*/ 800113 w 1573156"/>
                <a:gd name="connsiteY67" fmla="*/ 779331 h 3641849"/>
                <a:gd name="connsiteX68" fmla="*/ 661560 w 1573156"/>
                <a:gd name="connsiteY68" fmla="*/ 758645 h 3641849"/>
                <a:gd name="connsiteX69" fmla="*/ 570116 w 1573156"/>
                <a:gd name="connsiteY69" fmla="*/ 722445 h 3641849"/>
                <a:gd name="connsiteX70" fmla="*/ 550719 w 1573156"/>
                <a:gd name="connsiteY70" fmla="*/ 750888 h 3641849"/>
                <a:gd name="connsiteX71" fmla="*/ 581361 w 1573156"/>
                <a:gd name="connsiteY71" fmla="*/ 824301 h 3641849"/>
                <a:gd name="connsiteX72" fmla="*/ 586902 w 1573156"/>
                <a:gd name="connsiteY72" fmla="*/ 951000 h 3641849"/>
                <a:gd name="connsiteX73" fmla="*/ 559032 w 1573156"/>
                <a:gd name="connsiteY73" fmla="*/ 1012043 h 3641849"/>
                <a:gd name="connsiteX74" fmla="*/ 614451 w 1573156"/>
                <a:gd name="connsiteY74" fmla="*/ 1032728 h 3641849"/>
                <a:gd name="connsiteX75" fmla="*/ 631079 w 1573156"/>
                <a:gd name="connsiteY75" fmla="*/ 1048242 h 3641849"/>
                <a:gd name="connsiteX76" fmla="*/ 656019 w 1573156"/>
                <a:gd name="connsiteY76" fmla="*/ 1074099 h 3641849"/>
                <a:gd name="connsiteX77" fmla="*/ 653248 w 1573156"/>
                <a:gd name="connsiteY77" fmla="*/ 1076685 h 3641849"/>
                <a:gd name="connsiteX78" fmla="*/ 692041 w 1573156"/>
                <a:gd name="connsiteY78" fmla="*/ 1071514 h 3641849"/>
                <a:gd name="connsiteX79" fmla="*/ 700355 w 1573156"/>
                <a:gd name="connsiteY79" fmla="*/ 1035314 h 3641849"/>
                <a:gd name="connsiteX80" fmla="*/ 661560 w 1573156"/>
                <a:gd name="connsiteY80" fmla="*/ 957743 h 3641849"/>
                <a:gd name="connsiteX81" fmla="*/ 730836 w 1573156"/>
                <a:gd name="connsiteY81" fmla="*/ 911200 h 3641849"/>
                <a:gd name="connsiteX82" fmla="*/ 798608 w 1573156"/>
                <a:gd name="connsiteY82" fmla="*/ 918934 h 3641849"/>
                <a:gd name="connsiteX83" fmla="*/ 822441 w 1573156"/>
                <a:gd name="connsiteY83" fmla="*/ 951001 h 3641849"/>
                <a:gd name="connsiteX84" fmla="*/ 978170 w 1573156"/>
                <a:gd name="connsiteY84" fmla="*/ 1007364 h 3641849"/>
                <a:gd name="connsiteX85" fmla="*/ 963762 w 1573156"/>
                <a:gd name="connsiteY85" fmla="*/ 971687 h 3641849"/>
                <a:gd name="connsiteX86" fmla="*/ 930510 w 1573156"/>
                <a:gd name="connsiteY86" fmla="*/ 932901 h 3641849"/>
                <a:gd name="connsiteX87" fmla="*/ 919426 w 1573156"/>
                <a:gd name="connsiteY87" fmla="*/ 881187 h 3641849"/>
                <a:gd name="connsiteX88" fmla="*/ 958221 w 1573156"/>
                <a:gd name="connsiteY88" fmla="*/ 832060 h 3641849"/>
                <a:gd name="connsiteX89" fmla="*/ 985931 w 1573156"/>
                <a:gd name="connsiteY89" fmla="*/ 803617 h 3641849"/>
                <a:gd name="connsiteX90" fmla="*/ 1010871 w 1573156"/>
                <a:gd name="connsiteY90" fmla="*/ 767417 h 3641849"/>
                <a:gd name="connsiteX91" fmla="*/ 1091231 w 1573156"/>
                <a:gd name="connsiteY91" fmla="*/ 762245 h 3641849"/>
                <a:gd name="connsiteX92" fmla="*/ 1096772 w 1573156"/>
                <a:gd name="connsiteY92" fmla="*/ 741560 h 3641849"/>
                <a:gd name="connsiteX93" fmla="*/ 1121712 w 1573156"/>
                <a:gd name="connsiteY93" fmla="*/ 705360 h 3641849"/>
                <a:gd name="connsiteX94" fmla="*/ 1155516 w 1573156"/>
                <a:gd name="connsiteY94" fmla="*/ 687772 h 3641849"/>
                <a:gd name="connsiteX95" fmla="*/ 1213156 w 1573156"/>
                <a:gd name="connsiteY95" fmla="*/ 700189 h 3641849"/>
                <a:gd name="connsiteX96" fmla="*/ 1251949 w 1573156"/>
                <a:gd name="connsiteY96" fmla="*/ 720875 h 3641849"/>
                <a:gd name="connsiteX97" fmla="*/ 1299057 w 1573156"/>
                <a:gd name="connsiteY97" fmla="*/ 728632 h 3641849"/>
                <a:gd name="connsiteX98" fmla="*/ 1299057 w 1573156"/>
                <a:gd name="connsiteY98" fmla="*/ 733803 h 3641849"/>
                <a:gd name="connsiteX99" fmla="*/ 1321226 w 1573156"/>
                <a:gd name="connsiteY99" fmla="*/ 674332 h 3641849"/>
                <a:gd name="connsiteX100" fmla="*/ 1331201 w 1573156"/>
                <a:gd name="connsiteY100" fmla="*/ 640714 h 3641849"/>
                <a:gd name="connsiteX101" fmla="*/ 1337852 w 1573156"/>
                <a:gd name="connsiteY101" fmla="*/ 622618 h 3641849"/>
                <a:gd name="connsiteX102" fmla="*/ 1340789 w 1573156"/>
                <a:gd name="connsiteY102" fmla="*/ 591288 h 3641849"/>
                <a:gd name="connsiteX103" fmla="*/ 1260263 w 1573156"/>
                <a:gd name="connsiteY103" fmla="*/ 545048 h 3641849"/>
                <a:gd name="connsiteX104" fmla="*/ 1246408 w 1573156"/>
                <a:gd name="connsiteY104" fmla="*/ 472648 h 3641849"/>
                <a:gd name="connsiteX105" fmla="*/ 1246408 w 1573156"/>
                <a:gd name="connsiteY105" fmla="*/ 454548 h 3641849"/>
                <a:gd name="connsiteX106" fmla="*/ 1257491 w 1573156"/>
                <a:gd name="connsiteY106" fmla="*/ 431276 h 3641849"/>
                <a:gd name="connsiteX107" fmla="*/ 1260263 w 1573156"/>
                <a:gd name="connsiteY107" fmla="*/ 415762 h 3641849"/>
                <a:gd name="connsiteX108" fmla="*/ 1260262 w 1573156"/>
                <a:gd name="connsiteY108" fmla="*/ 358878 h 3641849"/>
                <a:gd name="connsiteX109" fmla="*/ 1238094 w 1573156"/>
                <a:gd name="connsiteY109" fmla="*/ 335607 h 3641849"/>
                <a:gd name="connsiteX110" fmla="*/ 1210384 w 1573156"/>
                <a:gd name="connsiteY110" fmla="*/ 304578 h 3641849"/>
                <a:gd name="connsiteX111" fmla="*/ 1206216 w 1573156"/>
                <a:gd name="connsiteY111" fmla="*/ 280325 h 3641849"/>
                <a:gd name="connsiteX112" fmla="*/ 1257492 w 1573156"/>
                <a:gd name="connsiteY112" fmla="*/ 258034 h 3641849"/>
                <a:gd name="connsiteX113" fmla="*/ 1311072 w 1573156"/>
                <a:gd name="connsiteY113" fmla="*/ 267906 h 3641849"/>
                <a:gd name="connsiteX114" fmla="*/ 1389856 w 1573156"/>
                <a:gd name="connsiteY114" fmla="*/ 279816 h 3641849"/>
                <a:gd name="connsiteX115" fmla="*/ 1474179 w 1573156"/>
                <a:gd name="connsiteY115" fmla="*/ 349175 h 3641849"/>
                <a:gd name="connsiteX116" fmla="*/ 1536314 w 1573156"/>
                <a:gd name="connsiteY116" fmla="*/ 425271 h 3641849"/>
                <a:gd name="connsiteX117" fmla="*/ 1435343 w 1573156"/>
                <a:gd name="connsiteY117" fmla="*/ 454265 h 3641849"/>
                <a:gd name="connsiteX118" fmla="*/ 1419809 w 1573156"/>
                <a:gd name="connsiteY118" fmla="*/ 501372 h 3641849"/>
                <a:gd name="connsiteX119" fmla="*/ 1477479 w 1573156"/>
                <a:gd name="connsiteY119" fmla="*/ 585862 h 3641849"/>
                <a:gd name="connsiteX120" fmla="*/ 1513013 w 1573156"/>
                <a:gd name="connsiteY120" fmla="*/ 591964 h 3641849"/>
                <a:gd name="connsiteX121" fmla="*/ 1565633 w 1573156"/>
                <a:gd name="connsiteY121" fmla="*/ 598304 h 3641849"/>
                <a:gd name="connsiteX122" fmla="*/ 1560670 w 1573156"/>
                <a:gd name="connsiteY122" fmla="*/ 709079 h 3641849"/>
                <a:gd name="connsiteX123" fmla="*/ 1571739 w 1573156"/>
                <a:gd name="connsiteY123" fmla="*/ 1040047 h 3641849"/>
                <a:gd name="connsiteX124" fmla="*/ 1562871 w 1573156"/>
                <a:gd name="connsiteY124" fmla="*/ 1842646 h 3641849"/>
                <a:gd name="connsiteX125" fmla="*/ 1571738 w 1573156"/>
                <a:gd name="connsiteY125" fmla="*/ 2297728 h 3641849"/>
                <a:gd name="connsiteX126" fmla="*/ 1545290 w 1573156"/>
                <a:gd name="connsiteY126" fmla="*/ 3607693 h 3641849"/>
                <a:gd name="connsiteX127" fmla="*/ 1286863 w 1573156"/>
                <a:gd name="connsiteY127" fmla="*/ 3564098 h 3641849"/>
                <a:gd name="connsiteX128" fmla="*/ 1118385 w 1573156"/>
                <a:gd name="connsiteY128" fmla="*/ 3497903 h 3641849"/>
                <a:gd name="connsiteX129" fmla="*/ 941039 w 1573156"/>
                <a:gd name="connsiteY129" fmla="*/ 3406887 h 3641849"/>
                <a:gd name="connsiteX130" fmla="*/ 842741 w 1573156"/>
                <a:gd name="connsiteY130" fmla="*/ 3326370 h 3641849"/>
                <a:gd name="connsiteX131" fmla="*/ 1137003 w 1573156"/>
                <a:gd name="connsiteY131" fmla="*/ 3018734 h 3641849"/>
                <a:gd name="connsiteX132" fmla="*/ 853249 w 1573156"/>
                <a:gd name="connsiteY132" fmla="*/ 2480910 h 3641849"/>
                <a:gd name="connsiteX133" fmla="*/ 557777 w 1573156"/>
                <a:gd name="connsiteY133" fmla="*/ 2715007 h 3641849"/>
                <a:gd name="connsiteX134" fmla="*/ 531809 w 1573156"/>
                <a:gd name="connsiteY134" fmla="*/ 2657256 h 3641849"/>
                <a:gd name="connsiteX135" fmla="*/ 660385 w 1573156"/>
                <a:gd name="connsiteY135" fmla="*/ 2391963 h 3641849"/>
                <a:gd name="connsiteX136" fmla="*/ 136108 w 1573156"/>
                <a:gd name="connsiteY136" fmla="*/ 2193381 h 3641849"/>
                <a:gd name="connsiteX0" fmla="*/ 136108 w 1573156"/>
                <a:gd name="connsiteY0" fmla="*/ 2193381 h 3641849"/>
                <a:gd name="connsiteX1" fmla="*/ 74102 w 1573156"/>
                <a:gd name="connsiteY1" fmla="*/ 2030807 h 3641849"/>
                <a:gd name="connsiteX2" fmla="*/ 118439 w 1573156"/>
                <a:gd name="connsiteY2" fmla="*/ 1992023 h 3641849"/>
                <a:gd name="connsiteX3" fmla="*/ 82416 w 1573156"/>
                <a:gd name="connsiteY3" fmla="*/ 1963580 h 3641849"/>
                <a:gd name="connsiteX4" fmla="*/ 51935 w 1573156"/>
                <a:gd name="connsiteY4" fmla="*/ 1927380 h 3641849"/>
                <a:gd name="connsiteX5" fmla="*/ 40850 w 1573156"/>
                <a:gd name="connsiteY5" fmla="*/ 1893766 h 3641849"/>
                <a:gd name="connsiteX6" fmla="*/ 43621 w 1573156"/>
                <a:gd name="connsiteY6" fmla="*/ 1844639 h 3641849"/>
                <a:gd name="connsiteX7" fmla="*/ 82416 w 1573156"/>
                <a:gd name="connsiteY7" fmla="*/ 1826538 h 3641849"/>
                <a:gd name="connsiteX8" fmla="*/ 112899 w 1573156"/>
                <a:gd name="connsiteY8" fmla="*/ 1782581 h 3641849"/>
                <a:gd name="connsiteX9" fmla="*/ 96271 w 1573156"/>
                <a:gd name="connsiteY9" fmla="*/ 1754138 h 3641849"/>
                <a:gd name="connsiteX10" fmla="*/ 40851 w 1573156"/>
                <a:gd name="connsiteY10" fmla="*/ 1746381 h 3641849"/>
                <a:gd name="connsiteX11" fmla="*/ 2057 w 1573156"/>
                <a:gd name="connsiteY11" fmla="*/ 1730867 h 3641849"/>
                <a:gd name="connsiteX12" fmla="*/ 38079 w 1573156"/>
                <a:gd name="connsiteY12" fmla="*/ 1689496 h 3641849"/>
                <a:gd name="connsiteX13" fmla="*/ 18683 w 1573156"/>
                <a:gd name="connsiteY13" fmla="*/ 1679153 h 3641849"/>
                <a:gd name="connsiteX14" fmla="*/ 2055 w 1573156"/>
                <a:gd name="connsiteY14" fmla="*/ 1640367 h 3641849"/>
                <a:gd name="connsiteX15" fmla="*/ 65790 w 1573156"/>
                <a:gd name="connsiteY15" fmla="*/ 1650711 h 3641849"/>
                <a:gd name="connsiteX16" fmla="*/ 93501 w 1573156"/>
                <a:gd name="connsiteY16" fmla="*/ 1627440 h 3641849"/>
                <a:gd name="connsiteX17" fmla="*/ 187716 w 1573156"/>
                <a:gd name="connsiteY17" fmla="*/ 1536941 h 3641849"/>
                <a:gd name="connsiteX18" fmla="*/ 212655 w 1573156"/>
                <a:gd name="connsiteY18" fmla="*/ 1505912 h 3641849"/>
                <a:gd name="connsiteX19" fmla="*/ 198801 w 1573156"/>
                <a:gd name="connsiteY19" fmla="*/ 1555040 h 3641849"/>
                <a:gd name="connsiteX20" fmla="*/ 218197 w 1573156"/>
                <a:gd name="connsiteY20" fmla="*/ 1588655 h 3641849"/>
                <a:gd name="connsiteX21" fmla="*/ 262534 w 1573156"/>
                <a:gd name="connsiteY21" fmla="*/ 1666225 h 3641849"/>
                <a:gd name="connsiteX22" fmla="*/ 331810 w 1573156"/>
                <a:gd name="connsiteY22" fmla="*/ 1653297 h 3641849"/>
                <a:gd name="connsiteX23" fmla="*/ 351206 w 1573156"/>
                <a:gd name="connsiteY23" fmla="*/ 1622268 h 3641849"/>
                <a:gd name="connsiteX24" fmla="*/ 365062 w 1573156"/>
                <a:gd name="connsiteY24" fmla="*/ 1557627 h 3641849"/>
                <a:gd name="connsiteX25" fmla="*/ 304099 w 1573156"/>
                <a:gd name="connsiteY25" fmla="*/ 1511084 h 3641849"/>
                <a:gd name="connsiteX26" fmla="*/ 259763 w 1573156"/>
                <a:gd name="connsiteY26" fmla="*/ 1485227 h 3641849"/>
                <a:gd name="connsiteX27" fmla="*/ 198801 w 1573156"/>
                <a:gd name="connsiteY27" fmla="*/ 1495570 h 3641849"/>
                <a:gd name="connsiteX28" fmla="*/ 376147 w 1573156"/>
                <a:gd name="connsiteY28" fmla="*/ 1299057 h 3641849"/>
                <a:gd name="connsiteX29" fmla="*/ 223740 w 1573156"/>
                <a:gd name="connsiteY29" fmla="*/ 1151672 h 3641849"/>
                <a:gd name="connsiteX30" fmla="*/ 284703 w 1573156"/>
                <a:gd name="connsiteY30" fmla="*/ 1089617 h 3641849"/>
                <a:gd name="connsiteX31" fmla="*/ 218198 w 1573156"/>
                <a:gd name="connsiteY31" fmla="*/ 1050829 h 3641849"/>
                <a:gd name="connsiteX32" fmla="*/ 259763 w 1573156"/>
                <a:gd name="connsiteY32" fmla="*/ 1019802 h 3641849"/>
                <a:gd name="connsiteX33" fmla="*/ 212657 w 1573156"/>
                <a:gd name="connsiteY33" fmla="*/ 993947 h 3641849"/>
                <a:gd name="connsiteX34" fmla="*/ 212656 w 1573156"/>
                <a:gd name="connsiteY34" fmla="*/ 794845 h 3641849"/>
                <a:gd name="connsiteX35" fmla="*/ 251451 w 1573156"/>
                <a:gd name="connsiteY35" fmla="*/ 779332 h 3641849"/>
                <a:gd name="connsiteX36" fmla="*/ 137838 w 1573156"/>
                <a:gd name="connsiteY36" fmla="*/ 551792 h 3641849"/>
                <a:gd name="connsiteX37" fmla="*/ 135067 w 1573156"/>
                <a:gd name="connsiteY37" fmla="*/ 551792 h 3641849"/>
                <a:gd name="connsiteX38" fmla="*/ 184945 w 1573156"/>
                <a:gd name="connsiteY38" fmla="*/ 469048 h 3641849"/>
                <a:gd name="connsiteX39" fmla="*/ 201571 w 1573156"/>
                <a:gd name="connsiteY39" fmla="*/ 378550 h 3641849"/>
                <a:gd name="connsiteX40" fmla="*/ 126752 w 1573156"/>
                <a:gd name="connsiteY40" fmla="*/ 319079 h 3641849"/>
                <a:gd name="connsiteX41" fmla="*/ 118440 w 1573156"/>
                <a:gd name="connsiteY41" fmla="*/ 251851 h 3641849"/>
                <a:gd name="connsiteX42" fmla="*/ 173860 w 1573156"/>
                <a:gd name="connsiteY42" fmla="*/ 158764 h 3641849"/>
                <a:gd name="connsiteX43" fmla="*/ 193258 w 1573156"/>
                <a:gd name="connsiteY43" fmla="*/ 135494 h 3641849"/>
                <a:gd name="connsiteX44" fmla="*/ 207113 w 1573156"/>
                <a:gd name="connsiteY44" fmla="*/ 117394 h 3641849"/>
                <a:gd name="connsiteX45" fmla="*/ 215426 w 1573156"/>
                <a:gd name="connsiteY45" fmla="*/ 73438 h 3641849"/>
                <a:gd name="connsiteX46" fmla="*/ 240365 w 1573156"/>
                <a:gd name="connsiteY46" fmla="*/ 101880 h 3641849"/>
                <a:gd name="connsiteX47" fmla="*/ 270847 w 1573156"/>
                <a:gd name="connsiteY47" fmla="*/ 88952 h 3641849"/>
                <a:gd name="connsiteX48" fmla="*/ 273617 w 1573156"/>
                <a:gd name="connsiteY48" fmla="*/ 63095 h 3641849"/>
                <a:gd name="connsiteX49" fmla="*/ 281931 w 1573156"/>
                <a:gd name="connsiteY49" fmla="*/ 34652 h 3641849"/>
                <a:gd name="connsiteX50" fmla="*/ 284703 w 1573156"/>
                <a:gd name="connsiteY50" fmla="*/ 3624 h 3641849"/>
                <a:gd name="connsiteX51" fmla="*/ 420483 w 1573156"/>
                <a:gd name="connsiteY51" fmla="*/ 57924 h 3641849"/>
                <a:gd name="connsiteX52" fmla="*/ 450963 w 1573156"/>
                <a:gd name="connsiteY52" fmla="*/ 161352 h 3641849"/>
                <a:gd name="connsiteX53" fmla="*/ 464819 w 1573156"/>
                <a:gd name="connsiteY53" fmla="*/ 184622 h 3641849"/>
                <a:gd name="connsiteX54" fmla="*/ 475903 w 1573156"/>
                <a:gd name="connsiteY54" fmla="*/ 187208 h 3641849"/>
                <a:gd name="connsiteX55" fmla="*/ 589515 w 1573156"/>
                <a:gd name="connsiteY55" fmla="*/ 156181 h 3641849"/>
                <a:gd name="connsiteX56" fmla="*/ 656020 w 1573156"/>
                <a:gd name="connsiteY56" fmla="*/ 166522 h 3641849"/>
                <a:gd name="connsiteX57" fmla="*/ 719754 w 1573156"/>
                <a:gd name="connsiteY57" fmla="*/ 213065 h 3641849"/>
                <a:gd name="connsiteX58" fmla="*/ 733781 w 1573156"/>
                <a:gd name="connsiteY58" fmla="*/ 242621 h 3641849"/>
                <a:gd name="connsiteX59" fmla="*/ 789028 w 1573156"/>
                <a:gd name="connsiteY59" fmla="*/ 277708 h 3641849"/>
                <a:gd name="connsiteX60" fmla="*/ 877702 w 1573156"/>
                <a:gd name="connsiteY60" fmla="*/ 303563 h 3641849"/>
                <a:gd name="connsiteX61" fmla="*/ 949748 w 1573156"/>
                <a:gd name="connsiteY61" fmla="*/ 350106 h 3641849"/>
                <a:gd name="connsiteX62" fmla="*/ 999627 w 1573156"/>
                <a:gd name="connsiteY62" fmla="*/ 401820 h 3641849"/>
                <a:gd name="connsiteX63" fmla="*/ 1024566 w 1573156"/>
                <a:gd name="connsiteY63" fmla="*/ 440606 h 3641849"/>
                <a:gd name="connsiteX64" fmla="*/ 1057819 w 1573156"/>
                <a:gd name="connsiteY64" fmla="*/ 466462 h 3641849"/>
                <a:gd name="connsiteX65" fmla="*/ 1041191 w 1573156"/>
                <a:gd name="connsiteY65" fmla="*/ 691417 h 3641849"/>
                <a:gd name="connsiteX66" fmla="*/ 913725 w 1573156"/>
                <a:gd name="connsiteY66" fmla="*/ 771575 h 3641849"/>
                <a:gd name="connsiteX67" fmla="*/ 800113 w 1573156"/>
                <a:gd name="connsiteY67" fmla="*/ 779331 h 3641849"/>
                <a:gd name="connsiteX68" fmla="*/ 661560 w 1573156"/>
                <a:gd name="connsiteY68" fmla="*/ 758645 h 3641849"/>
                <a:gd name="connsiteX69" fmla="*/ 570116 w 1573156"/>
                <a:gd name="connsiteY69" fmla="*/ 722445 h 3641849"/>
                <a:gd name="connsiteX70" fmla="*/ 550719 w 1573156"/>
                <a:gd name="connsiteY70" fmla="*/ 750888 h 3641849"/>
                <a:gd name="connsiteX71" fmla="*/ 581361 w 1573156"/>
                <a:gd name="connsiteY71" fmla="*/ 824301 h 3641849"/>
                <a:gd name="connsiteX72" fmla="*/ 586902 w 1573156"/>
                <a:gd name="connsiteY72" fmla="*/ 951000 h 3641849"/>
                <a:gd name="connsiteX73" fmla="*/ 559032 w 1573156"/>
                <a:gd name="connsiteY73" fmla="*/ 1012043 h 3641849"/>
                <a:gd name="connsiteX74" fmla="*/ 614451 w 1573156"/>
                <a:gd name="connsiteY74" fmla="*/ 1032728 h 3641849"/>
                <a:gd name="connsiteX75" fmla="*/ 631079 w 1573156"/>
                <a:gd name="connsiteY75" fmla="*/ 1048242 h 3641849"/>
                <a:gd name="connsiteX76" fmla="*/ 656019 w 1573156"/>
                <a:gd name="connsiteY76" fmla="*/ 1074099 h 3641849"/>
                <a:gd name="connsiteX77" fmla="*/ 653248 w 1573156"/>
                <a:gd name="connsiteY77" fmla="*/ 1076685 h 3641849"/>
                <a:gd name="connsiteX78" fmla="*/ 692041 w 1573156"/>
                <a:gd name="connsiteY78" fmla="*/ 1071514 h 3641849"/>
                <a:gd name="connsiteX79" fmla="*/ 700355 w 1573156"/>
                <a:gd name="connsiteY79" fmla="*/ 1035314 h 3641849"/>
                <a:gd name="connsiteX80" fmla="*/ 661560 w 1573156"/>
                <a:gd name="connsiteY80" fmla="*/ 957743 h 3641849"/>
                <a:gd name="connsiteX81" fmla="*/ 730836 w 1573156"/>
                <a:gd name="connsiteY81" fmla="*/ 911200 h 3641849"/>
                <a:gd name="connsiteX82" fmla="*/ 798608 w 1573156"/>
                <a:gd name="connsiteY82" fmla="*/ 918934 h 3641849"/>
                <a:gd name="connsiteX83" fmla="*/ 822441 w 1573156"/>
                <a:gd name="connsiteY83" fmla="*/ 951001 h 3641849"/>
                <a:gd name="connsiteX84" fmla="*/ 978170 w 1573156"/>
                <a:gd name="connsiteY84" fmla="*/ 1007364 h 3641849"/>
                <a:gd name="connsiteX85" fmla="*/ 963762 w 1573156"/>
                <a:gd name="connsiteY85" fmla="*/ 971687 h 3641849"/>
                <a:gd name="connsiteX86" fmla="*/ 930510 w 1573156"/>
                <a:gd name="connsiteY86" fmla="*/ 932901 h 3641849"/>
                <a:gd name="connsiteX87" fmla="*/ 919426 w 1573156"/>
                <a:gd name="connsiteY87" fmla="*/ 881187 h 3641849"/>
                <a:gd name="connsiteX88" fmla="*/ 958221 w 1573156"/>
                <a:gd name="connsiteY88" fmla="*/ 832060 h 3641849"/>
                <a:gd name="connsiteX89" fmla="*/ 985931 w 1573156"/>
                <a:gd name="connsiteY89" fmla="*/ 803617 h 3641849"/>
                <a:gd name="connsiteX90" fmla="*/ 1010871 w 1573156"/>
                <a:gd name="connsiteY90" fmla="*/ 767417 h 3641849"/>
                <a:gd name="connsiteX91" fmla="*/ 1091231 w 1573156"/>
                <a:gd name="connsiteY91" fmla="*/ 762245 h 3641849"/>
                <a:gd name="connsiteX92" fmla="*/ 1096772 w 1573156"/>
                <a:gd name="connsiteY92" fmla="*/ 741560 h 3641849"/>
                <a:gd name="connsiteX93" fmla="*/ 1121712 w 1573156"/>
                <a:gd name="connsiteY93" fmla="*/ 705360 h 3641849"/>
                <a:gd name="connsiteX94" fmla="*/ 1155516 w 1573156"/>
                <a:gd name="connsiteY94" fmla="*/ 687772 h 3641849"/>
                <a:gd name="connsiteX95" fmla="*/ 1213156 w 1573156"/>
                <a:gd name="connsiteY95" fmla="*/ 700189 h 3641849"/>
                <a:gd name="connsiteX96" fmla="*/ 1251949 w 1573156"/>
                <a:gd name="connsiteY96" fmla="*/ 720875 h 3641849"/>
                <a:gd name="connsiteX97" fmla="*/ 1299057 w 1573156"/>
                <a:gd name="connsiteY97" fmla="*/ 728632 h 3641849"/>
                <a:gd name="connsiteX98" fmla="*/ 1299057 w 1573156"/>
                <a:gd name="connsiteY98" fmla="*/ 733803 h 3641849"/>
                <a:gd name="connsiteX99" fmla="*/ 1321226 w 1573156"/>
                <a:gd name="connsiteY99" fmla="*/ 674332 h 3641849"/>
                <a:gd name="connsiteX100" fmla="*/ 1331201 w 1573156"/>
                <a:gd name="connsiteY100" fmla="*/ 640714 h 3641849"/>
                <a:gd name="connsiteX101" fmla="*/ 1337852 w 1573156"/>
                <a:gd name="connsiteY101" fmla="*/ 622618 h 3641849"/>
                <a:gd name="connsiteX102" fmla="*/ 1340789 w 1573156"/>
                <a:gd name="connsiteY102" fmla="*/ 591288 h 3641849"/>
                <a:gd name="connsiteX103" fmla="*/ 1260263 w 1573156"/>
                <a:gd name="connsiteY103" fmla="*/ 545048 h 3641849"/>
                <a:gd name="connsiteX104" fmla="*/ 1246408 w 1573156"/>
                <a:gd name="connsiteY104" fmla="*/ 472648 h 3641849"/>
                <a:gd name="connsiteX105" fmla="*/ 1246408 w 1573156"/>
                <a:gd name="connsiteY105" fmla="*/ 454548 h 3641849"/>
                <a:gd name="connsiteX106" fmla="*/ 1257491 w 1573156"/>
                <a:gd name="connsiteY106" fmla="*/ 431276 h 3641849"/>
                <a:gd name="connsiteX107" fmla="*/ 1260263 w 1573156"/>
                <a:gd name="connsiteY107" fmla="*/ 415762 h 3641849"/>
                <a:gd name="connsiteX108" fmla="*/ 1260262 w 1573156"/>
                <a:gd name="connsiteY108" fmla="*/ 358878 h 3641849"/>
                <a:gd name="connsiteX109" fmla="*/ 1238094 w 1573156"/>
                <a:gd name="connsiteY109" fmla="*/ 335607 h 3641849"/>
                <a:gd name="connsiteX110" fmla="*/ 1210384 w 1573156"/>
                <a:gd name="connsiteY110" fmla="*/ 304578 h 3641849"/>
                <a:gd name="connsiteX111" fmla="*/ 1206216 w 1573156"/>
                <a:gd name="connsiteY111" fmla="*/ 280325 h 3641849"/>
                <a:gd name="connsiteX112" fmla="*/ 1257492 w 1573156"/>
                <a:gd name="connsiteY112" fmla="*/ 258034 h 3641849"/>
                <a:gd name="connsiteX113" fmla="*/ 1311072 w 1573156"/>
                <a:gd name="connsiteY113" fmla="*/ 267906 h 3641849"/>
                <a:gd name="connsiteX114" fmla="*/ 1389856 w 1573156"/>
                <a:gd name="connsiteY114" fmla="*/ 279816 h 3641849"/>
                <a:gd name="connsiteX115" fmla="*/ 1474179 w 1573156"/>
                <a:gd name="connsiteY115" fmla="*/ 349175 h 3641849"/>
                <a:gd name="connsiteX116" fmla="*/ 1536314 w 1573156"/>
                <a:gd name="connsiteY116" fmla="*/ 425271 h 3641849"/>
                <a:gd name="connsiteX117" fmla="*/ 1435343 w 1573156"/>
                <a:gd name="connsiteY117" fmla="*/ 454265 h 3641849"/>
                <a:gd name="connsiteX118" fmla="*/ 1419809 w 1573156"/>
                <a:gd name="connsiteY118" fmla="*/ 501372 h 3641849"/>
                <a:gd name="connsiteX119" fmla="*/ 1477479 w 1573156"/>
                <a:gd name="connsiteY119" fmla="*/ 585862 h 3641849"/>
                <a:gd name="connsiteX120" fmla="*/ 1513013 w 1573156"/>
                <a:gd name="connsiteY120" fmla="*/ 591964 h 3641849"/>
                <a:gd name="connsiteX121" fmla="*/ 1565633 w 1573156"/>
                <a:gd name="connsiteY121" fmla="*/ 598304 h 3641849"/>
                <a:gd name="connsiteX122" fmla="*/ 1560670 w 1573156"/>
                <a:gd name="connsiteY122" fmla="*/ 709079 h 3641849"/>
                <a:gd name="connsiteX123" fmla="*/ 1571739 w 1573156"/>
                <a:gd name="connsiteY123" fmla="*/ 1040047 h 3641849"/>
                <a:gd name="connsiteX124" fmla="*/ 1562871 w 1573156"/>
                <a:gd name="connsiteY124" fmla="*/ 1842646 h 3641849"/>
                <a:gd name="connsiteX125" fmla="*/ 1571738 w 1573156"/>
                <a:gd name="connsiteY125" fmla="*/ 2297728 h 3641849"/>
                <a:gd name="connsiteX126" fmla="*/ 1545290 w 1573156"/>
                <a:gd name="connsiteY126" fmla="*/ 3607693 h 3641849"/>
                <a:gd name="connsiteX127" fmla="*/ 1286863 w 1573156"/>
                <a:gd name="connsiteY127" fmla="*/ 3564098 h 3641849"/>
                <a:gd name="connsiteX128" fmla="*/ 1118385 w 1573156"/>
                <a:gd name="connsiteY128" fmla="*/ 3497903 h 3641849"/>
                <a:gd name="connsiteX129" fmla="*/ 941039 w 1573156"/>
                <a:gd name="connsiteY129" fmla="*/ 3406887 h 3641849"/>
                <a:gd name="connsiteX130" fmla="*/ 842741 w 1573156"/>
                <a:gd name="connsiteY130" fmla="*/ 3326370 h 3641849"/>
                <a:gd name="connsiteX131" fmla="*/ 1137003 w 1573156"/>
                <a:gd name="connsiteY131" fmla="*/ 3018734 h 3641849"/>
                <a:gd name="connsiteX132" fmla="*/ 853249 w 1573156"/>
                <a:gd name="connsiteY132" fmla="*/ 2480910 h 3641849"/>
                <a:gd name="connsiteX133" fmla="*/ 557777 w 1573156"/>
                <a:gd name="connsiteY133" fmla="*/ 2715007 h 3641849"/>
                <a:gd name="connsiteX134" fmla="*/ 531809 w 1573156"/>
                <a:gd name="connsiteY134" fmla="*/ 2657256 h 3641849"/>
                <a:gd name="connsiteX135" fmla="*/ 660385 w 1573156"/>
                <a:gd name="connsiteY135" fmla="*/ 2391963 h 3641849"/>
                <a:gd name="connsiteX136" fmla="*/ 136108 w 1573156"/>
                <a:gd name="connsiteY136" fmla="*/ 2193381 h 3641849"/>
                <a:gd name="connsiteX0" fmla="*/ 136108 w 1573156"/>
                <a:gd name="connsiteY0" fmla="*/ 2193381 h 3641849"/>
                <a:gd name="connsiteX1" fmla="*/ 74102 w 1573156"/>
                <a:gd name="connsiteY1" fmla="*/ 2030807 h 3641849"/>
                <a:gd name="connsiteX2" fmla="*/ 87958 w 1573156"/>
                <a:gd name="connsiteY2" fmla="*/ 2023051 h 3641849"/>
                <a:gd name="connsiteX3" fmla="*/ 118439 w 1573156"/>
                <a:gd name="connsiteY3" fmla="*/ 1992023 h 3641849"/>
                <a:gd name="connsiteX4" fmla="*/ 82416 w 1573156"/>
                <a:gd name="connsiteY4" fmla="*/ 1963580 h 3641849"/>
                <a:gd name="connsiteX5" fmla="*/ 51935 w 1573156"/>
                <a:gd name="connsiteY5" fmla="*/ 1927380 h 3641849"/>
                <a:gd name="connsiteX6" fmla="*/ 40850 w 1573156"/>
                <a:gd name="connsiteY6" fmla="*/ 1893766 h 3641849"/>
                <a:gd name="connsiteX7" fmla="*/ 43621 w 1573156"/>
                <a:gd name="connsiteY7" fmla="*/ 1844639 h 3641849"/>
                <a:gd name="connsiteX8" fmla="*/ 82416 w 1573156"/>
                <a:gd name="connsiteY8" fmla="*/ 1826538 h 3641849"/>
                <a:gd name="connsiteX9" fmla="*/ 112899 w 1573156"/>
                <a:gd name="connsiteY9" fmla="*/ 1782581 h 3641849"/>
                <a:gd name="connsiteX10" fmla="*/ 96271 w 1573156"/>
                <a:gd name="connsiteY10" fmla="*/ 1754138 h 3641849"/>
                <a:gd name="connsiteX11" fmla="*/ 40851 w 1573156"/>
                <a:gd name="connsiteY11" fmla="*/ 1746381 h 3641849"/>
                <a:gd name="connsiteX12" fmla="*/ 2057 w 1573156"/>
                <a:gd name="connsiteY12" fmla="*/ 1730867 h 3641849"/>
                <a:gd name="connsiteX13" fmla="*/ 38079 w 1573156"/>
                <a:gd name="connsiteY13" fmla="*/ 1689496 h 3641849"/>
                <a:gd name="connsiteX14" fmla="*/ 18683 w 1573156"/>
                <a:gd name="connsiteY14" fmla="*/ 1679153 h 3641849"/>
                <a:gd name="connsiteX15" fmla="*/ 2055 w 1573156"/>
                <a:gd name="connsiteY15" fmla="*/ 1640367 h 3641849"/>
                <a:gd name="connsiteX16" fmla="*/ 65790 w 1573156"/>
                <a:gd name="connsiteY16" fmla="*/ 1650711 h 3641849"/>
                <a:gd name="connsiteX17" fmla="*/ 93501 w 1573156"/>
                <a:gd name="connsiteY17" fmla="*/ 1627440 h 3641849"/>
                <a:gd name="connsiteX18" fmla="*/ 187716 w 1573156"/>
                <a:gd name="connsiteY18" fmla="*/ 1536941 h 3641849"/>
                <a:gd name="connsiteX19" fmla="*/ 212655 w 1573156"/>
                <a:gd name="connsiteY19" fmla="*/ 1505912 h 3641849"/>
                <a:gd name="connsiteX20" fmla="*/ 198801 w 1573156"/>
                <a:gd name="connsiteY20" fmla="*/ 1555040 h 3641849"/>
                <a:gd name="connsiteX21" fmla="*/ 218197 w 1573156"/>
                <a:gd name="connsiteY21" fmla="*/ 1588655 h 3641849"/>
                <a:gd name="connsiteX22" fmla="*/ 262534 w 1573156"/>
                <a:gd name="connsiteY22" fmla="*/ 1666225 h 3641849"/>
                <a:gd name="connsiteX23" fmla="*/ 331810 w 1573156"/>
                <a:gd name="connsiteY23" fmla="*/ 1653297 h 3641849"/>
                <a:gd name="connsiteX24" fmla="*/ 351206 w 1573156"/>
                <a:gd name="connsiteY24" fmla="*/ 1622268 h 3641849"/>
                <a:gd name="connsiteX25" fmla="*/ 365062 w 1573156"/>
                <a:gd name="connsiteY25" fmla="*/ 1557627 h 3641849"/>
                <a:gd name="connsiteX26" fmla="*/ 304099 w 1573156"/>
                <a:gd name="connsiteY26" fmla="*/ 1511084 h 3641849"/>
                <a:gd name="connsiteX27" fmla="*/ 259763 w 1573156"/>
                <a:gd name="connsiteY27" fmla="*/ 1485227 h 3641849"/>
                <a:gd name="connsiteX28" fmla="*/ 198801 w 1573156"/>
                <a:gd name="connsiteY28" fmla="*/ 1495570 h 3641849"/>
                <a:gd name="connsiteX29" fmla="*/ 376147 w 1573156"/>
                <a:gd name="connsiteY29" fmla="*/ 1299057 h 3641849"/>
                <a:gd name="connsiteX30" fmla="*/ 223740 w 1573156"/>
                <a:gd name="connsiteY30" fmla="*/ 1151672 h 3641849"/>
                <a:gd name="connsiteX31" fmla="*/ 284703 w 1573156"/>
                <a:gd name="connsiteY31" fmla="*/ 1089617 h 3641849"/>
                <a:gd name="connsiteX32" fmla="*/ 218198 w 1573156"/>
                <a:gd name="connsiteY32" fmla="*/ 1050829 h 3641849"/>
                <a:gd name="connsiteX33" fmla="*/ 259763 w 1573156"/>
                <a:gd name="connsiteY33" fmla="*/ 1019802 h 3641849"/>
                <a:gd name="connsiteX34" fmla="*/ 212657 w 1573156"/>
                <a:gd name="connsiteY34" fmla="*/ 993947 h 3641849"/>
                <a:gd name="connsiteX35" fmla="*/ 212656 w 1573156"/>
                <a:gd name="connsiteY35" fmla="*/ 794845 h 3641849"/>
                <a:gd name="connsiteX36" fmla="*/ 251451 w 1573156"/>
                <a:gd name="connsiteY36" fmla="*/ 779332 h 3641849"/>
                <a:gd name="connsiteX37" fmla="*/ 137838 w 1573156"/>
                <a:gd name="connsiteY37" fmla="*/ 551792 h 3641849"/>
                <a:gd name="connsiteX38" fmla="*/ 135067 w 1573156"/>
                <a:gd name="connsiteY38" fmla="*/ 551792 h 3641849"/>
                <a:gd name="connsiteX39" fmla="*/ 184945 w 1573156"/>
                <a:gd name="connsiteY39" fmla="*/ 469048 h 3641849"/>
                <a:gd name="connsiteX40" fmla="*/ 201571 w 1573156"/>
                <a:gd name="connsiteY40" fmla="*/ 378550 h 3641849"/>
                <a:gd name="connsiteX41" fmla="*/ 126752 w 1573156"/>
                <a:gd name="connsiteY41" fmla="*/ 319079 h 3641849"/>
                <a:gd name="connsiteX42" fmla="*/ 118440 w 1573156"/>
                <a:gd name="connsiteY42" fmla="*/ 251851 h 3641849"/>
                <a:gd name="connsiteX43" fmla="*/ 173860 w 1573156"/>
                <a:gd name="connsiteY43" fmla="*/ 158764 h 3641849"/>
                <a:gd name="connsiteX44" fmla="*/ 193258 w 1573156"/>
                <a:gd name="connsiteY44" fmla="*/ 135494 h 3641849"/>
                <a:gd name="connsiteX45" fmla="*/ 207113 w 1573156"/>
                <a:gd name="connsiteY45" fmla="*/ 117394 h 3641849"/>
                <a:gd name="connsiteX46" fmla="*/ 215426 w 1573156"/>
                <a:gd name="connsiteY46" fmla="*/ 73438 h 3641849"/>
                <a:gd name="connsiteX47" fmla="*/ 240365 w 1573156"/>
                <a:gd name="connsiteY47" fmla="*/ 101880 h 3641849"/>
                <a:gd name="connsiteX48" fmla="*/ 270847 w 1573156"/>
                <a:gd name="connsiteY48" fmla="*/ 88952 h 3641849"/>
                <a:gd name="connsiteX49" fmla="*/ 273617 w 1573156"/>
                <a:gd name="connsiteY49" fmla="*/ 63095 h 3641849"/>
                <a:gd name="connsiteX50" fmla="*/ 281931 w 1573156"/>
                <a:gd name="connsiteY50" fmla="*/ 34652 h 3641849"/>
                <a:gd name="connsiteX51" fmla="*/ 284703 w 1573156"/>
                <a:gd name="connsiteY51" fmla="*/ 3624 h 3641849"/>
                <a:gd name="connsiteX52" fmla="*/ 420483 w 1573156"/>
                <a:gd name="connsiteY52" fmla="*/ 57924 h 3641849"/>
                <a:gd name="connsiteX53" fmla="*/ 450963 w 1573156"/>
                <a:gd name="connsiteY53" fmla="*/ 161352 h 3641849"/>
                <a:gd name="connsiteX54" fmla="*/ 464819 w 1573156"/>
                <a:gd name="connsiteY54" fmla="*/ 184622 h 3641849"/>
                <a:gd name="connsiteX55" fmla="*/ 475903 w 1573156"/>
                <a:gd name="connsiteY55" fmla="*/ 187208 h 3641849"/>
                <a:gd name="connsiteX56" fmla="*/ 589515 w 1573156"/>
                <a:gd name="connsiteY56" fmla="*/ 156181 h 3641849"/>
                <a:gd name="connsiteX57" fmla="*/ 656020 w 1573156"/>
                <a:gd name="connsiteY57" fmla="*/ 166522 h 3641849"/>
                <a:gd name="connsiteX58" fmla="*/ 719754 w 1573156"/>
                <a:gd name="connsiteY58" fmla="*/ 213065 h 3641849"/>
                <a:gd name="connsiteX59" fmla="*/ 733781 w 1573156"/>
                <a:gd name="connsiteY59" fmla="*/ 242621 h 3641849"/>
                <a:gd name="connsiteX60" fmla="*/ 789028 w 1573156"/>
                <a:gd name="connsiteY60" fmla="*/ 277708 h 3641849"/>
                <a:gd name="connsiteX61" fmla="*/ 877702 w 1573156"/>
                <a:gd name="connsiteY61" fmla="*/ 303563 h 3641849"/>
                <a:gd name="connsiteX62" fmla="*/ 949748 w 1573156"/>
                <a:gd name="connsiteY62" fmla="*/ 350106 h 3641849"/>
                <a:gd name="connsiteX63" fmla="*/ 999627 w 1573156"/>
                <a:gd name="connsiteY63" fmla="*/ 401820 h 3641849"/>
                <a:gd name="connsiteX64" fmla="*/ 1024566 w 1573156"/>
                <a:gd name="connsiteY64" fmla="*/ 440606 h 3641849"/>
                <a:gd name="connsiteX65" fmla="*/ 1057819 w 1573156"/>
                <a:gd name="connsiteY65" fmla="*/ 466462 h 3641849"/>
                <a:gd name="connsiteX66" fmla="*/ 1041191 w 1573156"/>
                <a:gd name="connsiteY66" fmla="*/ 691417 h 3641849"/>
                <a:gd name="connsiteX67" fmla="*/ 913725 w 1573156"/>
                <a:gd name="connsiteY67" fmla="*/ 771575 h 3641849"/>
                <a:gd name="connsiteX68" fmla="*/ 800113 w 1573156"/>
                <a:gd name="connsiteY68" fmla="*/ 779331 h 3641849"/>
                <a:gd name="connsiteX69" fmla="*/ 661560 w 1573156"/>
                <a:gd name="connsiteY69" fmla="*/ 758645 h 3641849"/>
                <a:gd name="connsiteX70" fmla="*/ 570116 w 1573156"/>
                <a:gd name="connsiteY70" fmla="*/ 722445 h 3641849"/>
                <a:gd name="connsiteX71" fmla="*/ 550719 w 1573156"/>
                <a:gd name="connsiteY71" fmla="*/ 750888 h 3641849"/>
                <a:gd name="connsiteX72" fmla="*/ 581361 w 1573156"/>
                <a:gd name="connsiteY72" fmla="*/ 824301 h 3641849"/>
                <a:gd name="connsiteX73" fmla="*/ 586902 w 1573156"/>
                <a:gd name="connsiteY73" fmla="*/ 951000 h 3641849"/>
                <a:gd name="connsiteX74" fmla="*/ 559032 w 1573156"/>
                <a:gd name="connsiteY74" fmla="*/ 1012043 h 3641849"/>
                <a:gd name="connsiteX75" fmla="*/ 614451 w 1573156"/>
                <a:gd name="connsiteY75" fmla="*/ 1032728 h 3641849"/>
                <a:gd name="connsiteX76" fmla="*/ 631079 w 1573156"/>
                <a:gd name="connsiteY76" fmla="*/ 1048242 h 3641849"/>
                <a:gd name="connsiteX77" fmla="*/ 656019 w 1573156"/>
                <a:gd name="connsiteY77" fmla="*/ 1074099 h 3641849"/>
                <a:gd name="connsiteX78" fmla="*/ 653248 w 1573156"/>
                <a:gd name="connsiteY78" fmla="*/ 1076685 h 3641849"/>
                <a:gd name="connsiteX79" fmla="*/ 692041 w 1573156"/>
                <a:gd name="connsiteY79" fmla="*/ 1071514 h 3641849"/>
                <a:gd name="connsiteX80" fmla="*/ 700355 w 1573156"/>
                <a:gd name="connsiteY80" fmla="*/ 1035314 h 3641849"/>
                <a:gd name="connsiteX81" fmla="*/ 661560 w 1573156"/>
                <a:gd name="connsiteY81" fmla="*/ 957743 h 3641849"/>
                <a:gd name="connsiteX82" fmla="*/ 730836 w 1573156"/>
                <a:gd name="connsiteY82" fmla="*/ 911200 h 3641849"/>
                <a:gd name="connsiteX83" fmla="*/ 798608 w 1573156"/>
                <a:gd name="connsiteY83" fmla="*/ 918934 h 3641849"/>
                <a:gd name="connsiteX84" fmla="*/ 822441 w 1573156"/>
                <a:gd name="connsiteY84" fmla="*/ 951001 h 3641849"/>
                <a:gd name="connsiteX85" fmla="*/ 978170 w 1573156"/>
                <a:gd name="connsiteY85" fmla="*/ 1007364 h 3641849"/>
                <a:gd name="connsiteX86" fmla="*/ 963762 w 1573156"/>
                <a:gd name="connsiteY86" fmla="*/ 971687 h 3641849"/>
                <a:gd name="connsiteX87" fmla="*/ 930510 w 1573156"/>
                <a:gd name="connsiteY87" fmla="*/ 932901 h 3641849"/>
                <a:gd name="connsiteX88" fmla="*/ 919426 w 1573156"/>
                <a:gd name="connsiteY88" fmla="*/ 881187 h 3641849"/>
                <a:gd name="connsiteX89" fmla="*/ 958221 w 1573156"/>
                <a:gd name="connsiteY89" fmla="*/ 832060 h 3641849"/>
                <a:gd name="connsiteX90" fmla="*/ 985931 w 1573156"/>
                <a:gd name="connsiteY90" fmla="*/ 803617 h 3641849"/>
                <a:gd name="connsiteX91" fmla="*/ 1010871 w 1573156"/>
                <a:gd name="connsiteY91" fmla="*/ 767417 h 3641849"/>
                <a:gd name="connsiteX92" fmla="*/ 1091231 w 1573156"/>
                <a:gd name="connsiteY92" fmla="*/ 762245 h 3641849"/>
                <a:gd name="connsiteX93" fmla="*/ 1096772 w 1573156"/>
                <a:gd name="connsiteY93" fmla="*/ 741560 h 3641849"/>
                <a:gd name="connsiteX94" fmla="*/ 1121712 w 1573156"/>
                <a:gd name="connsiteY94" fmla="*/ 705360 h 3641849"/>
                <a:gd name="connsiteX95" fmla="*/ 1155516 w 1573156"/>
                <a:gd name="connsiteY95" fmla="*/ 687772 h 3641849"/>
                <a:gd name="connsiteX96" fmla="*/ 1213156 w 1573156"/>
                <a:gd name="connsiteY96" fmla="*/ 700189 h 3641849"/>
                <a:gd name="connsiteX97" fmla="*/ 1251949 w 1573156"/>
                <a:gd name="connsiteY97" fmla="*/ 720875 h 3641849"/>
                <a:gd name="connsiteX98" fmla="*/ 1299057 w 1573156"/>
                <a:gd name="connsiteY98" fmla="*/ 728632 h 3641849"/>
                <a:gd name="connsiteX99" fmla="*/ 1299057 w 1573156"/>
                <a:gd name="connsiteY99" fmla="*/ 733803 h 3641849"/>
                <a:gd name="connsiteX100" fmla="*/ 1321226 w 1573156"/>
                <a:gd name="connsiteY100" fmla="*/ 674332 h 3641849"/>
                <a:gd name="connsiteX101" fmla="*/ 1331201 w 1573156"/>
                <a:gd name="connsiteY101" fmla="*/ 640714 h 3641849"/>
                <a:gd name="connsiteX102" fmla="*/ 1337852 w 1573156"/>
                <a:gd name="connsiteY102" fmla="*/ 622618 h 3641849"/>
                <a:gd name="connsiteX103" fmla="*/ 1340789 w 1573156"/>
                <a:gd name="connsiteY103" fmla="*/ 591288 h 3641849"/>
                <a:gd name="connsiteX104" fmla="*/ 1260263 w 1573156"/>
                <a:gd name="connsiteY104" fmla="*/ 545048 h 3641849"/>
                <a:gd name="connsiteX105" fmla="*/ 1246408 w 1573156"/>
                <a:gd name="connsiteY105" fmla="*/ 472648 h 3641849"/>
                <a:gd name="connsiteX106" fmla="*/ 1246408 w 1573156"/>
                <a:gd name="connsiteY106" fmla="*/ 454548 h 3641849"/>
                <a:gd name="connsiteX107" fmla="*/ 1257491 w 1573156"/>
                <a:gd name="connsiteY107" fmla="*/ 431276 h 3641849"/>
                <a:gd name="connsiteX108" fmla="*/ 1260263 w 1573156"/>
                <a:gd name="connsiteY108" fmla="*/ 415762 h 3641849"/>
                <a:gd name="connsiteX109" fmla="*/ 1260262 w 1573156"/>
                <a:gd name="connsiteY109" fmla="*/ 358878 h 3641849"/>
                <a:gd name="connsiteX110" fmla="*/ 1238094 w 1573156"/>
                <a:gd name="connsiteY110" fmla="*/ 335607 h 3641849"/>
                <a:gd name="connsiteX111" fmla="*/ 1210384 w 1573156"/>
                <a:gd name="connsiteY111" fmla="*/ 304578 h 3641849"/>
                <a:gd name="connsiteX112" fmla="*/ 1206216 w 1573156"/>
                <a:gd name="connsiteY112" fmla="*/ 280325 h 3641849"/>
                <a:gd name="connsiteX113" fmla="*/ 1257492 w 1573156"/>
                <a:gd name="connsiteY113" fmla="*/ 258034 h 3641849"/>
                <a:gd name="connsiteX114" fmla="*/ 1311072 w 1573156"/>
                <a:gd name="connsiteY114" fmla="*/ 267906 h 3641849"/>
                <a:gd name="connsiteX115" fmla="*/ 1389856 w 1573156"/>
                <a:gd name="connsiteY115" fmla="*/ 279816 h 3641849"/>
                <a:gd name="connsiteX116" fmla="*/ 1474179 w 1573156"/>
                <a:gd name="connsiteY116" fmla="*/ 349175 h 3641849"/>
                <a:gd name="connsiteX117" fmla="*/ 1536314 w 1573156"/>
                <a:gd name="connsiteY117" fmla="*/ 425271 h 3641849"/>
                <a:gd name="connsiteX118" fmla="*/ 1435343 w 1573156"/>
                <a:gd name="connsiteY118" fmla="*/ 454265 h 3641849"/>
                <a:gd name="connsiteX119" fmla="*/ 1419809 w 1573156"/>
                <a:gd name="connsiteY119" fmla="*/ 501372 h 3641849"/>
                <a:gd name="connsiteX120" fmla="*/ 1477479 w 1573156"/>
                <a:gd name="connsiteY120" fmla="*/ 585862 h 3641849"/>
                <a:gd name="connsiteX121" fmla="*/ 1513013 w 1573156"/>
                <a:gd name="connsiteY121" fmla="*/ 591964 h 3641849"/>
                <a:gd name="connsiteX122" fmla="*/ 1565633 w 1573156"/>
                <a:gd name="connsiteY122" fmla="*/ 598304 h 3641849"/>
                <a:gd name="connsiteX123" fmla="*/ 1560670 w 1573156"/>
                <a:gd name="connsiteY123" fmla="*/ 709079 h 3641849"/>
                <a:gd name="connsiteX124" fmla="*/ 1571739 w 1573156"/>
                <a:gd name="connsiteY124" fmla="*/ 1040047 h 3641849"/>
                <a:gd name="connsiteX125" fmla="*/ 1562871 w 1573156"/>
                <a:gd name="connsiteY125" fmla="*/ 1842646 h 3641849"/>
                <a:gd name="connsiteX126" fmla="*/ 1571738 w 1573156"/>
                <a:gd name="connsiteY126" fmla="*/ 2297728 h 3641849"/>
                <a:gd name="connsiteX127" fmla="*/ 1545290 w 1573156"/>
                <a:gd name="connsiteY127" fmla="*/ 3607693 h 3641849"/>
                <a:gd name="connsiteX128" fmla="*/ 1286863 w 1573156"/>
                <a:gd name="connsiteY128" fmla="*/ 3564098 h 3641849"/>
                <a:gd name="connsiteX129" fmla="*/ 1118385 w 1573156"/>
                <a:gd name="connsiteY129" fmla="*/ 3497903 h 3641849"/>
                <a:gd name="connsiteX130" fmla="*/ 941039 w 1573156"/>
                <a:gd name="connsiteY130" fmla="*/ 3406887 h 3641849"/>
                <a:gd name="connsiteX131" fmla="*/ 842741 w 1573156"/>
                <a:gd name="connsiteY131" fmla="*/ 3326370 h 3641849"/>
                <a:gd name="connsiteX132" fmla="*/ 1137003 w 1573156"/>
                <a:gd name="connsiteY132" fmla="*/ 3018734 h 3641849"/>
                <a:gd name="connsiteX133" fmla="*/ 853249 w 1573156"/>
                <a:gd name="connsiteY133" fmla="*/ 2480910 h 3641849"/>
                <a:gd name="connsiteX134" fmla="*/ 557777 w 1573156"/>
                <a:gd name="connsiteY134" fmla="*/ 2715007 h 3641849"/>
                <a:gd name="connsiteX135" fmla="*/ 531809 w 1573156"/>
                <a:gd name="connsiteY135" fmla="*/ 2657256 h 3641849"/>
                <a:gd name="connsiteX136" fmla="*/ 660385 w 1573156"/>
                <a:gd name="connsiteY136" fmla="*/ 2391963 h 3641849"/>
                <a:gd name="connsiteX137" fmla="*/ 136108 w 1573156"/>
                <a:gd name="connsiteY137" fmla="*/ 2193381 h 3641849"/>
                <a:gd name="connsiteX0" fmla="*/ 136108 w 1573156"/>
                <a:gd name="connsiteY0" fmla="*/ 2193381 h 3641849"/>
                <a:gd name="connsiteX1" fmla="*/ 101813 w 1573156"/>
                <a:gd name="connsiteY1" fmla="*/ 2061836 h 3641849"/>
                <a:gd name="connsiteX2" fmla="*/ 74102 w 1573156"/>
                <a:gd name="connsiteY2" fmla="*/ 2030807 h 3641849"/>
                <a:gd name="connsiteX3" fmla="*/ 87958 w 1573156"/>
                <a:gd name="connsiteY3" fmla="*/ 2023051 h 3641849"/>
                <a:gd name="connsiteX4" fmla="*/ 118439 w 1573156"/>
                <a:gd name="connsiteY4" fmla="*/ 1992023 h 3641849"/>
                <a:gd name="connsiteX5" fmla="*/ 82416 w 1573156"/>
                <a:gd name="connsiteY5" fmla="*/ 1963580 h 3641849"/>
                <a:gd name="connsiteX6" fmla="*/ 51935 w 1573156"/>
                <a:gd name="connsiteY6" fmla="*/ 1927380 h 3641849"/>
                <a:gd name="connsiteX7" fmla="*/ 40850 w 1573156"/>
                <a:gd name="connsiteY7" fmla="*/ 1893766 h 3641849"/>
                <a:gd name="connsiteX8" fmla="*/ 43621 w 1573156"/>
                <a:gd name="connsiteY8" fmla="*/ 1844639 h 3641849"/>
                <a:gd name="connsiteX9" fmla="*/ 82416 w 1573156"/>
                <a:gd name="connsiteY9" fmla="*/ 1826538 h 3641849"/>
                <a:gd name="connsiteX10" fmla="*/ 112899 w 1573156"/>
                <a:gd name="connsiteY10" fmla="*/ 1782581 h 3641849"/>
                <a:gd name="connsiteX11" fmla="*/ 96271 w 1573156"/>
                <a:gd name="connsiteY11" fmla="*/ 1754138 h 3641849"/>
                <a:gd name="connsiteX12" fmla="*/ 40851 w 1573156"/>
                <a:gd name="connsiteY12" fmla="*/ 1746381 h 3641849"/>
                <a:gd name="connsiteX13" fmla="*/ 2057 w 1573156"/>
                <a:gd name="connsiteY13" fmla="*/ 1730867 h 3641849"/>
                <a:gd name="connsiteX14" fmla="*/ 38079 w 1573156"/>
                <a:gd name="connsiteY14" fmla="*/ 1689496 h 3641849"/>
                <a:gd name="connsiteX15" fmla="*/ 18683 w 1573156"/>
                <a:gd name="connsiteY15" fmla="*/ 1679153 h 3641849"/>
                <a:gd name="connsiteX16" fmla="*/ 2055 w 1573156"/>
                <a:gd name="connsiteY16" fmla="*/ 1640367 h 3641849"/>
                <a:gd name="connsiteX17" fmla="*/ 65790 w 1573156"/>
                <a:gd name="connsiteY17" fmla="*/ 1650711 h 3641849"/>
                <a:gd name="connsiteX18" fmla="*/ 93501 w 1573156"/>
                <a:gd name="connsiteY18" fmla="*/ 1627440 h 3641849"/>
                <a:gd name="connsiteX19" fmla="*/ 187716 w 1573156"/>
                <a:gd name="connsiteY19" fmla="*/ 1536941 h 3641849"/>
                <a:gd name="connsiteX20" fmla="*/ 212655 w 1573156"/>
                <a:gd name="connsiteY20" fmla="*/ 1505912 h 3641849"/>
                <a:gd name="connsiteX21" fmla="*/ 198801 w 1573156"/>
                <a:gd name="connsiteY21" fmla="*/ 1555040 h 3641849"/>
                <a:gd name="connsiteX22" fmla="*/ 218197 w 1573156"/>
                <a:gd name="connsiteY22" fmla="*/ 1588655 h 3641849"/>
                <a:gd name="connsiteX23" fmla="*/ 262534 w 1573156"/>
                <a:gd name="connsiteY23" fmla="*/ 1666225 h 3641849"/>
                <a:gd name="connsiteX24" fmla="*/ 331810 w 1573156"/>
                <a:gd name="connsiteY24" fmla="*/ 1653297 h 3641849"/>
                <a:gd name="connsiteX25" fmla="*/ 351206 w 1573156"/>
                <a:gd name="connsiteY25" fmla="*/ 1622268 h 3641849"/>
                <a:gd name="connsiteX26" fmla="*/ 365062 w 1573156"/>
                <a:gd name="connsiteY26" fmla="*/ 1557627 h 3641849"/>
                <a:gd name="connsiteX27" fmla="*/ 304099 w 1573156"/>
                <a:gd name="connsiteY27" fmla="*/ 1511084 h 3641849"/>
                <a:gd name="connsiteX28" fmla="*/ 259763 w 1573156"/>
                <a:gd name="connsiteY28" fmla="*/ 1485227 h 3641849"/>
                <a:gd name="connsiteX29" fmla="*/ 198801 w 1573156"/>
                <a:gd name="connsiteY29" fmla="*/ 1495570 h 3641849"/>
                <a:gd name="connsiteX30" fmla="*/ 376147 w 1573156"/>
                <a:gd name="connsiteY30" fmla="*/ 1299057 h 3641849"/>
                <a:gd name="connsiteX31" fmla="*/ 223740 w 1573156"/>
                <a:gd name="connsiteY31" fmla="*/ 1151672 h 3641849"/>
                <a:gd name="connsiteX32" fmla="*/ 284703 w 1573156"/>
                <a:gd name="connsiteY32" fmla="*/ 1089617 h 3641849"/>
                <a:gd name="connsiteX33" fmla="*/ 218198 w 1573156"/>
                <a:gd name="connsiteY33" fmla="*/ 1050829 h 3641849"/>
                <a:gd name="connsiteX34" fmla="*/ 259763 w 1573156"/>
                <a:gd name="connsiteY34" fmla="*/ 1019802 h 3641849"/>
                <a:gd name="connsiteX35" fmla="*/ 212657 w 1573156"/>
                <a:gd name="connsiteY35" fmla="*/ 993947 h 3641849"/>
                <a:gd name="connsiteX36" fmla="*/ 212656 w 1573156"/>
                <a:gd name="connsiteY36" fmla="*/ 794845 h 3641849"/>
                <a:gd name="connsiteX37" fmla="*/ 251451 w 1573156"/>
                <a:gd name="connsiteY37" fmla="*/ 779332 h 3641849"/>
                <a:gd name="connsiteX38" fmla="*/ 137838 w 1573156"/>
                <a:gd name="connsiteY38" fmla="*/ 551792 h 3641849"/>
                <a:gd name="connsiteX39" fmla="*/ 135067 w 1573156"/>
                <a:gd name="connsiteY39" fmla="*/ 551792 h 3641849"/>
                <a:gd name="connsiteX40" fmla="*/ 184945 w 1573156"/>
                <a:gd name="connsiteY40" fmla="*/ 469048 h 3641849"/>
                <a:gd name="connsiteX41" fmla="*/ 201571 w 1573156"/>
                <a:gd name="connsiteY41" fmla="*/ 378550 h 3641849"/>
                <a:gd name="connsiteX42" fmla="*/ 126752 w 1573156"/>
                <a:gd name="connsiteY42" fmla="*/ 319079 h 3641849"/>
                <a:gd name="connsiteX43" fmla="*/ 118440 w 1573156"/>
                <a:gd name="connsiteY43" fmla="*/ 251851 h 3641849"/>
                <a:gd name="connsiteX44" fmla="*/ 173860 w 1573156"/>
                <a:gd name="connsiteY44" fmla="*/ 158764 h 3641849"/>
                <a:gd name="connsiteX45" fmla="*/ 193258 w 1573156"/>
                <a:gd name="connsiteY45" fmla="*/ 135494 h 3641849"/>
                <a:gd name="connsiteX46" fmla="*/ 207113 w 1573156"/>
                <a:gd name="connsiteY46" fmla="*/ 117394 h 3641849"/>
                <a:gd name="connsiteX47" fmla="*/ 215426 w 1573156"/>
                <a:gd name="connsiteY47" fmla="*/ 73438 h 3641849"/>
                <a:gd name="connsiteX48" fmla="*/ 240365 w 1573156"/>
                <a:gd name="connsiteY48" fmla="*/ 101880 h 3641849"/>
                <a:gd name="connsiteX49" fmla="*/ 270847 w 1573156"/>
                <a:gd name="connsiteY49" fmla="*/ 88952 h 3641849"/>
                <a:gd name="connsiteX50" fmla="*/ 273617 w 1573156"/>
                <a:gd name="connsiteY50" fmla="*/ 63095 h 3641849"/>
                <a:gd name="connsiteX51" fmla="*/ 281931 w 1573156"/>
                <a:gd name="connsiteY51" fmla="*/ 34652 h 3641849"/>
                <a:gd name="connsiteX52" fmla="*/ 284703 w 1573156"/>
                <a:gd name="connsiteY52" fmla="*/ 3624 h 3641849"/>
                <a:gd name="connsiteX53" fmla="*/ 420483 w 1573156"/>
                <a:gd name="connsiteY53" fmla="*/ 57924 h 3641849"/>
                <a:gd name="connsiteX54" fmla="*/ 450963 w 1573156"/>
                <a:gd name="connsiteY54" fmla="*/ 161352 h 3641849"/>
                <a:gd name="connsiteX55" fmla="*/ 464819 w 1573156"/>
                <a:gd name="connsiteY55" fmla="*/ 184622 h 3641849"/>
                <a:gd name="connsiteX56" fmla="*/ 475903 w 1573156"/>
                <a:gd name="connsiteY56" fmla="*/ 187208 h 3641849"/>
                <a:gd name="connsiteX57" fmla="*/ 589515 w 1573156"/>
                <a:gd name="connsiteY57" fmla="*/ 156181 h 3641849"/>
                <a:gd name="connsiteX58" fmla="*/ 656020 w 1573156"/>
                <a:gd name="connsiteY58" fmla="*/ 166522 h 3641849"/>
                <a:gd name="connsiteX59" fmla="*/ 719754 w 1573156"/>
                <a:gd name="connsiteY59" fmla="*/ 213065 h 3641849"/>
                <a:gd name="connsiteX60" fmla="*/ 733781 w 1573156"/>
                <a:gd name="connsiteY60" fmla="*/ 242621 h 3641849"/>
                <a:gd name="connsiteX61" fmla="*/ 789028 w 1573156"/>
                <a:gd name="connsiteY61" fmla="*/ 277708 h 3641849"/>
                <a:gd name="connsiteX62" fmla="*/ 877702 w 1573156"/>
                <a:gd name="connsiteY62" fmla="*/ 303563 h 3641849"/>
                <a:gd name="connsiteX63" fmla="*/ 949748 w 1573156"/>
                <a:gd name="connsiteY63" fmla="*/ 350106 h 3641849"/>
                <a:gd name="connsiteX64" fmla="*/ 999627 w 1573156"/>
                <a:gd name="connsiteY64" fmla="*/ 401820 h 3641849"/>
                <a:gd name="connsiteX65" fmla="*/ 1024566 w 1573156"/>
                <a:gd name="connsiteY65" fmla="*/ 440606 h 3641849"/>
                <a:gd name="connsiteX66" fmla="*/ 1057819 w 1573156"/>
                <a:gd name="connsiteY66" fmla="*/ 466462 h 3641849"/>
                <a:gd name="connsiteX67" fmla="*/ 1041191 w 1573156"/>
                <a:gd name="connsiteY67" fmla="*/ 691417 h 3641849"/>
                <a:gd name="connsiteX68" fmla="*/ 913725 w 1573156"/>
                <a:gd name="connsiteY68" fmla="*/ 771575 h 3641849"/>
                <a:gd name="connsiteX69" fmla="*/ 800113 w 1573156"/>
                <a:gd name="connsiteY69" fmla="*/ 779331 h 3641849"/>
                <a:gd name="connsiteX70" fmla="*/ 661560 w 1573156"/>
                <a:gd name="connsiteY70" fmla="*/ 758645 h 3641849"/>
                <a:gd name="connsiteX71" fmla="*/ 570116 w 1573156"/>
                <a:gd name="connsiteY71" fmla="*/ 722445 h 3641849"/>
                <a:gd name="connsiteX72" fmla="*/ 550719 w 1573156"/>
                <a:gd name="connsiteY72" fmla="*/ 750888 h 3641849"/>
                <a:gd name="connsiteX73" fmla="*/ 581361 w 1573156"/>
                <a:gd name="connsiteY73" fmla="*/ 824301 h 3641849"/>
                <a:gd name="connsiteX74" fmla="*/ 586902 w 1573156"/>
                <a:gd name="connsiteY74" fmla="*/ 951000 h 3641849"/>
                <a:gd name="connsiteX75" fmla="*/ 559032 w 1573156"/>
                <a:gd name="connsiteY75" fmla="*/ 1012043 h 3641849"/>
                <a:gd name="connsiteX76" fmla="*/ 614451 w 1573156"/>
                <a:gd name="connsiteY76" fmla="*/ 1032728 h 3641849"/>
                <a:gd name="connsiteX77" fmla="*/ 631079 w 1573156"/>
                <a:gd name="connsiteY77" fmla="*/ 1048242 h 3641849"/>
                <a:gd name="connsiteX78" fmla="*/ 656019 w 1573156"/>
                <a:gd name="connsiteY78" fmla="*/ 1074099 h 3641849"/>
                <a:gd name="connsiteX79" fmla="*/ 653248 w 1573156"/>
                <a:gd name="connsiteY79" fmla="*/ 1076685 h 3641849"/>
                <a:gd name="connsiteX80" fmla="*/ 692041 w 1573156"/>
                <a:gd name="connsiteY80" fmla="*/ 1071514 h 3641849"/>
                <a:gd name="connsiteX81" fmla="*/ 700355 w 1573156"/>
                <a:gd name="connsiteY81" fmla="*/ 1035314 h 3641849"/>
                <a:gd name="connsiteX82" fmla="*/ 661560 w 1573156"/>
                <a:gd name="connsiteY82" fmla="*/ 957743 h 3641849"/>
                <a:gd name="connsiteX83" fmla="*/ 730836 w 1573156"/>
                <a:gd name="connsiteY83" fmla="*/ 911200 h 3641849"/>
                <a:gd name="connsiteX84" fmla="*/ 798608 w 1573156"/>
                <a:gd name="connsiteY84" fmla="*/ 918934 h 3641849"/>
                <a:gd name="connsiteX85" fmla="*/ 822441 w 1573156"/>
                <a:gd name="connsiteY85" fmla="*/ 951001 h 3641849"/>
                <a:gd name="connsiteX86" fmla="*/ 978170 w 1573156"/>
                <a:gd name="connsiteY86" fmla="*/ 1007364 h 3641849"/>
                <a:gd name="connsiteX87" fmla="*/ 963762 w 1573156"/>
                <a:gd name="connsiteY87" fmla="*/ 971687 h 3641849"/>
                <a:gd name="connsiteX88" fmla="*/ 930510 w 1573156"/>
                <a:gd name="connsiteY88" fmla="*/ 932901 h 3641849"/>
                <a:gd name="connsiteX89" fmla="*/ 919426 w 1573156"/>
                <a:gd name="connsiteY89" fmla="*/ 881187 h 3641849"/>
                <a:gd name="connsiteX90" fmla="*/ 958221 w 1573156"/>
                <a:gd name="connsiteY90" fmla="*/ 832060 h 3641849"/>
                <a:gd name="connsiteX91" fmla="*/ 985931 w 1573156"/>
                <a:gd name="connsiteY91" fmla="*/ 803617 h 3641849"/>
                <a:gd name="connsiteX92" fmla="*/ 1010871 w 1573156"/>
                <a:gd name="connsiteY92" fmla="*/ 767417 h 3641849"/>
                <a:gd name="connsiteX93" fmla="*/ 1091231 w 1573156"/>
                <a:gd name="connsiteY93" fmla="*/ 762245 h 3641849"/>
                <a:gd name="connsiteX94" fmla="*/ 1096772 w 1573156"/>
                <a:gd name="connsiteY94" fmla="*/ 741560 h 3641849"/>
                <a:gd name="connsiteX95" fmla="*/ 1121712 w 1573156"/>
                <a:gd name="connsiteY95" fmla="*/ 705360 h 3641849"/>
                <a:gd name="connsiteX96" fmla="*/ 1155516 w 1573156"/>
                <a:gd name="connsiteY96" fmla="*/ 687772 h 3641849"/>
                <a:gd name="connsiteX97" fmla="*/ 1213156 w 1573156"/>
                <a:gd name="connsiteY97" fmla="*/ 700189 h 3641849"/>
                <a:gd name="connsiteX98" fmla="*/ 1251949 w 1573156"/>
                <a:gd name="connsiteY98" fmla="*/ 720875 h 3641849"/>
                <a:gd name="connsiteX99" fmla="*/ 1299057 w 1573156"/>
                <a:gd name="connsiteY99" fmla="*/ 728632 h 3641849"/>
                <a:gd name="connsiteX100" fmla="*/ 1299057 w 1573156"/>
                <a:gd name="connsiteY100" fmla="*/ 733803 h 3641849"/>
                <a:gd name="connsiteX101" fmla="*/ 1321226 w 1573156"/>
                <a:gd name="connsiteY101" fmla="*/ 674332 h 3641849"/>
                <a:gd name="connsiteX102" fmla="*/ 1331201 w 1573156"/>
                <a:gd name="connsiteY102" fmla="*/ 640714 h 3641849"/>
                <a:gd name="connsiteX103" fmla="*/ 1337852 w 1573156"/>
                <a:gd name="connsiteY103" fmla="*/ 622618 h 3641849"/>
                <a:gd name="connsiteX104" fmla="*/ 1340789 w 1573156"/>
                <a:gd name="connsiteY104" fmla="*/ 591288 h 3641849"/>
                <a:gd name="connsiteX105" fmla="*/ 1260263 w 1573156"/>
                <a:gd name="connsiteY105" fmla="*/ 545048 h 3641849"/>
                <a:gd name="connsiteX106" fmla="*/ 1246408 w 1573156"/>
                <a:gd name="connsiteY106" fmla="*/ 472648 h 3641849"/>
                <a:gd name="connsiteX107" fmla="*/ 1246408 w 1573156"/>
                <a:gd name="connsiteY107" fmla="*/ 454548 h 3641849"/>
                <a:gd name="connsiteX108" fmla="*/ 1257491 w 1573156"/>
                <a:gd name="connsiteY108" fmla="*/ 431276 h 3641849"/>
                <a:gd name="connsiteX109" fmla="*/ 1260263 w 1573156"/>
                <a:gd name="connsiteY109" fmla="*/ 415762 h 3641849"/>
                <a:gd name="connsiteX110" fmla="*/ 1260262 w 1573156"/>
                <a:gd name="connsiteY110" fmla="*/ 358878 h 3641849"/>
                <a:gd name="connsiteX111" fmla="*/ 1238094 w 1573156"/>
                <a:gd name="connsiteY111" fmla="*/ 335607 h 3641849"/>
                <a:gd name="connsiteX112" fmla="*/ 1210384 w 1573156"/>
                <a:gd name="connsiteY112" fmla="*/ 304578 h 3641849"/>
                <a:gd name="connsiteX113" fmla="*/ 1206216 w 1573156"/>
                <a:gd name="connsiteY113" fmla="*/ 280325 h 3641849"/>
                <a:gd name="connsiteX114" fmla="*/ 1257492 w 1573156"/>
                <a:gd name="connsiteY114" fmla="*/ 258034 h 3641849"/>
                <a:gd name="connsiteX115" fmla="*/ 1311072 w 1573156"/>
                <a:gd name="connsiteY115" fmla="*/ 267906 h 3641849"/>
                <a:gd name="connsiteX116" fmla="*/ 1389856 w 1573156"/>
                <a:gd name="connsiteY116" fmla="*/ 279816 h 3641849"/>
                <a:gd name="connsiteX117" fmla="*/ 1474179 w 1573156"/>
                <a:gd name="connsiteY117" fmla="*/ 349175 h 3641849"/>
                <a:gd name="connsiteX118" fmla="*/ 1536314 w 1573156"/>
                <a:gd name="connsiteY118" fmla="*/ 425271 h 3641849"/>
                <a:gd name="connsiteX119" fmla="*/ 1435343 w 1573156"/>
                <a:gd name="connsiteY119" fmla="*/ 454265 h 3641849"/>
                <a:gd name="connsiteX120" fmla="*/ 1419809 w 1573156"/>
                <a:gd name="connsiteY120" fmla="*/ 501372 h 3641849"/>
                <a:gd name="connsiteX121" fmla="*/ 1477479 w 1573156"/>
                <a:gd name="connsiteY121" fmla="*/ 585862 h 3641849"/>
                <a:gd name="connsiteX122" fmla="*/ 1513013 w 1573156"/>
                <a:gd name="connsiteY122" fmla="*/ 591964 h 3641849"/>
                <a:gd name="connsiteX123" fmla="*/ 1565633 w 1573156"/>
                <a:gd name="connsiteY123" fmla="*/ 598304 h 3641849"/>
                <a:gd name="connsiteX124" fmla="*/ 1560670 w 1573156"/>
                <a:gd name="connsiteY124" fmla="*/ 709079 h 3641849"/>
                <a:gd name="connsiteX125" fmla="*/ 1571739 w 1573156"/>
                <a:gd name="connsiteY125" fmla="*/ 1040047 h 3641849"/>
                <a:gd name="connsiteX126" fmla="*/ 1562871 w 1573156"/>
                <a:gd name="connsiteY126" fmla="*/ 1842646 h 3641849"/>
                <a:gd name="connsiteX127" fmla="*/ 1571738 w 1573156"/>
                <a:gd name="connsiteY127" fmla="*/ 2297728 h 3641849"/>
                <a:gd name="connsiteX128" fmla="*/ 1545290 w 1573156"/>
                <a:gd name="connsiteY128" fmla="*/ 3607693 h 3641849"/>
                <a:gd name="connsiteX129" fmla="*/ 1286863 w 1573156"/>
                <a:gd name="connsiteY129" fmla="*/ 3564098 h 3641849"/>
                <a:gd name="connsiteX130" fmla="*/ 1118385 w 1573156"/>
                <a:gd name="connsiteY130" fmla="*/ 3497903 h 3641849"/>
                <a:gd name="connsiteX131" fmla="*/ 941039 w 1573156"/>
                <a:gd name="connsiteY131" fmla="*/ 3406887 h 3641849"/>
                <a:gd name="connsiteX132" fmla="*/ 842741 w 1573156"/>
                <a:gd name="connsiteY132" fmla="*/ 3326370 h 3641849"/>
                <a:gd name="connsiteX133" fmla="*/ 1137003 w 1573156"/>
                <a:gd name="connsiteY133" fmla="*/ 3018734 h 3641849"/>
                <a:gd name="connsiteX134" fmla="*/ 853249 w 1573156"/>
                <a:gd name="connsiteY134" fmla="*/ 2480910 h 3641849"/>
                <a:gd name="connsiteX135" fmla="*/ 557777 w 1573156"/>
                <a:gd name="connsiteY135" fmla="*/ 2715007 h 3641849"/>
                <a:gd name="connsiteX136" fmla="*/ 531809 w 1573156"/>
                <a:gd name="connsiteY136" fmla="*/ 2657256 h 3641849"/>
                <a:gd name="connsiteX137" fmla="*/ 660385 w 1573156"/>
                <a:gd name="connsiteY137" fmla="*/ 2391963 h 3641849"/>
                <a:gd name="connsiteX138" fmla="*/ 136108 w 1573156"/>
                <a:gd name="connsiteY138" fmla="*/ 2193381 h 3641849"/>
                <a:gd name="connsiteX0" fmla="*/ 136108 w 1573156"/>
                <a:gd name="connsiteY0" fmla="*/ 2193381 h 3641849"/>
                <a:gd name="connsiteX1" fmla="*/ 101813 w 1573156"/>
                <a:gd name="connsiteY1" fmla="*/ 2061836 h 3641849"/>
                <a:gd name="connsiteX2" fmla="*/ 74102 w 1573156"/>
                <a:gd name="connsiteY2" fmla="*/ 2030807 h 3641849"/>
                <a:gd name="connsiteX3" fmla="*/ 79646 w 1573156"/>
                <a:gd name="connsiteY3" fmla="*/ 2017880 h 3641849"/>
                <a:gd name="connsiteX4" fmla="*/ 118439 w 1573156"/>
                <a:gd name="connsiteY4" fmla="*/ 1992023 h 3641849"/>
                <a:gd name="connsiteX5" fmla="*/ 82416 w 1573156"/>
                <a:gd name="connsiteY5" fmla="*/ 1963580 h 3641849"/>
                <a:gd name="connsiteX6" fmla="*/ 51935 w 1573156"/>
                <a:gd name="connsiteY6" fmla="*/ 1927380 h 3641849"/>
                <a:gd name="connsiteX7" fmla="*/ 40850 w 1573156"/>
                <a:gd name="connsiteY7" fmla="*/ 1893766 h 3641849"/>
                <a:gd name="connsiteX8" fmla="*/ 43621 w 1573156"/>
                <a:gd name="connsiteY8" fmla="*/ 1844639 h 3641849"/>
                <a:gd name="connsiteX9" fmla="*/ 82416 w 1573156"/>
                <a:gd name="connsiteY9" fmla="*/ 1826538 h 3641849"/>
                <a:gd name="connsiteX10" fmla="*/ 112899 w 1573156"/>
                <a:gd name="connsiteY10" fmla="*/ 1782581 h 3641849"/>
                <a:gd name="connsiteX11" fmla="*/ 96271 w 1573156"/>
                <a:gd name="connsiteY11" fmla="*/ 1754138 h 3641849"/>
                <a:gd name="connsiteX12" fmla="*/ 40851 w 1573156"/>
                <a:gd name="connsiteY12" fmla="*/ 1746381 h 3641849"/>
                <a:gd name="connsiteX13" fmla="*/ 2057 w 1573156"/>
                <a:gd name="connsiteY13" fmla="*/ 1730867 h 3641849"/>
                <a:gd name="connsiteX14" fmla="*/ 38079 w 1573156"/>
                <a:gd name="connsiteY14" fmla="*/ 1689496 h 3641849"/>
                <a:gd name="connsiteX15" fmla="*/ 18683 w 1573156"/>
                <a:gd name="connsiteY15" fmla="*/ 1679153 h 3641849"/>
                <a:gd name="connsiteX16" fmla="*/ 2055 w 1573156"/>
                <a:gd name="connsiteY16" fmla="*/ 1640367 h 3641849"/>
                <a:gd name="connsiteX17" fmla="*/ 65790 w 1573156"/>
                <a:gd name="connsiteY17" fmla="*/ 1650711 h 3641849"/>
                <a:gd name="connsiteX18" fmla="*/ 93501 w 1573156"/>
                <a:gd name="connsiteY18" fmla="*/ 1627440 h 3641849"/>
                <a:gd name="connsiteX19" fmla="*/ 187716 w 1573156"/>
                <a:gd name="connsiteY19" fmla="*/ 1536941 h 3641849"/>
                <a:gd name="connsiteX20" fmla="*/ 212655 w 1573156"/>
                <a:gd name="connsiteY20" fmla="*/ 1505912 h 3641849"/>
                <a:gd name="connsiteX21" fmla="*/ 198801 w 1573156"/>
                <a:gd name="connsiteY21" fmla="*/ 1555040 h 3641849"/>
                <a:gd name="connsiteX22" fmla="*/ 218197 w 1573156"/>
                <a:gd name="connsiteY22" fmla="*/ 1588655 h 3641849"/>
                <a:gd name="connsiteX23" fmla="*/ 262534 w 1573156"/>
                <a:gd name="connsiteY23" fmla="*/ 1666225 h 3641849"/>
                <a:gd name="connsiteX24" fmla="*/ 331810 w 1573156"/>
                <a:gd name="connsiteY24" fmla="*/ 1653297 h 3641849"/>
                <a:gd name="connsiteX25" fmla="*/ 351206 w 1573156"/>
                <a:gd name="connsiteY25" fmla="*/ 1622268 h 3641849"/>
                <a:gd name="connsiteX26" fmla="*/ 365062 w 1573156"/>
                <a:gd name="connsiteY26" fmla="*/ 1557627 h 3641849"/>
                <a:gd name="connsiteX27" fmla="*/ 304099 w 1573156"/>
                <a:gd name="connsiteY27" fmla="*/ 1511084 h 3641849"/>
                <a:gd name="connsiteX28" fmla="*/ 259763 w 1573156"/>
                <a:gd name="connsiteY28" fmla="*/ 1485227 h 3641849"/>
                <a:gd name="connsiteX29" fmla="*/ 198801 w 1573156"/>
                <a:gd name="connsiteY29" fmla="*/ 1495570 h 3641849"/>
                <a:gd name="connsiteX30" fmla="*/ 376147 w 1573156"/>
                <a:gd name="connsiteY30" fmla="*/ 1299057 h 3641849"/>
                <a:gd name="connsiteX31" fmla="*/ 223740 w 1573156"/>
                <a:gd name="connsiteY31" fmla="*/ 1151672 h 3641849"/>
                <a:gd name="connsiteX32" fmla="*/ 284703 w 1573156"/>
                <a:gd name="connsiteY32" fmla="*/ 1089617 h 3641849"/>
                <a:gd name="connsiteX33" fmla="*/ 218198 w 1573156"/>
                <a:gd name="connsiteY33" fmla="*/ 1050829 h 3641849"/>
                <a:gd name="connsiteX34" fmla="*/ 259763 w 1573156"/>
                <a:gd name="connsiteY34" fmla="*/ 1019802 h 3641849"/>
                <a:gd name="connsiteX35" fmla="*/ 212657 w 1573156"/>
                <a:gd name="connsiteY35" fmla="*/ 993947 h 3641849"/>
                <a:gd name="connsiteX36" fmla="*/ 212656 w 1573156"/>
                <a:gd name="connsiteY36" fmla="*/ 794845 h 3641849"/>
                <a:gd name="connsiteX37" fmla="*/ 251451 w 1573156"/>
                <a:gd name="connsiteY37" fmla="*/ 779332 h 3641849"/>
                <a:gd name="connsiteX38" fmla="*/ 137838 w 1573156"/>
                <a:gd name="connsiteY38" fmla="*/ 551792 h 3641849"/>
                <a:gd name="connsiteX39" fmla="*/ 135067 w 1573156"/>
                <a:gd name="connsiteY39" fmla="*/ 551792 h 3641849"/>
                <a:gd name="connsiteX40" fmla="*/ 184945 w 1573156"/>
                <a:gd name="connsiteY40" fmla="*/ 469048 h 3641849"/>
                <a:gd name="connsiteX41" fmla="*/ 201571 w 1573156"/>
                <a:gd name="connsiteY41" fmla="*/ 378550 h 3641849"/>
                <a:gd name="connsiteX42" fmla="*/ 126752 w 1573156"/>
                <a:gd name="connsiteY42" fmla="*/ 319079 h 3641849"/>
                <a:gd name="connsiteX43" fmla="*/ 118440 w 1573156"/>
                <a:gd name="connsiteY43" fmla="*/ 251851 h 3641849"/>
                <a:gd name="connsiteX44" fmla="*/ 173860 w 1573156"/>
                <a:gd name="connsiteY44" fmla="*/ 158764 h 3641849"/>
                <a:gd name="connsiteX45" fmla="*/ 193258 w 1573156"/>
                <a:gd name="connsiteY45" fmla="*/ 135494 h 3641849"/>
                <a:gd name="connsiteX46" fmla="*/ 207113 w 1573156"/>
                <a:gd name="connsiteY46" fmla="*/ 117394 h 3641849"/>
                <a:gd name="connsiteX47" fmla="*/ 215426 w 1573156"/>
                <a:gd name="connsiteY47" fmla="*/ 73438 h 3641849"/>
                <a:gd name="connsiteX48" fmla="*/ 240365 w 1573156"/>
                <a:gd name="connsiteY48" fmla="*/ 101880 h 3641849"/>
                <a:gd name="connsiteX49" fmla="*/ 270847 w 1573156"/>
                <a:gd name="connsiteY49" fmla="*/ 88952 h 3641849"/>
                <a:gd name="connsiteX50" fmla="*/ 273617 w 1573156"/>
                <a:gd name="connsiteY50" fmla="*/ 63095 h 3641849"/>
                <a:gd name="connsiteX51" fmla="*/ 281931 w 1573156"/>
                <a:gd name="connsiteY51" fmla="*/ 34652 h 3641849"/>
                <a:gd name="connsiteX52" fmla="*/ 284703 w 1573156"/>
                <a:gd name="connsiteY52" fmla="*/ 3624 h 3641849"/>
                <a:gd name="connsiteX53" fmla="*/ 420483 w 1573156"/>
                <a:gd name="connsiteY53" fmla="*/ 57924 h 3641849"/>
                <a:gd name="connsiteX54" fmla="*/ 450963 w 1573156"/>
                <a:gd name="connsiteY54" fmla="*/ 161352 h 3641849"/>
                <a:gd name="connsiteX55" fmla="*/ 464819 w 1573156"/>
                <a:gd name="connsiteY55" fmla="*/ 184622 h 3641849"/>
                <a:gd name="connsiteX56" fmla="*/ 475903 w 1573156"/>
                <a:gd name="connsiteY56" fmla="*/ 187208 h 3641849"/>
                <a:gd name="connsiteX57" fmla="*/ 589515 w 1573156"/>
                <a:gd name="connsiteY57" fmla="*/ 156181 h 3641849"/>
                <a:gd name="connsiteX58" fmla="*/ 656020 w 1573156"/>
                <a:gd name="connsiteY58" fmla="*/ 166522 h 3641849"/>
                <a:gd name="connsiteX59" fmla="*/ 719754 w 1573156"/>
                <a:gd name="connsiteY59" fmla="*/ 213065 h 3641849"/>
                <a:gd name="connsiteX60" fmla="*/ 733781 w 1573156"/>
                <a:gd name="connsiteY60" fmla="*/ 242621 h 3641849"/>
                <a:gd name="connsiteX61" fmla="*/ 789028 w 1573156"/>
                <a:gd name="connsiteY61" fmla="*/ 277708 h 3641849"/>
                <a:gd name="connsiteX62" fmla="*/ 877702 w 1573156"/>
                <a:gd name="connsiteY62" fmla="*/ 303563 h 3641849"/>
                <a:gd name="connsiteX63" fmla="*/ 949748 w 1573156"/>
                <a:gd name="connsiteY63" fmla="*/ 350106 h 3641849"/>
                <a:gd name="connsiteX64" fmla="*/ 999627 w 1573156"/>
                <a:gd name="connsiteY64" fmla="*/ 401820 h 3641849"/>
                <a:gd name="connsiteX65" fmla="*/ 1024566 w 1573156"/>
                <a:gd name="connsiteY65" fmla="*/ 440606 h 3641849"/>
                <a:gd name="connsiteX66" fmla="*/ 1057819 w 1573156"/>
                <a:gd name="connsiteY66" fmla="*/ 466462 h 3641849"/>
                <a:gd name="connsiteX67" fmla="*/ 1041191 w 1573156"/>
                <a:gd name="connsiteY67" fmla="*/ 691417 h 3641849"/>
                <a:gd name="connsiteX68" fmla="*/ 913725 w 1573156"/>
                <a:gd name="connsiteY68" fmla="*/ 771575 h 3641849"/>
                <a:gd name="connsiteX69" fmla="*/ 800113 w 1573156"/>
                <a:gd name="connsiteY69" fmla="*/ 779331 h 3641849"/>
                <a:gd name="connsiteX70" fmla="*/ 661560 w 1573156"/>
                <a:gd name="connsiteY70" fmla="*/ 758645 h 3641849"/>
                <a:gd name="connsiteX71" fmla="*/ 570116 w 1573156"/>
                <a:gd name="connsiteY71" fmla="*/ 722445 h 3641849"/>
                <a:gd name="connsiteX72" fmla="*/ 550719 w 1573156"/>
                <a:gd name="connsiteY72" fmla="*/ 750888 h 3641849"/>
                <a:gd name="connsiteX73" fmla="*/ 581361 w 1573156"/>
                <a:gd name="connsiteY73" fmla="*/ 824301 h 3641849"/>
                <a:gd name="connsiteX74" fmla="*/ 586902 w 1573156"/>
                <a:gd name="connsiteY74" fmla="*/ 951000 h 3641849"/>
                <a:gd name="connsiteX75" fmla="*/ 559032 w 1573156"/>
                <a:gd name="connsiteY75" fmla="*/ 1012043 h 3641849"/>
                <a:gd name="connsiteX76" fmla="*/ 614451 w 1573156"/>
                <a:gd name="connsiteY76" fmla="*/ 1032728 h 3641849"/>
                <a:gd name="connsiteX77" fmla="*/ 631079 w 1573156"/>
                <a:gd name="connsiteY77" fmla="*/ 1048242 h 3641849"/>
                <a:gd name="connsiteX78" fmla="*/ 656019 w 1573156"/>
                <a:gd name="connsiteY78" fmla="*/ 1074099 h 3641849"/>
                <a:gd name="connsiteX79" fmla="*/ 653248 w 1573156"/>
                <a:gd name="connsiteY79" fmla="*/ 1076685 h 3641849"/>
                <a:gd name="connsiteX80" fmla="*/ 692041 w 1573156"/>
                <a:gd name="connsiteY80" fmla="*/ 1071514 h 3641849"/>
                <a:gd name="connsiteX81" fmla="*/ 700355 w 1573156"/>
                <a:gd name="connsiteY81" fmla="*/ 1035314 h 3641849"/>
                <a:gd name="connsiteX82" fmla="*/ 661560 w 1573156"/>
                <a:gd name="connsiteY82" fmla="*/ 957743 h 3641849"/>
                <a:gd name="connsiteX83" fmla="*/ 730836 w 1573156"/>
                <a:gd name="connsiteY83" fmla="*/ 911200 h 3641849"/>
                <a:gd name="connsiteX84" fmla="*/ 798608 w 1573156"/>
                <a:gd name="connsiteY84" fmla="*/ 918934 h 3641849"/>
                <a:gd name="connsiteX85" fmla="*/ 822441 w 1573156"/>
                <a:gd name="connsiteY85" fmla="*/ 951001 h 3641849"/>
                <a:gd name="connsiteX86" fmla="*/ 978170 w 1573156"/>
                <a:gd name="connsiteY86" fmla="*/ 1007364 h 3641849"/>
                <a:gd name="connsiteX87" fmla="*/ 963762 w 1573156"/>
                <a:gd name="connsiteY87" fmla="*/ 971687 h 3641849"/>
                <a:gd name="connsiteX88" fmla="*/ 930510 w 1573156"/>
                <a:gd name="connsiteY88" fmla="*/ 932901 h 3641849"/>
                <a:gd name="connsiteX89" fmla="*/ 919426 w 1573156"/>
                <a:gd name="connsiteY89" fmla="*/ 881187 h 3641849"/>
                <a:gd name="connsiteX90" fmla="*/ 958221 w 1573156"/>
                <a:gd name="connsiteY90" fmla="*/ 832060 h 3641849"/>
                <a:gd name="connsiteX91" fmla="*/ 985931 w 1573156"/>
                <a:gd name="connsiteY91" fmla="*/ 803617 h 3641849"/>
                <a:gd name="connsiteX92" fmla="*/ 1010871 w 1573156"/>
                <a:gd name="connsiteY92" fmla="*/ 767417 h 3641849"/>
                <a:gd name="connsiteX93" fmla="*/ 1091231 w 1573156"/>
                <a:gd name="connsiteY93" fmla="*/ 762245 h 3641849"/>
                <a:gd name="connsiteX94" fmla="*/ 1096772 w 1573156"/>
                <a:gd name="connsiteY94" fmla="*/ 741560 h 3641849"/>
                <a:gd name="connsiteX95" fmla="*/ 1121712 w 1573156"/>
                <a:gd name="connsiteY95" fmla="*/ 705360 h 3641849"/>
                <a:gd name="connsiteX96" fmla="*/ 1155516 w 1573156"/>
                <a:gd name="connsiteY96" fmla="*/ 687772 h 3641849"/>
                <a:gd name="connsiteX97" fmla="*/ 1213156 w 1573156"/>
                <a:gd name="connsiteY97" fmla="*/ 700189 h 3641849"/>
                <a:gd name="connsiteX98" fmla="*/ 1251949 w 1573156"/>
                <a:gd name="connsiteY98" fmla="*/ 720875 h 3641849"/>
                <a:gd name="connsiteX99" fmla="*/ 1299057 w 1573156"/>
                <a:gd name="connsiteY99" fmla="*/ 728632 h 3641849"/>
                <a:gd name="connsiteX100" fmla="*/ 1299057 w 1573156"/>
                <a:gd name="connsiteY100" fmla="*/ 733803 h 3641849"/>
                <a:gd name="connsiteX101" fmla="*/ 1321226 w 1573156"/>
                <a:gd name="connsiteY101" fmla="*/ 674332 h 3641849"/>
                <a:gd name="connsiteX102" fmla="*/ 1331201 w 1573156"/>
                <a:gd name="connsiteY102" fmla="*/ 640714 h 3641849"/>
                <a:gd name="connsiteX103" fmla="*/ 1337852 w 1573156"/>
                <a:gd name="connsiteY103" fmla="*/ 622618 h 3641849"/>
                <a:gd name="connsiteX104" fmla="*/ 1340789 w 1573156"/>
                <a:gd name="connsiteY104" fmla="*/ 591288 h 3641849"/>
                <a:gd name="connsiteX105" fmla="*/ 1260263 w 1573156"/>
                <a:gd name="connsiteY105" fmla="*/ 545048 h 3641849"/>
                <a:gd name="connsiteX106" fmla="*/ 1246408 w 1573156"/>
                <a:gd name="connsiteY106" fmla="*/ 472648 h 3641849"/>
                <a:gd name="connsiteX107" fmla="*/ 1246408 w 1573156"/>
                <a:gd name="connsiteY107" fmla="*/ 454548 h 3641849"/>
                <a:gd name="connsiteX108" fmla="*/ 1257491 w 1573156"/>
                <a:gd name="connsiteY108" fmla="*/ 431276 h 3641849"/>
                <a:gd name="connsiteX109" fmla="*/ 1260263 w 1573156"/>
                <a:gd name="connsiteY109" fmla="*/ 415762 h 3641849"/>
                <a:gd name="connsiteX110" fmla="*/ 1260262 w 1573156"/>
                <a:gd name="connsiteY110" fmla="*/ 358878 h 3641849"/>
                <a:gd name="connsiteX111" fmla="*/ 1238094 w 1573156"/>
                <a:gd name="connsiteY111" fmla="*/ 335607 h 3641849"/>
                <a:gd name="connsiteX112" fmla="*/ 1210384 w 1573156"/>
                <a:gd name="connsiteY112" fmla="*/ 304578 h 3641849"/>
                <a:gd name="connsiteX113" fmla="*/ 1206216 w 1573156"/>
                <a:gd name="connsiteY113" fmla="*/ 280325 h 3641849"/>
                <a:gd name="connsiteX114" fmla="*/ 1257492 w 1573156"/>
                <a:gd name="connsiteY114" fmla="*/ 258034 h 3641849"/>
                <a:gd name="connsiteX115" fmla="*/ 1311072 w 1573156"/>
                <a:gd name="connsiteY115" fmla="*/ 267906 h 3641849"/>
                <a:gd name="connsiteX116" fmla="*/ 1389856 w 1573156"/>
                <a:gd name="connsiteY116" fmla="*/ 279816 h 3641849"/>
                <a:gd name="connsiteX117" fmla="*/ 1474179 w 1573156"/>
                <a:gd name="connsiteY117" fmla="*/ 349175 h 3641849"/>
                <a:gd name="connsiteX118" fmla="*/ 1536314 w 1573156"/>
                <a:gd name="connsiteY118" fmla="*/ 425271 h 3641849"/>
                <a:gd name="connsiteX119" fmla="*/ 1435343 w 1573156"/>
                <a:gd name="connsiteY119" fmla="*/ 454265 h 3641849"/>
                <a:gd name="connsiteX120" fmla="*/ 1419809 w 1573156"/>
                <a:gd name="connsiteY120" fmla="*/ 501372 h 3641849"/>
                <a:gd name="connsiteX121" fmla="*/ 1477479 w 1573156"/>
                <a:gd name="connsiteY121" fmla="*/ 585862 h 3641849"/>
                <a:gd name="connsiteX122" fmla="*/ 1513013 w 1573156"/>
                <a:gd name="connsiteY122" fmla="*/ 591964 h 3641849"/>
                <a:gd name="connsiteX123" fmla="*/ 1565633 w 1573156"/>
                <a:gd name="connsiteY123" fmla="*/ 598304 h 3641849"/>
                <a:gd name="connsiteX124" fmla="*/ 1560670 w 1573156"/>
                <a:gd name="connsiteY124" fmla="*/ 709079 h 3641849"/>
                <a:gd name="connsiteX125" fmla="*/ 1571739 w 1573156"/>
                <a:gd name="connsiteY125" fmla="*/ 1040047 h 3641849"/>
                <a:gd name="connsiteX126" fmla="*/ 1562871 w 1573156"/>
                <a:gd name="connsiteY126" fmla="*/ 1842646 h 3641849"/>
                <a:gd name="connsiteX127" fmla="*/ 1571738 w 1573156"/>
                <a:gd name="connsiteY127" fmla="*/ 2297728 h 3641849"/>
                <a:gd name="connsiteX128" fmla="*/ 1545290 w 1573156"/>
                <a:gd name="connsiteY128" fmla="*/ 3607693 h 3641849"/>
                <a:gd name="connsiteX129" fmla="*/ 1286863 w 1573156"/>
                <a:gd name="connsiteY129" fmla="*/ 3564098 h 3641849"/>
                <a:gd name="connsiteX130" fmla="*/ 1118385 w 1573156"/>
                <a:gd name="connsiteY130" fmla="*/ 3497903 h 3641849"/>
                <a:gd name="connsiteX131" fmla="*/ 941039 w 1573156"/>
                <a:gd name="connsiteY131" fmla="*/ 3406887 h 3641849"/>
                <a:gd name="connsiteX132" fmla="*/ 842741 w 1573156"/>
                <a:gd name="connsiteY132" fmla="*/ 3326370 h 3641849"/>
                <a:gd name="connsiteX133" fmla="*/ 1137003 w 1573156"/>
                <a:gd name="connsiteY133" fmla="*/ 3018734 h 3641849"/>
                <a:gd name="connsiteX134" fmla="*/ 853249 w 1573156"/>
                <a:gd name="connsiteY134" fmla="*/ 2480910 h 3641849"/>
                <a:gd name="connsiteX135" fmla="*/ 557777 w 1573156"/>
                <a:gd name="connsiteY135" fmla="*/ 2715007 h 3641849"/>
                <a:gd name="connsiteX136" fmla="*/ 531809 w 1573156"/>
                <a:gd name="connsiteY136" fmla="*/ 2657256 h 3641849"/>
                <a:gd name="connsiteX137" fmla="*/ 660385 w 1573156"/>
                <a:gd name="connsiteY137" fmla="*/ 2391963 h 3641849"/>
                <a:gd name="connsiteX138" fmla="*/ 136108 w 1573156"/>
                <a:gd name="connsiteY138" fmla="*/ 2193381 h 3641849"/>
                <a:gd name="connsiteX0" fmla="*/ 136108 w 1573156"/>
                <a:gd name="connsiteY0" fmla="*/ 2193381 h 3641849"/>
                <a:gd name="connsiteX1" fmla="*/ 101813 w 1573156"/>
                <a:gd name="connsiteY1" fmla="*/ 2061836 h 3641849"/>
                <a:gd name="connsiteX2" fmla="*/ 74102 w 1573156"/>
                <a:gd name="connsiteY2" fmla="*/ 2030807 h 3641849"/>
                <a:gd name="connsiteX3" fmla="*/ 76875 w 1573156"/>
                <a:gd name="connsiteY3" fmla="*/ 2020467 h 3641849"/>
                <a:gd name="connsiteX4" fmla="*/ 118439 w 1573156"/>
                <a:gd name="connsiteY4" fmla="*/ 1992023 h 3641849"/>
                <a:gd name="connsiteX5" fmla="*/ 82416 w 1573156"/>
                <a:gd name="connsiteY5" fmla="*/ 1963580 h 3641849"/>
                <a:gd name="connsiteX6" fmla="*/ 51935 w 1573156"/>
                <a:gd name="connsiteY6" fmla="*/ 1927380 h 3641849"/>
                <a:gd name="connsiteX7" fmla="*/ 40850 w 1573156"/>
                <a:gd name="connsiteY7" fmla="*/ 1893766 h 3641849"/>
                <a:gd name="connsiteX8" fmla="*/ 43621 w 1573156"/>
                <a:gd name="connsiteY8" fmla="*/ 1844639 h 3641849"/>
                <a:gd name="connsiteX9" fmla="*/ 82416 w 1573156"/>
                <a:gd name="connsiteY9" fmla="*/ 1826538 h 3641849"/>
                <a:gd name="connsiteX10" fmla="*/ 112899 w 1573156"/>
                <a:gd name="connsiteY10" fmla="*/ 1782581 h 3641849"/>
                <a:gd name="connsiteX11" fmla="*/ 96271 w 1573156"/>
                <a:gd name="connsiteY11" fmla="*/ 1754138 h 3641849"/>
                <a:gd name="connsiteX12" fmla="*/ 40851 w 1573156"/>
                <a:gd name="connsiteY12" fmla="*/ 1746381 h 3641849"/>
                <a:gd name="connsiteX13" fmla="*/ 2057 w 1573156"/>
                <a:gd name="connsiteY13" fmla="*/ 1730867 h 3641849"/>
                <a:gd name="connsiteX14" fmla="*/ 38079 w 1573156"/>
                <a:gd name="connsiteY14" fmla="*/ 1689496 h 3641849"/>
                <a:gd name="connsiteX15" fmla="*/ 18683 w 1573156"/>
                <a:gd name="connsiteY15" fmla="*/ 1679153 h 3641849"/>
                <a:gd name="connsiteX16" fmla="*/ 2055 w 1573156"/>
                <a:gd name="connsiteY16" fmla="*/ 1640367 h 3641849"/>
                <a:gd name="connsiteX17" fmla="*/ 65790 w 1573156"/>
                <a:gd name="connsiteY17" fmla="*/ 1650711 h 3641849"/>
                <a:gd name="connsiteX18" fmla="*/ 93501 w 1573156"/>
                <a:gd name="connsiteY18" fmla="*/ 1627440 h 3641849"/>
                <a:gd name="connsiteX19" fmla="*/ 187716 w 1573156"/>
                <a:gd name="connsiteY19" fmla="*/ 1536941 h 3641849"/>
                <a:gd name="connsiteX20" fmla="*/ 212655 w 1573156"/>
                <a:gd name="connsiteY20" fmla="*/ 1505912 h 3641849"/>
                <a:gd name="connsiteX21" fmla="*/ 198801 w 1573156"/>
                <a:gd name="connsiteY21" fmla="*/ 1555040 h 3641849"/>
                <a:gd name="connsiteX22" fmla="*/ 218197 w 1573156"/>
                <a:gd name="connsiteY22" fmla="*/ 1588655 h 3641849"/>
                <a:gd name="connsiteX23" fmla="*/ 262534 w 1573156"/>
                <a:gd name="connsiteY23" fmla="*/ 1666225 h 3641849"/>
                <a:gd name="connsiteX24" fmla="*/ 331810 w 1573156"/>
                <a:gd name="connsiteY24" fmla="*/ 1653297 h 3641849"/>
                <a:gd name="connsiteX25" fmla="*/ 351206 w 1573156"/>
                <a:gd name="connsiteY25" fmla="*/ 1622268 h 3641849"/>
                <a:gd name="connsiteX26" fmla="*/ 365062 w 1573156"/>
                <a:gd name="connsiteY26" fmla="*/ 1557627 h 3641849"/>
                <a:gd name="connsiteX27" fmla="*/ 304099 w 1573156"/>
                <a:gd name="connsiteY27" fmla="*/ 1511084 h 3641849"/>
                <a:gd name="connsiteX28" fmla="*/ 259763 w 1573156"/>
                <a:gd name="connsiteY28" fmla="*/ 1485227 h 3641849"/>
                <a:gd name="connsiteX29" fmla="*/ 198801 w 1573156"/>
                <a:gd name="connsiteY29" fmla="*/ 1495570 h 3641849"/>
                <a:gd name="connsiteX30" fmla="*/ 376147 w 1573156"/>
                <a:gd name="connsiteY30" fmla="*/ 1299057 h 3641849"/>
                <a:gd name="connsiteX31" fmla="*/ 223740 w 1573156"/>
                <a:gd name="connsiteY31" fmla="*/ 1151672 h 3641849"/>
                <a:gd name="connsiteX32" fmla="*/ 284703 w 1573156"/>
                <a:gd name="connsiteY32" fmla="*/ 1089617 h 3641849"/>
                <a:gd name="connsiteX33" fmla="*/ 218198 w 1573156"/>
                <a:gd name="connsiteY33" fmla="*/ 1050829 h 3641849"/>
                <a:gd name="connsiteX34" fmla="*/ 259763 w 1573156"/>
                <a:gd name="connsiteY34" fmla="*/ 1019802 h 3641849"/>
                <a:gd name="connsiteX35" fmla="*/ 212657 w 1573156"/>
                <a:gd name="connsiteY35" fmla="*/ 993947 h 3641849"/>
                <a:gd name="connsiteX36" fmla="*/ 212656 w 1573156"/>
                <a:gd name="connsiteY36" fmla="*/ 794845 h 3641849"/>
                <a:gd name="connsiteX37" fmla="*/ 251451 w 1573156"/>
                <a:gd name="connsiteY37" fmla="*/ 779332 h 3641849"/>
                <a:gd name="connsiteX38" fmla="*/ 137838 w 1573156"/>
                <a:gd name="connsiteY38" fmla="*/ 551792 h 3641849"/>
                <a:gd name="connsiteX39" fmla="*/ 135067 w 1573156"/>
                <a:gd name="connsiteY39" fmla="*/ 551792 h 3641849"/>
                <a:gd name="connsiteX40" fmla="*/ 184945 w 1573156"/>
                <a:gd name="connsiteY40" fmla="*/ 469048 h 3641849"/>
                <a:gd name="connsiteX41" fmla="*/ 201571 w 1573156"/>
                <a:gd name="connsiteY41" fmla="*/ 378550 h 3641849"/>
                <a:gd name="connsiteX42" fmla="*/ 126752 w 1573156"/>
                <a:gd name="connsiteY42" fmla="*/ 319079 h 3641849"/>
                <a:gd name="connsiteX43" fmla="*/ 118440 w 1573156"/>
                <a:gd name="connsiteY43" fmla="*/ 251851 h 3641849"/>
                <a:gd name="connsiteX44" fmla="*/ 173860 w 1573156"/>
                <a:gd name="connsiteY44" fmla="*/ 158764 h 3641849"/>
                <a:gd name="connsiteX45" fmla="*/ 193258 w 1573156"/>
                <a:gd name="connsiteY45" fmla="*/ 135494 h 3641849"/>
                <a:gd name="connsiteX46" fmla="*/ 207113 w 1573156"/>
                <a:gd name="connsiteY46" fmla="*/ 117394 h 3641849"/>
                <a:gd name="connsiteX47" fmla="*/ 215426 w 1573156"/>
                <a:gd name="connsiteY47" fmla="*/ 73438 h 3641849"/>
                <a:gd name="connsiteX48" fmla="*/ 240365 w 1573156"/>
                <a:gd name="connsiteY48" fmla="*/ 101880 h 3641849"/>
                <a:gd name="connsiteX49" fmla="*/ 270847 w 1573156"/>
                <a:gd name="connsiteY49" fmla="*/ 88952 h 3641849"/>
                <a:gd name="connsiteX50" fmla="*/ 273617 w 1573156"/>
                <a:gd name="connsiteY50" fmla="*/ 63095 h 3641849"/>
                <a:gd name="connsiteX51" fmla="*/ 281931 w 1573156"/>
                <a:gd name="connsiteY51" fmla="*/ 34652 h 3641849"/>
                <a:gd name="connsiteX52" fmla="*/ 284703 w 1573156"/>
                <a:gd name="connsiteY52" fmla="*/ 3624 h 3641849"/>
                <a:gd name="connsiteX53" fmla="*/ 420483 w 1573156"/>
                <a:gd name="connsiteY53" fmla="*/ 57924 h 3641849"/>
                <a:gd name="connsiteX54" fmla="*/ 450963 w 1573156"/>
                <a:gd name="connsiteY54" fmla="*/ 161352 h 3641849"/>
                <a:gd name="connsiteX55" fmla="*/ 464819 w 1573156"/>
                <a:gd name="connsiteY55" fmla="*/ 184622 h 3641849"/>
                <a:gd name="connsiteX56" fmla="*/ 475903 w 1573156"/>
                <a:gd name="connsiteY56" fmla="*/ 187208 h 3641849"/>
                <a:gd name="connsiteX57" fmla="*/ 589515 w 1573156"/>
                <a:gd name="connsiteY57" fmla="*/ 156181 h 3641849"/>
                <a:gd name="connsiteX58" fmla="*/ 656020 w 1573156"/>
                <a:gd name="connsiteY58" fmla="*/ 166522 h 3641849"/>
                <a:gd name="connsiteX59" fmla="*/ 719754 w 1573156"/>
                <a:gd name="connsiteY59" fmla="*/ 213065 h 3641849"/>
                <a:gd name="connsiteX60" fmla="*/ 733781 w 1573156"/>
                <a:gd name="connsiteY60" fmla="*/ 242621 h 3641849"/>
                <a:gd name="connsiteX61" fmla="*/ 789028 w 1573156"/>
                <a:gd name="connsiteY61" fmla="*/ 277708 h 3641849"/>
                <a:gd name="connsiteX62" fmla="*/ 877702 w 1573156"/>
                <a:gd name="connsiteY62" fmla="*/ 303563 h 3641849"/>
                <a:gd name="connsiteX63" fmla="*/ 949748 w 1573156"/>
                <a:gd name="connsiteY63" fmla="*/ 350106 h 3641849"/>
                <a:gd name="connsiteX64" fmla="*/ 999627 w 1573156"/>
                <a:gd name="connsiteY64" fmla="*/ 401820 h 3641849"/>
                <a:gd name="connsiteX65" fmla="*/ 1024566 w 1573156"/>
                <a:gd name="connsiteY65" fmla="*/ 440606 h 3641849"/>
                <a:gd name="connsiteX66" fmla="*/ 1057819 w 1573156"/>
                <a:gd name="connsiteY66" fmla="*/ 466462 h 3641849"/>
                <a:gd name="connsiteX67" fmla="*/ 1041191 w 1573156"/>
                <a:gd name="connsiteY67" fmla="*/ 691417 h 3641849"/>
                <a:gd name="connsiteX68" fmla="*/ 913725 w 1573156"/>
                <a:gd name="connsiteY68" fmla="*/ 771575 h 3641849"/>
                <a:gd name="connsiteX69" fmla="*/ 800113 w 1573156"/>
                <a:gd name="connsiteY69" fmla="*/ 779331 h 3641849"/>
                <a:gd name="connsiteX70" fmla="*/ 661560 w 1573156"/>
                <a:gd name="connsiteY70" fmla="*/ 758645 h 3641849"/>
                <a:gd name="connsiteX71" fmla="*/ 570116 w 1573156"/>
                <a:gd name="connsiteY71" fmla="*/ 722445 h 3641849"/>
                <a:gd name="connsiteX72" fmla="*/ 550719 w 1573156"/>
                <a:gd name="connsiteY72" fmla="*/ 750888 h 3641849"/>
                <a:gd name="connsiteX73" fmla="*/ 581361 w 1573156"/>
                <a:gd name="connsiteY73" fmla="*/ 824301 h 3641849"/>
                <a:gd name="connsiteX74" fmla="*/ 586902 w 1573156"/>
                <a:gd name="connsiteY74" fmla="*/ 951000 h 3641849"/>
                <a:gd name="connsiteX75" fmla="*/ 559032 w 1573156"/>
                <a:gd name="connsiteY75" fmla="*/ 1012043 h 3641849"/>
                <a:gd name="connsiteX76" fmla="*/ 614451 w 1573156"/>
                <a:gd name="connsiteY76" fmla="*/ 1032728 h 3641849"/>
                <a:gd name="connsiteX77" fmla="*/ 631079 w 1573156"/>
                <a:gd name="connsiteY77" fmla="*/ 1048242 h 3641849"/>
                <a:gd name="connsiteX78" fmla="*/ 656019 w 1573156"/>
                <a:gd name="connsiteY78" fmla="*/ 1074099 h 3641849"/>
                <a:gd name="connsiteX79" fmla="*/ 653248 w 1573156"/>
                <a:gd name="connsiteY79" fmla="*/ 1076685 h 3641849"/>
                <a:gd name="connsiteX80" fmla="*/ 692041 w 1573156"/>
                <a:gd name="connsiteY80" fmla="*/ 1071514 h 3641849"/>
                <a:gd name="connsiteX81" fmla="*/ 700355 w 1573156"/>
                <a:gd name="connsiteY81" fmla="*/ 1035314 h 3641849"/>
                <a:gd name="connsiteX82" fmla="*/ 661560 w 1573156"/>
                <a:gd name="connsiteY82" fmla="*/ 957743 h 3641849"/>
                <a:gd name="connsiteX83" fmla="*/ 730836 w 1573156"/>
                <a:gd name="connsiteY83" fmla="*/ 911200 h 3641849"/>
                <a:gd name="connsiteX84" fmla="*/ 798608 w 1573156"/>
                <a:gd name="connsiteY84" fmla="*/ 918934 h 3641849"/>
                <a:gd name="connsiteX85" fmla="*/ 822441 w 1573156"/>
                <a:gd name="connsiteY85" fmla="*/ 951001 h 3641849"/>
                <a:gd name="connsiteX86" fmla="*/ 978170 w 1573156"/>
                <a:gd name="connsiteY86" fmla="*/ 1007364 h 3641849"/>
                <a:gd name="connsiteX87" fmla="*/ 963762 w 1573156"/>
                <a:gd name="connsiteY87" fmla="*/ 971687 h 3641849"/>
                <a:gd name="connsiteX88" fmla="*/ 930510 w 1573156"/>
                <a:gd name="connsiteY88" fmla="*/ 932901 h 3641849"/>
                <a:gd name="connsiteX89" fmla="*/ 919426 w 1573156"/>
                <a:gd name="connsiteY89" fmla="*/ 881187 h 3641849"/>
                <a:gd name="connsiteX90" fmla="*/ 958221 w 1573156"/>
                <a:gd name="connsiteY90" fmla="*/ 832060 h 3641849"/>
                <a:gd name="connsiteX91" fmla="*/ 985931 w 1573156"/>
                <a:gd name="connsiteY91" fmla="*/ 803617 h 3641849"/>
                <a:gd name="connsiteX92" fmla="*/ 1010871 w 1573156"/>
                <a:gd name="connsiteY92" fmla="*/ 767417 h 3641849"/>
                <a:gd name="connsiteX93" fmla="*/ 1091231 w 1573156"/>
                <a:gd name="connsiteY93" fmla="*/ 762245 h 3641849"/>
                <a:gd name="connsiteX94" fmla="*/ 1096772 w 1573156"/>
                <a:gd name="connsiteY94" fmla="*/ 741560 h 3641849"/>
                <a:gd name="connsiteX95" fmla="*/ 1121712 w 1573156"/>
                <a:gd name="connsiteY95" fmla="*/ 705360 h 3641849"/>
                <a:gd name="connsiteX96" fmla="*/ 1155516 w 1573156"/>
                <a:gd name="connsiteY96" fmla="*/ 687772 h 3641849"/>
                <a:gd name="connsiteX97" fmla="*/ 1213156 w 1573156"/>
                <a:gd name="connsiteY97" fmla="*/ 700189 h 3641849"/>
                <a:gd name="connsiteX98" fmla="*/ 1251949 w 1573156"/>
                <a:gd name="connsiteY98" fmla="*/ 720875 h 3641849"/>
                <a:gd name="connsiteX99" fmla="*/ 1299057 w 1573156"/>
                <a:gd name="connsiteY99" fmla="*/ 728632 h 3641849"/>
                <a:gd name="connsiteX100" fmla="*/ 1299057 w 1573156"/>
                <a:gd name="connsiteY100" fmla="*/ 733803 h 3641849"/>
                <a:gd name="connsiteX101" fmla="*/ 1321226 w 1573156"/>
                <a:gd name="connsiteY101" fmla="*/ 674332 h 3641849"/>
                <a:gd name="connsiteX102" fmla="*/ 1331201 w 1573156"/>
                <a:gd name="connsiteY102" fmla="*/ 640714 h 3641849"/>
                <a:gd name="connsiteX103" fmla="*/ 1337852 w 1573156"/>
                <a:gd name="connsiteY103" fmla="*/ 622618 h 3641849"/>
                <a:gd name="connsiteX104" fmla="*/ 1340789 w 1573156"/>
                <a:gd name="connsiteY104" fmla="*/ 591288 h 3641849"/>
                <a:gd name="connsiteX105" fmla="*/ 1260263 w 1573156"/>
                <a:gd name="connsiteY105" fmla="*/ 545048 h 3641849"/>
                <a:gd name="connsiteX106" fmla="*/ 1246408 w 1573156"/>
                <a:gd name="connsiteY106" fmla="*/ 472648 h 3641849"/>
                <a:gd name="connsiteX107" fmla="*/ 1246408 w 1573156"/>
                <a:gd name="connsiteY107" fmla="*/ 454548 h 3641849"/>
                <a:gd name="connsiteX108" fmla="*/ 1257491 w 1573156"/>
                <a:gd name="connsiteY108" fmla="*/ 431276 h 3641849"/>
                <a:gd name="connsiteX109" fmla="*/ 1260263 w 1573156"/>
                <a:gd name="connsiteY109" fmla="*/ 415762 h 3641849"/>
                <a:gd name="connsiteX110" fmla="*/ 1260262 w 1573156"/>
                <a:gd name="connsiteY110" fmla="*/ 358878 h 3641849"/>
                <a:gd name="connsiteX111" fmla="*/ 1238094 w 1573156"/>
                <a:gd name="connsiteY111" fmla="*/ 335607 h 3641849"/>
                <a:gd name="connsiteX112" fmla="*/ 1210384 w 1573156"/>
                <a:gd name="connsiteY112" fmla="*/ 304578 h 3641849"/>
                <a:gd name="connsiteX113" fmla="*/ 1206216 w 1573156"/>
                <a:gd name="connsiteY113" fmla="*/ 280325 h 3641849"/>
                <a:gd name="connsiteX114" fmla="*/ 1257492 w 1573156"/>
                <a:gd name="connsiteY114" fmla="*/ 258034 h 3641849"/>
                <a:gd name="connsiteX115" fmla="*/ 1311072 w 1573156"/>
                <a:gd name="connsiteY115" fmla="*/ 267906 h 3641849"/>
                <a:gd name="connsiteX116" fmla="*/ 1389856 w 1573156"/>
                <a:gd name="connsiteY116" fmla="*/ 279816 h 3641849"/>
                <a:gd name="connsiteX117" fmla="*/ 1474179 w 1573156"/>
                <a:gd name="connsiteY117" fmla="*/ 349175 h 3641849"/>
                <a:gd name="connsiteX118" fmla="*/ 1536314 w 1573156"/>
                <a:gd name="connsiteY118" fmla="*/ 425271 h 3641849"/>
                <a:gd name="connsiteX119" fmla="*/ 1435343 w 1573156"/>
                <a:gd name="connsiteY119" fmla="*/ 454265 h 3641849"/>
                <a:gd name="connsiteX120" fmla="*/ 1419809 w 1573156"/>
                <a:gd name="connsiteY120" fmla="*/ 501372 h 3641849"/>
                <a:gd name="connsiteX121" fmla="*/ 1477479 w 1573156"/>
                <a:gd name="connsiteY121" fmla="*/ 585862 h 3641849"/>
                <a:gd name="connsiteX122" fmla="*/ 1513013 w 1573156"/>
                <a:gd name="connsiteY122" fmla="*/ 591964 h 3641849"/>
                <a:gd name="connsiteX123" fmla="*/ 1565633 w 1573156"/>
                <a:gd name="connsiteY123" fmla="*/ 598304 h 3641849"/>
                <a:gd name="connsiteX124" fmla="*/ 1560670 w 1573156"/>
                <a:gd name="connsiteY124" fmla="*/ 709079 h 3641849"/>
                <a:gd name="connsiteX125" fmla="*/ 1571739 w 1573156"/>
                <a:gd name="connsiteY125" fmla="*/ 1040047 h 3641849"/>
                <a:gd name="connsiteX126" fmla="*/ 1562871 w 1573156"/>
                <a:gd name="connsiteY126" fmla="*/ 1842646 h 3641849"/>
                <a:gd name="connsiteX127" fmla="*/ 1571738 w 1573156"/>
                <a:gd name="connsiteY127" fmla="*/ 2297728 h 3641849"/>
                <a:gd name="connsiteX128" fmla="*/ 1545290 w 1573156"/>
                <a:gd name="connsiteY128" fmla="*/ 3607693 h 3641849"/>
                <a:gd name="connsiteX129" fmla="*/ 1286863 w 1573156"/>
                <a:gd name="connsiteY129" fmla="*/ 3564098 h 3641849"/>
                <a:gd name="connsiteX130" fmla="*/ 1118385 w 1573156"/>
                <a:gd name="connsiteY130" fmla="*/ 3497903 h 3641849"/>
                <a:gd name="connsiteX131" fmla="*/ 941039 w 1573156"/>
                <a:gd name="connsiteY131" fmla="*/ 3406887 h 3641849"/>
                <a:gd name="connsiteX132" fmla="*/ 842741 w 1573156"/>
                <a:gd name="connsiteY132" fmla="*/ 3326370 h 3641849"/>
                <a:gd name="connsiteX133" fmla="*/ 1137003 w 1573156"/>
                <a:gd name="connsiteY133" fmla="*/ 3018734 h 3641849"/>
                <a:gd name="connsiteX134" fmla="*/ 853249 w 1573156"/>
                <a:gd name="connsiteY134" fmla="*/ 2480910 h 3641849"/>
                <a:gd name="connsiteX135" fmla="*/ 557777 w 1573156"/>
                <a:gd name="connsiteY135" fmla="*/ 2715007 h 3641849"/>
                <a:gd name="connsiteX136" fmla="*/ 531809 w 1573156"/>
                <a:gd name="connsiteY136" fmla="*/ 2657256 h 3641849"/>
                <a:gd name="connsiteX137" fmla="*/ 660385 w 1573156"/>
                <a:gd name="connsiteY137" fmla="*/ 2391963 h 3641849"/>
                <a:gd name="connsiteX138" fmla="*/ 136108 w 1573156"/>
                <a:gd name="connsiteY138" fmla="*/ 2193381 h 3641849"/>
                <a:gd name="connsiteX0" fmla="*/ 136108 w 1573156"/>
                <a:gd name="connsiteY0" fmla="*/ 2193381 h 3641849"/>
                <a:gd name="connsiteX1" fmla="*/ 82416 w 1573156"/>
                <a:gd name="connsiteY1" fmla="*/ 2090278 h 3641849"/>
                <a:gd name="connsiteX2" fmla="*/ 74102 w 1573156"/>
                <a:gd name="connsiteY2" fmla="*/ 2030807 h 3641849"/>
                <a:gd name="connsiteX3" fmla="*/ 76875 w 1573156"/>
                <a:gd name="connsiteY3" fmla="*/ 2020467 h 3641849"/>
                <a:gd name="connsiteX4" fmla="*/ 118439 w 1573156"/>
                <a:gd name="connsiteY4" fmla="*/ 1992023 h 3641849"/>
                <a:gd name="connsiteX5" fmla="*/ 82416 w 1573156"/>
                <a:gd name="connsiteY5" fmla="*/ 1963580 h 3641849"/>
                <a:gd name="connsiteX6" fmla="*/ 51935 w 1573156"/>
                <a:gd name="connsiteY6" fmla="*/ 1927380 h 3641849"/>
                <a:gd name="connsiteX7" fmla="*/ 40850 w 1573156"/>
                <a:gd name="connsiteY7" fmla="*/ 1893766 h 3641849"/>
                <a:gd name="connsiteX8" fmla="*/ 43621 w 1573156"/>
                <a:gd name="connsiteY8" fmla="*/ 1844639 h 3641849"/>
                <a:gd name="connsiteX9" fmla="*/ 82416 w 1573156"/>
                <a:gd name="connsiteY9" fmla="*/ 1826538 h 3641849"/>
                <a:gd name="connsiteX10" fmla="*/ 112899 w 1573156"/>
                <a:gd name="connsiteY10" fmla="*/ 1782581 h 3641849"/>
                <a:gd name="connsiteX11" fmla="*/ 96271 w 1573156"/>
                <a:gd name="connsiteY11" fmla="*/ 1754138 h 3641849"/>
                <a:gd name="connsiteX12" fmla="*/ 40851 w 1573156"/>
                <a:gd name="connsiteY12" fmla="*/ 1746381 h 3641849"/>
                <a:gd name="connsiteX13" fmla="*/ 2057 w 1573156"/>
                <a:gd name="connsiteY13" fmla="*/ 1730867 h 3641849"/>
                <a:gd name="connsiteX14" fmla="*/ 38079 w 1573156"/>
                <a:gd name="connsiteY14" fmla="*/ 1689496 h 3641849"/>
                <a:gd name="connsiteX15" fmla="*/ 18683 w 1573156"/>
                <a:gd name="connsiteY15" fmla="*/ 1679153 h 3641849"/>
                <a:gd name="connsiteX16" fmla="*/ 2055 w 1573156"/>
                <a:gd name="connsiteY16" fmla="*/ 1640367 h 3641849"/>
                <a:gd name="connsiteX17" fmla="*/ 65790 w 1573156"/>
                <a:gd name="connsiteY17" fmla="*/ 1650711 h 3641849"/>
                <a:gd name="connsiteX18" fmla="*/ 93501 w 1573156"/>
                <a:gd name="connsiteY18" fmla="*/ 1627440 h 3641849"/>
                <a:gd name="connsiteX19" fmla="*/ 187716 w 1573156"/>
                <a:gd name="connsiteY19" fmla="*/ 1536941 h 3641849"/>
                <a:gd name="connsiteX20" fmla="*/ 212655 w 1573156"/>
                <a:gd name="connsiteY20" fmla="*/ 1505912 h 3641849"/>
                <a:gd name="connsiteX21" fmla="*/ 198801 w 1573156"/>
                <a:gd name="connsiteY21" fmla="*/ 1555040 h 3641849"/>
                <a:gd name="connsiteX22" fmla="*/ 218197 w 1573156"/>
                <a:gd name="connsiteY22" fmla="*/ 1588655 h 3641849"/>
                <a:gd name="connsiteX23" fmla="*/ 262534 w 1573156"/>
                <a:gd name="connsiteY23" fmla="*/ 1666225 h 3641849"/>
                <a:gd name="connsiteX24" fmla="*/ 331810 w 1573156"/>
                <a:gd name="connsiteY24" fmla="*/ 1653297 h 3641849"/>
                <a:gd name="connsiteX25" fmla="*/ 351206 w 1573156"/>
                <a:gd name="connsiteY25" fmla="*/ 1622268 h 3641849"/>
                <a:gd name="connsiteX26" fmla="*/ 365062 w 1573156"/>
                <a:gd name="connsiteY26" fmla="*/ 1557627 h 3641849"/>
                <a:gd name="connsiteX27" fmla="*/ 304099 w 1573156"/>
                <a:gd name="connsiteY27" fmla="*/ 1511084 h 3641849"/>
                <a:gd name="connsiteX28" fmla="*/ 259763 w 1573156"/>
                <a:gd name="connsiteY28" fmla="*/ 1485227 h 3641849"/>
                <a:gd name="connsiteX29" fmla="*/ 198801 w 1573156"/>
                <a:gd name="connsiteY29" fmla="*/ 1495570 h 3641849"/>
                <a:gd name="connsiteX30" fmla="*/ 376147 w 1573156"/>
                <a:gd name="connsiteY30" fmla="*/ 1299057 h 3641849"/>
                <a:gd name="connsiteX31" fmla="*/ 223740 w 1573156"/>
                <a:gd name="connsiteY31" fmla="*/ 1151672 h 3641849"/>
                <a:gd name="connsiteX32" fmla="*/ 284703 w 1573156"/>
                <a:gd name="connsiteY32" fmla="*/ 1089617 h 3641849"/>
                <a:gd name="connsiteX33" fmla="*/ 218198 w 1573156"/>
                <a:gd name="connsiteY33" fmla="*/ 1050829 h 3641849"/>
                <a:gd name="connsiteX34" fmla="*/ 259763 w 1573156"/>
                <a:gd name="connsiteY34" fmla="*/ 1019802 h 3641849"/>
                <a:gd name="connsiteX35" fmla="*/ 212657 w 1573156"/>
                <a:gd name="connsiteY35" fmla="*/ 993947 h 3641849"/>
                <a:gd name="connsiteX36" fmla="*/ 212656 w 1573156"/>
                <a:gd name="connsiteY36" fmla="*/ 794845 h 3641849"/>
                <a:gd name="connsiteX37" fmla="*/ 251451 w 1573156"/>
                <a:gd name="connsiteY37" fmla="*/ 779332 h 3641849"/>
                <a:gd name="connsiteX38" fmla="*/ 137838 w 1573156"/>
                <a:gd name="connsiteY38" fmla="*/ 551792 h 3641849"/>
                <a:gd name="connsiteX39" fmla="*/ 135067 w 1573156"/>
                <a:gd name="connsiteY39" fmla="*/ 551792 h 3641849"/>
                <a:gd name="connsiteX40" fmla="*/ 184945 w 1573156"/>
                <a:gd name="connsiteY40" fmla="*/ 469048 h 3641849"/>
                <a:gd name="connsiteX41" fmla="*/ 201571 w 1573156"/>
                <a:gd name="connsiteY41" fmla="*/ 378550 h 3641849"/>
                <a:gd name="connsiteX42" fmla="*/ 126752 w 1573156"/>
                <a:gd name="connsiteY42" fmla="*/ 319079 h 3641849"/>
                <a:gd name="connsiteX43" fmla="*/ 118440 w 1573156"/>
                <a:gd name="connsiteY43" fmla="*/ 251851 h 3641849"/>
                <a:gd name="connsiteX44" fmla="*/ 173860 w 1573156"/>
                <a:gd name="connsiteY44" fmla="*/ 158764 h 3641849"/>
                <a:gd name="connsiteX45" fmla="*/ 193258 w 1573156"/>
                <a:gd name="connsiteY45" fmla="*/ 135494 h 3641849"/>
                <a:gd name="connsiteX46" fmla="*/ 207113 w 1573156"/>
                <a:gd name="connsiteY46" fmla="*/ 117394 h 3641849"/>
                <a:gd name="connsiteX47" fmla="*/ 215426 w 1573156"/>
                <a:gd name="connsiteY47" fmla="*/ 73438 h 3641849"/>
                <a:gd name="connsiteX48" fmla="*/ 240365 w 1573156"/>
                <a:gd name="connsiteY48" fmla="*/ 101880 h 3641849"/>
                <a:gd name="connsiteX49" fmla="*/ 270847 w 1573156"/>
                <a:gd name="connsiteY49" fmla="*/ 88952 h 3641849"/>
                <a:gd name="connsiteX50" fmla="*/ 273617 w 1573156"/>
                <a:gd name="connsiteY50" fmla="*/ 63095 h 3641849"/>
                <a:gd name="connsiteX51" fmla="*/ 281931 w 1573156"/>
                <a:gd name="connsiteY51" fmla="*/ 34652 h 3641849"/>
                <a:gd name="connsiteX52" fmla="*/ 284703 w 1573156"/>
                <a:gd name="connsiteY52" fmla="*/ 3624 h 3641849"/>
                <a:gd name="connsiteX53" fmla="*/ 420483 w 1573156"/>
                <a:gd name="connsiteY53" fmla="*/ 57924 h 3641849"/>
                <a:gd name="connsiteX54" fmla="*/ 450963 w 1573156"/>
                <a:gd name="connsiteY54" fmla="*/ 161352 h 3641849"/>
                <a:gd name="connsiteX55" fmla="*/ 464819 w 1573156"/>
                <a:gd name="connsiteY55" fmla="*/ 184622 h 3641849"/>
                <a:gd name="connsiteX56" fmla="*/ 475903 w 1573156"/>
                <a:gd name="connsiteY56" fmla="*/ 187208 h 3641849"/>
                <a:gd name="connsiteX57" fmla="*/ 589515 w 1573156"/>
                <a:gd name="connsiteY57" fmla="*/ 156181 h 3641849"/>
                <a:gd name="connsiteX58" fmla="*/ 656020 w 1573156"/>
                <a:gd name="connsiteY58" fmla="*/ 166522 h 3641849"/>
                <a:gd name="connsiteX59" fmla="*/ 719754 w 1573156"/>
                <a:gd name="connsiteY59" fmla="*/ 213065 h 3641849"/>
                <a:gd name="connsiteX60" fmla="*/ 733781 w 1573156"/>
                <a:gd name="connsiteY60" fmla="*/ 242621 h 3641849"/>
                <a:gd name="connsiteX61" fmla="*/ 789028 w 1573156"/>
                <a:gd name="connsiteY61" fmla="*/ 277708 h 3641849"/>
                <a:gd name="connsiteX62" fmla="*/ 877702 w 1573156"/>
                <a:gd name="connsiteY62" fmla="*/ 303563 h 3641849"/>
                <a:gd name="connsiteX63" fmla="*/ 949748 w 1573156"/>
                <a:gd name="connsiteY63" fmla="*/ 350106 h 3641849"/>
                <a:gd name="connsiteX64" fmla="*/ 999627 w 1573156"/>
                <a:gd name="connsiteY64" fmla="*/ 401820 h 3641849"/>
                <a:gd name="connsiteX65" fmla="*/ 1024566 w 1573156"/>
                <a:gd name="connsiteY65" fmla="*/ 440606 h 3641849"/>
                <a:gd name="connsiteX66" fmla="*/ 1057819 w 1573156"/>
                <a:gd name="connsiteY66" fmla="*/ 466462 h 3641849"/>
                <a:gd name="connsiteX67" fmla="*/ 1041191 w 1573156"/>
                <a:gd name="connsiteY67" fmla="*/ 691417 h 3641849"/>
                <a:gd name="connsiteX68" fmla="*/ 913725 w 1573156"/>
                <a:gd name="connsiteY68" fmla="*/ 771575 h 3641849"/>
                <a:gd name="connsiteX69" fmla="*/ 800113 w 1573156"/>
                <a:gd name="connsiteY69" fmla="*/ 779331 h 3641849"/>
                <a:gd name="connsiteX70" fmla="*/ 661560 w 1573156"/>
                <a:gd name="connsiteY70" fmla="*/ 758645 h 3641849"/>
                <a:gd name="connsiteX71" fmla="*/ 570116 w 1573156"/>
                <a:gd name="connsiteY71" fmla="*/ 722445 h 3641849"/>
                <a:gd name="connsiteX72" fmla="*/ 550719 w 1573156"/>
                <a:gd name="connsiteY72" fmla="*/ 750888 h 3641849"/>
                <a:gd name="connsiteX73" fmla="*/ 581361 w 1573156"/>
                <a:gd name="connsiteY73" fmla="*/ 824301 h 3641849"/>
                <a:gd name="connsiteX74" fmla="*/ 586902 w 1573156"/>
                <a:gd name="connsiteY74" fmla="*/ 951000 h 3641849"/>
                <a:gd name="connsiteX75" fmla="*/ 559032 w 1573156"/>
                <a:gd name="connsiteY75" fmla="*/ 1012043 h 3641849"/>
                <a:gd name="connsiteX76" fmla="*/ 614451 w 1573156"/>
                <a:gd name="connsiteY76" fmla="*/ 1032728 h 3641849"/>
                <a:gd name="connsiteX77" fmla="*/ 631079 w 1573156"/>
                <a:gd name="connsiteY77" fmla="*/ 1048242 h 3641849"/>
                <a:gd name="connsiteX78" fmla="*/ 656019 w 1573156"/>
                <a:gd name="connsiteY78" fmla="*/ 1074099 h 3641849"/>
                <a:gd name="connsiteX79" fmla="*/ 653248 w 1573156"/>
                <a:gd name="connsiteY79" fmla="*/ 1076685 h 3641849"/>
                <a:gd name="connsiteX80" fmla="*/ 692041 w 1573156"/>
                <a:gd name="connsiteY80" fmla="*/ 1071514 h 3641849"/>
                <a:gd name="connsiteX81" fmla="*/ 700355 w 1573156"/>
                <a:gd name="connsiteY81" fmla="*/ 1035314 h 3641849"/>
                <a:gd name="connsiteX82" fmla="*/ 661560 w 1573156"/>
                <a:gd name="connsiteY82" fmla="*/ 957743 h 3641849"/>
                <a:gd name="connsiteX83" fmla="*/ 730836 w 1573156"/>
                <a:gd name="connsiteY83" fmla="*/ 911200 h 3641849"/>
                <a:gd name="connsiteX84" fmla="*/ 798608 w 1573156"/>
                <a:gd name="connsiteY84" fmla="*/ 918934 h 3641849"/>
                <a:gd name="connsiteX85" fmla="*/ 822441 w 1573156"/>
                <a:gd name="connsiteY85" fmla="*/ 951001 h 3641849"/>
                <a:gd name="connsiteX86" fmla="*/ 978170 w 1573156"/>
                <a:gd name="connsiteY86" fmla="*/ 1007364 h 3641849"/>
                <a:gd name="connsiteX87" fmla="*/ 963762 w 1573156"/>
                <a:gd name="connsiteY87" fmla="*/ 971687 h 3641849"/>
                <a:gd name="connsiteX88" fmla="*/ 930510 w 1573156"/>
                <a:gd name="connsiteY88" fmla="*/ 932901 h 3641849"/>
                <a:gd name="connsiteX89" fmla="*/ 919426 w 1573156"/>
                <a:gd name="connsiteY89" fmla="*/ 881187 h 3641849"/>
                <a:gd name="connsiteX90" fmla="*/ 958221 w 1573156"/>
                <a:gd name="connsiteY90" fmla="*/ 832060 h 3641849"/>
                <a:gd name="connsiteX91" fmla="*/ 985931 w 1573156"/>
                <a:gd name="connsiteY91" fmla="*/ 803617 h 3641849"/>
                <a:gd name="connsiteX92" fmla="*/ 1010871 w 1573156"/>
                <a:gd name="connsiteY92" fmla="*/ 767417 h 3641849"/>
                <a:gd name="connsiteX93" fmla="*/ 1091231 w 1573156"/>
                <a:gd name="connsiteY93" fmla="*/ 762245 h 3641849"/>
                <a:gd name="connsiteX94" fmla="*/ 1096772 w 1573156"/>
                <a:gd name="connsiteY94" fmla="*/ 741560 h 3641849"/>
                <a:gd name="connsiteX95" fmla="*/ 1121712 w 1573156"/>
                <a:gd name="connsiteY95" fmla="*/ 705360 h 3641849"/>
                <a:gd name="connsiteX96" fmla="*/ 1155516 w 1573156"/>
                <a:gd name="connsiteY96" fmla="*/ 687772 h 3641849"/>
                <a:gd name="connsiteX97" fmla="*/ 1213156 w 1573156"/>
                <a:gd name="connsiteY97" fmla="*/ 700189 h 3641849"/>
                <a:gd name="connsiteX98" fmla="*/ 1251949 w 1573156"/>
                <a:gd name="connsiteY98" fmla="*/ 720875 h 3641849"/>
                <a:gd name="connsiteX99" fmla="*/ 1299057 w 1573156"/>
                <a:gd name="connsiteY99" fmla="*/ 728632 h 3641849"/>
                <a:gd name="connsiteX100" fmla="*/ 1299057 w 1573156"/>
                <a:gd name="connsiteY100" fmla="*/ 733803 h 3641849"/>
                <a:gd name="connsiteX101" fmla="*/ 1321226 w 1573156"/>
                <a:gd name="connsiteY101" fmla="*/ 674332 h 3641849"/>
                <a:gd name="connsiteX102" fmla="*/ 1331201 w 1573156"/>
                <a:gd name="connsiteY102" fmla="*/ 640714 h 3641849"/>
                <a:gd name="connsiteX103" fmla="*/ 1337852 w 1573156"/>
                <a:gd name="connsiteY103" fmla="*/ 622618 h 3641849"/>
                <a:gd name="connsiteX104" fmla="*/ 1340789 w 1573156"/>
                <a:gd name="connsiteY104" fmla="*/ 591288 h 3641849"/>
                <a:gd name="connsiteX105" fmla="*/ 1260263 w 1573156"/>
                <a:gd name="connsiteY105" fmla="*/ 545048 h 3641849"/>
                <a:gd name="connsiteX106" fmla="*/ 1246408 w 1573156"/>
                <a:gd name="connsiteY106" fmla="*/ 472648 h 3641849"/>
                <a:gd name="connsiteX107" fmla="*/ 1246408 w 1573156"/>
                <a:gd name="connsiteY107" fmla="*/ 454548 h 3641849"/>
                <a:gd name="connsiteX108" fmla="*/ 1257491 w 1573156"/>
                <a:gd name="connsiteY108" fmla="*/ 431276 h 3641849"/>
                <a:gd name="connsiteX109" fmla="*/ 1260263 w 1573156"/>
                <a:gd name="connsiteY109" fmla="*/ 415762 h 3641849"/>
                <a:gd name="connsiteX110" fmla="*/ 1260262 w 1573156"/>
                <a:gd name="connsiteY110" fmla="*/ 358878 h 3641849"/>
                <a:gd name="connsiteX111" fmla="*/ 1238094 w 1573156"/>
                <a:gd name="connsiteY111" fmla="*/ 335607 h 3641849"/>
                <a:gd name="connsiteX112" fmla="*/ 1210384 w 1573156"/>
                <a:gd name="connsiteY112" fmla="*/ 304578 h 3641849"/>
                <a:gd name="connsiteX113" fmla="*/ 1206216 w 1573156"/>
                <a:gd name="connsiteY113" fmla="*/ 280325 h 3641849"/>
                <a:gd name="connsiteX114" fmla="*/ 1257492 w 1573156"/>
                <a:gd name="connsiteY114" fmla="*/ 258034 h 3641849"/>
                <a:gd name="connsiteX115" fmla="*/ 1311072 w 1573156"/>
                <a:gd name="connsiteY115" fmla="*/ 267906 h 3641849"/>
                <a:gd name="connsiteX116" fmla="*/ 1389856 w 1573156"/>
                <a:gd name="connsiteY116" fmla="*/ 279816 h 3641849"/>
                <a:gd name="connsiteX117" fmla="*/ 1474179 w 1573156"/>
                <a:gd name="connsiteY117" fmla="*/ 349175 h 3641849"/>
                <a:gd name="connsiteX118" fmla="*/ 1536314 w 1573156"/>
                <a:gd name="connsiteY118" fmla="*/ 425271 h 3641849"/>
                <a:gd name="connsiteX119" fmla="*/ 1435343 w 1573156"/>
                <a:gd name="connsiteY119" fmla="*/ 454265 h 3641849"/>
                <a:gd name="connsiteX120" fmla="*/ 1419809 w 1573156"/>
                <a:gd name="connsiteY120" fmla="*/ 501372 h 3641849"/>
                <a:gd name="connsiteX121" fmla="*/ 1477479 w 1573156"/>
                <a:gd name="connsiteY121" fmla="*/ 585862 h 3641849"/>
                <a:gd name="connsiteX122" fmla="*/ 1513013 w 1573156"/>
                <a:gd name="connsiteY122" fmla="*/ 591964 h 3641849"/>
                <a:gd name="connsiteX123" fmla="*/ 1565633 w 1573156"/>
                <a:gd name="connsiteY123" fmla="*/ 598304 h 3641849"/>
                <a:gd name="connsiteX124" fmla="*/ 1560670 w 1573156"/>
                <a:gd name="connsiteY124" fmla="*/ 709079 h 3641849"/>
                <a:gd name="connsiteX125" fmla="*/ 1571739 w 1573156"/>
                <a:gd name="connsiteY125" fmla="*/ 1040047 h 3641849"/>
                <a:gd name="connsiteX126" fmla="*/ 1562871 w 1573156"/>
                <a:gd name="connsiteY126" fmla="*/ 1842646 h 3641849"/>
                <a:gd name="connsiteX127" fmla="*/ 1571738 w 1573156"/>
                <a:gd name="connsiteY127" fmla="*/ 2297728 h 3641849"/>
                <a:gd name="connsiteX128" fmla="*/ 1545290 w 1573156"/>
                <a:gd name="connsiteY128" fmla="*/ 3607693 h 3641849"/>
                <a:gd name="connsiteX129" fmla="*/ 1286863 w 1573156"/>
                <a:gd name="connsiteY129" fmla="*/ 3564098 h 3641849"/>
                <a:gd name="connsiteX130" fmla="*/ 1118385 w 1573156"/>
                <a:gd name="connsiteY130" fmla="*/ 3497903 h 3641849"/>
                <a:gd name="connsiteX131" fmla="*/ 941039 w 1573156"/>
                <a:gd name="connsiteY131" fmla="*/ 3406887 h 3641849"/>
                <a:gd name="connsiteX132" fmla="*/ 842741 w 1573156"/>
                <a:gd name="connsiteY132" fmla="*/ 3326370 h 3641849"/>
                <a:gd name="connsiteX133" fmla="*/ 1137003 w 1573156"/>
                <a:gd name="connsiteY133" fmla="*/ 3018734 h 3641849"/>
                <a:gd name="connsiteX134" fmla="*/ 853249 w 1573156"/>
                <a:gd name="connsiteY134" fmla="*/ 2480910 h 3641849"/>
                <a:gd name="connsiteX135" fmla="*/ 557777 w 1573156"/>
                <a:gd name="connsiteY135" fmla="*/ 2715007 h 3641849"/>
                <a:gd name="connsiteX136" fmla="*/ 531809 w 1573156"/>
                <a:gd name="connsiteY136" fmla="*/ 2657256 h 3641849"/>
                <a:gd name="connsiteX137" fmla="*/ 660385 w 1573156"/>
                <a:gd name="connsiteY137" fmla="*/ 2391963 h 3641849"/>
                <a:gd name="connsiteX138" fmla="*/ 136108 w 1573156"/>
                <a:gd name="connsiteY138" fmla="*/ 2193381 h 3641849"/>
                <a:gd name="connsiteX0" fmla="*/ 136108 w 1573156"/>
                <a:gd name="connsiteY0" fmla="*/ 2193381 h 3641849"/>
                <a:gd name="connsiteX1" fmla="*/ 82416 w 1573156"/>
                <a:gd name="connsiteY1" fmla="*/ 2090278 h 3641849"/>
                <a:gd name="connsiteX2" fmla="*/ 74102 w 1573156"/>
                <a:gd name="connsiteY2" fmla="*/ 2030807 h 3641849"/>
                <a:gd name="connsiteX3" fmla="*/ 76875 w 1573156"/>
                <a:gd name="connsiteY3" fmla="*/ 2020467 h 3641849"/>
                <a:gd name="connsiteX4" fmla="*/ 118439 w 1573156"/>
                <a:gd name="connsiteY4" fmla="*/ 1992023 h 3641849"/>
                <a:gd name="connsiteX5" fmla="*/ 82416 w 1573156"/>
                <a:gd name="connsiteY5" fmla="*/ 1963580 h 3641849"/>
                <a:gd name="connsiteX6" fmla="*/ 51935 w 1573156"/>
                <a:gd name="connsiteY6" fmla="*/ 1927380 h 3641849"/>
                <a:gd name="connsiteX7" fmla="*/ 40850 w 1573156"/>
                <a:gd name="connsiteY7" fmla="*/ 1893766 h 3641849"/>
                <a:gd name="connsiteX8" fmla="*/ 43621 w 1573156"/>
                <a:gd name="connsiteY8" fmla="*/ 1844639 h 3641849"/>
                <a:gd name="connsiteX9" fmla="*/ 82416 w 1573156"/>
                <a:gd name="connsiteY9" fmla="*/ 1826538 h 3641849"/>
                <a:gd name="connsiteX10" fmla="*/ 112899 w 1573156"/>
                <a:gd name="connsiteY10" fmla="*/ 1782581 h 3641849"/>
                <a:gd name="connsiteX11" fmla="*/ 96271 w 1573156"/>
                <a:gd name="connsiteY11" fmla="*/ 1754138 h 3641849"/>
                <a:gd name="connsiteX12" fmla="*/ 40851 w 1573156"/>
                <a:gd name="connsiteY12" fmla="*/ 1746381 h 3641849"/>
                <a:gd name="connsiteX13" fmla="*/ 2057 w 1573156"/>
                <a:gd name="connsiteY13" fmla="*/ 1730867 h 3641849"/>
                <a:gd name="connsiteX14" fmla="*/ 38079 w 1573156"/>
                <a:gd name="connsiteY14" fmla="*/ 1689496 h 3641849"/>
                <a:gd name="connsiteX15" fmla="*/ 18683 w 1573156"/>
                <a:gd name="connsiteY15" fmla="*/ 1679153 h 3641849"/>
                <a:gd name="connsiteX16" fmla="*/ 2055 w 1573156"/>
                <a:gd name="connsiteY16" fmla="*/ 1640367 h 3641849"/>
                <a:gd name="connsiteX17" fmla="*/ 65790 w 1573156"/>
                <a:gd name="connsiteY17" fmla="*/ 1650711 h 3641849"/>
                <a:gd name="connsiteX18" fmla="*/ 93501 w 1573156"/>
                <a:gd name="connsiteY18" fmla="*/ 1627440 h 3641849"/>
                <a:gd name="connsiteX19" fmla="*/ 187716 w 1573156"/>
                <a:gd name="connsiteY19" fmla="*/ 1536941 h 3641849"/>
                <a:gd name="connsiteX20" fmla="*/ 212655 w 1573156"/>
                <a:gd name="connsiteY20" fmla="*/ 1505912 h 3641849"/>
                <a:gd name="connsiteX21" fmla="*/ 198801 w 1573156"/>
                <a:gd name="connsiteY21" fmla="*/ 1555040 h 3641849"/>
                <a:gd name="connsiteX22" fmla="*/ 218197 w 1573156"/>
                <a:gd name="connsiteY22" fmla="*/ 1588655 h 3641849"/>
                <a:gd name="connsiteX23" fmla="*/ 262534 w 1573156"/>
                <a:gd name="connsiteY23" fmla="*/ 1666225 h 3641849"/>
                <a:gd name="connsiteX24" fmla="*/ 331810 w 1573156"/>
                <a:gd name="connsiteY24" fmla="*/ 1653297 h 3641849"/>
                <a:gd name="connsiteX25" fmla="*/ 351206 w 1573156"/>
                <a:gd name="connsiteY25" fmla="*/ 1622268 h 3641849"/>
                <a:gd name="connsiteX26" fmla="*/ 365062 w 1573156"/>
                <a:gd name="connsiteY26" fmla="*/ 1557627 h 3641849"/>
                <a:gd name="connsiteX27" fmla="*/ 304099 w 1573156"/>
                <a:gd name="connsiteY27" fmla="*/ 1511084 h 3641849"/>
                <a:gd name="connsiteX28" fmla="*/ 259763 w 1573156"/>
                <a:gd name="connsiteY28" fmla="*/ 1485227 h 3641849"/>
                <a:gd name="connsiteX29" fmla="*/ 198801 w 1573156"/>
                <a:gd name="connsiteY29" fmla="*/ 1495570 h 3641849"/>
                <a:gd name="connsiteX30" fmla="*/ 376147 w 1573156"/>
                <a:gd name="connsiteY30" fmla="*/ 1299057 h 3641849"/>
                <a:gd name="connsiteX31" fmla="*/ 223740 w 1573156"/>
                <a:gd name="connsiteY31" fmla="*/ 1151672 h 3641849"/>
                <a:gd name="connsiteX32" fmla="*/ 284703 w 1573156"/>
                <a:gd name="connsiteY32" fmla="*/ 1089617 h 3641849"/>
                <a:gd name="connsiteX33" fmla="*/ 218198 w 1573156"/>
                <a:gd name="connsiteY33" fmla="*/ 1050829 h 3641849"/>
                <a:gd name="connsiteX34" fmla="*/ 259763 w 1573156"/>
                <a:gd name="connsiteY34" fmla="*/ 1019802 h 3641849"/>
                <a:gd name="connsiteX35" fmla="*/ 212657 w 1573156"/>
                <a:gd name="connsiteY35" fmla="*/ 993947 h 3641849"/>
                <a:gd name="connsiteX36" fmla="*/ 212656 w 1573156"/>
                <a:gd name="connsiteY36" fmla="*/ 794845 h 3641849"/>
                <a:gd name="connsiteX37" fmla="*/ 251451 w 1573156"/>
                <a:gd name="connsiteY37" fmla="*/ 779332 h 3641849"/>
                <a:gd name="connsiteX38" fmla="*/ 137838 w 1573156"/>
                <a:gd name="connsiteY38" fmla="*/ 551792 h 3641849"/>
                <a:gd name="connsiteX39" fmla="*/ 135067 w 1573156"/>
                <a:gd name="connsiteY39" fmla="*/ 551792 h 3641849"/>
                <a:gd name="connsiteX40" fmla="*/ 184945 w 1573156"/>
                <a:gd name="connsiteY40" fmla="*/ 469048 h 3641849"/>
                <a:gd name="connsiteX41" fmla="*/ 201571 w 1573156"/>
                <a:gd name="connsiteY41" fmla="*/ 378550 h 3641849"/>
                <a:gd name="connsiteX42" fmla="*/ 126752 w 1573156"/>
                <a:gd name="connsiteY42" fmla="*/ 319079 h 3641849"/>
                <a:gd name="connsiteX43" fmla="*/ 118440 w 1573156"/>
                <a:gd name="connsiteY43" fmla="*/ 251851 h 3641849"/>
                <a:gd name="connsiteX44" fmla="*/ 173860 w 1573156"/>
                <a:gd name="connsiteY44" fmla="*/ 158764 h 3641849"/>
                <a:gd name="connsiteX45" fmla="*/ 193258 w 1573156"/>
                <a:gd name="connsiteY45" fmla="*/ 135494 h 3641849"/>
                <a:gd name="connsiteX46" fmla="*/ 207113 w 1573156"/>
                <a:gd name="connsiteY46" fmla="*/ 117394 h 3641849"/>
                <a:gd name="connsiteX47" fmla="*/ 215426 w 1573156"/>
                <a:gd name="connsiteY47" fmla="*/ 73438 h 3641849"/>
                <a:gd name="connsiteX48" fmla="*/ 240365 w 1573156"/>
                <a:gd name="connsiteY48" fmla="*/ 101880 h 3641849"/>
                <a:gd name="connsiteX49" fmla="*/ 270847 w 1573156"/>
                <a:gd name="connsiteY49" fmla="*/ 88952 h 3641849"/>
                <a:gd name="connsiteX50" fmla="*/ 273617 w 1573156"/>
                <a:gd name="connsiteY50" fmla="*/ 63095 h 3641849"/>
                <a:gd name="connsiteX51" fmla="*/ 281931 w 1573156"/>
                <a:gd name="connsiteY51" fmla="*/ 34652 h 3641849"/>
                <a:gd name="connsiteX52" fmla="*/ 284703 w 1573156"/>
                <a:gd name="connsiteY52" fmla="*/ 3624 h 3641849"/>
                <a:gd name="connsiteX53" fmla="*/ 420483 w 1573156"/>
                <a:gd name="connsiteY53" fmla="*/ 57924 h 3641849"/>
                <a:gd name="connsiteX54" fmla="*/ 450963 w 1573156"/>
                <a:gd name="connsiteY54" fmla="*/ 161352 h 3641849"/>
                <a:gd name="connsiteX55" fmla="*/ 464819 w 1573156"/>
                <a:gd name="connsiteY55" fmla="*/ 184622 h 3641849"/>
                <a:gd name="connsiteX56" fmla="*/ 475903 w 1573156"/>
                <a:gd name="connsiteY56" fmla="*/ 187208 h 3641849"/>
                <a:gd name="connsiteX57" fmla="*/ 589515 w 1573156"/>
                <a:gd name="connsiteY57" fmla="*/ 156181 h 3641849"/>
                <a:gd name="connsiteX58" fmla="*/ 656020 w 1573156"/>
                <a:gd name="connsiteY58" fmla="*/ 166522 h 3641849"/>
                <a:gd name="connsiteX59" fmla="*/ 719754 w 1573156"/>
                <a:gd name="connsiteY59" fmla="*/ 213065 h 3641849"/>
                <a:gd name="connsiteX60" fmla="*/ 733781 w 1573156"/>
                <a:gd name="connsiteY60" fmla="*/ 242621 h 3641849"/>
                <a:gd name="connsiteX61" fmla="*/ 789028 w 1573156"/>
                <a:gd name="connsiteY61" fmla="*/ 277708 h 3641849"/>
                <a:gd name="connsiteX62" fmla="*/ 877702 w 1573156"/>
                <a:gd name="connsiteY62" fmla="*/ 303563 h 3641849"/>
                <a:gd name="connsiteX63" fmla="*/ 949748 w 1573156"/>
                <a:gd name="connsiteY63" fmla="*/ 350106 h 3641849"/>
                <a:gd name="connsiteX64" fmla="*/ 999627 w 1573156"/>
                <a:gd name="connsiteY64" fmla="*/ 401820 h 3641849"/>
                <a:gd name="connsiteX65" fmla="*/ 1024566 w 1573156"/>
                <a:gd name="connsiteY65" fmla="*/ 440606 h 3641849"/>
                <a:gd name="connsiteX66" fmla="*/ 1057819 w 1573156"/>
                <a:gd name="connsiteY66" fmla="*/ 466462 h 3641849"/>
                <a:gd name="connsiteX67" fmla="*/ 1041191 w 1573156"/>
                <a:gd name="connsiteY67" fmla="*/ 691417 h 3641849"/>
                <a:gd name="connsiteX68" fmla="*/ 913725 w 1573156"/>
                <a:gd name="connsiteY68" fmla="*/ 771575 h 3641849"/>
                <a:gd name="connsiteX69" fmla="*/ 800113 w 1573156"/>
                <a:gd name="connsiteY69" fmla="*/ 779331 h 3641849"/>
                <a:gd name="connsiteX70" fmla="*/ 661560 w 1573156"/>
                <a:gd name="connsiteY70" fmla="*/ 758645 h 3641849"/>
                <a:gd name="connsiteX71" fmla="*/ 570116 w 1573156"/>
                <a:gd name="connsiteY71" fmla="*/ 722445 h 3641849"/>
                <a:gd name="connsiteX72" fmla="*/ 550719 w 1573156"/>
                <a:gd name="connsiteY72" fmla="*/ 750888 h 3641849"/>
                <a:gd name="connsiteX73" fmla="*/ 581361 w 1573156"/>
                <a:gd name="connsiteY73" fmla="*/ 824301 h 3641849"/>
                <a:gd name="connsiteX74" fmla="*/ 586902 w 1573156"/>
                <a:gd name="connsiteY74" fmla="*/ 951000 h 3641849"/>
                <a:gd name="connsiteX75" fmla="*/ 559032 w 1573156"/>
                <a:gd name="connsiteY75" fmla="*/ 1012043 h 3641849"/>
                <a:gd name="connsiteX76" fmla="*/ 614451 w 1573156"/>
                <a:gd name="connsiteY76" fmla="*/ 1032728 h 3641849"/>
                <a:gd name="connsiteX77" fmla="*/ 631079 w 1573156"/>
                <a:gd name="connsiteY77" fmla="*/ 1048242 h 3641849"/>
                <a:gd name="connsiteX78" fmla="*/ 656019 w 1573156"/>
                <a:gd name="connsiteY78" fmla="*/ 1074099 h 3641849"/>
                <a:gd name="connsiteX79" fmla="*/ 653248 w 1573156"/>
                <a:gd name="connsiteY79" fmla="*/ 1076685 h 3641849"/>
                <a:gd name="connsiteX80" fmla="*/ 692041 w 1573156"/>
                <a:gd name="connsiteY80" fmla="*/ 1071514 h 3641849"/>
                <a:gd name="connsiteX81" fmla="*/ 700355 w 1573156"/>
                <a:gd name="connsiteY81" fmla="*/ 1035314 h 3641849"/>
                <a:gd name="connsiteX82" fmla="*/ 661560 w 1573156"/>
                <a:gd name="connsiteY82" fmla="*/ 957743 h 3641849"/>
                <a:gd name="connsiteX83" fmla="*/ 730836 w 1573156"/>
                <a:gd name="connsiteY83" fmla="*/ 911200 h 3641849"/>
                <a:gd name="connsiteX84" fmla="*/ 798608 w 1573156"/>
                <a:gd name="connsiteY84" fmla="*/ 918934 h 3641849"/>
                <a:gd name="connsiteX85" fmla="*/ 822441 w 1573156"/>
                <a:gd name="connsiteY85" fmla="*/ 951001 h 3641849"/>
                <a:gd name="connsiteX86" fmla="*/ 978170 w 1573156"/>
                <a:gd name="connsiteY86" fmla="*/ 1007364 h 3641849"/>
                <a:gd name="connsiteX87" fmla="*/ 963762 w 1573156"/>
                <a:gd name="connsiteY87" fmla="*/ 971687 h 3641849"/>
                <a:gd name="connsiteX88" fmla="*/ 930510 w 1573156"/>
                <a:gd name="connsiteY88" fmla="*/ 932901 h 3641849"/>
                <a:gd name="connsiteX89" fmla="*/ 919426 w 1573156"/>
                <a:gd name="connsiteY89" fmla="*/ 881187 h 3641849"/>
                <a:gd name="connsiteX90" fmla="*/ 958221 w 1573156"/>
                <a:gd name="connsiteY90" fmla="*/ 832060 h 3641849"/>
                <a:gd name="connsiteX91" fmla="*/ 985931 w 1573156"/>
                <a:gd name="connsiteY91" fmla="*/ 803617 h 3641849"/>
                <a:gd name="connsiteX92" fmla="*/ 1010871 w 1573156"/>
                <a:gd name="connsiteY92" fmla="*/ 767417 h 3641849"/>
                <a:gd name="connsiteX93" fmla="*/ 1091231 w 1573156"/>
                <a:gd name="connsiteY93" fmla="*/ 762245 h 3641849"/>
                <a:gd name="connsiteX94" fmla="*/ 1096772 w 1573156"/>
                <a:gd name="connsiteY94" fmla="*/ 741560 h 3641849"/>
                <a:gd name="connsiteX95" fmla="*/ 1121712 w 1573156"/>
                <a:gd name="connsiteY95" fmla="*/ 705360 h 3641849"/>
                <a:gd name="connsiteX96" fmla="*/ 1155516 w 1573156"/>
                <a:gd name="connsiteY96" fmla="*/ 687772 h 3641849"/>
                <a:gd name="connsiteX97" fmla="*/ 1213156 w 1573156"/>
                <a:gd name="connsiteY97" fmla="*/ 700189 h 3641849"/>
                <a:gd name="connsiteX98" fmla="*/ 1251949 w 1573156"/>
                <a:gd name="connsiteY98" fmla="*/ 720875 h 3641849"/>
                <a:gd name="connsiteX99" fmla="*/ 1299057 w 1573156"/>
                <a:gd name="connsiteY99" fmla="*/ 728632 h 3641849"/>
                <a:gd name="connsiteX100" fmla="*/ 1299057 w 1573156"/>
                <a:gd name="connsiteY100" fmla="*/ 733803 h 3641849"/>
                <a:gd name="connsiteX101" fmla="*/ 1321226 w 1573156"/>
                <a:gd name="connsiteY101" fmla="*/ 674332 h 3641849"/>
                <a:gd name="connsiteX102" fmla="*/ 1331201 w 1573156"/>
                <a:gd name="connsiteY102" fmla="*/ 640714 h 3641849"/>
                <a:gd name="connsiteX103" fmla="*/ 1337852 w 1573156"/>
                <a:gd name="connsiteY103" fmla="*/ 622618 h 3641849"/>
                <a:gd name="connsiteX104" fmla="*/ 1340789 w 1573156"/>
                <a:gd name="connsiteY104" fmla="*/ 591288 h 3641849"/>
                <a:gd name="connsiteX105" fmla="*/ 1260263 w 1573156"/>
                <a:gd name="connsiteY105" fmla="*/ 545048 h 3641849"/>
                <a:gd name="connsiteX106" fmla="*/ 1246408 w 1573156"/>
                <a:gd name="connsiteY106" fmla="*/ 472648 h 3641849"/>
                <a:gd name="connsiteX107" fmla="*/ 1246408 w 1573156"/>
                <a:gd name="connsiteY107" fmla="*/ 454548 h 3641849"/>
                <a:gd name="connsiteX108" fmla="*/ 1257491 w 1573156"/>
                <a:gd name="connsiteY108" fmla="*/ 431276 h 3641849"/>
                <a:gd name="connsiteX109" fmla="*/ 1260263 w 1573156"/>
                <a:gd name="connsiteY109" fmla="*/ 415762 h 3641849"/>
                <a:gd name="connsiteX110" fmla="*/ 1260262 w 1573156"/>
                <a:gd name="connsiteY110" fmla="*/ 358878 h 3641849"/>
                <a:gd name="connsiteX111" fmla="*/ 1238094 w 1573156"/>
                <a:gd name="connsiteY111" fmla="*/ 335607 h 3641849"/>
                <a:gd name="connsiteX112" fmla="*/ 1210384 w 1573156"/>
                <a:gd name="connsiteY112" fmla="*/ 304578 h 3641849"/>
                <a:gd name="connsiteX113" fmla="*/ 1206216 w 1573156"/>
                <a:gd name="connsiteY113" fmla="*/ 280325 h 3641849"/>
                <a:gd name="connsiteX114" fmla="*/ 1257492 w 1573156"/>
                <a:gd name="connsiteY114" fmla="*/ 258034 h 3641849"/>
                <a:gd name="connsiteX115" fmla="*/ 1311072 w 1573156"/>
                <a:gd name="connsiteY115" fmla="*/ 267906 h 3641849"/>
                <a:gd name="connsiteX116" fmla="*/ 1389856 w 1573156"/>
                <a:gd name="connsiteY116" fmla="*/ 279816 h 3641849"/>
                <a:gd name="connsiteX117" fmla="*/ 1474179 w 1573156"/>
                <a:gd name="connsiteY117" fmla="*/ 349175 h 3641849"/>
                <a:gd name="connsiteX118" fmla="*/ 1536314 w 1573156"/>
                <a:gd name="connsiteY118" fmla="*/ 425271 h 3641849"/>
                <a:gd name="connsiteX119" fmla="*/ 1435343 w 1573156"/>
                <a:gd name="connsiteY119" fmla="*/ 454265 h 3641849"/>
                <a:gd name="connsiteX120" fmla="*/ 1419809 w 1573156"/>
                <a:gd name="connsiteY120" fmla="*/ 501372 h 3641849"/>
                <a:gd name="connsiteX121" fmla="*/ 1477479 w 1573156"/>
                <a:gd name="connsiteY121" fmla="*/ 585862 h 3641849"/>
                <a:gd name="connsiteX122" fmla="*/ 1513013 w 1573156"/>
                <a:gd name="connsiteY122" fmla="*/ 591964 h 3641849"/>
                <a:gd name="connsiteX123" fmla="*/ 1565633 w 1573156"/>
                <a:gd name="connsiteY123" fmla="*/ 598304 h 3641849"/>
                <a:gd name="connsiteX124" fmla="*/ 1560670 w 1573156"/>
                <a:gd name="connsiteY124" fmla="*/ 709079 h 3641849"/>
                <a:gd name="connsiteX125" fmla="*/ 1571739 w 1573156"/>
                <a:gd name="connsiteY125" fmla="*/ 1040047 h 3641849"/>
                <a:gd name="connsiteX126" fmla="*/ 1562871 w 1573156"/>
                <a:gd name="connsiteY126" fmla="*/ 1842646 h 3641849"/>
                <a:gd name="connsiteX127" fmla="*/ 1571738 w 1573156"/>
                <a:gd name="connsiteY127" fmla="*/ 2297728 h 3641849"/>
                <a:gd name="connsiteX128" fmla="*/ 1545290 w 1573156"/>
                <a:gd name="connsiteY128" fmla="*/ 3607693 h 3641849"/>
                <a:gd name="connsiteX129" fmla="*/ 1286863 w 1573156"/>
                <a:gd name="connsiteY129" fmla="*/ 3564098 h 3641849"/>
                <a:gd name="connsiteX130" fmla="*/ 1118385 w 1573156"/>
                <a:gd name="connsiteY130" fmla="*/ 3497903 h 3641849"/>
                <a:gd name="connsiteX131" fmla="*/ 941039 w 1573156"/>
                <a:gd name="connsiteY131" fmla="*/ 3406887 h 3641849"/>
                <a:gd name="connsiteX132" fmla="*/ 842741 w 1573156"/>
                <a:gd name="connsiteY132" fmla="*/ 3326370 h 3641849"/>
                <a:gd name="connsiteX133" fmla="*/ 1137003 w 1573156"/>
                <a:gd name="connsiteY133" fmla="*/ 3018734 h 3641849"/>
                <a:gd name="connsiteX134" fmla="*/ 853249 w 1573156"/>
                <a:gd name="connsiteY134" fmla="*/ 2480910 h 3641849"/>
                <a:gd name="connsiteX135" fmla="*/ 557777 w 1573156"/>
                <a:gd name="connsiteY135" fmla="*/ 2715007 h 3641849"/>
                <a:gd name="connsiteX136" fmla="*/ 531809 w 1573156"/>
                <a:gd name="connsiteY136" fmla="*/ 2657256 h 3641849"/>
                <a:gd name="connsiteX137" fmla="*/ 660385 w 1573156"/>
                <a:gd name="connsiteY137" fmla="*/ 2391963 h 3641849"/>
                <a:gd name="connsiteX138" fmla="*/ 136108 w 1573156"/>
                <a:gd name="connsiteY138" fmla="*/ 2193381 h 3641849"/>
                <a:gd name="connsiteX0" fmla="*/ 136108 w 1573156"/>
                <a:gd name="connsiteY0" fmla="*/ 2193381 h 3641849"/>
                <a:gd name="connsiteX1" fmla="*/ 82416 w 1573156"/>
                <a:gd name="connsiteY1" fmla="*/ 2090278 h 3641849"/>
                <a:gd name="connsiteX2" fmla="*/ 74102 w 1573156"/>
                <a:gd name="connsiteY2" fmla="*/ 2030807 h 3641849"/>
                <a:gd name="connsiteX3" fmla="*/ 76875 w 1573156"/>
                <a:gd name="connsiteY3" fmla="*/ 2020467 h 3641849"/>
                <a:gd name="connsiteX4" fmla="*/ 118439 w 1573156"/>
                <a:gd name="connsiteY4" fmla="*/ 1992023 h 3641849"/>
                <a:gd name="connsiteX5" fmla="*/ 82416 w 1573156"/>
                <a:gd name="connsiteY5" fmla="*/ 1963580 h 3641849"/>
                <a:gd name="connsiteX6" fmla="*/ 51935 w 1573156"/>
                <a:gd name="connsiteY6" fmla="*/ 1927380 h 3641849"/>
                <a:gd name="connsiteX7" fmla="*/ 40850 w 1573156"/>
                <a:gd name="connsiteY7" fmla="*/ 1893766 h 3641849"/>
                <a:gd name="connsiteX8" fmla="*/ 43621 w 1573156"/>
                <a:gd name="connsiteY8" fmla="*/ 1844639 h 3641849"/>
                <a:gd name="connsiteX9" fmla="*/ 82416 w 1573156"/>
                <a:gd name="connsiteY9" fmla="*/ 1826538 h 3641849"/>
                <a:gd name="connsiteX10" fmla="*/ 112899 w 1573156"/>
                <a:gd name="connsiteY10" fmla="*/ 1782581 h 3641849"/>
                <a:gd name="connsiteX11" fmla="*/ 96271 w 1573156"/>
                <a:gd name="connsiteY11" fmla="*/ 1754138 h 3641849"/>
                <a:gd name="connsiteX12" fmla="*/ 40851 w 1573156"/>
                <a:gd name="connsiteY12" fmla="*/ 1746381 h 3641849"/>
                <a:gd name="connsiteX13" fmla="*/ 2057 w 1573156"/>
                <a:gd name="connsiteY13" fmla="*/ 1730867 h 3641849"/>
                <a:gd name="connsiteX14" fmla="*/ 38079 w 1573156"/>
                <a:gd name="connsiteY14" fmla="*/ 1689496 h 3641849"/>
                <a:gd name="connsiteX15" fmla="*/ 18683 w 1573156"/>
                <a:gd name="connsiteY15" fmla="*/ 1679153 h 3641849"/>
                <a:gd name="connsiteX16" fmla="*/ 2055 w 1573156"/>
                <a:gd name="connsiteY16" fmla="*/ 1640367 h 3641849"/>
                <a:gd name="connsiteX17" fmla="*/ 65790 w 1573156"/>
                <a:gd name="connsiteY17" fmla="*/ 1650711 h 3641849"/>
                <a:gd name="connsiteX18" fmla="*/ 93501 w 1573156"/>
                <a:gd name="connsiteY18" fmla="*/ 1627440 h 3641849"/>
                <a:gd name="connsiteX19" fmla="*/ 187716 w 1573156"/>
                <a:gd name="connsiteY19" fmla="*/ 1536941 h 3641849"/>
                <a:gd name="connsiteX20" fmla="*/ 212655 w 1573156"/>
                <a:gd name="connsiteY20" fmla="*/ 1505912 h 3641849"/>
                <a:gd name="connsiteX21" fmla="*/ 198801 w 1573156"/>
                <a:gd name="connsiteY21" fmla="*/ 1555040 h 3641849"/>
                <a:gd name="connsiteX22" fmla="*/ 218197 w 1573156"/>
                <a:gd name="connsiteY22" fmla="*/ 1588655 h 3641849"/>
                <a:gd name="connsiteX23" fmla="*/ 262534 w 1573156"/>
                <a:gd name="connsiteY23" fmla="*/ 1666225 h 3641849"/>
                <a:gd name="connsiteX24" fmla="*/ 331810 w 1573156"/>
                <a:gd name="connsiteY24" fmla="*/ 1653297 h 3641849"/>
                <a:gd name="connsiteX25" fmla="*/ 351206 w 1573156"/>
                <a:gd name="connsiteY25" fmla="*/ 1622268 h 3641849"/>
                <a:gd name="connsiteX26" fmla="*/ 365062 w 1573156"/>
                <a:gd name="connsiteY26" fmla="*/ 1557627 h 3641849"/>
                <a:gd name="connsiteX27" fmla="*/ 304099 w 1573156"/>
                <a:gd name="connsiteY27" fmla="*/ 1511084 h 3641849"/>
                <a:gd name="connsiteX28" fmla="*/ 259763 w 1573156"/>
                <a:gd name="connsiteY28" fmla="*/ 1485227 h 3641849"/>
                <a:gd name="connsiteX29" fmla="*/ 198801 w 1573156"/>
                <a:gd name="connsiteY29" fmla="*/ 1495570 h 3641849"/>
                <a:gd name="connsiteX30" fmla="*/ 376147 w 1573156"/>
                <a:gd name="connsiteY30" fmla="*/ 1299057 h 3641849"/>
                <a:gd name="connsiteX31" fmla="*/ 223740 w 1573156"/>
                <a:gd name="connsiteY31" fmla="*/ 1151672 h 3641849"/>
                <a:gd name="connsiteX32" fmla="*/ 284703 w 1573156"/>
                <a:gd name="connsiteY32" fmla="*/ 1089617 h 3641849"/>
                <a:gd name="connsiteX33" fmla="*/ 218198 w 1573156"/>
                <a:gd name="connsiteY33" fmla="*/ 1050829 h 3641849"/>
                <a:gd name="connsiteX34" fmla="*/ 259763 w 1573156"/>
                <a:gd name="connsiteY34" fmla="*/ 1019802 h 3641849"/>
                <a:gd name="connsiteX35" fmla="*/ 212657 w 1573156"/>
                <a:gd name="connsiteY35" fmla="*/ 993947 h 3641849"/>
                <a:gd name="connsiteX36" fmla="*/ 212656 w 1573156"/>
                <a:gd name="connsiteY36" fmla="*/ 794845 h 3641849"/>
                <a:gd name="connsiteX37" fmla="*/ 251451 w 1573156"/>
                <a:gd name="connsiteY37" fmla="*/ 779332 h 3641849"/>
                <a:gd name="connsiteX38" fmla="*/ 137838 w 1573156"/>
                <a:gd name="connsiteY38" fmla="*/ 551792 h 3641849"/>
                <a:gd name="connsiteX39" fmla="*/ 135067 w 1573156"/>
                <a:gd name="connsiteY39" fmla="*/ 551792 h 3641849"/>
                <a:gd name="connsiteX40" fmla="*/ 184945 w 1573156"/>
                <a:gd name="connsiteY40" fmla="*/ 469048 h 3641849"/>
                <a:gd name="connsiteX41" fmla="*/ 201571 w 1573156"/>
                <a:gd name="connsiteY41" fmla="*/ 378550 h 3641849"/>
                <a:gd name="connsiteX42" fmla="*/ 126752 w 1573156"/>
                <a:gd name="connsiteY42" fmla="*/ 319079 h 3641849"/>
                <a:gd name="connsiteX43" fmla="*/ 118440 w 1573156"/>
                <a:gd name="connsiteY43" fmla="*/ 251851 h 3641849"/>
                <a:gd name="connsiteX44" fmla="*/ 173860 w 1573156"/>
                <a:gd name="connsiteY44" fmla="*/ 158764 h 3641849"/>
                <a:gd name="connsiteX45" fmla="*/ 193258 w 1573156"/>
                <a:gd name="connsiteY45" fmla="*/ 135494 h 3641849"/>
                <a:gd name="connsiteX46" fmla="*/ 207113 w 1573156"/>
                <a:gd name="connsiteY46" fmla="*/ 117394 h 3641849"/>
                <a:gd name="connsiteX47" fmla="*/ 215426 w 1573156"/>
                <a:gd name="connsiteY47" fmla="*/ 73438 h 3641849"/>
                <a:gd name="connsiteX48" fmla="*/ 240365 w 1573156"/>
                <a:gd name="connsiteY48" fmla="*/ 101880 h 3641849"/>
                <a:gd name="connsiteX49" fmla="*/ 270847 w 1573156"/>
                <a:gd name="connsiteY49" fmla="*/ 88952 h 3641849"/>
                <a:gd name="connsiteX50" fmla="*/ 273617 w 1573156"/>
                <a:gd name="connsiteY50" fmla="*/ 63095 h 3641849"/>
                <a:gd name="connsiteX51" fmla="*/ 281931 w 1573156"/>
                <a:gd name="connsiteY51" fmla="*/ 34652 h 3641849"/>
                <a:gd name="connsiteX52" fmla="*/ 284703 w 1573156"/>
                <a:gd name="connsiteY52" fmla="*/ 3624 h 3641849"/>
                <a:gd name="connsiteX53" fmla="*/ 420483 w 1573156"/>
                <a:gd name="connsiteY53" fmla="*/ 57924 h 3641849"/>
                <a:gd name="connsiteX54" fmla="*/ 450963 w 1573156"/>
                <a:gd name="connsiteY54" fmla="*/ 161352 h 3641849"/>
                <a:gd name="connsiteX55" fmla="*/ 464819 w 1573156"/>
                <a:gd name="connsiteY55" fmla="*/ 184622 h 3641849"/>
                <a:gd name="connsiteX56" fmla="*/ 475903 w 1573156"/>
                <a:gd name="connsiteY56" fmla="*/ 187208 h 3641849"/>
                <a:gd name="connsiteX57" fmla="*/ 589515 w 1573156"/>
                <a:gd name="connsiteY57" fmla="*/ 156181 h 3641849"/>
                <a:gd name="connsiteX58" fmla="*/ 656020 w 1573156"/>
                <a:gd name="connsiteY58" fmla="*/ 166522 h 3641849"/>
                <a:gd name="connsiteX59" fmla="*/ 719754 w 1573156"/>
                <a:gd name="connsiteY59" fmla="*/ 213065 h 3641849"/>
                <a:gd name="connsiteX60" fmla="*/ 733781 w 1573156"/>
                <a:gd name="connsiteY60" fmla="*/ 242621 h 3641849"/>
                <a:gd name="connsiteX61" fmla="*/ 789028 w 1573156"/>
                <a:gd name="connsiteY61" fmla="*/ 277708 h 3641849"/>
                <a:gd name="connsiteX62" fmla="*/ 877702 w 1573156"/>
                <a:gd name="connsiteY62" fmla="*/ 303563 h 3641849"/>
                <a:gd name="connsiteX63" fmla="*/ 949748 w 1573156"/>
                <a:gd name="connsiteY63" fmla="*/ 350106 h 3641849"/>
                <a:gd name="connsiteX64" fmla="*/ 999627 w 1573156"/>
                <a:gd name="connsiteY64" fmla="*/ 401820 h 3641849"/>
                <a:gd name="connsiteX65" fmla="*/ 1024566 w 1573156"/>
                <a:gd name="connsiteY65" fmla="*/ 440606 h 3641849"/>
                <a:gd name="connsiteX66" fmla="*/ 1057819 w 1573156"/>
                <a:gd name="connsiteY66" fmla="*/ 466462 h 3641849"/>
                <a:gd name="connsiteX67" fmla="*/ 1041191 w 1573156"/>
                <a:gd name="connsiteY67" fmla="*/ 691417 h 3641849"/>
                <a:gd name="connsiteX68" fmla="*/ 913725 w 1573156"/>
                <a:gd name="connsiteY68" fmla="*/ 771575 h 3641849"/>
                <a:gd name="connsiteX69" fmla="*/ 800113 w 1573156"/>
                <a:gd name="connsiteY69" fmla="*/ 779331 h 3641849"/>
                <a:gd name="connsiteX70" fmla="*/ 661560 w 1573156"/>
                <a:gd name="connsiteY70" fmla="*/ 758645 h 3641849"/>
                <a:gd name="connsiteX71" fmla="*/ 570116 w 1573156"/>
                <a:gd name="connsiteY71" fmla="*/ 722445 h 3641849"/>
                <a:gd name="connsiteX72" fmla="*/ 550719 w 1573156"/>
                <a:gd name="connsiteY72" fmla="*/ 750888 h 3641849"/>
                <a:gd name="connsiteX73" fmla="*/ 581361 w 1573156"/>
                <a:gd name="connsiteY73" fmla="*/ 824301 h 3641849"/>
                <a:gd name="connsiteX74" fmla="*/ 586902 w 1573156"/>
                <a:gd name="connsiteY74" fmla="*/ 951000 h 3641849"/>
                <a:gd name="connsiteX75" fmla="*/ 559032 w 1573156"/>
                <a:gd name="connsiteY75" fmla="*/ 1012043 h 3641849"/>
                <a:gd name="connsiteX76" fmla="*/ 614451 w 1573156"/>
                <a:gd name="connsiteY76" fmla="*/ 1032728 h 3641849"/>
                <a:gd name="connsiteX77" fmla="*/ 631079 w 1573156"/>
                <a:gd name="connsiteY77" fmla="*/ 1048242 h 3641849"/>
                <a:gd name="connsiteX78" fmla="*/ 656019 w 1573156"/>
                <a:gd name="connsiteY78" fmla="*/ 1074099 h 3641849"/>
                <a:gd name="connsiteX79" fmla="*/ 653248 w 1573156"/>
                <a:gd name="connsiteY79" fmla="*/ 1076685 h 3641849"/>
                <a:gd name="connsiteX80" fmla="*/ 692041 w 1573156"/>
                <a:gd name="connsiteY80" fmla="*/ 1071514 h 3641849"/>
                <a:gd name="connsiteX81" fmla="*/ 700355 w 1573156"/>
                <a:gd name="connsiteY81" fmla="*/ 1035314 h 3641849"/>
                <a:gd name="connsiteX82" fmla="*/ 661560 w 1573156"/>
                <a:gd name="connsiteY82" fmla="*/ 957743 h 3641849"/>
                <a:gd name="connsiteX83" fmla="*/ 730836 w 1573156"/>
                <a:gd name="connsiteY83" fmla="*/ 911200 h 3641849"/>
                <a:gd name="connsiteX84" fmla="*/ 798608 w 1573156"/>
                <a:gd name="connsiteY84" fmla="*/ 918934 h 3641849"/>
                <a:gd name="connsiteX85" fmla="*/ 822441 w 1573156"/>
                <a:gd name="connsiteY85" fmla="*/ 951001 h 3641849"/>
                <a:gd name="connsiteX86" fmla="*/ 978170 w 1573156"/>
                <a:gd name="connsiteY86" fmla="*/ 1007364 h 3641849"/>
                <a:gd name="connsiteX87" fmla="*/ 963762 w 1573156"/>
                <a:gd name="connsiteY87" fmla="*/ 971687 h 3641849"/>
                <a:gd name="connsiteX88" fmla="*/ 930510 w 1573156"/>
                <a:gd name="connsiteY88" fmla="*/ 932901 h 3641849"/>
                <a:gd name="connsiteX89" fmla="*/ 919426 w 1573156"/>
                <a:gd name="connsiteY89" fmla="*/ 881187 h 3641849"/>
                <a:gd name="connsiteX90" fmla="*/ 958221 w 1573156"/>
                <a:gd name="connsiteY90" fmla="*/ 832060 h 3641849"/>
                <a:gd name="connsiteX91" fmla="*/ 985931 w 1573156"/>
                <a:gd name="connsiteY91" fmla="*/ 803617 h 3641849"/>
                <a:gd name="connsiteX92" fmla="*/ 1010871 w 1573156"/>
                <a:gd name="connsiteY92" fmla="*/ 767417 h 3641849"/>
                <a:gd name="connsiteX93" fmla="*/ 1091231 w 1573156"/>
                <a:gd name="connsiteY93" fmla="*/ 762245 h 3641849"/>
                <a:gd name="connsiteX94" fmla="*/ 1096772 w 1573156"/>
                <a:gd name="connsiteY94" fmla="*/ 741560 h 3641849"/>
                <a:gd name="connsiteX95" fmla="*/ 1121712 w 1573156"/>
                <a:gd name="connsiteY95" fmla="*/ 705360 h 3641849"/>
                <a:gd name="connsiteX96" fmla="*/ 1155516 w 1573156"/>
                <a:gd name="connsiteY96" fmla="*/ 687772 h 3641849"/>
                <a:gd name="connsiteX97" fmla="*/ 1213156 w 1573156"/>
                <a:gd name="connsiteY97" fmla="*/ 700189 h 3641849"/>
                <a:gd name="connsiteX98" fmla="*/ 1251949 w 1573156"/>
                <a:gd name="connsiteY98" fmla="*/ 720875 h 3641849"/>
                <a:gd name="connsiteX99" fmla="*/ 1299057 w 1573156"/>
                <a:gd name="connsiteY99" fmla="*/ 728632 h 3641849"/>
                <a:gd name="connsiteX100" fmla="*/ 1299057 w 1573156"/>
                <a:gd name="connsiteY100" fmla="*/ 733803 h 3641849"/>
                <a:gd name="connsiteX101" fmla="*/ 1321226 w 1573156"/>
                <a:gd name="connsiteY101" fmla="*/ 674332 h 3641849"/>
                <a:gd name="connsiteX102" fmla="*/ 1331201 w 1573156"/>
                <a:gd name="connsiteY102" fmla="*/ 640714 h 3641849"/>
                <a:gd name="connsiteX103" fmla="*/ 1337852 w 1573156"/>
                <a:gd name="connsiteY103" fmla="*/ 622618 h 3641849"/>
                <a:gd name="connsiteX104" fmla="*/ 1340789 w 1573156"/>
                <a:gd name="connsiteY104" fmla="*/ 591288 h 3641849"/>
                <a:gd name="connsiteX105" fmla="*/ 1260263 w 1573156"/>
                <a:gd name="connsiteY105" fmla="*/ 545048 h 3641849"/>
                <a:gd name="connsiteX106" fmla="*/ 1246408 w 1573156"/>
                <a:gd name="connsiteY106" fmla="*/ 472648 h 3641849"/>
                <a:gd name="connsiteX107" fmla="*/ 1246408 w 1573156"/>
                <a:gd name="connsiteY107" fmla="*/ 454548 h 3641849"/>
                <a:gd name="connsiteX108" fmla="*/ 1257491 w 1573156"/>
                <a:gd name="connsiteY108" fmla="*/ 431276 h 3641849"/>
                <a:gd name="connsiteX109" fmla="*/ 1260263 w 1573156"/>
                <a:gd name="connsiteY109" fmla="*/ 415762 h 3641849"/>
                <a:gd name="connsiteX110" fmla="*/ 1260262 w 1573156"/>
                <a:gd name="connsiteY110" fmla="*/ 358878 h 3641849"/>
                <a:gd name="connsiteX111" fmla="*/ 1238094 w 1573156"/>
                <a:gd name="connsiteY111" fmla="*/ 335607 h 3641849"/>
                <a:gd name="connsiteX112" fmla="*/ 1210384 w 1573156"/>
                <a:gd name="connsiteY112" fmla="*/ 304578 h 3641849"/>
                <a:gd name="connsiteX113" fmla="*/ 1206216 w 1573156"/>
                <a:gd name="connsiteY113" fmla="*/ 280325 h 3641849"/>
                <a:gd name="connsiteX114" fmla="*/ 1257492 w 1573156"/>
                <a:gd name="connsiteY114" fmla="*/ 258034 h 3641849"/>
                <a:gd name="connsiteX115" fmla="*/ 1311072 w 1573156"/>
                <a:gd name="connsiteY115" fmla="*/ 267906 h 3641849"/>
                <a:gd name="connsiteX116" fmla="*/ 1389856 w 1573156"/>
                <a:gd name="connsiteY116" fmla="*/ 279816 h 3641849"/>
                <a:gd name="connsiteX117" fmla="*/ 1474179 w 1573156"/>
                <a:gd name="connsiteY117" fmla="*/ 349175 h 3641849"/>
                <a:gd name="connsiteX118" fmla="*/ 1536314 w 1573156"/>
                <a:gd name="connsiteY118" fmla="*/ 425271 h 3641849"/>
                <a:gd name="connsiteX119" fmla="*/ 1435343 w 1573156"/>
                <a:gd name="connsiteY119" fmla="*/ 454265 h 3641849"/>
                <a:gd name="connsiteX120" fmla="*/ 1419809 w 1573156"/>
                <a:gd name="connsiteY120" fmla="*/ 501372 h 3641849"/>
                <a:gd name="connsiteX121" fmla="*/ 1477479 w 1573156"/>
                <a:gd name="connsiteY121" fmla="*/ 585862 h 3641849"/>
                <a:gd name="connsiteX122" fmla="*/ 1513013 w 1573156"/>
                <a:gd name="connsiteY122" fmla="*/ 591964 h 3641849"/>
                <a:gd name="connsiteX123" fmla="*/ 1565633 w 1573156"/>
                <a:gd name="connsiteY123" fmla="*/ 598304 h 3641849"/>
                <a:gd name="connsiteX124" fmla="*/ 1560670 w 1573156"/>
                <a:gd name="connsiteY124" fmla="*/ 709079 h 3641849"/>
                <a:gd name="connsiteX125" fmla="*/ 1571739 w 1573156"/>
                <a:gd name="connsiteY125" fmla="*/ 1040047 h 3641849"/>
                <a:gd name="connsiteX126" fmla="*/ 1562871 w 1573156"/>
                <a:gd name="connsiteY126" fmla="*/ 1842646 h 3641849"/>
                <a:gd name="connsiteX127" fmla="*/ 1571738 w 1573156"/>
                <a:gd name="connsiteY127" fmla="*/ 2297728 h 3641849"/>
                <a:gd name="connsiteX128" fmla="*/ 1545290 w 1573156"/>
                <a:gd name="connsiteY128" fmla="*/ 3607693 h 3641849"/>
                <a:gd name="connsiteX129" fmla="*/ 1286863 w 1573156"/>
                <a:gd name="connsiteY129" fmla="*/ 3564098 h 3641849"/>
                <a:gd name="connsiteX130" fmla="*/ 1118385 w 1573156"/>
                <a:gd name="connsiteY130" fmla="*/ 3497903 h 3641849"/>
                <a:gd name="connsiteX131" fmla="*/ 941039 w 1573156"/>
                <a:gd name="connsiteY131" fmla="*/ 3406887 h 3641849"/>
                <a:gd name="connsiteX132" fmla="*/ 842741 w 1573156"/>
                <a:gd name="connsiteY132" fmla="*/ 3326370 h 3641849"/>
                <a:gd name="connsiteX133" fmla="*/ 1137003 w 1573156"/>
                <a:gd name="connsiteY133" fmla="*/ 3018734 h 3641849"/>
                <a:gd name="connsiteX134" fmla="*/ 853249 w 1573156"/>
                <a:gd name="connsiteY134" fmla="*/ 2480910 h 3641849"/>
                <a:gd name="connsiteX135" fmla="*/ 557777 w 1573156"/>
                <a:gd name="connsiteY135" fmla="*/ 2715007 h 3641849"/>
                <a:gd name="connsiteX136" fmla="*/ 531809 w 1573156"/>
                <a:gd name="connsiteY136" fmla="*/ 2657256 h 3641849"/>
                <a:gd name="connsiteX137" fmla="*/ 660385 w 1573156"/>
                <a:gd name="connsiteY137" fmla="*/ 2391963 h 3641849"/>
                <a:gd name="connsiteX138" fmla="*/ 136108 w 1573156"/>
                <a:gd name="connsiteY138" fmla="*/ 2193381 h 3641849"/>
                <a:gd name="connsiteX0" fmla="*/ 136108 w 1573156"/>
                <a:gd name="connsiteY0" fmla="*/ 2193381 h 3641849"/>
                <a:gd name="connsiteX1" fmla="*/ 104584 w 1573156"/>
                <a:gd name="connsiteY1" fmla="*/ 2090279 h 3641849"/>
                <a:gd name="connsiteX2" fmla="*/ 74102 w 1573156"/>
                <a:gd name="connsiteY2" fmla="*/ 2030807 h 3641849"/>
                <a:gd name="connsiteX3" fmla="*/ 76875 w 1573156"/>
                <a:gd name="connsiteY3" fmla="*/ 2020467 h 3641849"/>
                <a:gd name="connsiteX4" fmla="*/ 118439 w 1573156"/>
                <a:gd name="connsiteY4" fmla="*/ 1992023 h 3641849"/>
                <a:gd name="connsiteX5" fmla="*/ 82416 w 1573156"/>
                <a:gd name="connsiteY5" fmla="*/ 1963580 h 3641849"/>
                <a:gd name="connsiteX6" fmla="*/ 51935 w 1573156"/>
                <a:gd name="connsiteY6" fmla="*/ 1927380 h 3641849"/>
                <a:gd name="connsiteX7" fmla="*/ 40850 w 1573156"/>
                <a:gd name="connsiteY7" fmla="*/ 1893766 h 3641849"/>
                <a:gd name="connsiteX8" fmla="*/ 43621 w 1573156"/>
                <a:gd name="connsiteY8" fmla="*/ 1844639 h 3641849"/>
                <a:gd name="connsiteX9" fmla="*/ 82416 w 1573156"/>
                <a:gd name="connsiteY9" fmla="*/ 1826538 h 3641849"/>
                <a:gd name="connsiteX10" fmla="*/ 112899 w 1573156"/>
                <a:gd name="connsiteY10" fmla="*/ 1782581 h 3641849"/>
                <a:gd name="connsiteX11" fmla="*/ 96271 w 1573156"/>
                <a:gd name="connsiteY11" fmla="*/ 1754138 h 3641849"/>
                <a:gd name="connsiteX12" fmla="*/ 40851 w 1573156"/>
                <a:gd name="connsiteY12" fmla="*/ 1746381 h 3641849"/>
                <a:gd name="connsiteX13" fmla="*/ 2057 w 1573156"/>
                <a:gd name="connsiteY13" fmla="*/ 1730867 h 3641849"/>
                <a:gd name="connsiteX14" fmla="*/ 38079 w 1573156"/>
                <a:gd name="connsiteY14" fmla="*/ 1689496 h 3641849"/>
                <a:gd name="connsiteX15" fmla="*/ 18683 w 1573156"/>
                <a:gd name="connsiteY15" fmla="*/ 1679153 h 3641849"/>
                <a:gd name="connsiteX16" fmla="*/ 2055 w 1573156"/>
                <a:gd name="connsiteY16" fmla="*/ 1640367 h 3641849"/>
                <a:gd name="connsiteX17" fmla="*/ 65790 w 1573156"/>
                <a:gd name="connsiteY17" fmla="*/ 1650711 h 3641849"/>
                <a:gd name="connsiteX18" fmla="*/ 93501 w 1573156"/>
                <a:gd name="connsiteY18" fmla="*/ 1627440 h 3641849"/>
                <a:gd name="connsiteX19" fmla="*/ 187716 w 1573156"/>
                <a:gd name="connsiteY19" fmla="*/ 1536941 h 3641849"/>
                <a:gd name="connsiteX20" fmla="*/ 212655 w 1573156"/>
                <a:gd name="connsiteY20" fmla="*/ 1505912 h 3641849"/>
                <a:gd name="connsiteX21" fmla="*/ 198801 w 1573156"/>
                <a:gd name="connsiteY21" fmla="*/ 1555040 h 3641849"/>
                <a:gd name="connsiteX22" fmla="*/ 218197 w 1573156"/>
                <a:gd name="connsiteY22" fmla="*/ 1588655 h 3641849"/>
                <a:gd name="connsiteX23" fmla="*/ 262534 w 1573156"/>
                <a:gd name="connsiteY23" fmla="*/ 1666225 h 3641849"/>
                <a:gd name="connsiteX24" fmla="*/ 331810 w 1573156"/>
                <a:gd name="connsiteY24" fmla="*/ 1653297 h 3641849"/>
                <a:gd name="connsiteX25" fmla="*/ 351206 w 1573156"/>
                <a:gd name="connsiteY25" fmla="*/ 1622268 h 3641849"/>
                <a:gd name="connsiteX26" fmla="*/ 365062 w 1573156"/>
                <a:gd name="connsiteY26" fmla="*/ 1557627 h 3641849"/>
                <a:gd name="connsiteX27" fmla="*/ 304099 w 1573156"/>
                <a:gd name="connsiteY27" fmla="*/ 1511084 h 3641849"/>
                <a:gd name="connsiteX28" fmla="*/ 259763 w 1573156"/>
                <a:gd name="connsiteY28" fmla="*/ 1485227 h 3641849"/>
                <a:gd name="connsiteX29" fmla="*/ 198801 w 1573156"/>
                <a:gd name="connsiteY29" fmla="*/ 1495570 h 3641849"/>
                <a:gd name="connsiteX30" fmla="*/ 376147 w 1573156"/>
                <a:gd name="connsiteY30" fmla="*/ 1299057 h 3641849"/>
                <a:gd name="connsiteX31" fmla="*/ 223740 w 1573156"/>
                <a:gd name="connsiteY31" fmla="*/ 1151672 h 3641849"/>
                <a:gd name="connsiteX32" fmla="*/ 284703 w 1573156"/>
                <a:gd name="connsiteY32" fmla="*/ 1089617 h 3641849"/>
                <a:gd name="connsiteX33" fmla="*/ 218198 w 1573156"/>
                <a:gd name="connsiteY33" fmla="*/ 1050829 h 3641849"/>
                <a:gd name="connsiteX34" fmla="*/ 259763 w 1573156"/>
                <a:gd name="connsiteY34" fmla="*/ 1019802 h 3641849"/>
                <a:gd name="connsiteX35" fmla="*/ 212657 w 1573156"/>
                <a:gd name="connsiteY35" fmla="*/ 993947 h 3641849"/>
                <a:gd name="connsiteX36" fmla="*/ 212656 w 1573156"/>
                <a:gd name="connsiteY36" fmla="*/ 794845 h 3641849"/>
                <a:gd name="connsiteX37" fmla="*/ 251451 w 1573156"/>
                <a:gd name="connsiteY37" fmla="*/ 779332 h 3641849"/>
                <a:gd name="connsiteX38" fmla="*/ 137838 w 1573156"/>
                <a:gd name="connsiteY38" fmla="*/ 551792 h 3641849"/>
                <a:gd name="connsiteX39" fmla="*/ 135067 w 1573156"/>
                <a:gd name="connsiteY39" fmla="*/ 551792 h 3641849"/>
                <a:gd name="connsiteX40" fmla="*/ 184945 w 1573156"/>
                <a:gd name="connsiteY40" fmla="*/ 469048 h 3641849"/>
                <a:gd name="connsiteX41" fmla="*/ 201571 w 1573156"/>
                <a:gd name="connsiteY41" fmla="*/ 378550 h 3641849"/>
                <a:gd name="connsiteX42" fmla="*/ 126752 w 1573156"/>
                <a:gd name="connsiteY42" fmla="*/ 319079 h 3641849"/>
                <a:gd name="connsiteX43" fmla="*/ 118440 w 1573156"/>
                <a:gd name="connsiteY43" fmla="*/ 251851 h 3641849"/>
                <a:gd name="connsiteX44" fmla="*/ 173860 w 1573156"/>
                <a:gd name="connsiteY44" fmla="*/ 158764 h 3641849"/>
                <a:gd name="connsiteX45" fmla="*/ 193258 w 1573156"/>
                <a:gd name="connsiteY45" fmla="*/ 135494 h 3641849"/>
                <a:gd name="connsiteX46" fmla="*/ 207113 w 1573156"/>
                <a:gd name="connsiteY46" fmla="*/ 117394 h 3641849"/>
                <a:gd name="connsiteX47" fmla="*/ 215426 w 1573156"/>
                <a:gd name="connsiteY47" fmla="*/ 73438 h 3641849"/>
                <a:gd name="connsiteX48" fmla="*/ 240365 w 1573156"/>
                <a:gd name="connsiteY48" fmla="*/ 101880 h 3641849"/>
                <a:gd name="connsiteX49" fmla="*/ 270847 w 1573156"/>
                <a:gd name="connsiteY49" fmla="*/ 88952 h 3641849"/>
                <a:gd name="connsiteX50" fmla="*/ 273617 w 1573156"/>
                <a:gd name="connsiteY50" fmla="*/ 63095 h 3641849"/>
                <a:gd name="connsiteX51" fmla="*/ 281931 w 1573156"/>
                <a:gd name="connsiteY51" fmla="*/ 34652 h 3641849"/>
                <a:gd name="connsiteX52" fmla="*/ 284703 w 1573156"/>
                <a:gd name="connsiteY52" fmla="*/ 3624 h 3641849"/>
                <a:gd name="connsiteX53" fmla="*/ 420483 w 1573156"/>
                <a:gd name="connsiteY53" fmla="*/ 57924 h 3641849"/>
                <a:gd name="connsiteX54" fmla="*/ 450963 w 1573156"/>
                <a:gd name="connsiteY54" fmla="*/ 161352 h 3641849"/>
                <a:gd name="connsiteX55" fmla="*/ 464819 w 1573156"/>
                <a:gd name="connsiteY55" fmla="*/ 184622 h 3641849"/>
                <a:gd name="connsiteX56" fmla="*/ 475903 w 1573156"/>
                <a:gd name="connsiteY56" fmla="*/ 187208 h 3641849"/>
                <a:gd name="connsiteX57" fmla="*/ 589515 w 1573156"/>
                <a:gd name="connsiteY57" fmla="*/ 156181 h 3641849"/>
                <a:gd name="connsiteX58" fmla="*/ 656020 w 1573156"/>
                <a:gd name="connsiteY58" fmla="*/ 166522 h 3641849"/>
                <a:gd name="connsiteX59" fmla="*/ 719754 w 1573156"/>
                <a:gd name="connsiteY59" fmla="*/ 213065 h 3641849"/>
                <a:gd name="connsiteX60" fmla="*/ 733781 w 1573156"/>
                <a:gd name="connsiteY60" fmla="*/ 242621 h 3641849"/>
                <a:gd name="connsiteX61" fmla="*/ 789028 w 1573156"/>
                <a:gd name="connsiteY61" fmla="*/ 277708 h 3641849"/>
                <a:gd name="connsiteX62" fmla="*/ 877702 w 1573156"/>
                <a:gd name="connsiteY62" fmla="*/ 303563 h 3641849"/>
                <a:gd name="connsiteX63" fmla="*/ 949748 w 1573156"/>
                <a:gd name="connsiteY63" fmla="*/ 350106 h 3641849"/>
                <a:gd name="connsiteX64" fmla="*/ 999627 w 1573156"/>
                <a:gd name="connsiteY64" fmla="*/ 401820 h 3641849"/>
                <a:gd name="connsiteX65" fmla="*/ 1024566 w 1573156"/>
                <a:gd name="connsiteY65" fmla="*/ 440606 h 3641849"/>
                <a:gd name="connsiteX66" fmla="*/ 1057819 w 1573156"/>
                <a:gd name="connsiteY66" fmla="*/ 466462 h 3641849"/>
                <a:gd name="connsiteX67" fmla="*/ 1041191 w 1573156"/>
                <a:gd name="connsiteY67" fmla="*/ 691417 h 3641849"/>
                <a:gd name="connsiteX68" fmla="*/ 913725 w 1573156"/>
                <a:gd name="connsiteY68" fmla="*/ 771575 h 3641849"/>
                <a:gd name="connsiteX69" fmla="*/ 800113 w 1573156"/>
                <a:gd name="connsiteY69" fmla="*/ 779331 h 3641849"/>
                <a:gd name="connsiteX70" fmla="*/ 661560 w 1573156"/>
                <a:gd name="connsiteY70" fmla="*/ 758645 h 3641849"/>
                <a:gd name="connsiteX71" fmla="*/ 570116 w 1573156"/>
                <a:gd name="connsiteY71" fmla="*/ 722445 h 3641849"/>
                <a:gd name="connsiteX72" fmla="*/ 550719 w 1573156"/>
                <a:gd name="connsiteY72" fmla="*/ 750888 h 3641849"/>
                <a:gd name="connsiteX73" fmla="*/ 581361 w 1573156"/>
                <a:gd name="connsiteY73" fmla="*/ 824301 h 3641849"/>
                <a:gd name="connsiteX74" fmla="*/ 586902 w 1573156"/>
                <a:gd name="connsiteY74" fmla="*/ 951000 h 3641849"/>
                <a:gd name="connsiteX75" fmla="*/ 559032 w 1573156"/>
                <a:gd name="connsiteY75" fmla="*/ 1012043 h 3641849"/>
                <a:gd name="connsiteX76" fmla="*/ 614451 w 1573156"/>
                <a:gd name="connsiteY76" fmla="*/ 1032728 h 3641849"/>
                <a:gd name="connsiteX77" fmla="*/ 631079 w 1573156"/>
                <a:gd name="connsiteY77" fmla="*/ 1048242 h 3641849"/>
                <a:gd name="connsiteX78" fmla="*/ 656019 w 1573156"/>
                <a:gd name="connsiteY78" fmla="*/ 1074099 h 3641849"/>
                <a:gd name="connsiteX79" fmla="*/ 653248 w 1573156"/>
                <a:gd name="connsiteY79" fmla="*/ 1076685 h 3641849"/>
                <a:gd name="connsiteX80" fmla="*/ 692041 w 1573156"/>
                <a:gd name="connsiteY80" fmla="*/ 1071514 h 3641849"/>
                <a:gd name="connsiteX81" fmla="*/ 700355 w 1573156"/>
                <a:gd name="connsiteY81" fmla="*/ 1035314 h 3641849"/>
                <a:gd name="connsiteX82" fmla="*/ 661560 w 1573156"/>
                <a:gd name="connsiteY82" fmla="*/ 957743 h 3641849"/>
                <a:gd name="connsiteX83" fmla="*/ 730836 w 1573156"/>
                <a:gd name="connsiteY83" fmla="*/ 911200 h 3641849"/>
                <a:gd name="connsiteX84" fmla="*/ 798608 w 1573156"/>
                <a:gd name="connsiteY84" fmla="*/ 918934 h 3641849"/>
                <a:gd name="connsiteX85" fmla="*/ 822441 w 1573156"/>
                <a:gd name="connsiteY85" fmla="*/ 951001 h 3641849"/>
                <a:gd name="connsiteX86" fmla="*/ 978170 w 1573156"/>
                <a:gd name="connsiteY86" fmla="*/ 1007364 h 3641849"/>
                <a:gd name="connsiteX87" fmla="*/ 963762 w 1573156"/>
                <a:gd name="connsiteY87" fmla="*/ 971687 h 3641849"/>
                <a:gd name="connsiteX88" fmla="*/ 930510 w 1573156"/>
                <a:gd name="connsiteY88" fmla="*/ 932901 h 3641849"/>
                <a:gd name="connsiteX89" fmla="*/ 919426 w 1573156"/>
                <a:gd name="connsiteY89" fmla="*/ 881187 h 3641849"/>
                <a:gd name="connsiteX90" fmla="*/ 958221 w 1573156"/>
                <a:gd name="connsiteY90" fmla="*/ 832060 h 3641849"/>
                <a:gd name="connsiteX91" fmla="*/ 985931 w 1573156"/>
                <a:gd name="connsiteY91" fmla="*/ 803617 h 3641849"/>
                <a:gd name="connsiteX92" fmla="*/ 1010871 w 1573156"/>
                <a:gd name="connsiteY92" fmla="*/ 767417 h 3641849"/>
                <a:gd name="connsiteX93" fmla="*/ 1091231 w 1573156"/>
                <a:gd name="connsiteY93" fmla="*/ 762245 h 3641849"/>
                <a:gd name="connsiteX94" fmla="*/ 1096772 w 1573156"/>
                <a:gd name="connsiteY94" fmla="*/ 741560 h 3641849"/>
                <a:gd name="connsiteX95" fmla="*/ 1121712 w 1573156"/>
                <a:gd name="connsiteY95" fmla="*/ 705360 h 3641849"/>
                <a:gd name="connsiteX96" fmla="*/ 1155516 w 1573156"/>
                <a:gd name="connsiteY96" fmla="*/ 687772 h 3641849"/>
                <a:gd name="connsiteX97" fmla="*/ 1213156 w 1573156"/>
                <a:gd name="connsiteY97" fmla="*/ 700189 h 3641849"/>
                <a:gd name="connsiteX98" fmla="*/ 1251949 w 1573156"/>
                <a:gd name="connsiteY98" fmla="*/ 720875 h 3641849"/>
                <a:gd name="connsiteX99" fmla="*/ 1299057 w 1573156"/>
                <a:gd name="connsiteY99" fmla="*/ 728632 h 3641849"/>
                <a:gd name="connsiteX100" fmla="*/ 1299057 w 1573156"/>
                <a:gd name="connsiteY100" fmla="*/ 733803 h 3641849"/>
                <a:gd name="connsiteX101" fmla="*/ 1321226 w 1573156"/>
                <a:gd name="connsiteY101" fmla="*/ 674332 h 3641849"/>
                <a:gd name="connsiteX102" fmla="*/ 1331201 w 1573156"/>
                <a:gd name="connsiteY102" fmla="*/ 640714 h 3641849"/>
                <a:gd name="connsiteX103" fmla="*/ 1337852 w 1573156"/>
                <a:gd name="connsiteY103" fmla="*/ 622618 h 3641849"/>
                <a:gd name="connsiteX104" fmla="*/ 1340789 w 1573156"/>
                <a:gd name="connsiteY104" fmla="*/ 591288 h 3641849"/>
                <a:gd name="connsiteX105" fmla="*/ 1260263 w 1573156"/>
                <a:gd name="connsiteY105" fmla="*/ 545048 h 3641849"/>
                <a:gd name="connsiteX106" fmla="*/ 1246408 w 1573156"/>
                <a:gd name="connsiteY106" fmla="*/ 472648 h 3641849"/>
                <a:gd name="connsiteX107" fmla="*/ 1246408 w 1573156"/>
                <a:gd name="connsiteY107" fmla="*/ 454548 h 3641849"/>
                <a:gd name="connsiteX108" fmla="*/ 1257491 w 1573156"/>
                <a:gd name="connsiteY108" fmla="*/ 431276 h 3641849"/>
                <a:gd name="connsiteX109" fmla="*/ 1260263 w 1573156"/>
                <a:gd name="connsiteY109" fmla="*/ 415762 h 3641849"/>
                <a:gd name="connsiteX110" fmla="*/ 1260262 w 1573156"/>
                <a:gd name="connsiteY110" fmla="*/ 358878 h 3641849"/>
                <a:gd name="connsiteX111" fmla="*/ 1238094 w 1573156"/>
                <a:gd name="connsiteY111" fmla="*/ 335607 h 3641849"/>
                <a:gd name="connsiteX112" fmla="*/ 1210384 w 1573156"/>
                <a:gd name="connsiteY112" fmla="*/ 304578 h 3641849"/>
                <a:gd name="connsiteX113" fmla="*/ 1206216 w 1573156"/>
                <a:gd name="connsiteY113" fmla="*/ 280325 h 3641849"/>
                <a:gd name="connsiteX114" fmla="*/ 1257492 w 1573156"/>
                <a:gd name="connsiteY114" fmla="*/ 258034 h 3641849"/>
                <a:gd name="connsiteX115" fmla="*/ 1311072 w 1573156"/>
                <a:gd name="connsiteY115" fmla="*/ 267906 h 3641849"/>
                <a:gd name="connsiteX116" fmla="*/ 1389856 w 1573156"/>
                <a:gd name="connsiteY116" fmla="*/ 279816 h 3641849"/>
                <a:gd name="connsiteX117" fmla="*/ 1474179 w 1573156"/>
                <a:gd name="connsiteY117" fmla="*/ 349175 h 3641849"/>
                <a:gd name="connsiteX118" fmla="*/ 1536314 w 1573156"/>
                <a:gd name="connsiteY118" fmla="*/ 425271 h 3641849"/>
                <a:gd name="connsiteX119" fmla="*/ 1435343 w 1573156"/>
                <a:gd name="connsiteY119" fmla="*/ 454265 h 3641849"/>
                <a:gd name="connsiteX120" fmla="*/ 1419809 w 1573156"/>
                <a:gd name="connsiteY120" fmla="*/ 501372 h 3641849"/>
                <a:gd name="connsiteX121" fmla="*/ 1477479 w 1573156"/>
                <a:gd name="connsiteY121" fmla="*/ 585862 h 3641849"/>
                <a:gd name="connsiteX122" fmla="*/ 1513013 w 1573156"/>
                <a:gd name="connsiteY122" fmla="*/ 591964 h 3641849"/>
                <a:gd name="connsiteX123" fmla="*/ 1565633 w 1573156"/>
                <a:gd name="connsiteY123" fmla="*/ 598304 h 3641849"/>
                <a:gd name="connsiteX124" fmla="*/ 1560670 w 1573156"/>
                <a:gd name="connsiteY124" fmla="*/ 709079 h 3641849"/>
                <a:gd name="connsiteX125" fmla="*/ 1571739 w 1573156"/>
                <a:gd name="connsiteY125" fmla="*/ 1040047 h 3641849"/>
                <a:gd name="connsiteX126" fmla="*/ 1562871 w 1573156"/>
                <a:gd name="connsiteY126" fmla="*/ 1842646 h 3641849"/>
                <a:gd name="connsiteX127" fmla="*/ 1571738 w 1573156"/>
                <a:gd name="connsiteY127" fmla="*/ 2297728 h 3641849"/>
                <a:gd name="connsiteX128" fmla="*/ 1545290 w 1573156"/>
                <a:gd name="connsiteY128" fmla="*/ 3607693 h 3641849"/>
                <a:gd name="connsiteX129" fmla="*/ 1286863 w 1573156"/>
                <a:gd name="connsiteY129" fmla="*/ 3564098 h 3641849"/>
                <a:gd name="connsiteX130" fmla="*/ 1118385 w 1573156"/>
                <a:gd name="connsiteY130" fmla="*/ 3497903 h 3641849"/>
                <a:gd name="connsiteX131" fmla="*/ 941039 w 1573156"/>
                <a:gd name="connsiteY131" fmla="*/ 3406887 h 3641849"/>
                <a:gd name="connsiteX132" fmla="*/ 842741 w 1573156"/>
                <a:gd name="connsiteY132" fmla="*/ 3326370 h 3641849"/>
                <a:gd name="connsiteX133" fmla="*/ 1137003 w 1573156"/>
                <a:gd name="connsiteY133" fmla="*/ 3018734 h 3641849"/>
                <a:gd name="connsiteX134" fmla="*/ 853249 w 1573156"/>
                <a:gd name="connsiteY134" fmla="*/ 2480910 h 3641849"/>
                <a:gd name="connsiteX135" fmla="*/ 557777 w 1573156"/>
                <a:gd name="connsiteY135" fmla="*/ 2715007 h 3641849"/>
                <a:gd name="connsiteX136" fmla="*/ 531809 w 1573156"/>
                <a:gd name="connsiteY136" fmla="*/ 2657256 h 3641849"/>
                <a:gd name="connsiteX137" fmla="*/ 660385 w 1573156"/>
                <a:gd name="connsiteY137" fmla="*/ 2391963 h 3641849"/>
                <a:gd name="connsiteX138" fmla="*/ 136108 w 1573156"/>
                <a:gd name="connsiteY138" fmla="*/ 2193381 h 3641849"/>
                <a:gd name="connsiteX0" fmla="*/ 136108 w 1573156"/>
                <a:gd name="connsiteY0" fmla="*/ 2193381 h 3641849"/>
                <a:gd name="connsiteX1" fmla="*/ 87958 w 1573156"/>
                <a:gd name="connsiteY1" fmla="*/ 2079936 h 3641849"/>
                <a:gd name="connsiteX2" fmla="*/ 74102 w 1573156"/>
                <a:gd name="connsiteY2" fmla="*/ 2030807 h 3641849"/>
                <a:gd name="connsiteX3" fmla="*/ 76875 w 1573156"/>
                <a:gd name="connsiteY3" fmla="*/ 2020467 h 3641849"/>
                <a:gd name="connsiteX4" fmla="*/ 118439 w 1573156"/>
                <a:gd name="connsiteY4" fmla="*/ 1992023 h 3641849"/>
                <a:gd name="connsiteX5" fmla="*/ 82416 w 1573156"/>
                <a:gd name="connsiteY5" fmla="*/ 1963580 h 3641849"/>
                <a:gd name="connsiteX6" fmla="*/ 51935 w 1573156"/>
                <a:gd name="connsiteY6" fmla="*/ 1927380 h 3641849"/>
                <a:gd name="connsiteX7" fmla="*/ 40850 w 1573156"/>
                <a:gd name="connsiteY7" fmla="*/ 1893766 h 3641849"/>
                <a:gd name="connsiteX8" fmla="*/ 43621 w 1573156"/>
                <a:gd name="connsiteY8" fmla="*/ 1844639 h 3641849"/>
                <a:gd name="connsiteX9" fmla="*/ 82416 w 1573156"/>
                <a:gd name="connsiteY9" fmla="*/ 1826538 h 3641849"/>
                <a:gd name="connsiteX10" fmla="*/ 112899 w 1573156"/>
                <a:gd name="connsiteY10" fmla="*/ 1782581 h 3641849"/>
                <a:gd name="connsiteX11" fmla="*/ 96271 w 1573156"/>
                <a:gd name="connsiteY11" fmla="*/ 1754138 h 3641849"/>
                <a:gd name="connsiteX12" fmla="*/ 40851 w 1573156"/>
                <a:gd name="connsiteY12" fmla="*/ 1746381 h 3641849"/>
                <a:gd name="connsiteX13" fmla="*/ 2057 w 1573156"/>
                <a:gd name="connsiteY13" fmla="*/ 1730867 h 3641849"/>
                <a:gd name="connsiteX14" fmla="*/ 38079 w 1573156"/>
                <a:gd name="connsiteY14" fmla="*/ 1689496 h 3641849"/>
                <a:gd name="connsiteX15" fmla="*/ 18683 w 1573156"/>
                <a:gd name="connsiteY15" fmla="*/ 1679153 h 3641849"/>
                <a:gd name="connsiteX16" fmla="*/ 2055 w 1573156"/>
                <a:gd name="connsiteY16" fmla="*/ 1640367 h 3641849"/>
                <a:gd name="connsiteX17" fmla="*/ 65790 w 1573156"/>
                <a:gd name="connsiteY17" fmla="*/ 1650711 h 3641849"/>
                <a:gd name="connsiteX18" fmla="*/ 93501 w 1573156"/>
                <a:gd name="connsiteY18" fmla="*/ 1627440 h 3641849"/>
                <a:gd name="connsiteX19" fmla="*/ 187716 w 1573156"/>
                <a:gd name="connsiteY19" fmla="*/ 1536941 h 3641849"/>
                <a:gd name="connsiteX20" fmla="*/ 212655 w 1573156"/>
                <a:gd name="connsiteY20" fmla="*/ 1505912 h 3641849"/>
                <a:gd name="connsiteX21" fmla="*/ 198801 w 1573156"/>
                <a:gd name="connsiteY21" fmla="*/ 1555040 h 3641849"/>
                <a:gd name="connsiteX22" fmla="*/ 218197 w 1573156"/>
                <a:gd name="connsiteY22" fmla="*/ 1588655 h 3641849"/>
                <a:gd name="connsiteX23" fmla="*/ 262534 w 1573156"/>
                <a:gd name="connsiteY23" fmla="*/ 1666225 h 3641849"/>
                <a:gd name="connsiteX24" fmla="*/ 331810 w 1573156"/>
                <a:gd name="connsiteY24" fmla="*/ 1653297 h 3641849"/>
                <a:gd name="connsiteX25" fmla="*/ 351206 w 1573156"/>
                <a:gd name="connsiteY25" fmla="*/ 1622268 h 3641849"/>
                <a:gd name="connsiteX26" fmla="*/ 365062 w 1573156"/>
                <a:gd name="connsiteY26" fmla="*/ 1557627 h 3641849"/>
                <a:gd name="connsiteX27" fmla="*/ 304099 w 1573156"/>
                <a:gd name="connsiteY27" fmla="*/ 1511084 h 3641849"/>
                <a:gd name="connsiteX28" fmla="*/ 259763 w 1573156"/>
                <a:gd name="connsiteY28" fmla="*/ 1485227 h 3641849"/>
                <a:gd name="connsiteX29" fmla="*/ 198801 w 1573156"/>
                <a:gd name="connsiteY29" fmla="*/ 1495570 h 3641849"/>
                <a:gd name="connsiteX30" fmla="*/ 376147 w 1573156"/>
                <a:gd name="connsiteY30" fmla="*/ 1299057 h 3641849"/>
                <a:gd name="connsiteX31" fmla="*/ 223740 w 1573156"/>
                <a:gd name="connsiteY31" fmla="*/ 1151672 h 3641849"/>
                <a:gd name="connsiteX32" fmla="*/ 284703 w 1573156"/>
                <a:gd name="connsiteY32" fmla="*/ 1089617 h 3641849"/>
                <a:gd name="connsiteX33" fmla="*/ 218198 w 1573156"/>
                <a:gd name="connsiteY33" fmla="*/ 1050829 h 3641849"/>
                <a:gd name="connsiteX34" fmla="*/ 259763 w 1573156"/>
                <a:gd name="connsiteY34" fmla="*/ 1019802 h 3641849"/>
                <a:gd name="connsiteX35" fmla="*/ 212657 w 1573156"/>
                <a:gd name="connsiteY35" fmla="*/ 993947 h 3641849"/>
                <a:gd name="connsiteX36" fmla="*/ 212656 w 1573156"/>
                <a:gd name="connsiteY36" fmla="*/ 794845 h 3641849"/>
                <a:gd name="connsiteX37" fmla="*/ 251451 w 1573156"/>
                <a:gd name="connsiteY37" fmla="*/ 779332 h 3641849"/>
                <a:gd name="connsiteX38" fmla="*/ 137838 w 1573156"/>
                <a:gd name="connsiteY38" fmla="*/ 551792 h 3641849"/>
                <a:gd name="connsiteX39" fmla="*/ 135067 w 1573156"/>
                <a:gd name="connsiteY39" fmla="*/ 551792 h 3641849"/>
                <a:gd name="connsiteX40" fmla="*/ 184945 w 1573156"/>
                <a:gd name="connsiteY40" fmla="*/ 469048 h 3641849"/>
                <a:gd name="connsiteX41" fmla="*/ 201571 w 1573156"/>
                <a:gd name="connsiteY41" fmla="*/ 378550 h 3641849"/>
                <a:gd name="connsiteX42" fmla="*/ 126752 w 1573156"/>
                <a:gd name="connsiteY42" fmla="*/ 319079 h 3641849"/>
                <a:gd name="connsiteX43" fmla="*/ 118440 w 1573156"/>
                <a:gd name="connsiteY43" fmla="*/ 251851 h 3641849"/>
                <a:gd name="connsiteX44" fmla="*/ 173860 w 1573156"/>
                <a:gd name="connsiteY44" fmla="*/ 158764 h 3641849"/>
                <a:gd name="connsiteX45" fmla="*/ 193258 w 1573156"/>
                <a:gd name="connsiteY45" fmla="*/ 135494 h 3641849"/>
                <a:gd name="connsiteX46" fmla="*/ 207113 w 1573156"/>
                <a:gd name="connsiteY46" fmla="*/ 117394 h 3641849"/>
                <a:gd name="connsiteX47" fmla="*/ 215426 w 1573156"/>
                <a:gd name="connsiteY47" fmla="*/ 73438 h 3641849"/>
                <a:gd name="connsiteX48" fmla="*/ 240365 w 1573156"/>
                <a:gd name="connsiteY48" fmla="*/ 101880 h 3641849"/>
                <a:gd name="connsiteX49" fmla="*/ 270847 w 1573156"/>
                <a:gd name="connsiteY49" fmla="*/ 88952 h 3641849"/>
                <a:gd name="connsiteX50" fmla="*/ 273617 w 1573156"/>
                <a:gd name="connsiteY50" fmla="*/ 63095 h 3641849"/>
                <a:gd name="connsiteX51" fmla="*/ 281931 w 1573156"/>
                <a:gd name="connsiteY51" fmla="*/ 34652 h 3641849"/>
                <a:gd name="connsiteX52" fmla="*/ 284703 w 1573156"/>
                <a:gd name="connsiteY52" fmla="*/ 3624 h 3641849"/>
                <a:gd name="connsiteX53" fmla="*/ 420483 w 1573156"/>
                <a:gd name="connsiteY53" fmla="*/ 57924 h 3641849"/>
                <a:gd name="connsiteX54" fmla="*/ 450963 w 1573156"/>
                <a:gd name="connsiteY54" fmla="*/ 161352 h 3641849"/>
                <a:gd name="connsiteX55" fmla="*/ 464819 w 1573156"/>
                <a:gd name="connsiteY55" fmla="*/ 184622 h 3641849"/>
                <a:gd name="connsiteX56" fmla="*/ 475903 w 1573156"/>
                <a:gd name="connsiteY56" fmla="*/ 187208 h 3641849"/>
                <a:gd name="connsiteX57" fmla="*/ 589515 w 1573156"/>
                <a:gd name="connsiteY57" fmla="*/ 156181 h 3641849"/>
                <a:gd name="connsiteX58" fmla="*/ 656020 w 1573156"/>
                <a:gd name="connsiteY58" fmla="*/ 166522 h 3641849"/>
                <a:gd name="connsiteX59" fmla="*/ 719754 w 1573156"/>
                <a:gd name="connsiteY59" fmla="*/ 213065 h 3641849"/>
                <a:gd name="connsiteX60" fmla="*/ 733781 w 1573156"/>
                <a:gd name="connsiteY60" fmla="*/ 242621 h 3641849"/>
                <a:gd name="connsiteX61" fmla="*/ 789028 w 1573156"/>
                <a:gd name="connsiteY61" fmla="*/ 277708 h 3641849"/>
                <a:gd name="connsiteX62" fmla="*/ 877702 w 1573156"/>
                <a:gd name="connsiteY62" fmla="*/ 303563 h 3641849"/>
                <a:gd name="connsiteX63" fmla="*/ 949748 w 1573156"/>
                <a:gd name="connsiteY63" fmla="*/ 350106 h 3641849"/>
                <a:gd name="connsiteX64" fmla="*/ 999627 w 1573156"/>
                <a:gd name="connsiteY64" fmla="*/ 401820 h 3641849"/>
                <a:gd name="connsiteX65" fmla="*/ 1024566 w 1573156"/>
                <a:gd name="connsiteY65" fmla="*/ 440606 h 3641849"/>
                <a:gd name="connsiteX66" fmla="*/ 1057819 w 1573156"/>
                <a:gd name="connsiteY66" fmla="*/ 466462 h 3641849"/>
                <a:gd name="connsiteX67" fmla="*/ 1041191 w 1573156"/>
                <a:gd name="connsiteY67" fmla="*/ 691417 h 3641849"/>
                <a:gd name="connsiteX68" fmla="*/ 913725 w 1573156"/>
                <a:gd name="connsiteY68" fmla="*/ 771575 h 3641849"/>
                <a:gd name="connsiteX69" fmla="*/ 800113 w 1573156"/>
                <a:gd name="connsiteY69" fmla="*/ 779331 h 3641849"/>
                <a:gd name="connsiteX70" fmla="*/ 661560 w 1573156"/>
                <a:gd name="connsiteY70" fmla="*/ 758645 h 3641849"/>
                <a:gd name="connsiteX71" fmla="*/ 570116 w 1573156"/>
                <a:gd name="connsiteY71" fmla="*/ 722445 h 3641849"/>
                <a:gd name="connsiteX72" fmla="*/ 550719 w 1573156"/>
                <a:gd name="connsiteY72" fmla="*/ 750888 h 3641849"/>
                <a:gd name="connsiteX73" fmla="*/ 581361 w 1573156"/>
                <a:gd name="connsiteY73" fmla="*/ 824301 h 3641849"/>
                <a:gd name="connsiteX74" fmla="*/ 586902 w 1573156"/>
                <a:gd name="connsiteY74" fmla="*/ 951000 h 3641849"/>
                <a:gd name="connsiteX75" fmla="*/ 559032 w 1573156"/>
                <a:gd name="connsiteY75" fmla="*/ 1012043 h 3641849"/>
                <a:gd name="connsiteX76" fmla="*/ 614451 w 1573156"/>
                <a:gd name="connsiteY76" fmla="*/ 1032728 h 3641849"/>
                <a:gd name="connsiteX77" fmla="*/ 631079 w 1573156"/>
                <a:gd name="connsiteY77" fmla="*/ 1048242 h 3641849"/>
                <a:gd name="connsiteX78" fmla="*/ 656019 w 1573156"/>
                <a:gd name="connsiteY78" fmla="*/ 1074099 h 3641849"/>
                <a:gd name="connsiteX79" fmla="*/ 653248 w 1573156"/>
                <a:gd name="connsiteY79" fmla="*/ 1076685 h 3641849"/>
                <a:gd name="connsiteX80" fmla="*/ 692041 w 1573156"/>
                <a:gd name="connsiteY80" fmla="*/ 1071514 h 3641849"/>
                <a:gd name="connsiteX81" fmla="*/ 700355 w 1573156"/>
                <a:gd name="connsiteY81" fmla="*/ 1035314 h 3641849"/>
                <a:gd name="connsiteX82" fmla="*/ 661560 w 1573156"/>
                <a:gd name="connsiteY82" fmla="*/ 957743 h 3641849"/>
                <a:gd name="connsiteX83" fmla="*/ 730836 w 1573156"/>
                <a:gd name="connsiteY83" fmla="*/ 911200 h 3641849"/>
                <a:gd name="connsiteX84" fmla="*/ 798608 w 1573156"/>
                <a:gd name="connsiteY84" fmla="*/ 918934 h 3641849"/>
                <a:gd name="connsiteX85" fmla="*/ 822441 w 1573156"/>
                <a:gd name="connsiteY85" fmla="*/ 951001 h 3641849"/>
                <a:gd name="connsiteX86" fmla="*/ 978170 w 1573156"/>
                <a:gd name="connsiteY86" fmla="*/ 1007364 h 3641849"/>
                <a:gd name="connsiteX87" fmla="*/ 963762 w 1573156"/>
                <a:gd name="connsiteY87" fmla="*/ 971687 h 3641849"/>
                <a:gd name="connsiteX88" fmla="*/ 930510 w 1573156"/>
                <a:gd name="connsiteY88" fmla="*/ 932901 h 3641849"/>
                <a:gd name="connsiteX89" fmla="*/ 919426 w 1573156"/>
                <a:gd name="connsiteY89" fmla="*/ 881187 h 3641849"/>
                <a:gd name="connsiteX90" fmla="*/ 958221 w 1573156"/>
                <a:gd name="connsiteY90" fmla="*/ 832060 h 3641849"/>
                <a:gd name="connsiteX91" fmla="*/ 985931 w 1573156"/>
                <a:gd name="connsiteY91" fmla="*/ 803617 h 3641849"/>
                <a:gd name="connsiteX92" fmla="*/ 1010871 w 1573156"/>
                <a:gd name="connsiteY92" fmla="*/ 767417 h 3641849"/>
                <a:gd name="connsiteX93" fmla="*/ 1091231 w 1573156"/>
                <a:gd name="connsiteY93" fmla="*/ 762245 h 3641849"/>
                <a:gd name="connsiteX94" fmla="*/ 1096772 w 1573156"/>
                <a:gd name="connsiteY94" fmla="*/ 741560 h 3641849"/>
                <a:gd name="connsiteX95" fmla="*/ 1121712 w 1573156"/>
                <a:gd name="connsiteY95" fmla="*/ 705360 h 3641849"/>
                <a:gd name="connsiteX96" fmla="*/ 1155516 w 1573156"/>
                <a:gd name="connsiteY96" fmla="*/ 687772 h 3641849"/>
                <a:gd name="connsiteX97" fmla="*/ 1213156 w 1573156"/>
                <a:gd name="connsiteY97" fmla="*/ 700189 h 3641849"/>
                <a:gd name="connsiteX98" fmla="*/ 1251949 w 1573156"/>
                <a:gd name="connsiteY98" fmla="*/ 720875 h 3641849"/>
                <a:gd name="connsiteX99" fmla="*/ 1299057 w 1573156"/>
                <a:gd name="connsiteY99" fmla="*/ 728632 h 3641849"/>
                <a:gd name="connsiteX100" fmla="*/ 1299057 w 1573156"/>
                <a:gd name="connsiteY100" fmla="*/ 733803 h 3641849"/>
                <a:gd name="connsiteX101" fmla="*/ 1321226 w 1573156"/>
                <a:gd name="connsiteY101" fmla="*/ 674332 h 3641849"/>
                <a:gd name="connsiteX102" fmla="*/ 1331201 w 1573156"/>
                <a:gd name="connsiteY102" fmla="*/ 640714 h 3641849"/>
                <a:gd name="connsiteX103" fmla="*/ 1337852 w 1573156"/>
                <a:gd name="connsiteY103" fmla="*/ 622618 h 3641849"/>
                <a:gd name="connsiteX104" fmla="*/ 1340789 w 1573156"/>
                <a:gd name="connsiteY104" fmla="*/ 591288 h 3641849"/>
                <a:gd name="connsiteX105" fmla="*/ 1260263 w 1573156"/>
                <a:gd name="connsiteY105" fmla="*/ 545048 h 3641849"/>
                <a:gd name="connsiteX106" fmla="*/ 1246408 w 1573156"/>
                <a:gd name="connsiteY106" fmla="*/ 472648 h 3641849"/>
                <a:gd name="connsiteX107" fmla="*/ 1246408 w 1573156"/>
                <a:gd name="connsiteY107" fmla="*/ 454548 h 3641849"/>
                <a:gd name="connsiteX108" fmla="*/ 1257491 w 1573156"/>
                <a:gd name="connsiteY108" fmla="*/ 431276 h 3641849"/>
                <a:gd name="connsiteX109" fmla="*/ 1260263 w 1573156"/>
                <a:gd name="connsiteY109" fmla="*/ 415762 h 3641849"/>
                <a:gd name="connsiteX110" fmla="*/ 1260262 w 1573156"/>
                <a:gd name="connsiteY110" fmla="*/ 358878 h 3641849"/>
                <a:gd name="connsiteX111" fmla="*/ 1238094 w 1573156"/>
                <a:gd name="connsiteY111" fmla="*/ 335607 h 3641849"/>
                <a:gd name="connsiteX112" fmla="*/ 1210384 w 1573156"/>
                <a:gd name="connsiteY112" fmla="*/ 304578 h 3641849"/>
                <a:gd name="connsiteX113" fmla="*/ 1206216 w 1573156"/>
                <a:gd name="connsiteY113" fmla="*/ 280325 h 3641849"/>
                <a:gd name="connsiteX114" fmla="*/ 1257492 w 1573156"/>
                <a:gd name="connsiteY114" fmla="*/ 258034 h 3641849"/>
                <a:gd name="connsiteX115" fmla="*/ 1311072 w 1573156"/>
                <a:gd name="connsiteY115" fmla="*/ 267906 h 3641849"/>
                <a:gd name="connsiteX116" fmla="*/ 1389856 w 1573156"/>
                <a:gd name="connsiteY116" fmla="*/ 279816 h 3641849"/>
                <a:gd name="connsiteX117" fmla="*/ 1474179 w 1573156"/>
                <a:gd name="connsiteY117" fmla="*/ 349175 h 3641849"/>
                <a:gd name="connsiteX118" fmla="*/ 1536314 w 1573156"/>
                <a:gd name="connsiteY118" fmla="*/ 425271 h 3641849"/>
                <a:gd name="connsiteX119" fmla="*/ 1435343 w 1573156"/>
                <a:gd name="connsiteY119" fmla="*/ 454265 h 3641849"/>
                <a:gd name="connsiteX120" fmla="*/ 1419809 w 1573156"/>
                <a:gd name="connsiteY120" fmla="*/ 501372 h 3641849"/>
                <a:gd name="connsiteX121" fmla="*/ 1477479 w 1573156"/>
                <a:gd name="connsiteY121" fmla="*/ 585862 h 3641849"/>
                <a:gd name="connsiteX122" fmla="*/ 1513013 w 1573156"/>
                <a:gd name="connsiteY122" fmla="*/ 591964 h 3641849"/>
                <a:gd name="connsiteX123" fmla="*/ 1565633 w 1573156"/>
                <a:gd name="connsiteY123" fmla="*/ 598304 h 3641849"/>
                <a:gd name="connsiteX124" fmla="*/ 1560670 w 1573156"/>
                <a:gd name="connsiteY124" fmla="*/ 709079 h 3641849"/>
                <a:gd name="connsiteX125" fmla="*/ 1571739 w 1573156"/>
                <a:gd name="connsiteY125" fmla="*/ 1040047 h 3641849"/>
                <a:gd name="connsiteX126" fmla="*/ 1562871 w 1573156"/>
                <a:gd name="connsiteY126" fmla="*/ 1842646 h 3641849"/>
                <a:gd name="connsiteX127" fmla="*/ 1571738 w 1573156"/>
                <a:gd name="connsiteY127" fmla="*/ 2297728 h 3641849"/>
                <a:gd name="connsiteX128" fmla="*/ 1545290 w 1573156"/>
                <a:gd name="connsiteY128" fmla="*/ 3607693 h 3641849"/>
                <a:gd name="connsiteX129" fmla="*/ 1286863 w 1573156"/>
                <a:gd name="connsiteY129" fmla="*/ 3564098 h 3641849"/>
                <a:gd name="connsiteX130" fmla="*/ 1118385 w 1573156"/>
                <a:gd name="connsiteY130" fmla="*/ 3497903 h 3641849"/>
                <a:gd name="connsiteX131" fmla="*/ 941039 w 1573156"/>
                <a:gd name="connsiteY131" fmla="*/ 3406887 h 3641849"/>
                <a:gd name="connsiteX132" fmla="*/ 842741 w 1573156"/>
                <a:gd name="connsiteY132" fmla="*/ 3326370 h 3641849"/>
                <a:gd name="connsiteX133" fmla="*/ 1137003 w 1573156"/>
                <a:gd name="connsiteY133" fmla="*/ 3018734 h 3641849"/>
                <a:gd name="connsiteX134" fmla="*/ 853249 w 1573156"/>
                <a:gd name="connsiteY134" fmla="*/ 2480910 h 3641849"/>
                <a:gd name="connsiteX135" fmla="*/ 557777 w 1573156"/>
                <a:gd name="connsiteY135" fmla="*/ 2715007 h 3641849"/>
                <a:gd name="connsiteX136" fmla="*/ 531809 w 1573156"/>
                <a:gd name="connsiteY136" fmla="*/ 2657256 h 3641849"/>
                <a:gd name="connsiteX137" fmla="*/ 660385 w 1573156"/>
                <a:gd name="connsiteY137" fmla="*/ 2391963 h 3641849"/>
                <a:gd name="connsiteX138" fmla="*/ 136108 w 1573156"/>
                <a:gd name="connsiteY138" fmla="*/ 2193381 h 3641849"/>
                <a:gd name="connsiteX0" fmla="*/ 136108 w 1573156"/>
                <a:gd name="connsiteY0" fmla="*/ 2193381 h 3641849"/>
                <a:gd name="connsiteX1" fmla="*/ 79645 w 1573156"/>
                <a:gd name="connsiteY1" fmla="*/ 2110964 h 3641849"/>
                <a:gd name="connsiteX2" fmla="*/ 87958 w 1573156"/>
                <a:gd name="connsiteY2" fmla="*/ 2079936 h 3641849"/>
                <a:gd name="connsiteX3" fmla="*/ 74102 w 1573156"/>
                <a:gd name="connsiteY3" fmla="*/ 2030807 h 3641849"/>
                <a:gd name="connsiteX4" fmla="*/ 76875 w 1573156"/>
                <a:gd name="connsiteY4" fmla="*/ 2020467 h 3641849"/>
                <a:gd name="connsiteX5" fmla="*/ 118439 w 1573156"/>
                <a:gd name="connsiteY5" fmla="*/ 1992023 h 3641849"/>
                <a:gd name="connsiteX6" fmla="*/ 82416 w 1573156"/>
                <a:gd name="connsiteY6" fmla="*/ 1963580 h 3641849"/>
                <a:gd name="connsiteX7" fmla="*/ 51935 w 1573156"/>
                <a:gd name="connsiteY7" fmla="*/ 1927380 h 3641849"/>
                <a:gd name="connsiteX8" fmla="*/ 40850 w 1573156"/>
                <a:gd name="connsiteY8" fmla="*/ 1893766 h 3641849"/>
                <a:gd name="connsiteX9" fmla="*/ 43621 w 1573156"/>
                <a:gd name="connsiteY9" fmla="*/ 1844639 h 3641849"/>
                <a:gd name="connsiteX10" fmla="*/ 82416 w 1573156"/>
                <a:gd name="connsiteY10" fmla="*/ 1826538 h 3641849"/>
                <a:gd name="connsiteX11" fmla="*/ 112899 w 1573156"/>
                <a:gd name="connsiteY11" fmla="*/ 1782581 h 3641849"/>
                <a:gd name="connsiteX12" fmla="*/ 96271 w 1573156"/>
                <a:gd name="connsiteY12" fmla="*/ 1754138 h 3641849"/>
                <a:gd name="connsiteX13" fmla="*/ 40851 w 1573156"/>
                <a:gd name="connsiteY13" fmla="*/ 1746381 h 3641849"/>
                <a:gd name="connsiteX14" fmla="*/ 2057 w 1573156"/>
                <a:gd name="connsiteY14" fmla="*/ 1730867 h 3641849"/>
                <a:gd name="connsiteX15" fmla="*/ 38079 w 1573156"/>
                <a:gd name="connsiteY15" fmla="*/ 1689496 h 3641849"/>
                <a:gd name="connsiteX16" fmla="*/ 18683 w 1573156"/>
                <a:gd name="connsiteY16" fmla="*/ 1679153 h 3641849"/>
                <a:gd name="connsiteX17" fmla="*/ 2055 w 1573156"/>
                <a:gd name="connsiteY17" fmla="*/ 1640367 h 3641849"/>
                <a:gd name="connsiteX18" fmla="*/ 65790 w 1573156"/>
                <a:gd name="connsiteY18" fmla="*/ 1650711 h 3641849"/>
                <a:gd name="connsiteX19" fmla="*/ 93501 w 1573156"/>
                <a:gd name="connsiteY19" fmla="*/ 1627440 h 3641849"/>
                <a:gd name="connsiteX20" fmla="*/ 187716 w 1573156"/>
                <a:gd name="connsiteY20" fmla="*/ 1536941 h 3641849"/>
                <a:gd name="connsiteX21" fmla="*/ 212655 w 1573156"/>
                <a:gd name="connsiteY21" fmla="*/ 1505912 h 3641849"/>
                <a:gd name="connsiteX22" fmla="*/ 198801 w 1573156"/>
                <a:gd name="connsiteY22" fmla="*/ 1555040 h 3641849"/>
                <a:gd name="connsiteX23" fmla="*/ 218197 w 1573156"/>
                <a:gd name="connsiteY23" fmla="*/ 1588655 h 3641849"/>
                <a:gd name="connsiteX24" fmla="*/ 262534 w 1573156"/>
                <a:gd name="connsiteY24" fmla="*/ 1666225 h 3641849"/>
                <a:gd name="connsiteX25" fmla="*/ 331810 w 1573156"/>
                <a:gd name="connsiteY25" fmla="*/ 1653297 h 3641849"/>
                <a:gd name="connsiteX26" fmla="*/ 351206 w 1573156"/>
                <a:gd name="connsiteY26" fmla="*/ 1622268 h 3641849"/>
                <a:gd name="connsiteX27" fmla="*/ 365062 w 1573156"/>
                <a:gd name="connsiteY27" fmla="*/ 1557627 h 3641849"/>
                <a:gd name="connsiteX28" fmla="*/ 304099 w 1573156"/>
                <a:gd name="connsiteY28" fmla="*/ 1511084 h 3641849"/>
                <a:gd name="connsiteX29" fmla="*/ 259763 w 1573156"/>
                <a:gd name="connsiteY29" fmla="*/ 1485227 h 3641849"/>
                <a:gd name="connsiteX30" fmla="*/ 198801 w 1573156"/>
                <a:gd name="connsiteY30" fmla="*/ 1495570 h 3641849"/>
                <a:gd name="connsiteX31" fmla="*/ 376147 w 1573156"/>
                <a:gd name="connsiteY31" fmla="*/ 1299057 h 3641849"/>
                <a:gd name="connsiteX32" fmla="*/ 223740 w 1573156"/>
                <a:gd name="connsiteY32" fmla="*/ 1151672 h 3641849"/>
                <a:gd name="connsiteX33" fmla="*/ 284703 w 1573156"/>
                <a:gd name="connsiteY33" fmla="*/ 1089617 h 3641849"/>
                <a:gd name="connsiteX34" fmla="*/ 218198 w 1573156"/>
                <a:gd name="connsiteY34" fmla="*/ 1050829 h 3641849"/>
                <a:gd name="connsiteX35" fmla="*/ 259763 w 1573156"/>
                <a:gd name="connsiteY35" fmla="*/ 1019802 h 3641849"/>
                <a:gd name="connsiteX36" fmla="*/ 212657 w 1573156"/>
                <a:gd name="connsiteY36" fmla="*/ 993947 h 3641849"/>
                <a:gd name="connsiteX37" fmla="*/ 212656 w 1573156"/>
                <a:gd name="connsiteY37" fmla="*/ 794845 h 3641849"/>
                <a:gd name="connsiteX38" fmla="*/ 251451 w 1573156"/>
                <a:gd name="connsiteY38" fmla="*/ 779332 h 3641849"/>
                <a:gd name="connsiteX39" fmla="*/ 137838 w 1573156"/>
                <a:gd name="connsiteY39" fmla="*/ 551792 h 3641849"/>
                <a:gd name="connsiteX40" fmla="*/ 135067 w 1573156"/>
                <a:gd name="connsiteY40" fmla="*/ 551792 h 3641849"/>
                <a:gd name="connsiteX41" fmla="*/ 184945 w 1573156"/>
                <a:gd name="connsiteY41" fmla="*/ 469048 h 3641849"/>
                <a:gd name="connsiteX42" fmla="*/ 201571 w 1573156"/>
                <a:gd name="connsiteY42" fmla="*/ 378550 h 3641849"/>
                <a:gd name="connsiteX43" fmla="*/ 126752 w 1573156"/>
                <a:gd name="connsiteY43" fmla="*/ 319079 h 3641849"/>
                <a:gd name="connsiteX44" fmla="*/ 118440 w 1573156"/>
                <a:gd name="connsiteY44" fmla="*/ 251851 h 3641849"/>
                <a:gd name="connsiteX45" fmla="*/ 173860 w 1573156"/>
                <a:gd name="connsiteY45" fmla="*/ 158764 h 3641849"/>
                <a:gd name="connsiteX46" fmla="*/ 193258 w 1573156"/>
                <a:gd name="connsiteY46" fmla="*/ 135494 h 3641849"/>
                <a:gd name="connsiteX47" fmla="*/ 207113 w 1573156"/>
                <a:gd name="connsiteY47" fmla="*/ 117394 h 3641849"/>
                <a:gd name="connsiteX48" fmla="*/ 215426 w 1573156"/>
                <a:gd name="connsiteY48" fmla="*/ 73438 h 3641849"/>
                <a:gd name="connsiteX49" fmla="*/ 240365 w 1573156"/>
                <a:gd name="connsiteY49" fmla="*/ 101880 h 3641849"/>
                <a:gd name="connsiteX50" fmla="*/ 270847 w 1573156"/>
                <a:gd name="connsiteY50" fmla="*/ 88952 h 3641849"/>
                <a:gd name="connsiteX51" fmla="*/ 273617 w 1573156"/>
                <a:gd name="connsiteY51" fmla="*/ 63095 h 3641849"/>
                <a:gd name="connsiteX52" fmla="*/ 281931 w 1573156"/>
                <a:gd name="connsiteY52" fmla="*/ 34652 h 3641849"/>
                <a:gd name="connsiteX53" fmla="*/ 284703 w 1573156"/>
                <a:gd name="connsiteY53" fmla="*/ 3624 h 3641849"/>
                <a:gd name="connsiteX54" fmla="*/ 420483 w 1573156"/>
                <a:gd name="connsiteY54" fmla="*/ 57924 h 3641849"/>
                <a:gd name="connsiteX55" fmla="*/ 450963 w 1573156"/>
                <a:gd name="connsiteY55" fmla="*/ 161352 h 3641849"/>
                <a:gd name="connsiteX56" fmla="*/ 464819 w 1573156"/>
                <a:gd name="connsiteY56" fmla="*/ 184622 h 3641849"/>
                <a:gd name="connsiteX57" fmla="*/ 475903 w 1573156"/>
                <a:gd name="connsiteY57" fmla="*/ 187208 h 3641849"/>
                <a:gd name="connsiteX58" fmla="*/ 589515 w 1573156"/>
                <a:gd name="connsiteY58" fmla="*/ 156181 h 3641849"/>
                <a:gd name="connsiteX59" fmla="*/ 656020 w 1573156"/>
                <a:gd name="connsiteY59" fmla="*/ 166522 h 3641849"/>
                <a:gd name="connsiteX60" fmla="*/ 719754 w 1573156"/>
                <a:gd name="connsiteY60" fmla="*/ 213065 h 3641849"/>
                <a:gd name="connsiteX61" fmla="*/ 733781 w 1573156"/>
                <a:gd name="connsiteY61" fmla="*/ 242621 h 3641849"/>
                <a:gd name="connsiteX62" fmla="*/ 789028 w 1573156"/>
                <a:gd name="connsiteY62" fmla="*/ 277708 h 3641849"/>
                <a:gd name="connsiteX63" fmla="*/ 877702 w 1573156"/>
                <a:gd name="connsiteY63" fmla="*/ 303563 h 3641849"/>
                <a:gd name="connsiteX64" fmla="*/ 949748 w 1573156"/>
                <a:gd name="connsiteY64" fmla="*/ 350106 h 3641849"/>
                <a:gd name="connsiteX65" fmla="*/ 999627 w 1573156"/>
                <a:gd name="connsiteY65" fmla="*/ 401820 h 3641849"/>
                <a:gd name="connsiteX66" fmla="*/ 1024566 w 1573156"/>
                <a:gd name="connsiteY66" fmla="*/ 440606 h 3641849"/>
                <a:gd name="connsiteX67" fmla="*/ 1057819 w 1573156"/>
                <a:gd name="connsiteY67" fmla="*/ 466462 h 3641849"/>
                <a:gd name="connsiteX68" fmla="*/ 1041191 w 1573156"/>
                <a:gd name="connsiteY68" fmla="*/ 691417 h 3641849"/>
                <a:gd name="connsiteX69" fmla="*/ 913725 w 1573156"/>
                <a:gd name="connsiteY69" fmla="*/ 771575 h 3641849"/>
                <a:gd name="connsiteX70" fmla="*/ 800113 w 1573156"/>
                <a:gd name="connsiteY70" fmla="*/ 779331 h 3641849"/>
                <a:gd name="connsiteX71" fmla="*/ 661560 w 1573156"/>
                <a:gd name="connsiteY71" fmla="*/ 758645 h 3641849"/>
                <a:gd name="connsiteX72" fmla="*/ 570116 w 1573156"/>
                <a:gd name="connsiteY72" fmla="*/ 722445 h 3641849"/>
                <a:gd name="connsiteX73" fmla="*/ 550719 w 1573156"/>
                <a:gd name="connsiteY73" fmla="*/ 750888 h 3641849"/>
                <a:gd name="connsiteX74" fmla="*/ 581361 w 1573156"/>
                <a:gd name="connsiteY74" fmla="*/ 824301 h 3641849"/>
                <a:gd name="connsiteX75" fmla="*/ 586902 w 1573156"/>
                <a:gd name="connsiteY75" fmla="*/ 951000 h 3641849"/>
                <a:gd name="connsiteX76" fmla="*/ 559032 w 1573156"/>
                <a:gd name="connsiteY76" fmla="*/ 1012043 h 3641849"/>
                <a:gd name="connsiteX77" fmla="*/ 614451 w 1573156"/>
                <a:gd name="connsiteY77" fmla="*/ 1032728 h 3641849"/>
                <a:gd name="connsiteX78" fmla="*/ 631079 w 1573156"/>
                <a:gd name="connsiteY78" fmla="*/ 1048242 h 3641849"/>
                <a:gd name="connsiteX79" fmla="*/ 656019 w 1573156"/>
                <a:gd name="connsiteY79" fmla="*/ 1074099 h 3641849"/>
                <a:gd name="connsiteX80" fmla="*/ 653248 w 1573156"/>
                <a:gd name="connsiteY80" fmla="*/ 1076685 h 3641849"/>
                <a:gd name="connsiteX81" fmla="*/ 692041 w 1573156"/>
                <a:gd name="connsiteY81" fmla="*/ 1071514 h 3641849"/>
                <a:gd name="connsiteX82" fmla="*/ 700355 w 1573156"/>
                <a:gd name="connsiteY82" fmla="*/ 1035314 h 3641849"/>
                <a:gd name="connsiteX83" fmla="*/ 661560 w 1573156"/>
                <a:gd name="connsiteY83" fmla="*/ 957743 h 3641849"/>
                <a:gd name="connsiteX84" fmla="*/ 730836 w 1573156"/>
                <a:gd name="connsiteY84" fmla="*/ 911200 h 3641849"/>
                <a:gd name="connsiteX85" fmla="*/ 798608 w 1573156"/>
                <a:gd name="connsiteY85" fmla="*/ 918934 h 3641849"/>
                <a:gd name="connsiteX86" fmla="*/ 822441 w 1573156"/>
                <a:gd name="connsiteY86" fmla="*/ 951001 h 3641849"/>
                <a:gd name="connsiteX87" fmla="*/ 978170 w 1573156"/>
                <a:gd name="connsiteY87" fmla="*/ 1007364 h 3641849"/>
                <a:gd name="connsiteX88" fmla="*/ 963762 w 1573156"/>
                <a:gd name="connsiteY88" fmla="*/ 971687 h 3641849"/>
                <a:gd name="connsiteX89" fmla="*/ 930510 w 1573156"/>
                <a:gd name="connsiteY89" fmla="*/ 932901 h 3641849"/>
                <a:gd name="connsiteX90" fmla="*/ 919426 w 1573156"/>
                <a:gd name="connsiteY90" fmla="*/ 881187 h 3641849"/>
                <a:gd name="connsiteX91" fmla="*/ 958221 w 1573156"/>
                <a:gd name="connsiteY91" fmla="*/ 832060 h 3641849"/>
                <a:gd name="connsiteX92" fmla="*/ 985931 w 1573156"/>
                <a:gd name="connsiteY92" fmla="*/ 803617 h 3641849"/>
                <a:gd name="connsiteX93" fmla="*/ 1010871 w 1573156"/>
                <a:gd name="connsiteY93" fmla="*/ 767417 h 3641849"/>
                <a:gd name="connsiteX94" fmla="*/ 1091231 w 1573156"/>
                <a:gd name="connsiteY94" fmla="*/ 762245 h 3641849"/>
                <a:gd name="connsiteX95" fmla="*/ 1096772 w 1573156"/>
                <a:gd name="connsiteY95" fmla="*/ 741560 h 3641849"/>
                <a:gd name="connsiteX96" fmla="*/ 1121712 w 1573156"/>
                <a:gd name="connsiteY96" fmla="*/ 705360 h 3641849"/>
                <a:gd name="connsiteX97" fmla="*/ 1155516 w 1573156"/>
                <a:gd name="connsiteY97" fmla="*/ 687772 h 3641849"/>
                <a:gd name="connsiteX98" fmla="*/ 1213156 w 1573156"/>
                <a:gd name="connsiteY98" fmla="*/ 700189 h 3641849"/>
                <a:gd name="connsiteX99" fmla="*/ 1251949 w 1573156"/>
                <a:gd name="connsiteY99" fmla="*/ 720875 h 3641849"/>
                <a:gd name="connsiteX100" fmla="*/ 1299057 w 1573156"/>
                <a:gd name="connsiteY100" fmla="*/ 728632 h 3641849"/>
                <a:gd name="connsiteX101" fmla="*/ 1299057 w 1573156"/>
                <a:gd name="connsiteY101" fmla="*/ 733803 h 3641849"/>
                <a:gd name="connsiteX102" fmla="*/ 1321226 w 1573156"/>
                <a:gd name="connsiteY102" fmla="*/ 674332 h 3641849"/>
                <a:gd name="connsiteX103" fmla="*/ 1331201 w 1573156"/>
                <a:gd name="connsiteY103" fmla="*/ 640714 h 3641849"/>
                <a:gd name="connsiteX104" fmla="*/ 1337852 w 1573156"/>
                <a:gd name="connsiteY104" fmla="*/ 622618 h 3641849"/>
                <a:gd name="connsiteX105" fmla="*/ 1340789 w 1573156"/>
                <a:gd name="connsiteY105" fmla="*/ 591288 h 3641849"/>
                <a:gd name="connsiteX106" fmla="*/ 1260263 w 1573156"/>
                <a:gd name="connsiteY106" fmla="*/ 545048 h 3641849"/>
                <a:gd name="connsiteX107" fmla="*/ 1246408 w 1573156"/>
                <a:gd name="connsiteY107" fmla="*/ 472648 h 3641849"/>
                <a:gd name="connsiteX108" fmla="*/ 1246408 w 1573156"/>
                <a:gd name="connsiteY108" fmla="*/ 454548 h 3641849"/>
                <a:gd name="connsiteX109" fmla="*/ 1257491 w 1573156"/>
                <a:gd name="connsiteY109" fmla="*/ 431276 h 3641849"/>
                <a:gd name="connsiteX110" fmla="*/ 1260263 w 1573156"/>
                <a:gd name="connsiteY110" fmla="*/ 415762 h 3641849"/>
                <a:gd name="connsiteX111" fmla="*/ 1260262 w 1573156"/>
                <a:gd name="connsiteY111" fmla="*/ 358878 h 3641849"/>
                <a:gd name="connsiteX112" fmla="*/ 1238094 w 1573156"/>
                <a:gd name="connsiteY112" fmla="*/ 335607 h 3641849"/>
                <a:gd name="connsiteX113" fmla="*/ 1210384 w 1573156"/>
                <a:gd name="connsiteY113" fmla="*/ 304578 h 3641849"/>
                <a:gd name="connsiteX114" fmla="*/ 1206216 w 1573156"/>
                <a:gd name="connsiteY114" fmla="*/ 280325 h 3641849"/>
                <a:gd name="connsiteX115" fmla="*/ 1257492 w 1573156"/>
                <a:gd name="connsiteY115" fmla="*/ 258034 h 3641849"/>
                <a:gd name="connsiteX116" fmla="*/ 1311072 w 1573156"/>
                <a:gd name="connsiteY116" fmla="*/ 267906 h 3641849"/>
                <a:gd name="connsiteX117" fmla="*/ 1389856 w 1573156"/>
                <a:gd name="connsiteY117" fmla="*/ 279816 h 3641849"/>
                <a:gd name="connsiteX118" fmla="*/ 1474179 w 1573156"/>
                <a:gd name="connsiteY118" fmla="*/ 349175 h 3641849"/>
                <a:gd name="connsiteX119" fmla="*/ 1536314 w 1573156"/>
                <a:gd name="connsiteY119" fmla="*/ 425271 h 3641849"/>
                <a:gd name="connsiteX120" fmla="*/ 1435343 w 1573156"/>
                <a:gd name="connsiteY120" fmla="*/ 454265 h 3641849"/>
                <a:gd name="connsiteX121" fmla="*/ 1419809 w 1573156"/>
                <a:gd name="connsiteY121" fmla="*/ 501372 h 3641849"/>
                <a:gd name="connsiteX122" fmla="*/ 1477479 w 1573156"/>
                <a:gd name="connsiteY122" fmla="*/ 585862 h 3641849"/>
                <a:gd name="connsiteX123" fmla="*/ 1513013 w 1573156"/>
                <a:gd name="connsiteY123" fmla="*/ 591964 h 3641849"/>
                <a:gd name="connsiteX124" fmla="*/ 1565633 w 1573156"/>
                <a:gd name="connsiteY124" fmla="*/ 598304 h 3641849"/>
                <a:gd name="connsiteX125" fmla="*/ 1560670 w 1573156"/>
                <a:gd name="connsiteY125" fmla="*/ 709079 h 3641849"/>
                <a:gd name="connsiteX126" fmla="*/ 1571739 w 1573156"/>
                <a:gd name="connsiteY126" fmla="*/ 1040047 h 3641849"/>
                <a:gd name="connsiteX127" fmla="*/ 1562871 w 1573156"/>
                <a:gd name="connsiteY127" fmla="*/ 1842646 h 3641849"/>
                <a:gd name="connsiteX128" fmla="*/ 1571738 w 1573156"/>
                <a:gd name="connsiteY128" fmla="*/ 2297728 h 3641849"/>
                <a:gd name="connsiteX129" fmla="*/ 1545290 w 1573156"/>
                <a:gd name="connsiteY129" fmla="*/ 3607693 h 3641849"/>
                <a:gd name="connsiteX130" fmla="*/ 1286863 w 1573156"/>
                <a:gd name="connsiteY130" fmla="*/ 3564098 h 3641849"/>
                <a:gd name="connsiteX131" fmla="*/ 1118385 w 1573156"/>
                <a:gd name="connsiteY131" fmla="*/ 3497903 h 3641849"/>
                <a:gd name="connsiteX132" fmla="*/ 941039 w 1573156"/>
                <a:gd name="connsiteY132" fmla="*/ 3406887 h 3641849"/>
                <a:gd name="connsiteX133" fmla="*/ 842741 w 1573156"/>
                <a:gd name="connsiteY133" fmla="*/ 3326370 h 3641849"/>
                <a:gd name="connsiteX134" fmla="*/ 1137003 w 1573156"/>
                <a:gd name="connsiteY134" fmla="*/ 3018734 h 3641849"/>
                <a:gd name="connsiteX135" fmla="*/ 853249 w 1573156"/>
                <a:gd name="connsiteY135" fmla="*/ 2480910 h 3641849"/>
                <a:gd name="connsiteX136" fmla="*/ 557777 w 1573156"/>
                <a:gd name="connsiteY136" fmla="*/ 2715007 h 3641849"/>
                <a:gd name="connsiteX137" fmla="*/ 531809 w 1573156"/>
                <a:gd name="connsiteY137" fmla="*/ 2657256 h 3641849"/>
                <a:gd name="connsiteX138" fmla="*/ 660385 w 1573156"/>
                <a:gd name="connsiteY138" fmla="*/ 2391963 h 3641849"/>
                <a:gd name="connsiteX139" fmla="*/ 136108 w 1573156"/>
                <a:gd name="connsiteY139" fmla="*/ 2193381 h 3641849"/>
                <a:gd name="connsiteX0" fmla="*/ 136108 w 1573156"/>
                <a:gd name="connsiteY0" fmla="*/ 2193381 h 3641849"/>
                <a:gd name="connsiteX1" fmla="*/ 71332 w 1573156"/>
                <a:gd name="connsiteY1" fmla="*/ 2118721 h 3641849"/>
                <a:gd name="connsiteX2" fmla="*/ 87958 w 1573156"/>
                <a:gd name="connsiteY2" fmla="*/ 2079936 h 3641849"/>
                <a:gd name="connsiteX3" fmla="*/ 74102 w 1573156"/>
                <a:gd name="connsiteY3" fmla="*/ 2030807 h 3641849"/>
                <a:gd name="connsiteX4" fmla="*/ 76875 w 1573156"/>
                <a:gd name="connsiteY4" fmla="*/ 2020467 h 3641849"/>
                <a:gd name="connsiteX5" fmla="*/ 118439 w 1573156"/>
                <a:gd name="connsiteY5" fmla="*/ 1992023 h 3641849"/>
                <a:gd name="connsiteX6" fmla="*/ 82416 w 1573156"/>
                <a:gd name="connsiteY6" fmla="*/ 1963580 h 3641849"/>
                <a:gd name="connsiteX7" fmla="*/ 51935 w 1573156"/>
                <a:gd name="connsiteY7" fmla="*/ 1927380 h 3641849"/>
                <a:gd name="connsiteX8" fmla="*/ 40850 w 1573156"/>
                <a:gd name="connsiteY8" fmla="*/ 1893766 h 3641849"/>
                <a:gd name="connsiteX9" fmla="*/ 43621 w 1573156"/>
                <a:gd name="connsiteY9" fmla="*/ 1844639 h 3641849"/>
                <a:gd name="connsiteX10" fmla="*/ 82416 w 1573156"/>
                <a:gd name="connsiteY10" fmla="*/ 1826538 h 3641849"/>
                <a:gd name="connsiteX11" fmla="*/ 112899 w 1573156"/>
                <a:gd name="connsiteY11" fmla="*/ 1782581 h 3641849"/>
                <a:gd name="connsiteX12" fmla="*/ 96271 w 1573156"/>
                <a:gd name="connsiteY12" fmla="*/ 1754138 h 3641849"/>
                <a:gd name="connsiteX13" fmla="*/ 40851 w 1573156"/>
                <a:gd name="connsiteY13" fmla="*/ 1746381 h 3641849"/>
                <a:gd name="connsiteX14" fmla="*/ 2057 w 1573156"/>
                <a:gd name="connsiteY14" fmla="*/ 1730867 h 3641849"/>
                <a:gd name="connsiteX15" fmla="*/ 38079 w 1573156"/>
                <a:gd name="connsiteY15" fmla="*/ 1689496 h 3641849"/>
                <a:gd name="connsiteX16" fmla="*/ 18683 w 1573156"/>
                <a:gd name="connsiteY16" fmla="*/ 1679153 h 3641849"/>
                <a:gd name="connsiteX17" fmla="*/ 2055 w 1573156"/>
                <a:gd name="connsiteY17" fmla="*/ 1640367 h 3641849"/>
                <a:gd name="connsiteX18" fmla="*/ 65790 w 1573156"/>
                <a:gd name="connsiteY18" fmla="*/ 1650711 h 3641849"/>
                <a:gd name="connsiteX19" fmla="*/ 93501 w 1573156"/>
                <a:gd name="connsiteY19" fmla="*/ 1627440 h 3641849"/>
                <a:gd name="connsiteX20" fmla="*/ 187716 w 1573156"/>
                <a:gd name="connsiteY20" fmla="*/ 1536941 h 3641849"/>
                <a:gd name="connsiteX21" fmla="*/ 212655 w 1573156"/>
                <a:gd name="connsiteY21" fmla="*/ 1505912 h 3641849"/>
                <a:gd name="connsiteX22" fmla="*/ 198801 w 1573156"/>
                <a:gd name="connsiteY22" fmla="*/ 1555040 h 3641849"/>
                <a:gd name="connsiteX23" fmla="*/ 218197 w 1573156"/>
                <a:gd name="connsiteY23" fmla="*/ 1588655 h 3641849"/>
                <a:gd name="connsiteX24" fmla="*/ 262534 w 1573156"/>
                <a:gd name="connsiteY24" fmla="*/ 1666225 h 3641849"/>
                <a:gd name="connsiteX25" fmla="*/ 331810 w 1573156"/>
                <a:gd name="connsiteY25" fmla="*/ 1653297 h 3641849"/>
                <a:gd name="connsiteX26" fmla="*/ 351206 w 1573156"/>
                <a:gd name="connsiteY26" fmla="*/ 1622268 h 3641849"/>
                <a:gd name="connsiteX27" fmla="*/ 365062 w 1573156"/>
                <a:gd name="connsiteY27" fmla="*/ 1557627 h 3641849"/>
                <a:gd name="connsiteX28" fmla="*/ 304099 w 1573156"/>
                <a:gd name="connsiteY28" fmla="*/ 1511084 h 3641849"/>
                <a:gd name="connsiteX29" fmla="*/ 259763 w 1573156"/>
                <a:gd name="connsiteY29" fmla="*/ 1485227 h 3641849"/>
                <a:gd name="connsiteX30" fmla="*/ 198801 w 1573156"/>
                <a:gd name="connsiteY30" fmla="*/ 1495570 h 3641849"/>
                <a:gd name="connsiteX31" fmla="*/ 376147 w 1573156"/>
                <a:gd name="connsiteY31" fmla="*/ 1299057 h 3641849"/>
                <a:gd name="connsiteX32" fmla="*/ 223740 w 1573156"/>
                <a:gd name="connsiteY32" fmla="*/ 1151672 h 3641849"/>
                <a:gd name="connsiteX33" fmla="*/ 284703 w 1573156"/>
                <a:gd name="connsiteY33" fmla="*/ 1089617 h 3641849"/>
                <a:gd name="connsiteX34" fmla="*/ 218198 w 1573156"/>
                <a:gd name="connsiteY34" fmla="*/ 1050829 h 3641849"/>
                <a:gd name="connsiteX35" fmla="*/ 259763 w 1573156"/>
                <a:gd name="connsiteY35" fmla="*/ 1019802 h 3641849"/>
                <a:gd name="connsiteX36" fmla="*/ 212657 w 1573156"/>
                <a:gd name="connsiteY36" fmla="*/ 993947 h 3641849"/>
                <a:gd name="connsiteX37" fmla="*/ 212656 w 1573156"/>
                <a:gd name="connsiteY37" fmla="*/ 794845 h 3641849"/>
                <a:gd name="connsiteX38" fmla="*/ 251451 w 1573156"/>
                <a:gd name="connsiteY38" fmla="*/ 779332 h 3641849"/>
                <a:gd name="connsiteX39" fmla="*/ 137838 w 1573156"/>
                <a:gd name="connsiteY39" fmla="*/ 551792 h 3641849"/>
                <a:gd name="connsiteX40" fmla="*/ 135067 w 1573156"/>
                <a:gd name="connsiteY40" fmla="*/ 551792 h 3641849"/>
                <a:gd name="connsiteX41" fmla="*/ 184945 w 1573156"/>
                <a:gd name="connsiteY41" fmla="*/ 469048 h 3641849"/>
                <a:gd name="connsiteX42" fmla="*/ 201571 w 1573156"/>
                <a:gd name="connsiteY42" fmla="*/ 378550 h 3641849"/>
                <a:gd name="connsiteX43" fmla="*/ 126752 w 1573156"/>
                <a:gd name="connsiteY43" fmla="*/ 319079 h 3641849"/>
                <a:gd name="connsiteX44" fmla="*/ 118440 w 1573156"/>
                <a:gd name="connsiteY44" fmla="*/ 251851 h 3641849"/>
                <a:gd name="connsiteX45" fmla="*/ 173860 w 1573156"/>
                <a:gd name="connsiteY45" fmla="*/ 158764 h 3641849"/>
                <a:gd name="connsiteX46" fmla="*/ 193258 w 1573156"/>
                <a:gd name="connsiteY46" fmla="*/ 135494 h 3641849"/>
                <a:gd name="connsiteX47" fmla="*/ 207113 w 1573156"/>
                <a:gd name="connsiteY47" fmla="*/ 117394 h 3641849"/>
                <a:gd name="connsiteX48" fmla="*/ 215426 w 1573156"/>
                <a:gd name="connsiteY48" fmla="*/ 73438 h 3641849"/>
                <a:gd name="connsiteX49" fmla="*/ 240365 w 1573156"/>
                <a:gd name="connsiteY49" fmla="*/ 101880 h 3641849"/>
                <a:gd name="connsiteX50" fmla="*/ 270847 w 1573156"/>
                <a:gd name="connsiteY50" fmla="*/ 88952 h 3641849"/>
                <a:gd name="connsiteX51" fmla="*/ 273617 w 1573156"/>
                <a:gd name="connsiteY51" fmla="*/ 63095 h 3641849"/>
                <a:gd name="connsiteX52" fmla="*/ 281931 w 1573156"/>
                <a:gd name="connsiteY52" fmla="*/ 34652 h 3641849"/>
                <a:gd name="connsiteX53" fmla="*/ 284703 w 1573156"/>
                <a:gd name="connsiteY53" fmla="*/ 3624 h 3641849"/>
                <a:gd name="connsiteX54" fmla="*/ 420483 w 1573156"/>
                <a:gd name="connsiteY54" fmla="*/ 57924 h 3641849"/>
                <a:gd name="connsiteX55" fmla="*/ 450963 w 1573156"/>
                <a:gd name="connsiteY55" fmla="*/ 161352 h 3641849"/>
                <a:gd name="connsiteX56" fmla="*/ 464819 w 1573156"/>
                <a:gd name="connsiteY56" fmla="*/ 184622 h 3641849"/>
                <a:gd name="connsiteX57" fmla="*/ 475903 w 1573156"/>
                <a:gd name="connsiteY57" fmla="*/ 187208 h 3641849"/>
                <a:gd name="connsiteX58" fmla="*/ 589515 w 1573156"/>
                <a:gd name="connsiteY58" fmla="*/ 156181 h 3641849"/>
                <a:gd name="connsiteX59" fmla="*/ 656020 w 1573156"/>
                <a:gd name="connsiteY59" fmla="*/ 166522 h 3641849"/>
                <a:gd name="connsiteX60" fmla="*/ 719754 w 1573156"/>
                <a:gd name="connsiteY60" fmla="*/ 213065 h 3641849"/>
                <a:gd name="connsiteX61" fmla="*/ 733781 w 1573156"/>
                <a:gd name="connsiteY61" fmla="*/ 242621 h 3641849"/>
                <a:gd name="connsiteX62" fmla="*/ 789028 w 1573156"/>
                <a:gd name="connsiteY62" fmla="*/ 277708 h 3641849"/>
                <a:gd name="connsiteX63" fmla="*/ 877702 w 1573156"/>
                <a:gd name="connsiteY63" fmla="*/ 303563 h 3641849"/>
                <a:gd name="connsiteX64" fmla="*/ 949748 w 1573156"/>
                <a:gd name="connsiteY64" fmla="*/ 350106 h 3641849"/>
                <a:gd name="connsiteX65" fmla="*/ 999627 w 1573156"/>
                <a:gd name="connsiteY65" fmla="*/ 401820 h 3641849"/>
                <a:gd name="connsiteX66" fmla="*/ 1024566 w 1573156"/>
                <a:gd name="connsiteY66" fmla="*/ 440606 h 3641849"/>
                <a:gd name="connsiteX67" fmla="*/ 1057819 w 1573156"/>
                <a:gd name="connsiteY67" fmla="*/ 466462 h 3641849"/>
                <a:gd name="connsiteX68" fmla="*/ 1041191 w 1573156"/>
                <a:gd name="connsiteY68" fmla="*/ 691417 h 3641849"/>
                <a:gd name="connsiteX69" fmla="*/ 913725 w 1573156"/>
                <a:gd name="connsiteY69" fmla="*/ 771575 h 3641849"/>
                <a:gd name="connsiteX70" fmla="*/ 800113 w 1573156"/>
                <a:gd name="connsiteY70" fmla="*/ 779331 h 3641849"/>
                <a:gd name="connsiteX71" fmla="*/ 661560 w 1573156"/>
                <a:gd name="connsiteY71" fmla="*/ 758645 h 3641849"/>
                <a:gd name="connsiteX72" fmla="*/ 570116 w 1573156"/>
                <a:gd name="connsiteY72" fmla="*/ 722445 h 3641849"/>
                <a:gd name="connsiteX73" fmla="*/ 550719 w 1573156"/>
                <a:gd name="connsiteY73" fmla="*/ 750888 h 3641849"/>
                <a:gd name="connsiteX74" fmla="*/ 581361 w 1573156"/>
                <a:gd name="connsiteY74" fmla="*/ 824301 h 3641849"/>
                <a:gd name="connsiteX75" fmla="*/ 586902 w 1573156"/>
                <a:gd name="connsiteY75" fmla="*/ 951000 h 3641849"/>
                <a:gd name="connsiteX76" fmla="*/ 559032 w 1573156"/>
                <a:gd name="connsiteY76" fmla="*/ 1012043 h 3641849"/>
                <a:gd name="connsiteX77" fmla="*/ 614451 w 1573156"/>
                <a:gd name="connsiteY77" fmla="*/ 1032728 h 3641849"/>
                <a:gd name="connsiteX78" fmla="*/ 631079 w 1573156"/>
                <a:gd name="connsiteY78" fmla="*/ 1048242 h 3641849"/>
                <a:gd name="connsiteX79" fmla="*/ 656019 w 1573156"/>
                <a:gd name="connsiteY79" fmla="*/ 1074099 h 3641849"/>
                <a:gd name="connsiteX80" fmla="*/ 653248 w 1573156"/>
                <a:gd name="connsiteY80" fmla="*/ 1076685 h 3641849"/>
                <a:gd name="connsiteX81" fmla="*/ 692041 w 1573156"/>
                <a:gd name="connsiteY81" fmla="*/ 1071514 h 3641849"/>
                <a:gd name="connsiteX82" fmla="*/ 700355 w 1573156"/>
                <a:gd name="connsiteY82" fmla="*/ 1035314 h 3641849"/>
                <a:gd name="connsiteX83" fmla="*/ 661560 w 1573156"/>
                <a:gd name="connsiteY83" fmla="*/ 957743 h 3641849"/>
                <a:gd name="connsiteX84" fmla="*/ 730836 w 1573156"/>
                <a:gd name="connsiteY84" fmla="*/ 911200 h 3641849"/>
                <a:gd name="connsiteX85" fmla="*/ 798608 w 1573156"/>
                <a:gd name="connsiteY85" fmla="*/ 918934 h 3641849"/>
                <a:gd name="connsiteX86" fmla="*/ 822441 w 1573156"/>
                <a:gd name="connsiteY86" fmla="*/ 951001 h 3641849"/>
                <a:gd name="connsiteX87" fmla="*/ 978170 w 1573156"/>
                <a:gd name="connsiteY87" fmla="*/ 1007364 h 3641849"/>
                <a:gd name="connsiteX88" fmla="*/ 963762 w 1573156"/>
                <a:gd name="connsiteY88" fmla="*/ 971687 h 3641849"/>
                <a:gd name="connsiteX89" fmla="*/ 930510 w 1573156"/>
                <a:gd name="connsiteY89" fmla="*/ 932901 h 3641849"/>
                <a:gd name="connsiteX90" fmla="*/ 919426 w 1573156"/>
                <a:gd name="connsiteY90" fmla="*/ 881187 h 3641849"/>
                <a:gd name="connsiteX91" fmla="*/ 958221 w 1573156"/>
                <a:gd name="connsiteY91" fmla="*/ 832060 h 3641849"/>
                <a:gd name="connsiteX92" fmla="*/ 985931 w 1573156"/>
                <a:gd name="connsiteY92" fmla="*/ 803617 h 3641849"/>
                <a:gd name="connsiteX93" fmla="*/ 1010871 w 1573156"/>
                <a:gd name="connsiteY93" fmla="*/ 767417 h 3641849"/>
                <a:gd name="connsiteX94" fmla="*/ 1091231 w 1573156"/>
                <a:gd name="connsiteY94" fmla="*/ 762245 h 3641849"/>
                <a:gd name="connsiteX95" fmla="*/ 1096772 w 1573156"/>
                <a:gd name="connsiteY95" fmla="*/ 741560 h 3641849"/>
                <a:gd name="connsiteX96" fmla="*/ 1121712 w 1573156"/>
                <a:gd name="connsiteY96" fmla="*/ 705360 h 3641849"/>
                <a:gd name="connsiteX97" fmla="*/ 1155516 w 1573156"/>
                <a:gd name="connsiteY97" fmla="*/ 687772 h 3641849"/>
                <a:gd name="connsiteX98" fmla="*/ 1213156 w 1573156"/>
                <a:gd name="connsiteY98" fmla="*/ 700189 h 3641849"/>
                <a:gd name="connsiteX99" fmla="*/ 1251949 w 1573156"/>
                <a:gd name="connsiteY99" fmla="*/ 720875 h 3641849"/>
                <a:gd name="connsiteX100" fmla="*/ 1299057 w 1573156"/>
                <a:gd name="connsiteY100" fmla="*/ 728632 h 3641849"/>
                <a:gd name="connsiteX101" fmla="*/ 1299057 w 1573156"/>
                <a:gd name="connsiteY101" fmla="*/ 733803 h 3641849"/>
                <a:gd name="connsiteX102" fmla="*/ 1321226 w 1573156"/>
                <a:gd name="connsiteY102" fmla="*/ 674332 h 3641849"/>
                <a:gd name="connsiteX103" fmla="*/ 1331201 w 1573156"/>
                <a:gd name="connsiteY103" fmla="*/ 640714 h 3641849"/>
                <a:gd name="connsiteX104" fmla="*/ 1337852 w 1573156"/>
                <a:gd name="connsiteY104" fmla="*/ 622618 h 3641849"/>
                <a:gd name="connsiteX105" fmla="*/ 1340789 w 1573156"/>
                <a:gd name="connsiteY105" fmla="*/ 591288 h 3641849"/>
                <a:gd name="connsiteX106" fmla="*/ 1260263 w 1573156"/>
                <a:gd name="connsiteY106" fmla="*/ 545048 h 3641849"/>
                <a:gd name="connsiteX107" fmla="*/ 1246408 w 1573156"/>
                <a:gd name="connsiteY107" fmla="*/ 472648 h 3641849"/>
                <a:gd name="connsiteX108" fmla="*/ 1246408 w 1573156"/>
                <a:gd name="connsiteY108" fmla="*/ 454548 h 3641849"/>
                <a:gd name="connsiteX109" fmla="*/ 1257491 w 1573156"/>
                <a:gd name="connsiteY109" fmla="*/ 431276 h 3641849"/>
                <a:gd name="connsiteX110" fmla="*/ 1260263 w 1573156"/>
                <a:gd name="connsiteY110" fmla="*/ 415762 h 3641849"/>
                <a:gd name="connsiteX111" fmla="*/ 1260262 w 1573156"/>
                <a:gd name="connsiteY111" fmla="*/ 358878 h 3641849"/>
                <a:gd name="connsiteX112" fmla="*/ 1238094 w 1573156"/>
                <a:gd name="connsiteY112" fmla="*/ 335607 h 3641849"/>
                <a:gd name="connsiteX113" fmla="*/ 1210384 w 1573156"/>
                <a:gd name="connsiteY113" fmla="*/ 304578 h 3641849"/>
                <a:gd name="connsiteX114" fmla="*/ 1206216 w 1573156"/>
                <a:gd name="connsiteY114" fmla="*/ 280325 h 3641849"/>
                <a:gd name="connsiteX115" fmla="*/ 1257492 w 1573156"/>
                <a:gd name="connsiteY115" fmla="*/ 258034 h 3641849"/>
                <a:gd name="connsiteX116" fmla="*/ 1311072 w 1573156"/>
                <a:gd name="connsiteY116" fmla="*/ 267906 h 3641849"/>
                <a:gd name="connsiteX117" fmla="*/ 1389856 w 1573156"/>
                <a:gd name="connsiteY117" fmla="*/ 279816 h 3641849"/>
                <a:gd name="connsiteX118" fmla="*/ 1474179 w 1573156"/>
                <a:gd name="connsiteY118" fmla="*/ 349175 h 3641849"/>
                <a:gd name="connsiteX119" fmla="*/ 1536314 w 1573156"/>
                <a:gd name="connsiteY119" fmla="*/ 425271 h 3641849"/>
                <a:gd name="connsiteX120" fmla="*/ 1435343 w 1573156"/>
                <a:gd name="connsiteY120" fmla="*/ 454265 h 3641849"/>
                <a:gd name="connsiteX121" fmla="*/ 1419809 w 1573156"/>
                <a:gd name="connsiteY121" fmla="*/ 501372 h 3641849"/>
                <a:gd name="connsiteX122" fmla="*/ 1477479 w 1573156"/>
                <a:gd name="connsiteY122" fmla="*/ 585862 h 3641849"/>
                <a:gd name="connsiteX123" fmla="*/ 1513013 w 1573156"/>
                <a:gd name="connsiteY123" fmla="*/ 591964 h 3641849"/>
                <a:gd name="connsiteX124" fmla="*/ 1565633 w 1573156"/>
                <a:gd name="connsiteY124" fmla="*/ 598304 h 3641849"/>
                <a:gd name="connsiteX125" fmla="*/ 1560670 w 1573156"/>
                <a:gd name="connsiteY125" fmla="*/ 709079 h 3641849"/>
                <a:gd name="connsiteX126" fmla="*/ 1571739 w 1573156"/>
                <a:gd name="connsiteY126" fmla="*/ 1040047 h 3641849"/>
                <a:gd name="connsiteX127" fmla="*/ 1562871 w 1573156"/>
                <a:gd name="connsiteY127" fmla="*/ 1842646 h 3641849"/>
                <a:gd name="connsiteX128" fmla="*/ 1571738 w 1573156"/>
                <a:gd name="connsiteY128" fmla="*/ 2297728 h 3641849"/>
                <a:gd name="connsiteX129" fmla="*/ 1545290 w 1573156"/>
                <a:gd name="connsiteY129" fmla="*/ 3607693 h 3641849"/>
                <a:gd name="connsiteX130" fmla="*/ 1286863 w 1573156"/>
                <a:gd name="connsiteY130" fmla="*/ 3564098 h 3641849"/>
                <a:gd name="connsiteX131" fmla="*/ 1118385 w 1573156"/>
                <a:gd name="connsiteY131" fmla="*/ 3497903 h 3641849"/>
                <a:gd name="connsiteX132" fmla="*/ 941039 w 1573156"/>
                <a:gd name="connsiteY132" fmla="*/ 3406887 h 3641849"/>
                <a:gd name="connsiteX133" fmla="*/ 842741 w 1573156"/>
                <a:gd name="connsiteY133" fmla="*/ 3326370 h 3641849"/>
                <a:gd name="connsiteX134" fmla="*/ 1137003 w 1573156"/>
                <a:gd name="connsiteY134" fmla="*/ 3018734 h 3641849"/>
                <a:gd name="connsiteX135" fmla="*/ 853249 w 1573156"/>
                <a:gd name="connsiteY135" fmla="*/ 2480910 h 3641849"/>
                <a:gd name="connsiteX136" fmla="*/ 557777 w 1573156"/>
                <a:gd name="connsiteY136" fmla="*/ 2715007 h 3641849"/>
                <a:gd name="connsiteX137" fmla="*/ 531809 w 1573156"/>
                <a:gd name="connsiteY137" fmla="*/ 2657256 h 3641849"/>
                <a:gd name="connsiteX138" fmla="*/ 660385 w 1573156"/>
                <a:gd name="connsiteY138" fmla="*/ 2391963 h 3641849"/>
                <a:gd name="connsiteX139" fmla="*/ 136108 w 1573156"/>
                <a:gd name="connsiteY139" fmla="*/ 2193381 h 3641849"/>
                <a:gd name="connsiteX0" fmla="*/ 136108 w 1573156"/>
                <a:gd name="connsiteY0" fmla="*/ 2193381 h 3641849"/>
                <a:gd name="connsiteX1" fmla="*/ 71332 w 1573156"/>
                <a:gd name="connsiteY1" fmla="*/ 2118721 h 3641849"/>
                <a:gd name="connsiteX2" fmla="*/ 71333 w 1573156"/>
                <a:gd name="connsiteY2" fmla="*/ 2077350 h 3641849"/>
                <a:gd name="connsiteX3" fmla="*/ 74102 w 1573156"/>
                <a:gd name="connsiteY3" fmla="*/ 2030807 h 3641849"/>
                <a:gd name="connsiteX4" fmla="*/ 76875 w 1573156"/>
                <a:gd name="connsiteY4" fmla="*/ 2020467 h 3641849"/>
                <a:gd name="connsiteX5" fmla="*/ 118439 w 1573156"/>
                <a:gd name="connsiteY5" fmla="*/ 1992023 h 3641849"/>
                <a:gd name="connsiteX6" fmla="*/ 82416 w 1573156"/>
                <a:gd name="connsiteY6" fmla="*/ 1963580 h 3641849"/>
                <a:gd name="connsiteX7" fmla="*/ 51935 w 1573156"/>
                <a:gd name="connsiteY7" fmla="*/ 1927380 h 3641849"/>
                <a:gd name="connsiteX8" fmla="*/ 40850 w 1573156"/>
                <a:gd name="connsiteY8" fmla="*/ 1893766 h 3641849"/>
                <a:gd name="connsiteX9" fmla="*/ 43621 w 1573156"/>
                <a:gd name="connsiteY9" fmla="*/ 1844639 h 3641849"/>
                <a:gd name="connsiteX10" fmla="*/ 82416 w 1573156"/>
                <a:gd name="connsiteY10" fmla="*/ 1826538 h 3641849"/>
                <a:gd name="connsiteX11" fmla="*/ 112899 w 1573156"/>
                <a:gd name="connsiteY11" fmla="*/ 1782581 h 3641849"/>
                <a:gd name="connsiteX12" fmla="*/ 96271 w 1573156"/>
                <a:gd name="connsiteY12" fmla="*/ 1754138 h 3641849"/>
                <a:gd name="connsiteX13" fmla="*/ 40851 w 1573156"/>
                <a:gd name="connsiteY13" fmla="*/ 1746381 h 3641849"/>
                <a:gd name="connsiteX14" fmla="*/ 2057 w 1573156"/>
                <a:gd name="connsiteY14" fmla="*/ 1730867 h 3641849"/>
                <a:gd name="connsiteX15" fmla="*/ 38079 w 1573156"/>
                <a:gd name="connsiteY15" fmla="*/ 1689496 h 3641849"/>
                <a:gd name="connsiteX16" fmla="*/ 18683 w 1573156"/>
                <a:gd name="connsiteY16" fmla="*/ 1679153 h 3641849"/>
                <a:gd name="connsiteX17" fmla="*/ 2055 w 1573156"/>
                <a:gd name="connsiteY17" fmla="*/ 1640367 h 3641849"/>
                <a:gd name="connsiteX18" fmla="*/ 65790 w 1573156"/>
                <a:gd name="connsiteY18" fmla="*/ 1650711 h 3641849"/>
                <a:gd name="connsiteX19" fmla="*/ 93501 w 1573156"/>
                <a:gd name="connsiteY19" fmla="*/ 1627440 h 3641849"/>
                <a:gd name="connsiteX20" fmla="*/ 187716 w 1573156"/>
                <a:gd name="connsiteY20" fmla="*/ 1536941 h 3641849"/>
                <a:gd name="connsiteX21" fmla="*/ 212655 w 1573156"/>
                <a:gd name="connsiteY21" fmla="*/ 1505912 h 3641849"/>
                <a:gd name="connsiteX22" fmla="*/ 198801 w 1573156"/>
                <a:gd name="connsiteY22" fmla="*/ 1555040 h 3641849"/>
                <a:gd name="connsiteX23" fmla="*/ 218197 w 1573156"/>
                <a:gd name="connsiteY23" fmla="*/ 1588655 h 3641849"/>
                <a:gd name="connsiteX24" fmla="*/ 262534 w 1573156"/>
                <a:gd name="connsiteY24" fmla="*/ 1666225 h 3641849"/>
                <a:gd name="connsiteX25" fmla="*/ 331810 w 1573156"/>
                <a:gd name="connsiteY25" fmla="*/ 1653297 h 3641849"/>
                <a:gd name="connsiteX26" fmla="*/ 351206 w 1573156"/>
                <a:gd name="connsiteY26" fmla="*/ 1622268 h 3641849"/>
                <a:gd name="connsiteX27" fmla="*/ 365062 w 1573156"/>
                <a:gd name="connsiteY27" fmla="*/ 1557627 h 3641849"/>
                <a:gd name="connsiteX28" fmla="*/ 304099 w 1573156"/>
                <a:gd name="connsiteY28" fmla="*/ 1511084 h 3641849"/>
                <a:gd name="connsiteX29" fmla="*/ 259763 w 1573156"/>
                <a:gd name="connsiteY29" fmla="*/ 1485227 h 3641849"/>
                <a:gd name="connsiteX30" fmla="*/ 198801 w 1573156"/>
                <a:gd name="connsiteY30" fmla="*/ 1495570 h 3641849"/>
                <a:gd name="connsiteX31" fmla="*/ 376147 w 1573156"/>
                <a:gd name="connsiteY31" fmla="*/ 1299057 h 3641849"/>
                <a:gd name="connsiteX32" fmla="*/ 223740 w 1573156"/>
                <a:gd name="connsiteY32" fmla="*/ 1151672 h 3641849"/>
                <a:gd name="connsiteX33" fmla="*/ 284703 w 1573156"/>
                <a:gd name="connsiteY33" fmla="*/ 1089617 h 3641849"/>
                <a:gd name="connsiteX34" fmla="*/ 218198 w 1573156"/>
                <a:gd name="connsiteY34" fmla="*/ 1050829 h 3641849"/>
                <a:gd name="connsiteX35" fmla="*/ 259763 w 1573156"/>
                <a:gd name="connsiteY35" fmla="*/ 1019802 h 3641849"/>
                <a:gd name="connsiteX36" fmla="*/ 212657 w 1573156"/>
                <a:gd name="connsiteY36" fmla="*/ 993947 h 3641849"/>
                <a:gd name="connsiteX37" fmla="*/ 212656 w 1573156"/>
                <a:gd name="connsiteY37" fmla="*/ 794845 h 3641849"/>
                <a:gd name="connsiteX38" fmla="*/ 251451 w 1573156"/>
                <a:gd name="connsiteY38" fmla="*/ 779332 h 3641849"/>
                <a:gd name="connsiteX39" fmla="*/ 137838 w 1573156"/>
                <a:gd name="connsiteY39" fmla="*/ 551792 h 3641849"/>
                <a:gd name="connsiteX40" fmla="*/ 135067 w 1573156"/>
                <a:gd name="connsiteY40" fmla="*/ 551792 h 3641849"/>
                <a:gd name="connsiteX41" fmla="*/ 184945 w 1573156"/>
                <a:gd name="connsiteY41" fmla="*/ 469048 h 3641849"/>
                <a:gd name="connsiteX42" fmla="*/ 201571 w 1573156"/>
                <a:gd name="connsiteY42" fmla="*/ 378550 h 3641849"/>
                <a:gd name="connsiteX43" fmla="*/ 126752 w 1573156"/>
                <a:gd name="connsiteY43" fmla="*/ 319079 h 3641849"/>
                <a:gd name="connsiteX44" fmla="*/ 118440 w 1573156"/>
                <a:gd name="connsiteY44" fmla="*/ 251851 h 3641849"/>
                <a:gd name="connsiteX45" fmla="*/ 173860 w 1573156"/>
                <a:gd name="connsiteY45" fmla="*/ 158764 h 3641849"/>
                <a:gd name="connsiteX46" fmla="*/ 193258 w 1573156"/>
                <a:gd name="connsiteY46" fmla="*/ 135494 h 3641849"/>
                <a:gd name="connsiteX47" fmla="*/ 207113 w 1573156"/>
                <a:gd name="connsiteY47" fmla="*/ 117394 h 3641849"/>
                <a:gd name="connsiteX48" fmla="*/ 215426 w 1573156"/>
                <a:gd name="connsiteY48" fmla="*/ 73438 h 3641849"/>
                <a:gd name="connsiteX49" fmla="*/ 240365 w 1573156"/>
                <a:gd name="connsiteY49" fmla="*/ 101880 h 3641849"/>
                <a:gd name="connsiteX50" fmla="*/ 270847 w 1573156"/>
                <a:gd name="connsiteY50" fmla="*/ 88952 h 3641849"/>
                <a:gd name="connsiteX51" fmla="*/ 273617 w 1573156"/>
                <a:gd name="connsiteY51" fmla="*/ 63095 h 3641849"/>
                <a:gd name="connsiteX52" fmla="*/ 281931 w 1573156"/>
                <a:gd name="connsiteY52" fmla="*/ 34652 h 3641849"/>
                <a:gd name="connsiteX53" fmla="*/ 284703 w 1573156"/>
                <a:gd name="connsiteY53" fmla="*/ 3624 h 3641849"/>
                <a:gd name="connsiteX54" fmla="*/ 420483 w 1573156"/>
                <a:gd name="connsiteY54" fmla="*/ 57924 h 3641849"/>
                <a:gd name="connsiteX55" fmla="*/ 450963 w 1573156"/>
                <a:gd name="connsiteY55" fmla="*/ 161352 h 3641849"/>
                <a:gd name="connsiteX56" fmla="*/ 464819 w 1573156"/>
                <a:gd name="connsiteY56" fmla="*/ 184622 h 3641849"/>
                <a:gd name="connsiteX57" fmla="*/ 475903 w 1573156"/>
                <a:gd name="connsiteY57" fmla="*/ 187208 h 3641849"/>
                <a:gd name="connsiteX58" fmla="*/ 589515 w 1573156"/>
                <a:gd name="connsiteY58" fmla="*/ 156181 h 3641849"/>
                <a:gd name="connsiteX59" fmla="*/ 656020 w 1573156"/>
                <a:gd name="connsiteY59" fmla="*/ 166522 h 3641849"/>
                <a:gd name="connsiteX60" fmla="*/ 719754 w 1573156"/>
                <a:gd name="connsiteY60" fmla="*/ 213065 h 3641849"/>
                <a:gd name="connsiteX61" fmla="*/ 733781 w 1573156"/>
                <a:gd name="connsiteY61" fmla="*/ 242621 h 3641849"/>
                <a:gd name="connsiteX62" fmla="*/ 789028 w 1573156"/>
                <a:gd name="connsiteY62" fmla="*/ 277708 h 3641849"/>
                <a:gd name="connsiteX63" fmla="*/ 877702 w 1573156"/>
                <a:gd name="connsiteY63" fmla="*/ 303563 h 3641849"/>
                <a:gd name="connsiteX64" fmla="*/ 949748 w 1573156"/>
                <a:gd name="connsiteY64" fmla="*/ 350106 h 3641849"/>
                <a:gd name="connsiteX65" fmla="*/ 999627 w 1573156"/>
                <a:gd name="connsiteY65" fmla="*/ 401820 h 3641849"/>
                <a:gd name="connsiteX66" fmla="*/ 1024566 w 1573156"/>
                <a:gd name="connsiteY66" fmla="*/ 440606 h 3641849"/>
                <a:gd name="connsiteX67" fmla="*/ 1057819 w 1573156"/>
                <a:gd name="connsiteY67" fmla="*/ 466462 h 3641849"/>
                <a:gd name="connsiteX68" fmla="*/ 1041191 w 1573156"/>
                <a:gd name="connsiteY68" fmla="*/ 691417 h 3641849"/>
                <a:gd name="connsiteX69" fmla="*/ 913725 w 1573156"/>
                <a:gd name="connsiteY69" fmla="*/ 771575 h 3641849"/>
                <a:gd name="connsiteX70" fmla="*/ 800113 w 1573156"/>
                <a:gd name="connsiteY70" fmla="*/ 779331 h 3641849"/>
                <a:gd name="connsiteX71" fmla="*/ 661560 w 1573156"/>
                <a:gd name="connsiteY71" fmla="*/ 758645 h 3641849"/>
                <a:gd name="connsiteX72" fmla="*/ 570116 w 1573156"/>
                <a:gd name="connsiteY72" fmla="*/ 722445 h 3641849"/>
                <a:gd name="connsiteX73" fmla="*/ 550719 w 1573156"/>
                <a:gd name="connsiteY73" fmla="*/ 750888 h 3641849"/>
                <a:gd name="connsiteX74" fmla="*/ 581361 w 1573156"/>
                <a:gd name="connsiteY74" fmla="*/ 824301 h 3641849"/>
                <a:gd name="connsiteX75" fmla="*/ 586902 w 1573156"/>
                <a:gd name="connsiteY75" fmla="*/ 951000 h 3641849"/>
                <a:gd name="connsiteX76" fmla="*/ 559032 w 1573156"/>
                <a:gd name="connsiteY76" fmla="*/ 1012043 h 3641849"/>
                <a:gd name="connsiteX77" fmla="*/ 614451 w 1573156"/>
                <a:gd name="connsiteY77" fmla="*/ 1032728 h 3641849"/>
                <a:gd name="connsiteX78" fmla="*/ 631079 w 1573156"/>
                <a:gd name="connsiteY78" fmla="*/ 1048242 h 3641849"/>
                <a:gd name="connsiteX79" fmla="*/ 656019 w 1573156"/>
                <a:gd name="connsiteY79" fmla="*/ 1074099 h 3641849"/>
                <a:gd name="connsiteX80" fmla="*/ 653248 w 1573156"/>
                <a:gd name="connsiteY80" fmla="*/ 1076685 h 3641849"/>
                <a:gd name="connsiteX81" fmla="*/ 692041 w 1573156"/>
                <a:gd name="connsiteY81" fmla="*/ 1071514 h 3641849"/>
                <a:gd name="connsiteX82" fmla="*/ 700355 w 1573156"/>
                <a:gd name="connsiteY82" fmla="*/ 1035314 h 3641849"/>
                <a:gd name="connsiteX83" fmla="*/ 661560 w 1573156"/>
                <a:gd name="connsiteY83" fmla="*/ 957743 h 3641849"/>
                <a:gd name="connsiteX84" fmla="*/ 730836 w 1573156"/>
                <a:gd name="connsiteY84" fmla="*/ 911200 h 3641849"/>
                <a:gd name="connsiteX85" fmla="*/ 798608 w 1573156"/>
                <a:gd name="connsiteY85" fmla="*/ 918934 h 3641849"/>
                <a:gd name="connsiteX86" fmla="*/ 822441 w 1573156"/>
                <a:gd name="connsiteY86" fmla="*/ 951001 h 3641849"/>
                <a:gd name="connsiteX87" fmla="*/ 978170 w 1573156"/>
                <a:gd name="connsiteY87" fmla="*/ 1007364 h 3641849"/>
                <a:gd name="connsiteX88" fmla="*/ 963762 w 1573156"/>
                <a:gd name="connsiteY88" fmla="*/ 971687 h 3641849"/>
                <a:gd name="connsiteX89" fmla="*/ 930510 w 1573156"/>
                <a:gd name="connsiteY89" fmla="*/ 932901 h 3641849"/>
                <a:gd name="connsiteX90" fmla="*/ 919426 w 1573156"/>
                <a:gd name="connsiteY90" fmla="*/ 881187 h 3641849"/>
                <a:gd name="connsiteX91" fmla="*/ 958221 w 1573156"/>
                <a:gd name="connsiteY91" fmla="*/ 832060 h 3641849"/>
                <a:gd name="connsiteX92" fmla="*/ 985931 w 1573156"/>
                <a:gd name="connsiteY92" fmla="*/ 803617 h 3641849"/>
                <a:gd name="connsiteX93" fmla="*/ 1010871 w 1573156"/>
                <a:gd name="connsiteY93" fmla="*/ 767417 h 3641849"/>
                <a:gd name="connsiteX94" fmla="*/ 1091231 w 1573156"/>
                <a:gd name="connsiteY94" fmla="*/ 762245 h 3641849"/>
                <a:gd name="connsiteX95" fmla="*/ 1096772 w 1573156"/>
                <a:gd name="connsiteY95" fmla="*/ 741560 h 3641849"/>
                <a:gd name="connsiteX96" fmla="*/ 1121712 w 1573156"/>
                <a:gd name="connsiteY96" fmla="*/ 705360 h 3641849"/>
                <a:gd name="connsiteX97" fmla="*/ 1155516 w 1573156"/>
                <a:gd name="connsiteY97" fmla="*/ 687772 h 3641849"/>
                <a:gd name="connsiteX98" fmla="*/ 1213156 w 1573156"/>
                <a:gd name="connsiteY98" fmla="*/ 700189 h 3641849"/>
                <a:gd name="connsiteX99" fmla="*/ 1251949 w 1573156"/>
                <a:gd name="connsiteY99" fmla="*/ 720875 h 3641849"/>
                <a:gd name="connsiteX100" fmla="*/ 1299057 w 1573156"/>
                <a:gd name="connsiteY100" fmla="*/ 728632 h 3641849"/>
                <a:gd name="connsiteX101" fmla="*/ 1299057 w 1573156"/>
                <a:gd name="connsiteY101" fmla="*/ 733803 h 3641849"/>
                <a:gd name="connsiteX102" fmla="*/ 1321226 w 1573156"/>
                <a:gd name="connsiteY102" fmla="*/ 674332 h 3641849"/>
                <a:gd name="connsiteX103" fmla="*/ 1331201 w 1573156"/>
                <a:gd name="connsiteY103" fmla="*/ 640714 h 3641849"/>
                <a:gd name="connsiteX104" fmla="*/ 1337852 w 1573156"/>
                <a:gd name="connsiteY104" fmla="*/ 622618 h 3641849"/>
                <a:gd name="connsiteX105" fmla="*/ 1340789 w 1573156"/>
                <a:gd name="connsiteY105" fmla="*/ 591288 h 3641849"/>
                <a:gd name="connsiteX106" fmla="*/ 1260263 w 1573156"/>
                <a:gd name="connsiteY106" fmla="*/ 545048 h 3641849"/>
                <a:gd name="connsiteX107" fmla="*/ 1246408 w 1573156"/>
                <a:gd name="connsiteY107" fmla="*/ 472648 h 3641849"/>
                <a:gd name="connsiteX108" fmla="*/ 1246408 w 1573156"/>
                <a:gd name="connsiteY108" fmla="*/ 454548 h 3641849"/>
                <a:gd name="connsiteX109" fmla="*/ 1257491 w 1573156"/>
                <a:gd name="connsiteY109" fmla="*/ 431276 h 3641849"/>
                <a:gd name="connsiteX110" fmla="*/ 1260263 w 1573156"/>
                <a:gd name="connsiteY110" fmla="*/ 415762 h 3641849"/>
                <a:gd name="connsiteX111" fmla="*/ 1260262 w 1573156"/>
                <a:gd name="connsiteY111" fmla="*/ 358878 h 3641849"/>
                <a:gd name="connsiteX112" fmla="*/ 1238094 w 1573156"/>
                <a:gd name="connsiteY112" fmla="*/ 335607 h 3641849"/>
                <a:gd name="connsiteX113" fmla="*/ 1210384 w 1573156"/>
                <a:gd name="connsiteY113" fmla="*/ 304578 h 3641849"/>
                <a:gd name="connsiteX114" fmla="*/ 1206216 w 1573156"/>
                <a:gd name="connsiteY114" fmla="*/ 280325 h 3641849"/>
                <a:gd name="connsiteX115" fmla="*/ 1257492 w 1573156"/>
                <a:gd name="connsiteY115" fmla="*/ 258034 h 3641849"/>
                <a:gd name="connsiteX116" fmla="*/ 1311072 w 1573156"/>
                <a:gd name="connsiteY116" fmla="*/ 267906 h 3641849"/>
                <a:gd name="connsiteX117" fmla="*/ 1389856 w 1573156"/>
                <a:gd name="connsiteY117" fmla="*/ 279816 h 3641849"/>
                <a:gd name="connsiteX118" fmla="*/ 1474179 w 1573156"/>
                <a:gd name="connsiteY118" fmla="*/ 349175 h 3641849"/>
                <a:gd name="connsiteX119" fmla="*/ 1536314 w 1573156"/>
                <a:gd name="connsiteY119" fmla="*/ 425271 h 3641849"/>
                <a:gd name="connsiteX120" fmla="*/ 1435343 w 1573156"/>
                <a:gd name="connsiteY120" fmla="*/ 454265 h 3641849"/>
                <a:gd name="connsiteX121" fmla="*/ 1419809 w 1573156"/>
                <a:gd name="connsiteY121" fmla="*/ 501372 h 3641849"/>
                <a:gd name="connsiteX122" fmla="*/ 1477479 w 1573156"/>
                <a:gd name="connsiteY122" fmla="*/ 585862 h 3641849"/>
                <a:gd name="connsiteX123" fmla="*/ 1513013 w 1573156"/>
                <a:gd name="connsiteY123" fmla="*/ 591964 h 3641849"/>
                <a:gd name="connsiteX124" fmla="*/ 1565633 w 1573156"/>
                <a:gd name="connsiteY124" fmla="*/ 598304 h 3641849"/>
                <a:gd name="connsiteX125" fmla="*/ 1560670 w 1573156"/>
                <a:gd name="connsiteY125" fmla="*/ 709079 h 3641849"/>
                <a:gd name="connsiteX126" fmla="*/ 1571739 w 1573156"/>
                <a:gd name="connsiteY126" fmla="*/ 1040047 h 3641849"/>
                <a:gd name="connsiteX127" fmla="*/ 1562871 w 1573156"/>
                <a:gd name="connsiteY127" fmla="*/ 1842646 h 3641849"/>
                <a:gd name="connsiteX128" fmla="*/ 1571738 w 1573156"/>
                <a:gd name="connsiteY128" fmla="*/ 2297728 h 3641849"/>
                <a:gd name="connsiteX129" fmla="*/ 1545290 w 1573156"/>
                <a:gd name="connsiteY129" fmla="*/ 3607693 h 3641849"/>
                <a:gd name="connsiteX130" fmla="*/ 1286863 w 1573156"/>
                <a:gd name="connsiteY130" fmla="*/ 3564098 h 3641849"/>
                <a:gd name="connsiteX131" fmla="*/ 1118385 w 1573156"/>
                <a:gd name="connsiteY131" fmla="*/ 3497903 h 3641849"/>
                <a:gd name="connsiteX132" fmla="*/ 941039 w 1573156"/>
                <a:gd name="connsiteY132" fmla="*/ 3406887 h 3641849"/>
                <a:gd name="connsiteX133" fmla="*/ 842741 w 1573156"/>
                <a:gd name="connsiteY133" fmla="*/ 3326370 h 3641849"/>
                <a:gd name="connsiteX134" fmla="*/ 1137003 w 1573156"/>
                <a:gd name="connsiteY134" fmla="*/ 3018734 h 3641849"/>
                <a:gd name="connsiteX135" fmla="*/ 853249 w 1573156"/>
                <a:gd name="connsiteY135" fmla="*/ 2480910 h 3641849"/>
                <a:gd name="connsiteX136" fmla="*/ 557777 w 1573156"/>
                <a:gd name="connsiteY136" fmla="*/ 2715007 h 3641849"/>
                <a:gd name="connsiteX137" fmla="*/ 531809 w 1573156"/>
                <a:gd name="connsiteY137" fmla="*/ 2657256 h 3641849"/>
                <a:gd name="connsiteX138" fmla="*/ 660385 w 1573156"/>
                <a:gd name="connsiteY138" fmla="*/ 2391963 h 3641849"/>
                <a:gd name="connsiteX139" fmla="*/ 136108 w 1573156"/>
                <a:gd name="connsiteY139" fmla="*/ 2193381 h 3641849"/>
                <a:gd name="connsiteX0" fmla="*/ 136108 w 1573156"/>
                <a:gd name="connsiteY0" fmla="*/ 2193381 h 3641849"/>
                <a:gd name="connsiteX1" fmla="*/ 63018 w 1573156"/>
                <a:gd name="connsiteY1" fmla="*/ 2216977 h 3641849"/>
                <a:gd name="connsiteX2" fmla="*/ 71332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53249 w 1573156"/>
                <a:gd name="connsiteY136" fmla="*/ 2480910 h 3641849"/>
                <a:gd name="connsiteX137" fmla="*/ 557777 w 1573156"/>
                <a:gd name="connsiteY137" fmla="*/ 2715007 h 3641849"/>
                <a:gd name="connsiteX138" fmla="*/ 531809 w 1573156"/>
                <a:gd name="connsiteY138" fmla="*/ 2657256 h 3641849"/>
                <a:gd name="connsiteX139" fmla="*/ 660385 w 1573156"/>
                <a:gd name="connsiteY139" fmla="*/ 2391963 h 3641849"/>
                <a:gd name="connsiteX140" fmla="*/ 136108 w 1573156"/>
                <a:gd name="connsiteY140" fmla="*/ 2193381 h 3641849"/>
                <a:gd name="connsiteX0" fmla="*/ 136108 w 1573156"/>
                <a:gd name="connsiteY0" fmla="*/ 2193381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53249 w 1573156"/>
                <a:gd name="connsiteY136" fmla="*/ 2480910 h 3641849"/>
                <a:gd name="connsiteX137" fmla="*/ 557777 w 1573156"/>
                <a:gd name="connsiteY137" fmla="*/ 2715007 h 3641849"/>
                <a:gd name="connsiteX138" fmla="*/ 531809 w 1573156"/>
                <a:gd name="connsiteY138" fmla="*/ 2657256 h 3641849"/>
                <a:gd name="connsiteX139" fmla="*/ 660385 w 1573156"/>
                <a:gd name="connsiteY139" fmla="*/ 2391963 h 3641849"/>
                <a:gd name="connsiteX140" fmla="*/ 136108 w 1573156"/>
                <a:gd name="connsiteY140" fmla="*/ 2193381 h 3641849"/>
                <a:gd name="connsiteX0" fmla="*/ 130567 w 1573156"/>
                <a:gd name="connsiteY0" fmla="*/ 2208895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53249 w 1573156"/>
                <a:gd name="connsiteY136" fmla="*/ 2480910 h 3641849"/>
                <a:gd name="connsiteX137" fmla="*/ 557777 w 1573156"/>
                <a:gd name="connsiteY137" fmla="*/ 2715007 h 3641849"/>
                <a:gd name="connsiteX138" fmla="*/ 531809 w 1573156"/>
                <a:gd name="connsiteY138" fmla="*/ 2657256 h 3641849"/>
                <a:gd name="connsiteX139" fmla="*/ 660385 w 1573156"/>
                <a:gd name="connsiteY139" fmla="*/ 2391963 h 3641849"/>
                <a:gd name="connsiteX140" fmla="*/ 130567 w 1573156"/>
                <a:gd name="connsiteY140" fmla="*/ 2208895 h 3641849"/>
                <a:gd name="connsiteX0" fmla="*/ 130567 w 1573156"/>
                <a:gd name="connsiteY0" fmla="*/ 2208895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53249 w 1573156"/>
                <a:gd name="connsiteY136" fmla="*/ 2480910 h 3641849"/>
                <a:gd name="connsiteX137" fmla="*/ 557777 w 1573156"/>
                <a:gd name="connsiteY137" fmla="*/ 2715007 h 3641849"/>
                <a:gd name="connsiteX138" fmla="*/ 531809 w 1573156"/>
                <a:gd name="connsiteY138" fmla="*/ 2657256 h 3641849"/>
                <a:gd name="connsiteX139" fmla="*/ 660385 w 1573156"/>
                <a:gd name="connsiteY139" fmla="*/ 2391963 h 3641849"/>
                <a:gd name="connsiteX140" fmla="*/ 176631 w 1573156"/>
                <a:gd name="connsiteY140" fmla="*/ 2250592 h 3641849"/>
                <a:gd name="connsiteX141" fmla="*/ 130567 w 1573156"/>
                <a:gd name="connsiteY141" fmla="*/ 2208895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53249 w 1573156"/>
                <a:gd name="connsiteY136" fmla="*/ 2480910 h 3641849"/>
                <a:gd name="connsiteX137" fmla="*/ 557777 w 1573156"/>
                <a:gd name="connsiteY137" fmla="*/ 2715007 h 3641849"/>
                <a:gd name="connsiteX138" fmla="*/ 531809 w 1573156"/>
                <a:gd name="connsiteY138" fmla="*/ 2657256 h 3641849"/>
                <a:gd name="connsiteX139" fmla="*/ 660385 w 1573156"/>
                <a:gd name="connsiteY139" fmla="*/ 2391963 h 3641849"/>
                <a:gd name="connsiteX140" fmla="*/ 176631 w 1573156"/>
                <a:gd name="connsiteY140" fmla="*/ 2250592 h 3641849"/>
                <a:gd name="connsiteX141" fmla="*/ 122255 w 1573156"/>
                <a:gd name="connsiteY141"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53249 w 1573156"/>
                <a:gd name="connsiteY136" fmla="*/ 2480910 h 3641849"/>
                <a:gd name="connsiteX137" fmla="*/ 557777 w 1573156"/>
                <a:gd name="connsiteY137" fmla="*/ 2715007 h 3641849"/>
                <a:gd name="connsiteX138" fmla="*/ 531809 w 1573156"/>
                <a:gd name="connsiteY138" fmla="*/ 2657256 h 3641849"/>
                <a:gd name="connsiteX139" fmla="*/ 660385 w 1573156"/>
                <a:gd name="connsiteY139" fmla="*/ 2391963 h 3641849"/>
                <a:gd name="connsiteX140" fmla="*/ 256991 w 1573156"/>
                <a:gd name="connsiteY140" fmla="*/ 2245420 h 3641849"/>
                <a:gd name="connsiteX141" fmla="*/ 176631 w 1573156"/>
                <a:gd name="connsiteY141" fmla="*/ 2250592 h 3641849"/>
                <a:gd name="connsiteX142" fmla="*/ 122255 w 1573156"/>
                <a:gd name="connsiteY142"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53249 w 1573156"/>
                <a:gd name="connsiteY136" fmla="*/ 2480910 h 3641849"/>
                <a:gd name="connsiteX137" fmla="*/ 557777 w 1573156"/>
                <a:gd name="connsiteY137" fmla="*/ 2715007 h 3641849"/>
                <a:gd name="connsiteX138" fmla="*/ 531809 w 1573156"/>
                <a:gd name="connsiteY138" fmla="*/ 2657256 h 3641849"/>
                <a:gd name="connsiteX139" fmla="*/ 344488 w 1573156"/>
                <a:gd name="connsiteY139" fmla="*/ 2479877 h 3641849"/>
                <a:gd name="connsiteX140" fmla="*/ 256991 w 1573156"/>
                <a:gd name="connsiteY140" fmla="*/ 2245420 h 3641849"/>
                <a:gd name="connsiteX141" fmla="*/ 176631 w 1573156"/>
                <a:gd name="connsiteY141" fmla="*/ 2250592 h 3641849"/>
                <a:gd name="connsiteX142" fmla="*/ 122255 w 1573156"/>
                <a:gd name="connsiteY142"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53249 w 1573156"/>
                <a:gd name="connsiteY136" fmla="*/ 2480910 h 3641849"/>
                <a:gd name="connsiteX137" fmla="*/ 557777 w 1573156"/>
                <a:gd name="connsiteY137" fmla="*/ 2715007 h 3641849"/>
                <a:gd name="connsiteX138" fmla="*/ 531809 w 1573156"/>
                <a:gd name="connsiteY138" fmla="*/ 2657256 h 3641849"/>
                <a:gd name="connsiteX139" fmla="*/ 434337 w 1573156"/>
                <a:gd name="connsiteY139" fmla="*/ 2496232 h 3641849"/>
                <a:gd name="connsiteX140" fmla="*/ 344488 w 1573156"/>
                <a:gd name="connsiteY140" fmla="*/ 2479877 h 3641849"/>
                <a:gd name="connsiteX141" fmla="*/ 256991 w 1573156"/>
                <a:gd name="connsiteY141" fmla="*/ 2245420 h 3641849"/>
                <a:gd name="connsiteX142" fmla="*/ 176631 w 1573156"/>
                <a:gd name="connsiteY142" fmla="*/ 2250592 h 3641849"/>
                <a:gd name="connsiteX143" fmla="*/ 122255 w 1573156"/>
                <a:gd name="connsiteY143"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53249 w 1573156"/>
                <a:gd name="connsiteY136" fmla="*/ 2480910 h 3641849"/>
                <a:gd name="connsiteX137" fmla="*/ 557777 w 1573156"/>
                <a:gd name="connsiteY137" fmla="*/ 2715007 h 3641849"/>
                <a:gd name="connsiteX138" fmla="*/ 531809 w 1573156"/>
                <a:gd name="connsiteY138" fmla="*/ 2657256 h 3641849"/>
                <a:gd name="connsiteX139" fmla="*/ 434337 w 1573156"/>
                <a:gd name="connsiteY139" fmla="*/ 2496232 h 3641849"/>
                <a:gd name="connsiteX140" fmla="*/ 344488 w 1573156"/>
                <a:gd name="connsiteY140" fmla="*/ 2479877 h 3641849"/>
                <a:gd name="connsiteX141" fmla="*/ 290243 w 1573156"/>
                <a:gd name="connsiteY141" fmla="*/ 2299720 h 3641849"/>
                <a:gd name="connsiteX142" fmla="*/ 256991 w 1573156"/>
                <a:gd name="connsiteY142" fmla="*/ 2245420 h 3641849"/>
                <a:gd name="connsiteX143" fmla="*/ 176631 w 1573156"/>
                <a:gd name="connsiteY143" fmla="*/ 2250592 h 3641849"/>
                <a:gd name="connsiteX144" fmla="*/ 122255 w 1573156"/>
                <a:gd name="connsiteY144"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53249 w 1573156"/>
                <a:gd name="connsiteY136" fmla="*/ 2480910 h 3641849"/>
                <a:gd name="connsiteX137" fmla="*/ 557777 w 1573156"/>
                <a:gd name="connsiteY137" fmla="*/ 2715007 h 3641849"/>
                <a:gd name="connsiteX138" fmla="*/ 531809 w 1573156"/>
                <a:gd name="connsiteY138" fmla="*/ 2657256 h 3641849"/>
                <a:gd name="connsiteX139" fmla="*/ 434337 w 1573156"/>
                <a:gd name="connsiteY139" fmla="*/ 2496232 h 3641849"/>
                <a:gd name="connsiteX140" fmla="*/ 344488 w 1573156"/>
                <a:gd name="connsiteY140" fmla="*/ 2479877 h 3641849"/>
                <a:gd name="connsiteX141" fmla="*/ 290243 w 1573156"/>
                <a:gd name="connsiteY141" fmla="*/ 2299720 h 3641849"/>
                <a:gd name="connsiteX142" fmla="*/ 259762 w 1573156"/>
                <a:gd name="connsiteY142" fmla="*/ 2242835 h 3641849"/>
                <a:gd name="connsiteX143" fmla="*/ 176631 w 1573156"/>
                <a:gd name="connsiteY143" fmla="*/ 2250592 h 3641849"/>
                <a:gd name="connsiteX144" fmla="*/ 122255 w 1573156"/>
                <a:gd name="connsiteY144"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53249 w 1573156"/>
                <a:gd name="connsiteY136" fmla="*/ 2480910 h 3641849"/>
                <a:gd name="connsiteX137" fmla="*/ 557777 w 1573156"/>
                <a:gd name="connsiteY137" fmla="*/ 2715007 h 3641849"/>
                <a:gd name="connsiteX138" fmla="*/ 531809 w 1573156"/>
                <a:gd name="connsiteY138" fmla="*/ 2657256 h 3641849"/>
                <a:gd name="connsiteX139" fmla="*/ 434337 w 1573156"/>
                <a:gd name="connsiteY139" fmla="*/ 2496232 h 3641849"/>
                <a:gd name="connsiteX140" fmla="*/ 344488 w 1573156"/>
                <a:gd name="connsiteY140" fmla="*/ 2479877 h 3641849"/>
                <a:gd name="connsiteX141" fmla="*/ 290243 w 1573156"/>
                <a:gd name="connsiteY141" fmla="*/ 2299720 h 3641849"/>
                <a:gd name="connsiteX142" fmla="*/ 259762 w 1573156"/>
                <a:gd name="connsiteY142" fmla="*/ 2242835 h 3641849"/>
                <a:gd name="connsiteX143" fmla="*/ 176631 w 1573156"/>
                <a:gd name="connsiteY143" fmla="*/ 2250592 h 3641849"/>
                <a:gd name="connsiteX144" fmla="*/ 122255 w 1573156"/>
                <a:gd name="connsiteY144"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53249 w 1573156"/>
                <a:gd name="connsiteY136" fmla="*/ 2480910 h 3641849"/>
                <a:gd name="connsiteX137" fmla="*/ 557777 w 1573156"/>
                <a:gd name="connsiteY137" fmla="*/ 2715007 h 3641849"/>
                <a:gd name="connsiteX138" fmla="*/ 531809 w 1573156"/>
                <a:gd name="connsiteY138" fmla="*/ 2657256 h 3641849"/>
                <a:gd name="connsiteX139" fmla="*/ 434337 w 1573156"/>
                <a:gd name="connsiteY139" fmla="*/ 2496232 h 3641849"/>
                <a:gd name="connsiteX140" fmla="*/ 344488 w 1573156"/>
                <a:gd name="connsiteY140" fmla="*/ 2479877 h 3641849"/>
                <a:gd name="connsiteX141" fmla="*/ 290243 w 1573156"/>
                <a:gd name="connsiteY141" fmla="*/ 2299720 h 3641849"/>
                <a:gd name="connsiteX142" fmla="*/ 259762 w 1573156"/>
                <a:gd name="connsiteY142" fmla="*/ 2245420 h 3641849"/>
                <a:gd name="connsiteX143" fmla="*/ 176631 w 1573156"/>
                <a:gd name="connsiteY143" fmla="*/ 2250592 h 3641849"/>
                <a:gd name="connsiteX144" fmla="*/ 122255 w 1573156"/>
                <a:gd name="connsiteY144"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34337 w 1573156"/>
                <a:gd name="connsiteY139" fmla="*/ 2496232 h 3641849"/>
                <a:gd name="connsiteX140" fmla="*/ 344488 w 1573156"/>
                <a:gd name="connsiteY140" fmla="*/ 2479877 h 3641849"/>
                <a:gd name="connsiteX141" fmla="*/ 290243 w 1573156"/>
                <a:gd name="connsiteY141" fmla="*/ 2299720 h 3641849"/>
                <a:gd name="connsiteX142" fmla="*/ 259762 w 1573156"/>
                <a:gd name="connsiteY142" fmla="*/ 2245420 h 3641849"/>
                <a:gd name="connsiteX143" fmla="*/ 176631 w 1573156"/>
                <a:gd name="connsiteY143" fmla="*/ 2250592 h 3641849"/>
                <a:gd name="connsiteX144" fmla="*/ 122255 w 1573156"/>
                <a:gd name="connsiteY144"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34337 w 1573156"/>
                <a:gd name="connsiteY139" fmla="*/ 2496232 h 3641849"/>
                <a:gd name="connsiteX140" fmla="*/ 344488 w 1573156"/>
                <a:gd name="connsiteY140" fmla="*/ 2479877 h 3641849"/>
                <a:gd name="connsiteX141" fmla="*/ 290243 w 1573156"/>
                <a:gd name="connsiteY141" fmla="*/ 2299720 h 3641849"/>
                <a:gd name="connsiteX142" fmla="*/ 270846 w 1573156"/>
                <a:gd name="connsiteY142" fmla="*/ 2248007 h 3641849"/>
                <a:gd name="connsiteX143" fmla="*/ 176631 w 1573156"/>
                <a:gd name="connsiteY143" fmla="*/ 2250592 h 3641849"/>
                <a:gd name="connsiteX144" fmla="*/ 122255 w 1573156"/>
                <a:gd name="connsiteY144"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34337 w 1573156"/>
                <a:gd name="connsiteY139" fmla="*/ 2496232 h 3641849"/>
                <a:gd name="connsiteX140" fmla="*/ 344488 w 1573156"/>
                <a:gd name="connsiteY140" fmla="*/ 2479877 h 3641849"/>
                <a:gd name="connsiteX141" fmla="*/ 290243 w 1573156"/>
                <a:gd name="connsiteY141" fmla="*/ 2299720 h 3641849"/>
                <a:gd name="connsiteX142" fmla="*/ 262533 w 1573156"/>
                <a:gd name="connsiteY142" fmla="*/ 2263520 h 3641849"/>
                <a:gd name="connsiteX143" fmla="*/ 176631 w 1573156"/>
                <a:gd name="connsiteY143" fmla="*/ 2250592 h 3641849"/>
                <a:gd name="connsiteX144" fmla="*/ 122255 w 1573156"/>
                <a:gd name="connsiteY144"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34337 w 1573156"/>
                <a:gd name="connsiteY139" fmla="*/ 2496232 h 3641849"/>
                <a:gd name="connsiteX140" fmla="*/ 344488 w 1573156"/>
                <a:gd name="connsiteY140" fmla="*/ 2479877 h 3641849"/>
                <a:gd name="connsiteX141" fmla="*/ 290243 w 1573156"/>
                <a:gd name="connsiteY141" fmla="*/ 2299720 h 3641849"/>
                <a:gd name="connsiteX142" fmla="*/ 262533 w 1573156"/>
                <a:gd name="connsiteY142" fmla="*/ 2263520 h 3641849"/>
                <a:gd name="connsiteX143" fmla="*/ 218196 w 1573156"/>
                <a:gd name="connsiteY143" fmla="*/ 2242835 h 3641849"/>
                <a:gd name="connsiteX144" fmla="*/ 176631 w 1573156"/>
                <a:gd name="connsiteY144" fmla="*/ 2250592 h 3641849"/>
                <a:gd name="connsiteX145" fmla="*/ 122255 w 1573156"/>
                <a:gd name="connsiteY145"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34337 w 1573156"/>
                <a:gd name="connsiteY139" fmla="*/ 2496232 h 3641849"/>
                <a:gd name="connsiteX140" fmla="*/ 344488 w 1573156"/>
                <a:gd name="connsiteY140" fmla="*/ 2479877 h 3641849"/>
                <a:gd name="connsiteX141" fmla="*/ 306869 w 1573156"/>
                <a:gd name="connsiteY141" fmla="*/ 2429005 h 3641849"/>
                <a:gd name="connsiteX142" fmla="*/ 290243 w 1573156"/>
                <a:gd name="connsiteY142" fmla="*/ 2299720 h 3641849"/>
                <a:gd name="connsiteX143" fmla="*/ 262533 w 1573156"/>
                <a:gd name="connsiteY143" fmla="*/ 2263520 h 3641849"/>
                <a:gd name="connsiteX144" fmla="*/ 218196 w 1573156"/>
                <a:gd name="connsiteY144" fmla="*/ 2242835 h 3641849"/>
                <a:gd name="connsiteX145" fmla="*/ 176631 w 1573156"/>
                <a:gd name="connsiteY145" fmla="*/ 2250592 h 3641849"/>
                <a:gd name="connsiteX146" fmla="*/ 122255 w 1573156"/>
                <a:gd name="connsiteY146"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34337 w 1573156"/>
                <a:gd name="connsiteY139" fmla="*/ 2496232 h 3641849"/>
                <a:gd name="connsiteX140" fmla="*/ 344488 w 1573156"/>
                <a:gd name="connsiteY140" fmla="*/ 2479877 h 3641849"/>
                <a:gd name="connsiteX141" fmla="*/ 306869 w 1573156"/>
                <a:gd name="connsiteY141" fmla="*/ 2429005 h 3641849"/>
                <a:gd name="connsiteX142" fmla="*/ 309641 w 1573156"/>
                <a:gd name="connsiteY142" fmla="*/ 2351433 h 3641849"/>
                <a:gd name="connsiteX143" fmla="*/ 290243 w 1573156"/>
                <a:gd name="connsiteY143" fmla="*/ 2299720 h 3641849"/>
                <a:gd name="connsiteX144" fmla="*/ 262533 w 1573156"/>
                <a:gd name="connsiteY144" fmla="*/ 2263520 h 3641849"/>
                <a:gd name="connsiteX145" fmla="*/ 218196 w 1573156"/>
                <a:gd name="connsiteY145" fmla="*/ 2242835 h 3641849"/>
                <a:gd name="connsiteX146" fmla="*/ 176631 w 1573156"/>
                <a:gd name="connsiteY146" fmla="*/ 2250592 h 3641849"/>
                <a:gd name="connsiteX147" fmla="*/ 122255 w 1573156"/>
                <a:gd name="connsiteY147"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34337 w 1573156"/>
                <a:gd name="connsiteY139" fmla="*/ 2496232 h 3641849"/>
                <a:gd name="connsiteX140" fmla="*/ 344488 w 1573156"/>
                <a:gd name="connsiteY140" fmla="*/ 2479877 h 3641849"/>
                <a:gd name="connsiteX141" fmla="*/ 306869 w 1573156"/>
                <a:gd name="connsiteY141" fmla="*/ 2429005 h 3641849"/>
                <a:gd name="connsiteX142" fmla="*/ 309641 w 1573156"/>
                <a:gd name="connsiteY142" fmla="*/ 2351433 h 3641849"/>
                <a:gd name="connsiteX143" fmla="*/ 290243 w 1573156"/>
                <a:gd name="connsiteY143" fmla="*/ 2299720 h 3641849"/>
                <a:gd name="connsiteX144" fmla="*/ 256991 w 1573156"/>
                <a:gd name="connsiteY144" fmla="*/ 2266106 h 3641849"/>
                <a:gd name="connsiteX145" fmla="*/ 218196 w 1573156"/>
                <a:gd name="connsiteY145" fmla="*/ 2242835 h 3641849"/>
                <a:gd name="connsiteX146" fmla="*/ 176631 w 1573156"/>
                <a:gd name="connsiteY146" fmla="*/ 2250592 h 3641849"/>
                <a:gd name="connsiteX147" fmla="*/ 122255 w 1573156"/>
                <a:gd name="connsiteY147"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34337 w 1573156"/>
                <a:gd name="connsiteY139" fmla="*/ 2496232 h 3641849"/>
                <a:gd name="connsiteX140" fmla="*/ 361114 w 1573156"/>
                <a:gd name="connsiteY140" fmla="*/ 2492805 h 3641849"/>
                <a:gd name="connsiteX141" fmla="*/ 306869 w 1573156"/>
                <a:gd name="connsiteY141" fmla="*/ 2429005 h 3641849"/>
                <a:gd name="connsiteX142" fmla="*/ 309641 w 1573156"/>
                <a:gd name="connsiteY142" fmla="*/ 2351433 h 3641849"/>
                <a:gd name="connsiteX143" fmla="*/ 290243 w 1573156"/>
                <a:gd name="connsiteY143" fmla="*/ 2299720 h 3641849"/>
                <a:gd name="connsiteX144" fmla="*/ 256991 w 1573156"/>
                <a:gd name="connsiteY144" fmla="*/ 2266106 h 3641849"/>
                <a:gd name="connsiteX145" fmla="*/ 218196 w 1573156"/>
                <a:gd name="connsiteY145" fmla="*/ 2242835 h 3641849"/>
                <a:gd name="connsiteX146" fmla="*/ 176631 w 1573156"/>
                <a:gd name="connsiteY146" fmla="*/ 2250592 h 3641849"/>
                <a:gd name="connsiteX147" fmla="*/ 122255 w 1573156"/>
                <a:gd name="connsiteY147"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34337 w 1573156"/>
                <a:gd name="connsiteY139" fmla="*/ 2496232 h 3641849"/>
                <a:gd name="connsiteX140" fmla="*/ 338946 w 1573156"/>
                <a:gd name="connsiteY140" fmla="*/ 2513491 h 3641849"/>
                <a:gd name="connsiteX141" fmla="*/ 306869 w 1573156"/>
                <a:gd name="connsiteY141" fmla="*/ 2429005 h 3641849"/>
                <a:gd name="connsiteX142" fmla="*/ 309641 w 1573156"/>
                <a:gd name="connsiteY142" fmla="*/ 2351433 h 3641849"/>
                <a:gd name="connsiteX143" fmla="*/ 290243 w 1573156"/>
                <a:gd name="connsiteY143" fmla="*/ 2299720 h 3641849"/>
                <a:gd name="connsiteX144" fmla="*/ 256991 w 1573156"/>
                <a:gd name="connsiteY144" fmla="*/ 2266106 h 3641849"/>
                <a:gd name="connsiteX145" fmla="*/ 218196 w 1573156"/>
                <a:gd name="connsiteY145" fmla="*/ 2242835 h 3641849"/>
                <a:gd name="connsiteX146" fmla="*/ 176631 w 1573156"/>
                <a:gd name="connsiteY146" fmla="*/ 2250592 h 3641849"/>
                <a:gd name="connsiteX147" fmla="*/ 122255 w 1573156"/>
                <a:gd name="connsiteY147"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34337 w 1573156"/>
                <a:gd name="connsiteY139" fmla="*/ 2496232 h 3641849"/>
                <a:gd name="connsiteX140" fmla="*/ 338946 w 1573156"/>
                <a:gd name="connsiteY140" fmla="*/ 2513491 h 3641849"/>
                <a:gd name="connsiteX141" fmla="*/ 340121 w 1573156"/>
                <a:gd name="connsiteY141" fmla="*/ 2467790 h 3641849"/>
                <a:gd name="connsiteX142" fmla="*/ 306869 w 1573156"/>
                <a:gd name="connsiteY142" fmla="*/ 2429005 h 3641849"/>
                <a:gd name="connsiteX143" fmla="*/ 309641 w 1573156"/>
                <a:gd name="connsiteY143" fmla="*/ 2351433 h 3641849"/>
                <a:gd name="connsiteX144" fmla="*/ 290243 w 1573156"/>
                <a:gd name="connsiteY144" fmla="*/ 2299720 h 3641849"/>
                <a:gd name="connsiteX145" fmla="*/ 256991 w 1573156"/>
                <a:gd name="connsiteY145" fmla="*/ 2266106 h 3641849"/>
                <a:gd name="connsiteX146" fmla="*/ 218196 w 1573156"/>
                <a:gd name="connsiteY146" fmla="*/ 2242835 h 3641849"/>
                <a:gd name="connsiteX147" fmla="*/ 176631 w 1573156"/>
                <a:gd name="connsiteY147" fmla="*/ 2250592 h 3641849"/>
                <a:gd name="connsiteX148" fmla="*/ 122255 w 1573156"/>
                <a:gd name="connsiteY148"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34337 w 1573156"/>
                <a:gd name="connsiteY139" fmla="*/ 2485889 h 3641849"/>
                <a:gd name="connsiteX140" fmla="*/ 338946 w 1573156"/>
                <a:gd name="connsiteY140" fmla="*/ 2513491 h 3641849"/>
                <a:gd name="connsiteX141" fmla="*/ 340121 w 1573156"/>
                <a:gd name="connsiteY141" fmla="*/ 2467790 h 3641849"/>
                <a:gd name="connsiteX142" fmla="*/ 306869 w 1573156"/>
                <a:gd name="connsiteY142" fmla="*/ 2429005 h 3641849"/>
                <a:gd name="connsiteX143" fmla="*/ 309641 w 1573156"/>
                <a:gd name="connsiteY143" fmla="*/ 2351433 h 3641849"/>
                <a:gd name="connsiteX144" fmla="*/ 290243 w 1573156"/>
                <a:gd name="connsiteY144" fmla="*/ 2299720 h 3641849"/>
                <a:gd name="connsiteX145" fmla="*/ 256991 w 1573156"/>
                <a:gd name="connsiteY145" fmla="*/ 2266106 h 3641849"/>
                <a:gd name="connsiteX146" fmla="*/ 218196 w 1573156"/>
                <a:gd name="connsiteY146" fmla="*/ 2242835 h 3641849"/>
                <a:gd name="connsiteX147" fmla="*/ 176631 w 1573156"/>
                <a:gd name="connsiteY147" fmla="*/ 2250592 h 3641849"/>
                <a:gd name="connsiteX148" fmla="*/ 122255 w 1573156"/>
                <a:gd name="connsiteY148"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12168 w 1573156"/>
                <a:gd name="connsiteY139" fmla="*/ 2537603 h 3641849"/>
                <a:gd name="connsiteX140" fmla="*/ 434337 w 1573156"/>
                <a:gd name="connsiteY140" fmla="*/ 2485889 h 3641849"/>
                <a:gd name="connsiteX141" fmla="*/ 338946 w 1573156"/>
                <a:gd name="connsiteY141" fmla="*/ 2513491 h 3641849"/>
                <a:gd name="connsiteX142" fmla="*/ 340121 w 1573156"/>
                <a:gd name="connsiteY142" fmla="*/ 2467790 h 3641849"/>
                <a:gd name="connsiteX143" fmla="*/ 306869 w 1573156"/>
                <a:gd name="connsiteY143" fmla="*/ 2429005 h 3641849"/>
                <a:gd name="connsiteX144" fmla="*/ 309641 w 1573156"/>
                <a:gd name="connsiteY144" fmla="*/ 2351433 h 3641849"/>
                <a:gd name="connsiteX145" fmla="*/ 290243 w 1573156"/>
                <a:gd name="connsiteY145" fmla="*/ 2299720 h 3641849"/>
                <a:gd name="connsiteX146" fmla="*/ 256991 w 1573156"/>
                <a:gd name="connsiteY146" fmla="*/ 2266106 h 3641849"/>
                <a:gd name="connsiteX147" fmla="*/ 218196 w 1573156"/>
                <a:gd name="connsiteY147" fmla="*/ 2242835 h 3641849"/>
                <a:gd name="connsiteX148" fmla="*/ 176631 w 1573156"/>
                <a:gd name="connsiteY148" fmla="*/ 2250592 h 3641849"/>
                <a:gd name="connsiteX149" fmla="*/ 122255 w 1573156"/>
                <a:gd name="connsiteY149"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12168 w 1573156"/>
                <a:gd name="connsiteY139" fmla="*/ 2537603 h 3641849"/>
                <a:gd name="connsiteX140" fmla="*/ 376145 w 1573156"/>
                <a:gd name="connsiteY140" fmla="*/ 2501404 h 3641849"/>
                <a:gd name="connsiteX141" fmla="*/ 338946 w 1573156"/>
                <a:gd name="connsiteY141" fmla="*/ 2513491 h 3641849"/>
                <a:gd name="connsiteX142" fmla="*/ 340121 w 1573156"/>
                <a:gd name="connsiteY142" fmla="*/ 2467790 h 3641849"/>
                <a:gd name="connsiteX143" fmla="*/ 306869 w 1573156"/>
                <a:gd name="connsiteY143" fmla="*/ 2429005 h 3641849"/>
                <a:gd name="connsiteX144" fmla="*/ 309641 w 1573156"/>
                <a:gd name="connsiteY144" fmla="*/ 2351433 h 3641849"/>
                <a:gd name="connsiteX145" fmla="*/ 290243 w 1573156"/>
                <a:gd name="connsiteY145" fmla="*/ 2299720 h 3641849"/>
                <a:gd name="connsiteX146" fmla="*/ 256991 w 1573156"/>
                <a:gd name="connsiteY146" fmla="*/ 2266106 h 3641849"/>
                <a:gd name="connsiteX147" fmla="*/ 218196 w 1573156"/>
                <a:gd name="connsiteY147" fmla="*/ 2242835 h 3641849"/>
                <a:gd name="connsiteX148" fmla="*/ 176631 w 1573156"/>
                <a:gd name="connsiteY148" fmla="*/ 2250592 h 3641849"/>
                <a:gd name="connsiteX149" fmla="*/ 122255 w 1573156"/>
                <a:gd name="connsiteY149"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12168 w 1573156"/>
                <a:gd name="connsiteY139" fmla="*/ 2537603 h 3641849"/>
                <a:gd name="connsiteX140" fmla="*/ 362289 w 1573156"/>
                <a:gd name="connsiteY140" fmla="*/ 2501404 h 3641849"/>
                <a:gd name="connsiteX141" fmla="*/ 338946 w 1573156"/>
                <a:gd name="connsiteY141" fmla="*/ 2513491 h 3641849"/>
                <a:gd name="connsiteX142" fmla="*/ 340121 w 1573156"/>
                <a:gd name="connsiteY142" fmla="*/ 2467790 h 3641849"/>
                <a:gd name="connsiteX143" fmla="*/ 306869 w 1573156"/>
                <a:gd name="connsiteY143" fmla="*/ 2429005 h 3641849"/>
                <a:gd name="connsiteX144" fmla="*/ 309641 w 1573156"/>
                <a:gd name="connsiteY144" fmla="*/ 2351433 h 3641849"/>
                <a:gd name="connsiteX145" fmla="*/ 290243 w 1573156"/>
                <a:gd name="connsiteY145" fmla="*/ 2299720 h 3641849"/>
                <a:gd name="connsiteX146" fmla="*/ 256991 w 1573156"/>
                <a:gd name="connsiteY146" fmla="*/ 2266106 h 3641849"/>
                <a:gd name="connsiteX147" fmla="*/ 218196 w 1573156"/>
                <a:gd name="connsiteY147" fmla="*/ 2242835 h 3641849"/>
                <a:gd name="connsiteX148" fmla="*/ 176631 w 1573156"/>
                <a:gd name="connsiteY148" fmla="*/ 2250592 h 3641849"/>
                <a:gd name="connsiteX149" fmla="*/ 122255 w 1573156"/>
                <a:gd name="connsiteY149"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362289 w 1573156"/>
                <a:gd name="connsiteY139" fmla="*/ 2628103 h 3641849"/>
                <a:gd name="connsiteX140" fmla="*/ 412168 w 1573156"/>
                <a:gd name="connsiteY140" fmla="*/ 2537603 h 3641849"/>
                <a:gd name="connsiteX141" fmla="*/ 362289 w 1573156"/>
                <a:gd name="connsiteY141" fmla="*/ 2501404 h 3641849"/>
                <a:gd name="connsiteX142" fmla="*/ 338946 w 1573156"/>
                <a:gd name="connsiteY142" fmla="*/ 2513491 h 3641849"/>
                <a:gd name="connsiteX143" fmla="*/ 340121 w 1573156"/>
                <a:gd name="connsiteY143" fmla="*/ 2467790 h 3641849"/>
                <a:gd name="connsiteX144" fmla="*/ 306869 w 1573156"/>
                <a:gd name="connsiteY144" fmla="*/ 2429005 h 3641849"/>
                <a:gd name="connsiteX145" fmla="*/ 309641 w 1573156"/>
                <a:gd name="connsiteY145" fmla="*/ 2351433 h 3641849"/>
                <a:gd name="connsiteX146" fmla="*/ 290243 w 1573156"/>
                <a:gd name="connsiteY146" fmla="*/ 2299720 h 3641849"/>
                <a:gd name="connsiteX147" fmla="*/ 256991 w 1573156"/>
                <a:gd name="connsiteY147" fmla="*/ 2266106 h 3641849"/>
                <a:gd name="connsiteX148" fmla="*/ 218196 w 1573156"/>
                <a:gd name="connsiteY148" fmla="*/ 2242835 h 3641849"/>
                <a:gd name="connsiteX149" fmla="*/ 176631 w 1573156"/>
                <a:gd name="connsiteY149" fmla="*/ 2250592 h 3641849"/>
                <a:gd name="connsiteX150" fmla="*/ 122255 w 1573156"/>
                <a:gd name="connsiteY150"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362289 w 1573156"/>
                <a:gd name="connsiteY139" fmla="*/ 2628103 h 3641849"/>
                <a:gd name="connsiteX140" fmla="*/ 414939 w 1573156"/>
                <a:gd name="connsiteY140" fmla="*/ 2563461 h 3641849"/>
                <a:gd name="connsiteX141" fmla="*/ 412168 w 1573156"/>
                <a:gd name="connsiteY141" fmla="*/ 2537603 h 3641849"/>
                <a:gd name="connsiteX142" fmla="*/ 362289 w 1573156"/>
                <a:gd name="connsiteY142" fmla="*/ 2501404 h 3641849"/>
                <a:gd name="connsiteX143" fmla="*/ 338946 w 1573156"/>
                <a:gd name="connsiteY143" fmla="*/ 2513491 h 3641849"/>
                <a:gd name="connsiteX144" fmla="*/ 340121 w 1573156"/>
                <a:gd name="connsiteY144" fmla="*/ 2467790 h 3641849"/>
                <a:gd name="connsiteX145" fmla="*/ 306869 w 1573156"/>
                <a:gd name="connsiteY145" fmla="*/ 2429005 h 3641849"/>
                <a:gd name="connsiteX146" fmla="*/ 309641 w 1573156"/>
                <a:gd name="connsiteY146" fmla="*/ 2351433 h 3641849"/>
                <a:gd name="connsiteX147" fmla="*/ 290243 w 1573156"/>
                <a:gd name="connsiteY147" fmla="*/ 2299720 h 3641849"/>
                <a:gd name="connsiteX148" fmla="*/ 256991 w 1573156"/>
                <a:gd name="connsiteY148" fmla="*/ 2266106 h 3641849"/>
                <a:gd name="connsiteX149" fmla="*/ 218196 w 1573156"/>
                <a:gd name="connsiteY149" fmla="*/ 2242835 h 3641849"/>
                <a:gd name="connsiteX150" fmla="*/ 176631 w 1573156"/>
                <a:gd name="connsiteY150" fmla="*/ 2250592 h 3641849"/>
                <a:gd name="connsiteX151" fmla="*/ 122255 w 1573156"/>
                <a:gd name="connsiteY151"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362289 w 1573156"/>
                <a:gd name="connsiteY139" fmla="*/ 2628103 h 3641849"/>
                <a:gd name="connsiteX140" fmla="*/ 414939 w 1573156"/>
                <a:gd name="connsiteY140" fmla="*/ 2563461 h 3641849"/>
                <a:gd name="connsiteX141" fmla="*/ 412168 w 1573156"/>
                <a:gd name="connsiteY141" fmla="*/ 2537603 h 3641849"/>
                <a:gd name="connsiteX142" fmla="*/ 362289 w 1573156"/>
                <a:gd name="connsiteY142" fmla="*/ 2501404 h 3641849"/>
                <a:gd name="connsiteX143" fmla="*/ 338946 w 1573156"/>
                <a:gd name="connsiteY143" fmla="*/ 2513491 h 3641849"/>
                <a:gd name="connsiteX144" fmla="*/ 340121 w 1573156"/>
                <a:gd name="connsiteY144" fmla="*/ 2467790 h 3641849"/>
                <a:gd name="connsiteX145" fmla="*/ 306869 w 1573156"/>
                <a:gd name="connsiteY145" fmla="*/ 2429005 h 3641849"/>
                <a:gd name="connsiteX146" fmla="*/ 309641 w 1573156"/>
                <a:gd name="connsiteY146" fmla="*/ 2351433 h 3641849"/>
                <a:gd name="connsiteX147" fmla="*/ 290243 w 1573156"/>
                <a:gd name="connsiteY147" fmla="*/ 2299720 h 3641849"/>
                <a:gd name="connsiteX148" fmla="*/ 256991 w 1573156"/>
                <a:gd name="connsiteY148" fmla="*/ 2266106 h 3641849"/>
                <a:gd name="connsiteX149" fmla="*/ 218196 w 1573156"/>
                <a:gd name="connsiteY149" fmla="*/ 2242835 h 3641849"/>
                <a:gd name="connsiteX150" fmla="*/ 176631 w 1573156"/>
                <a:gd name="connsiteY150" fmla="*/ 2250592 h 3641849"/>
                <a:gd name="connsiteX151" fmla="*/ 122255 w 1573156"/>
                <a:gd name="connsiteY151"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340121 w 1573156"/>
                <a:gd name="connsiteY139" fmla="*/ 2602245 h 3641849"/>
                <a:gd name="connsiteX140" fmla="*/ 414939 w 1573156"/>
                <a:gd name="connsiteY140" fmla="*/ 2563461 h 3641849"/>
                <a:gd name="connsiteX141" fmla="*/ 412168 w 1573156"/>
                <a:gd name="connsiteY141" fmla="*/ 2537603 h 3641849"/>
                <a:gd name="connsiteX142" fmla="*/ 362289 w 1573156"/>
                <a:gd name="connsiteY142" fmla="*/ 2501404 h 3641849"/>
                <a:gd name="connsiteX143" fmla="*/ 338946 w 1573156"/>
                <a:gd name="connsiteY143" fmla="*/ 2513491 h 3641849"/>
                <a:gd name="connsiteX144" fmla="*/ 340121 w 1573156"/>
                <a:gd name="connsiteY144" fmla="*/ 2467790 h 3641849"/>
                <a:gd name="connsiteX145" fmla="*/ 306869 w 1573156"/>
                <a:gd name="connsiteY145" fmla="*/ 2429005 h 3641849"/>
                <a:gd name="connsiteX146" fmla="*/ 309641 w 1573156"/>
                <a:gd name="connsiteY146" fmla="*/ 2351433 h 3641849"/>
                <a:gd name="connsiteX147" fmla="*/ 290243 w 1573156"/>
                <a:gd name="connsiteY147" fmla="*/ 2299720 h 3641849"/>
                <a:gd name="connsiteX148" fmla="*/ 256991 w 1573156"/>
                <a:gd name="connsiteY148" fmla="*/ 2266106 h 3641849"/>
                <a:gd name="connsiteX149" fmla="*/ 218196 w 1573156"/>
                <a:gd name="connsiteY149" fmla="*/ 2242835 h 3641849"/>
                <a:gd name="connsiteX150" fmla="*/ 176631 w 1573156"/>
                <a:gd name="connsiteY150" fmla="*/ 2250592 h 3641849"/>
                <a:gd name="connsiteX151" fmla="*/ 122255 w 1573156"/>
                <a:gd name="connsiteY151"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340121 w 1573156"/>
                <a:gd name="connsiteY139" fmla="*/ 2602245 h 3641849"/>
                <a:gd name="connsiteX140" fmla="*/ 381687 w 1573156"/>
                <a:gd name="connsiteY140" fmla="*/ 2602246 h 3641849"/>
                <a:gd name="connsiteX141" fmla="*/ 414939 w 1573156"/>
                <a:gd name="connsiteY141" fmla="*/ 2563461 h 3641849"/>
                <a:gd name="connsiteX142" fmla="*/ 412168 w 1573156"/>
                <a:gd name="connsiteY142" fmla="*/ 2537603 h 3641849"/>
                <a:gd name="connsiteX143" fmla="*/ 362289 w 1573156"/>
                <a:gd name="connsiteY143" fmla="*/ 2501404 h 3641849"/>
                <a:gd name="connsiteX144" fmla="*/ 338946 w 1573156"/>
                <a:gd name="connsiteY144" fmla="*/ 2513491 h 3641849"/>
                <a:gd name="connsiteX145" fmla="*/ 340121 w 1573156"/>
                <a:gd name="connsiteY145" fmla="*/ 2467790 h 3641849"/>
                <a:gd name="connsiteX146" fmla="*/ 306869 w 1573156"/>
                <a:gd name="connsiteY146" fmla="*/ 2429005 h 3641849"/>
                <a:gd name="connsiteX147" fmla="*/ 309641 w 1573156"/>
                <a:gd name="connsiteY147" fmla="*/ 2351433 h 3641849"/>
                <a:gd name="connsiteX148" fmla="*/ 290243 w 1573156"/>
                <a:gd name="connsiteY148" fmla="*/ 2299720 h 3641849"/>
                <a:gd name="connsiteX149" fmla="*/ 256991 w 1573156"/>
                <a:gd name="connsiteY149" fmla="*/ 2266106 h 3641849"/>
                <a:gd name="connsiteX150" fmla="*/ 218196 w 1573156"/>
                <a:gd name="connsiteY150" fmla="*/ 2242835 h 3641849"/>
                <a:gd name="connsiteX151" fmla="*/ 176631 w 1573156"/>
                <a:gd name="connsiteY151" fmla="*/ 2250592 h 3641849"/>
                <a:gd name="connsiteX152" fmla="*/ 122255 w 1573156"/>
                <a:gd name="connsiteY152"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353976 w 1573156"/>
                <a:gd name="connsiteY139" fmla="*/ 2578974 h 3641849"/>
                <a:gd name="connsiteX140" fmla="*/ 381687 w 1573156"/>
                <a:gd name="connsiteY140" fmla="*/ 2602246 h 3641849"/>
                <a:gd name="connsiteX141" fmla="*/ 414939 w 1573156"/>
                <a:gd name="connsiteY141" fmla="*/ 2563461 h 3641849"/>
                <a:gd name="connsiteX142" fmla="*/ 412168 w 1573156"/>
                <a:gd name="connsiteY142" fmla="*/ 2537603 h 3641849"/>
                <a:gd name="connsiteX143" fmla="*/ 362289 w 1573156"/>
                <a:gd name="connsiteY143" fmla="*/ 2501404 h 3641849"/>
                <a:gd name="connsiteX144" fmla="*/ 338946 w 1573156"/>
                <a:gd name="connsiteY144" fmla="*/ 2513491 h 3641849"/>
                <a:gd name="connsiteX145" fmla="*/ 340121 w 1573156"/>
                <a:gd name="connsiteY145" fmla="*/ 2467790 h 3641849"/>
                <a:gd name="connsiteX146" fmla="*/ 306869 w 1573156"/>
                <a:gd name="connsiteY146" fmla="*/ 2429005 h 3641849"/>
                <a:gd name="connsiteX147" fmla="*/ 309641 w 1573156"/>
                <a:gd name="connsiteY147" fmla="*/ 2351433 h 3641849"/>
                <a:gd name="connsiteX148" fmla="*/ 290243 w 1573156"/>
                <a:gd name="connsiteY148" fmla="*/ 2299720 h 3641849"/>
                <a:gd name="connsiteX149" fmla="*/ 256991 w 1573156"/>
                <a:gd name="connsiteY149" fmla="*/ 2266106 h 3641849"/>
                <a:gd name="connsiteX150" fmla="*/ 218196 w 1573156"/>
                <a:gd name="connsiteY150" fmla="*/ 2242835 h 3641849"/>
                <a:gd name="connsiteX151" fmla="*/ 176631 w 1573156"/>
                <a:gd name="connsiteY151" fmla="*/ 2250592 h 3641849"/>
                <a:gd name="connsiteX152" fmla="*/ 122255 w 1573156"/>
                <a:gd name="connsiteY152"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353976 w 1573156"/>
                <a:gd name="connsiteY139" fmla="*/ 2578974 h 3641849"/>
                <a:gd name="connsiteX140" fmla="*/ 381687 w 1573156"/>
                <a:gd name="connsiteY140" fmla="*/ 2697918 h 3641849"/>
                <a:gd name="connsiteX141" fmla="*/ 414939 w 1573156"/>
                <a:gd name="connsiteY141" fmla="*/ 2563461 h 3641849"/>
                <a:gd name="connsiteX142" fmla="*/ 412168 w 1573156"/>
                <a:gd name="connsiteY142" fmla="*/ 2537603 h 3641849"/>
                <a:gd name="connsiteX143" fmla="*/ 362289 w 1573156"/>
                <a:gd name="connsiteY143" fmla="*/ 2501404 h 3641849"/>
                <a:gd name="connsiteX144" fmla="*/ 338946 w 1573156"/>
                <a:gd name="connsiteY144" fmla="*/ 2513491 h 3641849"/>
                <a:gd name="connsiteX145" fmla="*/ 340121 w 1573156"/>
                <a:gd name="connsiteY145" fmla="*/ 2467790 h 3641849"/>
                <a:gd name="connsiteX146" fmla="*/ 306869 w 1573156"/>
                <a:gd name="connsiteY146" fmla="*/ 2429005 h 3641849"/>
                <a:gd name="connsiteX147" fmla="*/ 309641 w 1573156"/>
                <a:gd name="connsiteY147" fmla="*/ 2351433 h 3641849"/>
                <a:gd name="connsiteX148" fmla="*/ 290243 w 1573156"/>
                <a:gd name="connsiteY148" fmla="*/ 2299720 h 3641849"/>
                <a:gd name="connsiteX149" fmla="*/ 256991 w 1573156"/>
                <a:gd name="connsiteY149" fmla="*/ 2266106 h 3641849"/>
                <a:gd name="connsiteX150" fmla="*/ 218196 w 1573156"/>
                <a:gd name="connsiteY150" fmla="*/ 2242835 h 3641849"/>
                <a:gd name="connsiteX151" fmla="*/ 176631 w 1573156"/>
                <a:gd name="connsiteY151" fmla="*/ 2250592 h 3641849"/>
                <a:gd name="connsiteX152" fmla="*/ 122255 w 1573156"/>
                <a:gd name="connsiteY152"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353976 w 1573156"/>
                <a:gd name="connsiteY139" fmla="*/ 2578974 h 3641849"/>
                <a:gd name="connsiteX140" fmla="*/ 414939 w 1573156"/>
                <a:gd name="connsiteY140" fmla="*/ 2563461 h 3641849"/>
                <a:gd name="connsiteX141" fmla="*/ 412168 w 1573156"/>
                <a:gd name="connsiteY141" fmla="*/ 2537603 h 3641849"/>
                <a:gd name="connsiteX142" fmla="*/ 362289 w 1573156"/>
                <a:gd name="connsiteY142" fmla="*/ 2501404 h 3641849"/>
                <a:gd name="connsiteX143" fmla="*/ 338946 w 1573156"/>
                <a:gd name="connsiteY143" fmla="*/ 2513491 h 3641849"/>
                <a:gd name="connsiteX144" fmla="*/ 340121 w 1573156"/>
                <a:gd name="connsiteY144" fmla="*/ 2467790 h 3641849"/>
                <a:gd name="connsiteX145" fmla="*/ 306869 w 1573156"/>
                <a:gd name="connsiteY145" fmla="*/ 2429005 h 3641849"/>
                <a:gd name="connsiteX146" fmla="*/ 309641 w 1573156"/>
                <a:gd name="connsiteY146" fmla="*/ 2351433 h 3641849"/>
                <a:gd name="connsiteX147" fmla="*/ 290243 w 1573156"/>
                <a:gd name="connsiteY147" fmla="*/ 2299720 h 3641849"/>
                <a:gd name="connsiteX148" fmla="*/ 256991 w 1573156"/>
                <a:gd name="connsiteY148" fmla="*/ 2266106 h 3641849"/>
                <a:gd name="connsiteX149" fmla="*/ 218196 w 1573156"/>
                <a:gd name="connsiteY149" fmla="*/ 2242835 h 3641849"/>
                <a:gd name="connsiteX150" fmla="*/ 176631 w 1573156"/>
                <a:gd name="connsiteY150" fmla="*/ 2250592 h 3641849"/>
                <a:gd name="connsiteX151" fmla="*/ 122255 w 1573156"/>
                <a:gd name="connsiteY151"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14939 w 1573156"/>
                <a:gd name="connsiteY139" fmla="*/ 2682402 h 3641849"/>
                <a:gd name="connsiteX140" fmla="*/ 353976 w 1573156"/>
                <a:gd name="connsiteY140" fmla="*/ 2578974 h 3641849"/>
                <a:gd name="connsiteX141" fmla="*/ 414939 w 1573156"/>
                <a:gd name="connsiteY141" fmla="*/ 2563461 h 3641849"/>
                <a:gd name="connsiteX142" fmla="*/ 412168 w 1573156"/>
                <a:gd name="connsiteY142" fmla="*/ 2537603 h 3641849"/>
                <a:gd name="connsiteX143" fmla="*/ 362289 w 1573156"/>
                <a:gd name="connsiteY143" fmla="*/ 2501404 h 3641849"/>
                <a:gd name="connsiteX144" fmla="*/ 338946 w 1573156"/>
                <a:gd name="connsiteY144" fmla="*/ 2513491 h 3641849"/>
                <a:gd name="connsiteX145" fmla="*/ 340121 w 1573156"/>
                <a:gd name="connsiteY145" fmla="*/ 2467790 h 3641849"/>
                <a:gd name="connsiteX146" fmla="*/ 306869 w 1573156"/>
                <a:gd name="connsiteY146" fmla="*/ 2429005 h 3641849"/>
                <a:gd name="connsiteX147" fmla="*/ 309641 w 1573156"/>
                <a:gd name="connsiteY147" fmla="*/ 2351433 h 3641849"/>
                <a:gd name="connsiteX148" fmla="*/ 290243 w 1573156"/>
                <a:gd name="connsiteY148" fmla="*/ 2299720 h 3641849"/>
                <a:gd name="connsiteX149" fmla="*/ 256991 w 1573156"/>
                <a:gd name="connsiteY149" fmla="*/ 2266106 h 3641849"/>
                <a:gd name="connsiteX150" fmla="*/ 218196 w 1573156"/>
                <a:gd name="connsiteY150" fmla="*/ 2242835 h 3641849"/>
                <a:gd name="connsiteX151" fmla="*/ 176631 w 1573156"/>
                <a:gd name="connsiteY151" fmla="*/ 2250592 h 3641849"/>
                <a:gd name="connsiteX152" fmla="*/ 122255 w 1573156"/>
                <a:gd name="connsiteY152"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14939 w 1573156"/>
                <a:gd name="connsiteY139" fmla="*/ 2682402 h 3641849"/>
                <a:gd name="connsiteX140" fmla="*/ 351205 w 1573156"/>
                <a:gd name="connsiteY140" fmla="*/ 2622932 h 3641849"/>
                <a:gd name="connsiteX141" fmla="*/ 353976 w 1573156"/>
                <a:gd name="connsiteY141" fmla="*/ 2578974 h 3641849"/>
                <a:gd name="connsiteX142" fmla="*/ 414939 w 1573156"/>
                <a:gd name="connsiteY142" fmla="*/ 2563461 h 3641849"/>
                <a:gd name="connsiteX143" fmla="*/ 412168 w 1573156"/>
                <a:gd name="connsiteY143" fmla="*/ 2537603 h 3641849"/>
                <a:gd name="connsiteX144" fmla="*/ 362289 w 1573156"/>
                <a:gd name="connsiteY144" fmla="*/ 2501404 h 3641849"/>
                <a:gd name="connsiteX145" fmla="*/ 338946 w 1573156"/>
                <a:gd name="connsiteY145" fmla="*/ 2513491 h 3641849"/>
                <a:gd name="connsiteX146" fmla="*/ 340121 w 1573156"/>
                <a:gd name="connsiteY146" fmla="*/ 2467790 h 3641849"/>
                <a:gd name="connsiteX147" fmla="*/ 306869 w 1573156"/>
                <a:gd name="connsiteY147" fmla="*/ 2429005 h 3641849"/>
                <a:gd name="connsiteX148" fmla="*/ 309641 w 1573156"/>
                <a:gd name="connsiteY148" fmla="*/ 2351433 h 3641849"/>
                <a:gd name="connsiteX149" fmla="*/ 290243 w 1573156"/>
                <a:gd name="connsiteY149" fmla="*/ 2299720 h 3641849"/>
                <a:gd name="connsiteX150" fmla="*/ 256991 w 1573156"/>
                <a:gd name="connsiteY150" fmla="*/ 2266106 h 3641849"/>
                <a:gd name="connsiteX151" fmla="*/ 218196 w 1573156"/>
                <a:gd name="connsiteY151" fmla="*/ 2242835 h 3641849"/>
                <a:gd name="connsiteX152" fmla="*/ 176631 w 1573156"/>
                <a:gd name="connsiteY152" fmla="*/ 2250592 h 3641849"/>
                <a:gd name="connsiteX153" fmla="*/ 122255 w 1573156"/>
                <a:gd name="connsiteY153"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14939 w 1573156"/>
                <a:gd name="connsiteY139" fmla="*/ 2682402 h 3641849"/>
                <a:gd name="connsiteX140" fmla="*/ 367832 w 1573156"/>
                <a:gd name="connsiteY140" fmla="*/ 2684989 h 3641849"/>
                <a:gd name="connsiteX141" fmla="*/ 351205 w 1573156"/>
                <a:gd name="connsiteY141" fmla="*/ 2622932 h 3641849"/>
                <a:gd name="connsiteX142" fmla="*/ 353976 w 1573156"/>
                <a:gd name="connsiteY142" fmla="*/ 2578974 h 3641849"/>
                <a:gd name="connsiteX143" fmla="*/ 414939 w 1573156"/>
                <a:gd name="connsiteY143" fmla="*/ 2563461 h 3641849"/>
                <a:gd name="connsiteX144" fmla="*/ 412168 w 1573156"/>
                <a:gd name="connsiteY144" fmla="*/ 2537603 h 3641849"/>
                <a:gd name="connsiteX145" fmla="*/ 362289 w 1573156"/>
                <a:gd name="connsiteY145" fmla="*/ 2501404 h 3641849"/>
                <a:gd name="connsiteX146" fmla="*/ 338946 w 1573156"/>
                <a:gd name="connsiteY146" fmla="*/ 2513491 h 3641849"/>
                <a:gd name="connsiteX147" fmla="*/ 340121 w 1573156"/>
                <a:gd name="connsiteY147" fmla="*/ 2467790 h 3641849"/>
                <a:gd name="connsiteX148" fmla="*/ 306869 w 1573156"/>
                <a:gd name="connsiteY148" fmla="*/ 2429005 h 3641849"/>
                <a:gd name="connsiteX149" fmla="*/ 309641 w 1573156"/>
                <a:gd name="connsiteY149" fmla="*/ 2351433 h 3641849"/>
                <a:gd name="connsiteX150" fmla="*/ 290243 w 1573156"/>
                <a:gd name="connsiteY150" fmla="*/ 2299720 h 3641849"/>
                <a:gd name="connsiteX151" fmla="*/ 256991 w 1573156"/>
                <a:gd name="connsiteY151" fmla="*/ 2266106 h 3641849"/>
                <a:gd name="connsiteX152" fmla="*/ 218196 w 1573156"/>
                <a:gd name="connsiteY152" fmla="*/ 2242835 h 3641849"/>
                <a:gd name="connsiteX153" fmla="*/ 176631 w 1573156"/>
                <a:gd name="connsiteY153" fmla="*/ 2250592 h 3641849"/>
                <a:gd name="connsiteX154" fmla="*/ 122255 w 1573156"/>
                <a:gd name="connsiteY154"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14939 w 1573156"/>
                <a:gd name="connsiteY139" fmla="*/ 2682402 h 3641849"/>
                <a:gd name="connsiteX140" fmla="*/ 390000 w 1573156"/>
                <a:gd name="connsiteY140" fmla="*/ 2672059 h 3641849"/>
                <a:gd name="connsiteX141" fmla="*/ 367832 w 1573156"/>
                <a:gd name="connsiteY141" fmla="*/ 2684989 h 3641849"/>
                <a:gd name="connsiteX142" fmla="*/ 351205 w 1573156"/>
                <a:gd name="connsiteY142" fmla="*/ 2622932 h 3641849"/>
                <a:gd name="connsiteX143" fmla="*/ 353976 w 1573156"/>
                <a:gd name="connsiteY143" fmla="*/ 2578974 h 3641849"/>
                <a:gd name="connsiteX144" fmla="*/ 414939 w 1573156"/>
                <a:gd name="connsiteY144" fmla="*/ 2563461 h 3641849"/>
                <a:gd name="connsiteX145" fmla="*/ 412168 w 1573156"/>
                <a:gd name="connsiteY145" fmla="*/ 2537603 h 3641849"/>
                <a:gd name="connsiteX146" fmla="*/ 362289 w 1573156"/>
                <a:gd name="connsiteY146" fmla="*/ 2501404 h 3641849"/>
                <a:gd name="connsiteX147" fmla="*/ 338946 w 1573156"/>
                <a:gd name="connsiteY147" fmla="*/ 2513491 h 3641849"/>
                <a:gd name="connsiteX148" fmla="*/ 340121 w 1573156"/>
                <a:gd name="connsiteY148" fmla="*/ 2467790 h 3641849"/>
                <a:gd name="connsiteX149" fmla="*/ 306869 w 1573156"/>
                <a:gd name="connsiteY149" fmla="*/ 2429005 h 3641849"/>
                <a:gd name="connsiteX150" fmla="*/ 309641 w 1573156"/>
                <a:gd name="connsiteY150" fmla="*/ 2351433 h 3641849"/>
                <a:gd name="connsiteX151" fmla="*/ 290243 w 1573156"/>
                <a:gd name="connsiteY151" fmla="*/ 2299720 h 3641849"/>
                <a:gd name="connsiteX152" fmla="*/ 256991 w 1573156"/>
                <a:gd name="connsiteY152" fmla="*/ 2266106 h 3641849"/>
                <a:gd name="connsiteX153" fmla="*/ 218196 w 1573156"/>
                <a:gd name="connsiteY153" fmla="*/ 2242835 h 3641849"/>
                <a:gd name="connsiteX154" fmla="*/ 176631 w 1573156"/>
                <a:gd name="connsiteY154" fmla="*/ 2250592 h 3641849"/>
                <a:gd name="connsiteX155" fmla="*/ 122255 w 1573156"/>
                <a:gd name="connsiteY155"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14939 w 1573156"/>
                <a:gd name="connsiteY139" fmla="*/ 2682402 h 3641849"/>
                <a:gd name="connsiteX140" fmla="*/ 390000 w 1573156"/>
                <a:gd name="connsiteY140" fmla="*/ 2672059 h 3641849"/>
                <a:gd name="connsiteX141" fmla="*/ 367832 w 1573156"/>
                <a:gd name="connsiteY141" fmla="*/ 2684989 h 3641849"/>
                <a:gd name="connsiteX142" fmla="*/ 351205 w 1573156"/>
                <a:gd name="connsiteY142" fmla="*/ 2622932 h 3641849"/>
                <a:gd name="connsiteX143" fmla="*/ 340121 w 1573156"/>
                <a:gd name="connsiteY143" fmla="*/ 2597075 h 3641849"/>
                <a:gd name="connsiteX144" fmla="*/ 353976 w 1573156"/>
                <a:gd name="connsiteY144" fmla="*/ 2578974 h 3641849"/>
                <a:gd name="connsiteX145" fmla="*/ 414939 w 1573156"/>
                <a:gd name="connsiteY145" fmla="*/ 2563461 h 3641849"/>
                <a:gd name="connsiteX146" fmla="*/ 412168 w 1573156"/>
                <a:gd name="connsiteY146" fmla="*/ 2537603 h 3641849"/>
                <a:gd name="connsiteX147" fmla="*/ 362289 w 1573156"/>
                <a:gd name="connsiteY147" fmla="*/ 2501404 h 3641849"/>
                <a:gd name="connsiteX148" fmla="*/ 338946 w 1573156"/>
                <a:gd name="connsiteY148" fmla="*/ 2513491 h 3641849"/>
                <a:gd name="connsiteX149" fmla="*/ 340121 w 1573156"/>
                <a:gd name="connsiteY149" fmla="*/ 2467790 h 3641849"/>
                <a:gd name="connsiteX150" fmla="*/ 306869 w 1573156"/>
                <a:gd name="connsiteY150" fmla="*/ 2429005 h 3641849"/>
                <a:gd name="connsiteX151" fmla="*/ 309641 w 1573156"/>
                <a:gd name="connsiteY151" fmla="*/ 2351433 h 3641849"/>
                <a:gd name="connsiteX152" fmla="*/ 290243 w 1573156"/>
                <a:gd name="connsiteY152" fmla="*/ 2299720 h 3641849"/>
                <a:gd name="connsiteX153" fmla="*/ 256991 w 1573156"/>
                <a:gd name="connsiteY153" fmla="*/ 2266106 h 3641849"/>
                <a:gd name="connsiteX154" fmla="*/ 218196 w 1573156"/>
                <a:gd name="connsiteY154" fmla="*/ 2242835 h 3641849"/>
                <a:gd name="connsiteX155" fmla="*/ 176631 w 1573156"/>
                <a:gd name="connsiteY155" fmla="*/ 2250592 h 3641849"/>
                <a:gd name="connsiteX156" fmla="*/ 122255 w 1573156"/>
                <a:gd name="connsiteY156"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57256 h 3641849"/>
                <a:gd name="connsiteX139" fmla="*/ 414939 w 1573156"/>
                <a:gd name="connsiteY139" fmla="*/ 2682402 h 3641849"/>
                <a:gd name="connsiteX140" fmla="*/ 390000 w 1573156"/>
                <a:gd name="connsiteY140" fmla="*/ 2672059 h 3641849"/>
                <a:gd name="connsiteX141" fmla="*/ 367832 w 1573156"/>
                <a:gd name="connsiteY141" fmla="*/ 2684989 h 3641849"/>
                <a:gd name="connsiteX142" fmla="*/ 351205 w 1573156"/>
                <a:gd name="connsiteY142" fmla="*/ 2622932 h 3641849"/>
                <a:gd name="connsiteX143" fmla="*/ 340121 w 1573156"/>
                <a:gd name="connsiteY143" fmla="*/ 2597075 h 3641849"/>
                <a:gd name="connsiteX144" fmla="*/ 353976 w 1573156"/>
                <a:gd name="connsiteY144" fmla="*/ 2578974 h 3641849"/>
                <a:gd name="connsiteX145" fmla="*/ 381687 w 1573156"/>
                <a:gd name="connsiteY145" fmla="*/ 2581561 h 3641849"/>
                <a:gd name="connsiteX146" fmla="*/ 414939 w 1573156"/>
                <a:gd name="connsiteY146" fmla="*/ 2563461 h 3641849"/>
                <a:gd name="connsiteX147" fmla="*/ 412168 w 1573156"/>
                <a:gd name="connsiteY147" fmla="*/ 2537603 h 3641849"/>
                <a:gd name="connsiteX148" fmla="*/ 362289 w 1573156"/>
                <a:gd name="connsiteY148" fmla="*/ 2501404 h 3641849"/>
                <a:gd name="connsiteX149" fmla="*/ 338946 w 1573156"/>
                <a:gd name="connsiteY149" fmla="*/ 2513491 h 3641849"/>
                <a:gd name="connsiteX150" fmla="*/ 340121 w 1573156"/>
                <a:gd name="connsiteY150" fmla="*/ 2467790 h 3641849"/>
                <a:gd name="connsiteX151" fmla="*/ 306869 w 1573156"/>
                <a:gd name="connsiteY151" fmla="*/ 2429005 h 3641849"/>
                <a:gd name="connsiteX152" fmla="*/ 309641 w 1573156"/>
                <a:gd name="connsiteY152" fmla="*/ 2351433 h 3641849"/>
                <a:gd name="connsiteX153" fmla="*/ 290243 w 1573156"/>
                <a:gd name="connsiteY153" fmla="*/ 2299720 h 3641849"/>
                <a:gd name="connsiteX154" fmla="*/ 256991 w 1573156"/>
                <a:gd name="connsiteY154" fmla="*/ 2266106 h 3641849"/>
                <a:gd name="connsiteX155" fmla="*/ 218196 w 1573156"/>
                <a:gd name="connsiteY155" fmla="*/ 2242835 h 3641849"/>
                <a:gd name="connsiteX156" fmla="*/ 176631 w 1573156"/>
                <a:gd name="connsiteY156" fmla="*/ 2250592 h 3641849"/>
                <a:gd name="connsiteX157" fmla="*/ 122255 w 1573156"/>
                <a:gd name="connsiteY157"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36622 w 1573156"/>
                <a:gd name="connsiteY136" fmla="*/ 2739479 h 3641849"/>
                <a:gd name="connsiteX137" fmla="*/ 557777 w 1573156"/>
                <a:gd name="connsiteY137" fmla="*/ 2715007 h 3641849"/>
                <a:gd name="connsiteX138" fmla="*/ 531809 w 1573156"/>
                <a:gd name="connsiteY138" fmla="*/ 2672771 h 3641849"/>
                <a:gd name="connsiteX139" fmla="*/ 414939 w 1573156"/>
                <a:gd name="connsiteY139" fmla="*/ 2682402 h 3641849"/>
                <a:gd name="connsiteX140" fmla="*/ 390000 w 1573156"/>
                <a:gd name="connsiteY140" fmla="*/ 2672059 h 3641849"/>
                <a:gd name="connsiteX141" fmla="*/ 367832 w 1573156"/>
                <a:gd name="connsiteY141" fmla="*/ 2684989 h 3641849"/>
                <a:gd name="connsiteX142" fmla="*/ 351205 w 1573156"/>
                <a:gd name="connsiteY142" fmla="*/ 2622932 h 3641849"/>
                <a:gd name="connsiteX143" fmla="*/ 340121 w 1573156"/>
                <a:gd name="connsiteY143" fmla="*/ 2597075 h 3641849"/>
                <a:gd name="connsiteX144" fmla="*/ 353976 w 1573156"/>
                <a:gd name="connsiteY144" fmla="*/ 2578974 h 3641849"/>
                <a:gd name="connsiteX145" fmla="*/ 381687 w 1573156"/>
                <a:gd name="connsiteY145" fmla="*/ 2581561 h 3641849"/>
                <a:gd name="connsiteX146" fmla="*/ 414939 w 1573156"/>
                <a:gd name="connsiteY146" fmla="*/ 2563461 h 3641849"/>
                <a:gd name="connsiteX147" fmla="*/ 412168 w 1573156"/>
                <a:gd name="connsiteY147" fmla="*/ 2537603 h 3641849"/>
                <a:gd name="connsiteX148" fmla="*/ 362289 w 1573156"/>
                <a:gd name="connsiteY148" fmla="*/ 2501404 h 3641849"/>
                <a:gd name="connsiteX149" fmla="*/ 338946 w 1573156"/>
                <a:gd name="connsiteY149" fmla="*/ 2513491 h 3641849"/>
                <a:gd name="connsiteX150" fmla="*/ 340121 w 1573156"/>
                <a:gd name="connsiteY150" fmla="*/ 2467790 h 3641849"/>
                <a:gd name="connsiteX151" fmla="*/ 306869 w 1573156"/>
                <a:gd name="connsiteY151" fmla="*/ 2429005 h 3641849"/>
                <a:gd name="connsiteX152" fmla="*/ 309641 w 1573156"/>
                <a:gd name="connsiteY152" fmla="*/ 2351433 h 3641849"/>
                <a:gd name="connsiteX153" fmla="*/ 290243 w 1573156"/>
                <a:gd name="connsiteY153" fmla="*/ 2299720 h 3641849"/>
                <a:gd name="connsiteX154" fmla="*/ 256991 w 1573156"/>
                <a:gd name="connsiteY154" fmla="*/ 2266106 h 3641849"/>
                <a:gd name="connsiteX155" fmla="*/ 218196 w 1573156"/>
                <a:gd name="connsiteY155" fmla="*/ 2242835 h 3641849"/>
                <a:gd name="connsiteX156" fmla="*/ 176631 w 1573156"/>
                <a:gd name="connsiteY156" fmla="*/ 2250592 h 3641849"/>
                <a:gd name="connsiteX157" fmla="*/ 122255 w 1573156"/>
                <a:gd name="connsiteY157"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42164 w 1573156"/>
                <a:gd name="connsiteY136" fmla="*/ 2855835 h 3641849"/>
                <a:gd name="connsiteX137" fmla="*/ 557777 w 1573156"/>
                <a:gd name="connsiteY137" fmla="*/ 2715007 h 3641849"/>
                <a:gd name="connsiteX138" fmla="*/ 531809 w 1573156"/>
                <a:gd name="connsiteY138" fmla="*/ 2672771 h 3641849"/>
                <a:gd name="connsiteX139" fmla="*/ 414939 w 1573156"/>
                <a:gd name="connsiteY139" fmla="*/ 2682402 h 3641849"/>
                <a:gd name="connsiteX140" fmla="*/ 390000 w 1573156"/>
                <a:gd name="connsiteY140" fmla="*/ 2672059 h 3641849"/>
                <a:gd name="connsiteX141" fmla="*/ 367832 w 1573156"/>
                <a:gd name="connsiteY141" fmla="*/ 2684989 h 3641849"/>
                <a:gd name="connsiteX142" fmla="*/ 351205 w 1573156"/>
                <a:gd name="connsiteY142" fmla="*/ 2622932 h 3641849"/>
                <a:gd name="connsiteX143" fmla="*/ 340121 w 1573156"/>
                <a:gd name="connsiteY143" fmla="*/ 2597075 h 3641849"/>
                <a:gd name="connsiteX144" fmla="*/ 353976 w 1573156"/>
                <a:gd name="connsiteY144" fmla="*/ 2578974 h 3641849"/>
                <a:gd name="connsiteX145" fmla="*/ 381687 w 1573156"/>
                <a:gd name="connsiteY145" fmla="*/ 2581561 h 3641849"/>
                <a:gd name="connsiteX146" fmla="*/ 414939 w 1573156"/>
                <a:gd name="connsiteY146" fmla="*/ 2563461 h 3641849"/>
                <a:gd name="connsiteX147" fmla="*/ 412168 w 1573156"/>
                <a:gd name="connsiteY147" fmla="*/ 2537603 h 3641849"/>
                <a:gd name="connsiteX148" fmla="*/ 362289 w 1573156"/>
                <a:gd name="connsiteY148" fmla="*/ 2501404 h 3641849"/>
                <a:gd name="connsiteX149" fmla="*/ 338946 w 1573156"/>
                <a:gd name="connsiteY149" fmla="*/ 2513491 h 3641849"/>
                <a:gd name="connsiteX150" fmla="*/ 340121 w 1573156"/>
                <a:gd name="connsiteY150" fmla="*/ 2467790 h 3641849"/>
                <a:gd name="connsiteX151" fmla="*/ 306869 w 1573156"/>
                <a:gd name="connsiteY151" fmla="*/ 2429005 h 3641849"/>
                <a:gd name="connsiteX152" fmla="*/ 309641 w 1573156"/>
                <a:gd name="connsiteY152" fmla="*/ 2351433 h 3641849"/>
                <a:gd name="connsiteX153" fmla="*/ 290243 w 1573156"/>
                <a:gd name="connsiteY153" fmla="*/ 2299720 h 3641849"/>
                <a:gd name="connsiteX154" fmla="*/ 256991 w 1573156"/>
                <a:gd name="connsiteY154" fmla="*/ 2266106 h 3641849"/>
                <a:gd name="connsiteX155" fmla="*/ 218196 w 1573156"/>
                <a:gd name="connsiteY155" fmla="*/ 2242835 h 3641849"/>
                <a:gd name="connsiteX156" fmla="*/ 176631 w 1573156"/>
                <a:gd name="connsiteY156" fmla="*/ 2250592 h 3641849"/>
                <a:gd name="connsiteX157" fmla="*/ 122255 w 1573156"/>
                <a:gd name="connsiteY157"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42164 w 1573156"/>
                <a:gd name="connsiteY136" fmla="*/ 2855835 h 3641849"/>
                <a:gd name="connsiteX137" fmla="*/ 611682 w 1573156"/>
                <a:gd name="connsiteY137" fmla="*/ 2741873 h 3641849"/>
                <a:gd name="connsiteX138" fmla="*/ 557777 w 1573156"/>
                <a:gd name="connsiteY138" fmla="*/ 2715007 h 3641849"/>
                <a:gd name="connsiteX139" fmla="*/ 531809 w 1573156"/>
                <a:gd name="connsiteY139" fmla="*/ 2672771 h 3641849"/>
                <a:gd name="connsiteX140" fmla="*/ 414939 w 1573156"/>
                <a:gd name="connsiteY140" fmla="*/ 2682402 h 3641849"/>
                <a:gd name="connsiteX141" fmla="*/ 390000 w 1573156"/>
                <a:gd name="connsiteY141" fmla="*/ 2672059 h 3641849"/>
                <a:gd name="connsiteX142" fmla="*/ 367832 w 1573156"/>
                <a:gd name="connsiteY142" fmla="*/ 2684989 h 3641849"/>
                <a:gd name="connsiteX143" fmla="*/ 351205 w 1573156"/>
                <a:gd name="connsiteY143" fmla="*/ 2622932 h 3641849"/>
                <a:gd name="connsiteX144" fmla="*/ 340121 w 1573156"/>
                <a:gd name="connsiteY144" fmla="*/ 2597075 h 3641849"/>
                <a:gd name="connsiteX145" fmla="*/ 353976 w 1573156"/>
                <a:gd name="connsiteY145" fmla="*/ 2578974 h 3641849"/>
                <a:gd name="connsiteX146" fmla="*/ 381687 w 1573156"/>
                <a:gd name="connsiteY146" fmla="*/ 2581561 h 3641849"/>
                <a:gd name="connsiteX147" fmla="*/ 414939 w 1573156"/>
                <a:gd name="connsiteY147" fmla="*/ 2563461 h 3641849"/>
                <a:gd name="connsiteX148" fmla="*/ 412168 w 1573156"/>
                <a:gd name="connsiteY148" fmla="*/ 2537603 h 3641849"/>
                <a:gd name="connsiteX149" fmla="*/ 362289 w 1573156"/>
                <a:gd name="connsiteY149" fmla="*/ 2501404 h 3641849"/>
                <a:gd name="connsiteX150" fmla="*/ 338946 w 1573156"/>
                <a:gd name="connsiteY150" fmla="*/ 2513491 h 3641849"/>
                <a:gd name="connsiteX151" fmla="*/ 340121 w 1573156"/>
                <a:gd name="connsiteY151" fmla="*/ 2467790 h 3641849"/>
                <a:gd name="connsiteX152" fmla="*/ 306869 w 1573156"/>
                <a:gd name="connsiteY152" fmla="*/ 2429005 h 3641849"/>
                <a:gd name="connsiteX153" fmla="*/ 309641 w 1573156"/>
                <a:gd name="connsiteY153" fmla="*/ 2351433 h 3641849"/>
                <a:gd name="connsiteX154" fmla="*/ 290243 w 1573156"/>
                <a:gd name="connsiteY154" fmla="*/ 2299720 h 3641849"/>
                <a:gd name="connsiteX155" fmla="*/ 256991 w 1573156"/>
                <a:gd name="connsiteY155" fmla="*/ 2266106 h 3641849"/>
                <a:gd name="connsiteX156" fmla="*/ 218196 w 1573156"/>
                <a:gd name="connsiteY156" fmla="*/ 2242835 h 3641849"/>
                <a:gd name="connsiteX157" fmla="*/ 176631 w 1573156"/>
                <a:gd name="connsiteY157" fmla="*/ 2250592 h 3641849"/>
                <a:gd name="connsiteX158" fmla="*/ 122255 w 1573156"/>
                <a:gd name="connsiteY158"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42164 w 1573156"/>
                <a:gd name="connsiteY136" fmla="*/ 2855835 h 3641849"/>
                <a:gd name="connsiteX137" fmla="*/ 611682 w 1573156"/>
                <a:gd name="connsiteY137" fmla="*/ 2741873 h 3641849"/>
                <a:gd name="connsiteX138" fmla="*/ 557777 w 1573156"/>
                <a:gd name="connsiteY138" fmla="*/ 2715007 h 3641849"/>
                <a:gd name="connsiteX139" fmla="*/ 531809 w 1573156"/>
                <a:gd name="connsiteY139" fmla="*/ 2672771 h 3641849"/>
                <a:gd name="connsiteX140" fmla="*/ 414939 w 1573156"/>
                <a:gd name="connsiteY140" fmla="*/ 2682402 h 3641849"/>
                <a:gd name="connsiteX141" fmla="*/ 390000 w 1573156"/>
                <a:gd name="connsiteY141" fmla="*/ 2672059 h 3641849"/>
                <a:gd name="connsiteX142" fmla="*/ 367832 w 1573156"/>
                <a:gd name="connsiteY142" fmla="*/ 2684989 h 3641849"/>
                <a:gd name="connsiteX143" fmla="*/ 351205 w 1573156"/>
                <a:gd name="connsiteY143" fmla="*/ 2622932 h 3641849"/>
                <a:gd name="connsiteX144" fmla="*/ 340121 w 1573156"/>
                <a:gd name="connsiteY144" fmla="*/ 2597075 h 3641849"/>
                <a:gd name="connsiteX145" fmla="*/ 353976 w 1573156"/>
                <a:gd name="connsiteY145" fmla="*/ 2578974 h 3641849"/>
                <a:gd name="connsiteX146" fmla="*/ 381687 w 1573156"/>
                <a:gd name="connsiteY146" fmla="*/ 2581561 h 3641849"/>
                <a:gd name="connsiteX147" fmla="*/ 414939 w 1573156"/>
                <a:gd name="connsiteY147" fmla="*/ 2563461 h 3641849"/>
                <a:gd name="connsiteX148" fmla="*/ 412168 w 1573156"/>
                <a:gd name="connsiteY148" fmla="*/ 2537603 h 3641849"/>
                <a:gd name="connsiteX149" fmla="*/ 362289 w 1573156"/>
                <a:gd name="connsiteY149" fmla="*/ 2501404 h 3641849"/>
                <a:gd name="connsiteX150" fmla="*/ 338946 w 1573156"/>
                <a:gd name="connsiteY150" fmla="*/ 2513491 h 3641849"/>
                <a:gd name="connsiteX151" fmla="*/ 340121 w 1573156"/>
                <a:gd name="connsiteY151" fmla="*/ 2467790 h 3641849"/>
                <a:gd name="connsiteX152" fmla="*/ 306869 w 1573156"/>
                <a:gd name="connsiteY152" fmla="*/ 2429005 h 3641849"/>
                <a:gd name="connsiteX153" fmla="*/ 309641 w 1573156"/>
                <a:gd name="connsiteY153" fmla="*/ 2351433 h 3641849"/>
                <a:gd name="connsiteX154" fmla="*/ 290243 w 1573156"/>
                <a:gd name="connsiteY154" fmla="*/ 2299720 h 3641849"/>
                <a:gd name="connsiteX155" fmla="*/ 256991 w 1573156"/>
                <a:gd name="connsiteY155" fmla="*/ 2266106 h 3641849"/>
                <a:gd name="connsiteX156" fmla="*/ 218196 w 1573156"/>
                <a:gd name="connsiteY156" fmla="*/ 2242835 h 3641849"/>
                <a:gd name="connsiteX157" fmla="*/ 176631 w 1573156"/>
                <a:gd name="connsiteY157" fmla="*/ 2250592 h 3641849"/>
                <a:gd name="connsiteX158" fmla="*/ 122255 w 1573156"/>
                <a:gd name="connsiteY158"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42164 w 1573156"/>
                <a:gd name="connsiteY136" fmla="*/ 2855835 h 3641849"/>
                <a:gd name="connsiteX137" fmla="*/ 631080 w 1573156"/>
                <a:gd name="connsiteY137" fmla="*/ 2765145 h 3641849"/>
                <a:gd name="connsiteX138" fmla="*/ 557777 w 1573156"/>
                <a:gd name="connsiteY138" fmla="*/ 2715007 h 3641849"/>
                <a:gd name="connsiteX139" fmla="*/ 531809 w 1573156"/>
                <a:gd name="connsiteY139" fmla="*/ 2672771 h 3641849"/>
                <a:gd name="connsiteX140" fmla="*/ 414939 w 1573156"/>
                <a:gd name="connsiteY140" fmla="*/ 2682402 h 3641849"/>
                <a:gd name="connsiteX141" fmla="*/ 390000 w 1573156"/>
                <a:gd name="connsiteY141" fmla="*/ 2672059 h 3641849"/>
                <a:gd name="connsiteX142" fmla="*/ 367832 w 1573156"/>
                <a:gd name="connsiteY142" fmla="*/ 2684989 h 3641849"/>
                <a:gd name="connsiteX143" fmla="*/ 351205 w 1573156"/>
                <a:gd name="connsiteY143" fmla="*/ 2622932 h 3641849"/>
                <a:gd name="connsiteX144" fmla="*/ 340121 w 1573156"/>
                <a:gd name="connsiteY144" fmla="*/ 2597075 h 3641849"/>
                <a:gd name="connsiteX145" fmla="*/ 353976 w 1573156"/>
                <a:gd name="connsiteY145" fmla="*/ 2578974 h 3641849"/>
                <a:gd name="connsiteX146" fmla="*/ 381687 w 1573156"/>
                <a:gd name="connsiteY146" fmla="*/ 2581561 h 3641849"/>
                <a:gd name="connsiteX147" fmla="*/ 414939 w 1573156"/>
                <a:gd name="connsiteY147" fmla="*/ 2563461 h 3641849"/>
                <a:gd name="connsiteX148" fmla="*/ 412168 w 1573156"/>
                <a:gd name="connsiteY148" fmla="*/ 2537603 h 3641849"/>
                <a:gd name="connsiteX149" fmla="*/ 362289 w 1573156"/>
                <a:gd name="connsiteY149" fmla="*/ 2501404 h 3641849"/>
                <a:gd name="connsiteX150" fmla="*/ 338946 w 1573156"/>
                <a:gd name="connsiteY150" fmla="*/ 2513491 h 3641849"/>
                <a:gd name="connsiteX151" fmla="*/ 340121 w 1573156"/>
                <a:gd name="connsiteY151" fmla="*/ 2467790 h 3641849"/>
                <a:gd name="connsiteX152" fmla="*/ 306869 w 1573156"/>
                <a:gd name="connsiteY152" fmla="*/ 2429005 h 3641849"/>
                <a:gd name="connsiteX153" fmla="*/ 309641 w 1573156"/>
                <a:gd name="connsiteY153" fmla="*/ 2351433 h 3641849"/>
                <a:gd name="connsiteX154" fmla="*/ 290243 w 1573156"/>
                <a:gd name="connsiteY154" fmla="*/ 2299720 h 3641849"/>
                <a:gd name="connsiteX155" fmla="*/ 256991 w 1573156"/>
                <a:gd name="connsiteY155" fmla="*/ 2266106 h 3641849"/>
                <a:gd name="connsiteX156" fmla="*/ 218196 w 1573156"/>
                <a:gd name="connsiteY156" fmla="*/ 2242835 h 3641849"/>
                <a:gd name="connsiteX157" fmla="*/ 176631 w 1573156"/>
                <a:gd name="connsiteY157" fmla="*/ 2250592 h 3641849"/>
                <a:gd name="connsiteX158" fmla="*/ 122255 w 1573156"/>
                <a:gd name="connsiteY158"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42164 w 1573156"/>
                <a:gd name="connsiteY136" fmla="*/ 2855835 h 3641849"/>
                <a:gd name="connsiteX137" fmla="*/ 631080 w 1573156"/>
                <a:gd name="connsiteY137" fmla="*/ 2765145 h 3641849"/>
                <a:gd name="connsiteX138" fmla="*/ 586743 w 1573156"/>
                <a:gd name="connsiteY138" fmla="*/ 2721188 h 3641849"/>
                <a:gd name="connsiteX139" fmla="*/ 557777 w 1573156"/>
                <a:gd name="connsiteY139" fmla="*/ 2715007 h 3641849"/>
                <a:gd name="connsiteX140" fmla="*/ 531809 w 1573156"/>
                <a:gd name="connsiteY140" fmla="*/ 2672771 h 3641849"/>
                <a:gd name="connsiteX141" fmla="*/ 414939 w 1573156"/>
                <a:gd name="connsiteY141" fmla="*/ 2682402 h 3641849"/>
                <a:gd name="connsiteX142" fmla="*/ 390000 w 1573156"/>
                <a:gd name="connsiteY142" fmla="*/ 2672059 h 3641849"/>
                <a:gd name="connsiteX143" fmla="*/ 367832 w 1573156"/>
                <a:gd name="connsiteY143" fmla="*/ 2684989 h 3641849"/>
                <a:gd name="connsiteX144" fmla="*/ 351205 w 1573156"/>
                <a:gd name="connsiteY144" fmla="*/ 2622932 h 3641849"/>
                <a:gd name="connsiteX145" fmla="*/ 340121 w 1573156"/>
                <a:gd name="connsiteY145" fmla="*/ 2597075 h 3641849"/>
                <a:gd name="connsiteX146" fmla="*/ 353976 w 1573156"/>
                <a:gd name="connsiteY146" fmla="*/ 2578974 h 3641849"/>
                <a:gd name="connsiteX147" fmla="*/ 381687 w 1573156"/>
                <a:gd name="connsiteY147" fmla="*/ 2581561 h 3641849"/>
                <a:gd name="connsiteX148" fmla="*/ 414939 w 1573156"/>
                <a:gd name="connsiteY148" fmla="*/ 2563461 h 3641849"/>
                <a:gd name="connsiteX149" fmla="*/ 412168 w 1573156"/>
                <a:gd name="connsiteY149" fmla="*/ 2537603 h 3641849"/>
                <a:gd name="connsiteX150" fmla="*/ 362289 w 1573156"/>
                <a:gd name="connsiteY150" fmla="*/ 2501404 h 3641849"/>
                <a:gd name="connsiteX151" fmla="*/ 338946 w 1573156"/>
                <a:gd name="connsiteY151" fmla="*/ 2513491 h 3641849"/>
                <a:gd name="connsiteX152" fmla="*/ 340121 w 1573156"/>
                <a:gd name="connsiteY152" fmla="*/ 2467790 h 3641849"/>
                <a:gd name="connsiteX153" fmla="*/ 306869 w 1573156"/>
                <a:gd name="connsiteY153" fmla="*/ 2429005 h 3641849"/>
                <a:gd name="connsiteX154" fmla="*/ 309641 w 1573156"/>
                <a:gd name="connsiteY154" fmla="*/ 2351433 h 3641849"/>
                <a:gd name="connsiteX155" fmla="*/ 290243 w 1573156"/>
                <a:gd name="connsiteY155" fmla="*/ 2299720 h 3641849"/>
                <a:gd name="connsiteX156" fmla="*/ 256991 w 1573156"/>
                <a:gd name="connsiteY156" fmla="*/ 2266106 h 3641849"/>
                <a:gd name="connsiteX157" fmla="*/ 218196 w 1573156"/>
                <a:gd name="connsiteY157" fmla="*/ 2242835 h 3641849"/>
                <a:gd name="connsiteX158" fmla="*/ 176631 w 1573156"/>
                <a:gd name="connsiteY158" fmla="*/ 2250592 h 3641849"/>
                <a:gd name="connsiteX159" fmla="*/ 122255 w 1573156"/>
                <a:gd name="connsiteY159"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42164 w 1573156"/>
                <a:gd name="connsiteY136" fmla="*/ 2855835 h 3641849"/>
                <a:gd name="connsiteX137" fmla="*/ 631080 w 1573156"/>
                <a:gd name="connsiteY137" fmla="*/ 2765145 h 3641849"/>
                <a:gd name="connsiteX138" fmla="*/ 567346 w 1573156"/>
                <a:gd name="connsiteY138" fmla="*/ 2759974 h 3641849"/>
                <a:gd name="connsiteX139" fmla="*/ 586743 w 1573156"/>
                <a:gd name="connsiteY139" fmla="*/ 2721188 h 3641849"/>
                <a:gd name="connsiteX140" fmla="*/ 557777 w 1573156"/>
                <a:gd name="connsiteY140" fmla="*/ 2715007 h 3641849"/>
                <a:gd name="connsiteX141" fmla="*/ 531809 w 1573156"/>
                <a:gd name="connsiteY141" fmla="*/ 2672771 h 3641849"/>
                <a:gd name="connsiteX142" fmla="*/ 414939 w 1573156"/>
                <a:gd name="connsiteY142" fmla="*/ 2682402 h 3641849"/>
                <a:gd name="connsiteX143" fmla="*/ 390000 w 1573156"/>
                <a:gd name="connsiteY143" fmla="*/ 2672059 h 3641849"/>
                <a:gd name="connsiteX144" fmla="*/ 367832 w 1573156"/>
                <a:gd name="connsiteY144" fmla="*/ 2684989 h 3641849"/>
                <a:gd name="connsiteX145" fmla="*/ 351205 w 1573156"/>
                <a:gd name="connsiteY145" fmla="*/ 2622932 h 3641849"/>
                <a:gd name="connsiteX146" fmla="*/ 340121 w 1573156"/>
                <a:gd name="connsiteY146" fmla="*/ 2597075 h 3641849"/>
                <a:gd name="connsiteX147" fmla="*/ 353976 w 1573156"/>
                <a:gd name="connsiteY147" fmla="*/ 2578974 h 3641849"/>
                <a:gd name="connsiteX148" fmla="*/ 381687 w 1573156"/>
                <a:gd name="connsiteY148" fmla="*/ 2581561 h 3641849"/>
                <a:gd name="connsiteX149" fmla="*/ 414939 w 1573156"/>
                <a:gd name="connsiteY149" fmla="*/ 2563461 h 3641849"/>
                <a:gd name="connsiteX150" fmla="*/ 412168 w 1573156"/>
                <a:gd name="connsiteY150" fmla="*/ 2537603 h 3641849"/>
                <a:gd name="connsiteX151" fmla="*/ 362289 w 1573156"/>
                <a:gd name="connsiteY151" fmla="*/ 2501404 h 3641849"/>
                <a:gd name="connsiteX152" fmla="*/ 338946 w 1573156"/>
                <a:gd name="connsiteY152" fmla="*/ 2513491 h 3641849"/>
                <a:gd name="connsiteX153" fmla="*/ 340121 w 1573156"/>
                <a:gd name="connsiteY153" fmla="*/ 2467790 h 3641849"/>
                <a:gd name="connsiteX154" fmla="*/ 306869 w 1573156"/>
                <a:gd name="connsiteY154" fmla="*/ 2429005 h 3641849"/>
                <a:gd name="connsiteX155" fmla="*/ 309641 w 1573156"/>
                <a:gd name="connsiteY155" fmla="*/ 2351433 h 3641849"/>
                <a:gd name="connsiteX156" fmla="*/ 290243 w 1573156"/>
                <a:gd name="connsiteY156" fmla="*/ 2299720 h 3641849"/>
                <a:gd name="connsiteX157" fmla="*/ 256991 w 1573156"/>
                <a:gd name="connsiteY157" fmla="*/ 2266106 h 3641849"/>
                <a:gd name="connsiteX158" fmla="*/ 218196 w 1573156"/>
                <a:gd name="connsiteY158" fmla="*/ 2242835 h 3641849"/>
                <a:gd name="connsiteX159" fmla="*/ 176631 w 1573156"/>
                <a:gd name="connsiteY159" fmla="*/ 2250592 h 3641849"/>
                <a:gd name="connsiteX160" fmla="*/ 122255 w 1573156"/>
                <a:gd name="connsiteY160"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42164 w 1573156"/>
                <a:gd name="connsiteY136" fmla="*/ 2855835 h 3641849"/>
                <a:gd name="connsiteX137" fmla="*/ 631080 w 1573156"/>
                <a:gd name="connsiteY137" fmla="*/ 2772902 h 3641849"/>
                <a:gd name="connsiteX138" fmla="*/ 567346 w 1573156"/>
                <a:gd name="connsiteY138" fmla="*/ 2759974 h 3641849"/>
                <a:gd name="connsiteX139" fmla="*/ 586743 w 1573156"/>
                <a:gd name="connsiteY139" fmla="*/ 2721188 h 3641849"/>
                <a:gd name="connsiteX140" fmla="*/ 557777 w 1573156"/>
                <a:gd name="connsiteY140" fmla="*/ 2715007 h 3641849"/>
                <a:gd name="connsiteX141" fmla="*/ 531809 w 1573156"/>
                <a:gd name="connsiteY141" fmla="*/ 2672771 h 3641849"/>
                <a:gd name="connsiteX142" fmla="*/ 414939 w 1573156"/>
                <a:gd name="connsiteY142" fmla="*/ 2682402 h 3641849"/>
                <a:gd name="connsiteX143" fmla="*/ 390000 w 1573156"/>
                <a:gd name="connsiteY143" fmla="*/ 2672059 h 3641849"/>
                <a:gd name="connsiteX144" fmla="*/ 367832 w 1573156"/>
                <a:gd name="connsiteY144" fmla="*/ 2684989 h 3641849"/>
                <a:gd name="connsiteX145" fmla="*/ 351205 w 1573156"/>
                <a:gd name="connsiteY145" fmla="*/ 2622932 h 3641849"/>
                <a:gd name="connsiteX146" fmla="*/ 340121 w 1573156"/>
                <a:gd name="connsiteY146" fmla="*/ 2597075 h 3641849"/>
                <a:gd name="connsiteX147" fmla="*/ 353976 w 1573156"/>
                <a:gd name="connsiteY147" fmla="*/ 2578974 h 3641849"/>
                <a:gd name="connsiteX148" fmla="*/ 381687 w 1573156"/>
                <a:gd name="connsiteY148" fmla="*/ 2581561 h 3641849"/>
                <a:gd name="connsiteX149" fmla="*/ 414939 w 1573156"/>
                <a:gd name="connsiteY149" fmla="*/ 2563461 h 3641849"/>
                <a:gd name="connsiteX150" fmla="*/ 412168 w 1573156"/>
                <a:gd name="connsiteY150" fmla="*/ 2537603 h 3641849"/>
                <a:gd name="connsiteX151" fmla="*/ 362289 w 1573156"/>
                <a:gd name="connsiteY151" fmla="*/ 2501404 h 3641849"/>
                <a:gd name="connsiteX152" fmla="*/ 338946 w 1573156"/>
                <a:gd name="connsiteY152" fmla="*/ 2513491 h 3641849"/>
                <a:gd name="connsiteX153" fmla="*/ 340121 w 1573156"/>
                <a:gd name="connsiteY153" fmla="*/ 2467790 h 3641849"/>
                <a:gd name="connsiteX154" fmla="*/ 306869 w 1573156"/>
                <a:gd name="connsiteY154" fmla="*/ 2429005 h 3641849"/>
                <a:gd name="connsiteX155" fmla="*/ 309641 w 1573156"/>
                <a:gd name="connsiteY155" fmla="*/ 2351433 h 3641849"/>
                <a:gd name="connsiteX156" fmla="*/ 290243 w 1573156"/>
                <a:gd name="connsiteY156" fmla="*/ 2299720 h 3641849"/>
                <a:gd name="connsiteX157" fmla="*/ 256991 w 1573156"/>
                <a:gd name="connsiteY157" fmla="*/ 2266106 h 3641849"/>
                <a:gd name="connsiteX158" fmla="*/ 218196 w 1573156"/>
                <a:gd name="connsiteY158" fmla="*/ 2242835 h 3641849"/>
                <a:gd name="connsiteX159" fmla="*/ 176631 w 1573156"/>
                <a:gd name="connsiteY159" fmla="*/ 2250592 h 3641849"/>
                <a:gd name="connsiteX160" fmla="*/ 122255 w 1573156"/>
                <a:gd name="connsiteY160"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42164 w 1573156"/>
                <a:gd name="connsiteY136" fmla="*/ 2855835 h 3641849"/>
                <a:gd name="connsiteX137" fmla="*/ 700355 w 1573156"/>
                <a:gd name="connsiteY137" fmla="*/ 2891844 h 3641849"/>
                <a:gd name="connsiteX138" fmla="*/ 631080 w 1573156"/>
                <a:gd name="connsiteY138" fmla="*/ 2772902 h 3641849"/>
                <a:gd name="connsiteX139" fmla="*/ 567346 w 1573156"/>
                <a:gd name="connsiteY139" fmla="*/ 2759974 h 3641849"/>
                <a:gd name="connsiteX140" fmla="*/ 586743 w 1573156"/>
                <a:gd name="connsiteY140" fmla="*/ 2721188 h 3641849"/>
                <a:gd name="connsiteX141" fmla="*/ 557777 w 1573156"/>
                <a:gd name="connsiteY141" fmla="*/ 2715007 h 3641849"/>
                <a:gd name="connsiteX142" fmla="*/ 531809 w 1573156"/>
                <a:gd name="connsiteY142" fmla="*/ 2672771 h 3641849"/>
                <a:gd name="connsiteX143" fmla="*/ 414939 w 1573156"/>
                <a:gd name="connsiteY143" fmla="*/ 2682402 h 3641849"/>
                <a:gd name="connsiteX144" fmla="*/ 390000 w 1573156"/>
                <a:gd name="connsiteY144" fmla="*/ 2672059 h 3641849"/>
                <a:gd name="connsiteX145" fmla="*/ 367832 w 1573156"/>
                <a:gd name="connsiteY145" fmla="*/ 2684989 h 3641849"/>
                <a:gd name="connsiteX146" fmla="*/ 351205 w 1573156"/>
                <a:gd name="connsiteY146" fmla="*/ 2622932 h 3641849"/>
                <a:gd name="connsiteX147" fmla="*/ 340121 w 1573156"/>
                <a:gd name="connsiteY147" fmla="*/ 2597075 h 3641849"/>
                <a:gd name="connsiteX148" fmla="*/ 353976 w 1573156"/>
                <a:gd name="connsiteY148" fmla="*/ 2578974 h 3641849"/>
                <a:gd name="connsiteX149" fmla="*/ 381687 w 1573156"/>
                <a:gd name="connsiteY149" fmla="*/ 2581561 h 3641849"/>
                <a:gd name="connsiteX150" fmla="*/ 414939 w 1573156"/>
                <a:gd name="connsiteY150" fmla="*/ 2563461 h 3641849"/>
                <a:gd name="connsiteX151" fmla="*/ 412168 w 1573156"/>
                <a:gd name="connsiteY151" fmla="*/ 2537603 h 3641849"/>
                <a:gd name="connsiteX152" fmla="*/ 362289 w 1573156"/>
                <a:gd name="connsiteY152" fmla="*/ 2501404 h 3641849"/>
                <a:gd name="connsiteX153" fmla="*/ 338946 w 1573156"/>
                <a:gd name="connsiteY153" fmla="*/ 2513491 h 3641849"/>
                <a:gd name="connsiteX154" fmla="*/ 340121 w 1573156"/>
                <a:gd name="connsiteY154" fmla="*/ 2467790 h 3641849"/>
                <a:gd name="connsiteX155" fmla="*/ 306869 w 1573156"/>
                <a:gd name="connsiteY155" fmla="*/ 2429005 h 3641849"/>
                <a:gd name="connsiteX156" fmla="*/ 309641 w 1573156"/>
                <a:gd name="connsiteY156" fmla="*/ 2351433 h 3641849"/>
                <a:gd name="connsiteX157" fmla="*/ 290243 w 1573156"/>
                <a:gd name="connsiteY157" fmla="*/ 2299720 h 3641849"/>
                <a:gd name="connsiteX158" fmla="*/ 256991 w 1573156"/>
                <a:gd name="connsiteY158" fmla="*/ 2266106 h 3641849"/>
                <a:gd name="connsiteX159" fmla="*/ 218196 w 1573156"/>
                <a:gd name="connsiteY159" fmla="*/ 2242835 h 3641849"/>
                <a:gd name="connsiteX160" fmla="*/ 176631 w 1573156"/>
                <a:gd name="connsiteY160" fmla="*/ 2250592 h 3641849"/>
                <a:gd name="connsiteX161" fmla="*/ 122255 w 1573156"/>
                <a:gd name="connsiteY161"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42164 w 1573156"/>
                <a:gd name="connsiteY136" fmla="*/ 2855835 h 3641849"/>
                <a:gd name="connsiteX137" fmla="*/ 700355 w 1573156"/>
                <a:gd name="connsiteY137" fmla="*/ 2891844 h 3641849"/>
                <a:gd name="connsiteX138" fmla="*/ 656019 w 1573156"/>
                <a:gd name="connsiteY138" fmla="*/ 2785830 h 3641849"/>
                <a:gd name="connsiteX139" fmla="*/ 631080 w 1573156"/>
                <a:gd name="connsiteY139" fmla="*/ 2772902 h 3641849"/>
                <a:gd name="connsiteX140" fmla="*/ 567346 w 1573156"/>
                <a:gd name="connsiteY140" fmla="*/ 2759974 h 3641849"/>
                <a:gd name="connsiteX141" fmla="*/ 586743 w 1573156"/>
                <a:gd name="connsiteY141" fmla="*/ 2721188 h 3641849"/>
                <a:gd name="connsiteX142" fmla="*/ 557777 w 1573156"/>
                <a:gd name="connsiteY142" fmla="*/ 2715007 h 3641849"/>
                <a:gd name="connsiteX143" fmla="*/ 531809 w 1573156"/>
                <a:gd name="connsiteY143" fmla="*/ 2672771 h 3641849"/>
                <a:gd name="connsiteX144" fmla="*/ 414939 w 1573156"/>
                <a:gd name="connsiteY144" fmla="*/ 2682402 h 3641849"/>
                <a:gd name="connsiteX145" fmla="*/ 390000 w 1573156"/>
                <a:gd name="connsiteY145" fmla="*/ 2672059 h 3641849"/>
                <a:gd name="connsiteX146" fmla="*/ 367832 w 1573156"/>
                <a:gd name="connsiteY146" fmla="*/ 2684989 h 3641849"/>
                <a:gd name="connsiteX147" fmla="*/ 351205 w 1573156"/>
                <a:gd name="connsiteY147" fmla="*/ 2622932 h 3641849"/>
                <a:gd name="connsiteX148" fmla="*/ 340121 w 1573156"/>
                <a:gd name="connsiteY148" fmla="*/ 2597075 h 3641849"/>
                <a:gd name="connsiteX149" fmla="*/ 353976 w 1573156"/>
                <a:gd name="connsiteY149" fmla="*/ 2578974 h 3641849"/>
                <a:gd name="connsiteX150" fmla="*/ 381687 w 1573156"/>
                <a:gd name="connsiteY150" fmla="*/ 2581561 h 3641849"/>
                <a:gd name="connsiteX151" fmla="*/ 414939 w 1573156"/>
                <a:gd name="connsiteY151" fmla="*/ 2563461 h 3641849"/>
                <a:gd name="connsiteX152" fmla="*/ 412168 w 1573156"/>
                <a:gd name="connsiteY152" fmla="*/ 2537603 h 3641849"/>
                <a:gd name="connsiteX153" fmla="*/ 362289 w 1573156"/>
                <a:gd name="connsiteY153" fmla="*/ 2501404 h 3641849"/>
                <a:gd name="connsiteX154" fmla="*/ 338946 w 1573156"/>
                <a:gd name="connsiteY154" fmla="*/ 2513491 h 3641849"/>
                <a:gd name="connsiteX155" fmla="*/ 340121 w 1573156"/>
                <a:gd name="connsiteY155" fmla="*/ 2467790 h 3641849"/>
                <a:gd name="connsiteX156" fmla="*/ 306869 w 1573156"/>
                <a:gd name="connsiteY156" fmla="*/ 2429005 h 3641849"/>
                <a:gd name="connsiteX157" fmla="*/ 309641 w 1573156"/>
                <a:gd name="connsiteY157" fmla="*/ 2351433 h 3641849"/>
                <a:gd name="connsiteX158" fmla="*/ 290243 w 1573156"/>
                <a:gd name="connsiteY158" fmla="*/ 2299720 h 3641849"/>
                <a:gd name="connsiteX159" fmla="*/ 256991 w 1573156"/>
                <a:gd name="connsiteY159" fmla="*/ 2266106 h 3641849"/>
                <a:gd name="connsiteX160" fmla="*/ 218196 w 1573156"/>
                <a:gd name="connsiteY160" fmla="*/ 2242835 h 3641849"/>
                <a:gd name="connsiteX161" fmla="*/ 176631 w 1573156"/>
                <a:gd name="connsiteY161" fmla="*/ 2250592 h 3641849"/>
                <a:gd name="connsiteX162" fmla="*/ 122255 w 1573156"/>
                <a:gd name="connsiteY162"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42164 w 1573156"/>
                <a:gd name="connsiteY136" fmla="*/ 2855835 h 3641849"/>
                <a:gd name="connsiteX137" fmla="*/ 700355 w 1573156"/>
                <a:gd name="connsiteY137" fmla="*/ 2891844 h 3641849"/>
                <a:gd name="connsiteX138" fmla="*/ 658790 w 1573156"/>
                <a:gd name="connsiteY138" fmla="*/ 2827201 h 3641849"/>
                <a:gd name="connsiteX139" fmla="*/ 656019 w 1573156"/>
                <a:gd name="connsiteY139" fmla="*/ 2785830 h 3641849"/>
                <a:gd name="connsiteX140" fmla="*/ 631080 w 1573156"/>
                <a:gd name="connsiteY140" fmla="*/ 2772902 h 3641849"/>
                <a:gd name="connsiteX141" fmla="*/ 567346 w 1573156"/>
                <a:gd name="connsiteY141" fmla="*/ 2759974 h 3641849"/>
                <a:gd name="connsiteX142" fmla="*/ 586743 w 1573156"/>
                <a:gd name="connsiteY142" fmla="*/ 2721188 h 3641849"/>
                <a:gd name="connsiteX143" fmla="*/ 557777 w 1573156"/>
                <a:gd name="connsiteY143" fmla="*/ 2715007 h 3641849"/>
                <a:gd name="connsiteX144" fmla="*/ 531809 w 1573156"/>
                <a:gd name="connsiteY144" fmla="*/ 2672771 h 3641849"/>
                <a:gd name="connsiteX145" fmla="*/ 414939 w 1573156"/>
                <a:gd name="connsiteY145" fmla="*/ 2682402 h 3641849"/>
                <a:gd name="connsiteX146" fmla="*/ 390000 w 1573156"/>
                <a:gd name="connsiteY146" fmla="*/ 2672059 h 3641849"/>
                <a:gd name="connsiteX147" fmla="*/ 367832 w 1573156"/>
                <a:gd name="connsiteY147" fmla="*/ 2684989 h 3641849"/>
                <a:gd name="connsiteX148" fmla="*/ 351205 w 1573156"/>
                <a:gd name="connsiteY148" fmla="*/ 2622932 h 3641849"/>
                <a:gd name="connsiteX149" fmla="*/ 340121 w 1573156"/>
                <a:gd name="connsiteY149" fmla="*/ 2597075 h 3641849"/>
                <a:gd name="connsiteX150" fmla="*/ 353976 w 1573156"/>
                <a:gd name="connsiteY150" fmla="*/ 2578974 h 3641849"/>
                <a:gd name="connsiteX151" fmla="*/ 381687 w 1573156"/>
                <a:gd name="connsiteY151" fmla="*/ 2581561 h 3641849"/>
                <a:gd name="connsiteX152" fmla="*/ 414939 w 1573156"/>
                <a:gd name="connsiteY152" fmla="*/ 2563461 h 3641849"/>
                <a:gd name="connsiteX153" fmla="*/ 412168 w 1573156"/>
                <a:gd name="connsiteY153" fmla="*/ 2537603 h 3641849"/>
                <a:gd name="connsiteX154" fmla="*/ 362289 w 1573156"/>
                <a:gd name="connsiteY154" fmla="*/ 2501404 h 3641849"/>
                <a:gd name="connsiteX155" fmla="*/ 338946 w 1573156"/>
                <a:gd name="connsiteY155" fmla="*/ 2513491 h 3641849"/>
                <a:gd name="connsiteX156" fmla="*/ 340121 w 1573156"/>
                <a:gd name="connsiteY156" fmla="*/ 2467790 h 3641849"/>
                <a:gd name="connsiteX157" fmla="*/ 306869 w 1573156"/>
                <a:gd name="connsiteY157" fmla="*/ 2429005 h 3641849"/>
                <a:gd name="connsiteX158" fmla="*/ 309641 w 1573156"/>
                <a:gd name="connsiteY158" fmla="*/ 2351433 h 3641849"/>
                <a:gd name="connsiteX159" fmla="*/ 290243 w 1573156"/>
                <a:gd name="connsiteY159" fmla="*/ 2299720 h 3641849"/>
                <a:gd name="connsiteX160" fmla="*/ 256991 w 1573156"/>
                <a:gd name="connsiteY160" fmla="*/ 2266106 h 3641849"/>
                <a:gd name="connsiteX161" fmla="*/ 218196 w 1573156"/>
                <a:gd name="connsiteY161" fmla="*/ 2242835 h 3641849"/>
                <a:gd name="connsiteX162" fmla="*/ 176631 w 1573156"/>
                <a:gd name="connsiteY162" fmla="*/ 2250592 h 3641849"/>
                <a:gd name="connsiteX163" fmla="*/ 122255 w 1573156"/>
                <a:gd name="connsiteY163"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42164 w 1573156"/>
                <a:gd name="connsiteY136" fmla="*/ 2855835 h 3641849"/>
                <a:gd name="connsiteX137" fmla="*/ 825051 w 1573156"/>
                <a:gd name="connsiteY137" fmla="*/ 2871159 h 3641849"/>
                <a:gd name="connsiteX138" fmla="*/ 700355 w 1573156"/>
                <a:gd name="connsiteY138" fmla="*/ 2891844 h 3641849"/>
                <a:gd name="connsiteX139" fmla="*/ 658790 w 1573156"/>
                <a:gd name="connsiteY139" fmla="*/ 2827201 h 3641849"/>
                <a:gd name="connsiteX140" fmla="*/ 656019 w 1573156"/>
                <a:gd name="connsiteY140" fmla="*/ 2785830 h 3641849"/>
                <a:gd name="connsiteX141" fmla="*/ 631080 w 1573156"/>
                <a:gd name="connsiteY141" fmla="*/ 2772902 h 3641849"/>
                <a:gd name="connsiteX142" fmla="*/ 567346 w 1573156"/>
                <a:gd name="connsiteY142" fmla="*/ 2759974 h 3641849"/>
                <a:gd name="connsiteX143" fmla="*/ 586743 w 1573156"/>
                <a:gd name="connsiteY143" fmla="*/ 2721188 h 3641849"/>
                <a:gd name="connsiteX144" fmla="*/ 557777 w 1573156"/>
                <a:gd name="connsiteY144" fmla="*/ 2715007 h 3641849"/>
                <a:gd name="connsiteX145" fmla="*/ 531809 w 1573156"/>
                <a:gd name="connsiteY145" fmla="*/ 2672771 h 3641849"/>
                <a:gd name="connsiteX146" fmla="*/ 414939 w 1573156"/>
                <a:gd name="connsiteY146" fmla="*/ 2682402 h 3641849"/>
                <a:gd name="connsiteX147" fmla="*/ 390000 w 1573156"/>
                <a:gd name="connsiteY147" fmla="*/ 2672059 h 3641849"/>
                <a:gd name="connsiteX148" fmla="*/ 367832 w 1573156"/>
                <a:gd name="connsiteY148" fmla="*/ 2684989 h 3641849"/>
                <a:gd name="connsiteX149" fmla="*/ 351205 w 1573156"/>
                <a:gd name="connsiteY149" fmla="*/ 2622932 h 3641849"/>
                <a:gd name="connsiteX150" fmla="*/ 340121 w 1573156"/>
                <a:gd name="connsiteY150" fmla="*/ 2597075 h 3641849"/>
                <a:gd name="connsiteX151" fmla="*/ 353976 w 1573156"/>
                <a:gd name="connsiteY151" fmla="*/ 2578974 h 3641849"/>
                <a:gd name="connsiteX152" fmla="*/ 381687 w 1573156"/>
                <a:gd name="connsiteY152" fmla="*/ 2581561 h 3641849"/>
                <a:gd name="connsiteX153" fmla="*/ 414939 w 1573156"/>
                <a:gd name="connsiteY153" fmla="*/ 2563461 h 3641849"/>
                <a:gd name="connsiteX154" fmla="*/ 412168 w 1573156"/>
                <a:gd name="connsiteY154" fmla="*/ 2537603 h 3641849"/>
                <a:gd name="connsiteX155" fmla="*/ 362289 w 1573156"/>
                <a:gd name="connsiteY155" fmla="*/ 2501404 h 3641849"/>
                <a:gd name="connsiteX156" fmla="*/ 338946 w 1573156"/>
                <a:gd name="connsiteY156" fmla="*/ 2513491 h 3641849"/>
                <a:gd name="connsiteX157" fmla="*/ 340121 w 1573156"/>
                <a:gd name="connsiteY157" fmla="*/ 2467790 h 3641849"/>
                <a:gd name="connsiteX158" fmla="*/ 306869 w 1573156"/>
                <a:gd name="connsiteY158" fmla="*/ 2429005 h 3641849"/>
                <a:gd name="connsiteX159" fmla="*/ 309641 w 1573156"/>
                <a:gd name="connsiteY159" fmla="*/ 2351433 h 3641849"/>
                <a:gd name="connsiteX160" fmla="*/ 290243 w 1573156"/>
                <a:gd name="connsiteY160" fmla="*/ 2299720 h 3641849"/>
                <a:gd name="connsiteX161" fmla="*/ 256991 w 1573156"/>
                <a:gd name="connsiteY161" fmla="*/ 2266106 h 3641849"/>
                <a:gd name="connsiteX162" fmla="*/ 218196 w 1573156"/>
                <a:gd name="connsiteY162" fmla="*/ 2242835 h 3641849"/>
                <a:gd name="connsiteX163" fmla="*/ 176631 w 1573156"/>
                <a:gd name="connsiteY163" fmla="*/ 2250592 h 3641849"/>
                <a:gd name="connsiteX164" fmla="*/ 122255 w 1573156"/>
                <a:gd name="connsiteY164"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842164 w 1573156"/>
                <a:gd name="connsiteY136" fmla="*/ 2855835 h 3641849"/>
                <a:gd name="connsiteX137" fmla="*/ 825051 w 1573156"/>
                <a:gd name="connsiteY137" fmla="*/ 2871159 h 3641849"/>
                <a:gd name="connsiteX138" fmla="*/ 761317 w 1573156"/>
                <a:gd name="connsiteY138" fmla="*/ 2897015 h 3641849"/>
                <a:gd name="connsiteX139" fmla="*/ 700355 w 1573156"/>
                <a:gd name="connsiteY139" fmla="*/ 2891844 h 3641849"/>
                <a:gd name="connsiteX140" fmla="*/ 658790 w 1573156"/>
                <a:gd name="connsiteY140" fmla="*/ 2827201 h 3641849"/>
                <a:gd name="connsiteX141" fmla="*/ 656019 w 1573156"/>
                <a:gd name="connsiteY141" fmla="*/ 2785830 h 3641849"/>
                <a:gd name="connsiteX142" fmla="*/ 631080 w 1573156"/>
                <a:gd name="connsiteY142" fmla="*/ 2772902 h 3641849"/>
                <a:gd name="connsiteX143" fmla="*/ 567346 w 1573156"/>
                <a:gd name="connsiteY143" fmla="*/ 2759974 h 3641849"/>
                <a:gd name="connsiteX144" fmla="*/ 586743 w 1573156"/>
                <a:gd name="connsiteY144" fmla="*/ 2721188 h 3641849"/>
                <a:gd name="connsiteX145" fmla="*/ 557777 w 1573156"/>
                <a:gd name="connsiteY145" fmla="*/ 2715007 h 3641849"/>
                <a:gd name="connsiteX146" fmla="*/ 531809 w 1573156"/>
                <a:gd name="connsiteY146" fmla="*/ 2672771 h 3641849"/>
                <a:gd name="connsiteX147" fmla="*/ 414939 w 1573156"/>
                <a:gd name="connsiteY147" fmla="*/ 2682402 h 3641849"/>
                <a:gd name="connsiteX148" fmla="*/ 390000 w 1573156"/>
                <a:gd name="connsiteY148" fmla="*/ 2672059 h 3641849"/>
                <a:gd name="connsiteX149" fmla="*/ 367832 w 1573156"/>
                <a:gd name="connsiteY149" fmla="*/ 2684989 h 3641849"/>
                <a:gd name="connsiteX150" fmla="*/ 351205 w 1573156"/>
                <a:gd name="connsiteY150" fmla="*/ 2622932 h 3641849"/>
                <a:gd name="connsiteX151" fmla="*/ 340121 w 1573156"/>
                <a:gd name="connsiteY151" fmla="*/ 2597075 h 3641849"/>
                <a:gd name="connsiteX152" fmla="*/ 353976 w 1573156"/>
                <a:gd name="connsiteY152" fmla="*/ 2578974 h 3641849"/>
                <a:gd name="connsiteX153" fmla="*/ 381687 w 1573156"/>
                <a:gd name="connsiteY153" fmla="*/ 2581561 h 3641849"/>
                <a:gd name="connsiteX154" fmla="*/ 414939 w 1573156"/>
                <a:gd name="connsiteY154" fmla="*/ 2563461 h 3641849"/>
                <a:gd name="connsiteX155" fmla="*/ 412168 w 1573156"/>
                <a:gd name="connsiteY155" fmla="*/ 2537603 h 3641849"/>
                <a:gd name="connsiteX156" fmla="*/ 362289 w 1573156"/>
                <a:gd name="connsiteY156" fmla="*/ 2501404 h 3641849"/>
                <a:gd name="connsiteX157" fmla="*/ 338946 w 1573156"/>
                <a:gd name="connsiteY157" fmla="*/ 2513491 h 3641849"/>
                <a:gd name="connsiteX158" fmla="*/ 340121 w 1573156"/>
                <a:gd name="connsiteY158" fmla="*/ 2467790 h 3641849"/>
                <a:gd name="connsiteX159" fmla="*/ 306869 w 1573156"/>
                <a:gd name="connsiteY159" fmla="*/ 2429005 h 3641849"/>
                <a:gd name="connsiteX160" fmla="*/ 309641 w 1573156"/>
                <a:gd name="connsiteY160" fmla="*/ 2351433 h 3641849"/>
                <a:gd name="connsiteX161" fmla="*/ 290243 w 1573156"/>
                <a:gd name="connsiteY161" fmla="*/ 2299720 h 3641849"/>
                <a:gd name="connsiteX162" fmla="*/ 256991 w 1573156"/>
                <a:gd name="connsiteY162" fmla="*/ 2266106 h 3641849"/>
                <a:gd name="connsiteX163" fmla="*/ 218196 w 1573156"/>
                <a:gd name="connsiteY163" fmla="*/ 2242835 h 3641849"/>
                <a:gd name="connsiteX164" fmla="*/ 176631 w 1573156"/>
                <a:gd name="connsiteY164" fmla="*/ 2250592 h 3641849"/>
                <a:gd name="connsiteX165" fmla="*/ 122255 w 1573156"/>
                <a:gd name="connsiteY165"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922524 w 1573156"/>
                <a:gd name="connsiteY136" fmla="*/ 2910134 h 3641849"/>
                <a:gd name="connsiteX137" fmla="*/ 825051 w 1573156"/>
                <a:gd name="connsiteY137" fmla="*/ 2871159 h 3641849"/>
                <a:gd name="connsiteX138" fmla="*/ 761317 w 1573156"/>
                <a:gd name="connsiteY138" fmla="*/ 2897015 h 3641849"/>
                <a:gd name="connsiteX139" fmla="*/ 700355 w 1573156"/>
                <a:gd name="connsiteY139" fmla="*/ 2891844 h 3641849"/>
                <a:gd name="connsiteX140" fmla="*/ 658790 w 1573156"/>
                <a:gd name="connsiteY140" fmla="*/ 2827201 h 3641849"/>
                <a:gd name="connsiteX141" fmla="*/ 656019 w 1573156"/>
                <a:gd name="connsiteY141" fmla="*/ 2785830 h 3641849"/>
                <a:gd name="connsiteX142" fmla="*/ 631080 w 1573156"/>
                <a:gd name="connsiteY142" fmla="*/ 2772902 h 3641849"/>
                <a:gd name="connsiteX143" fmla="*/ 567346 w 1573156"/>
                <a:gd name="connsiteY143" fmla="*/ 2759974 h 3641849"/>
                <a:gd name="connsiteX144" fmla="*/ 586743 w 1573156"/>
                <a:gd name="connsiteY144" fmla="*/ 2721188 h 3641849"/>
                <a:gd name="connsiteX145" fmla="*/ 557777 w 1573156"/>
                <a:gd name="connsiteY145" fmla="*/ 2715007 h 3641849"/>
                <a:gd name="connsiteX146" fmla="*/ 531809 w 1573156"/>
                <a:gd name="connsiteY146" fmla="*/ 2672771 h 3641849"/>
                <a:gd name="connsiteX147" fmla="*/ 414939 w 1573156"/>
                <a:gd name="connsiteY147" fmla="*/ 2682402 h 3641849"/>
                <a:gd name="connsiteX148" fmla="*/ 390000 w 1573156"/>
                <a:gd name="connsiteY148" fmla="*/ 2672059 h 3641849"/>
                <a:gd name="connsiteX149" fmla="*/ 367832 w 1573156"/>
                <a:gd name="connsiteY149" fmla="*/ 2684989 h 3641849"/>
                <a:gd name="connsiteX150" fmla="*/ 351205 w 1573156"/>
                <a:gd name="connsiteY150" fmla="*/ 2622932 h 3641849"/>
                <a:gd name="connsiteX151" fmla="*/ 340121 w 1573156"/>
                <a:gd name="connsiteY151" fmla="*/ 2597075 h 3641849"/>
                <a:gd name="connsiteX152" fmla="*/ 353976 w 1573156"/>
                <a:gd name="connsiteY152" fmla="*/ 2578974 h 3641849"/>
                <a:gd name="connsiteX153" fmla="*/ 381687 w 1573156"/>
                <a:gd name="connsiteY153" fmla="*/ 2581561 h 3641849"/>
                <a:gd name="connsiteX154" fmla="*/ 414939 w 1573156"/>
                <a:gd name="connsiteY154" fmla="*/ 2563461 h 3641849"/>
                <a:gd name="connsiteX155" fmla="*/ 412168 w 1573156"/>
                <a:gd name="connsiteY155" fmla="*/ 2537603 h 3641849"/>
                <a:gd name="connsiteX156" fmla="*/ 362289 w 1573156"/>
                <a:gd name="connsiteY156" fmla="*/ 2501404 h 3641849"/>
                <a:gd name="connsiteX157" fmla="*/ 338946 w 1573156"/>
                <a:gd name="connsiteY157" fmla="*/ 2513491 h 3641849"/>
                <a:gd name="connsiteX158" fmla="*/ 340121 w 1573156"/>
                <a:gd name="connsiteY158" fmla="*/ 2467790 h 3641849"/>
                <a:gd name="connsiteX159" fmla="*/ 306869 w 1573156"/>
                <a:gd name="connsiteY159" fmla="*/ 2429005 h 3641849"/>
                <a:gd name="connsiteX160" fmla="*/ 309641 w 1573156"/>
                <a:gd name="connsiteY160" fmla="*/ 2351433 h 3641849"/>
                <a:gd name="connsiteX161" fmla="*/ 290243 w 1573156"/>
                <a:gd name="connsiteY161" fmla="*/ 2299720 h 3641849"/>
                <a:gd name="connsiteX162" fmla="*/ 256991 w 1573156"/>
                <a:gd name="connsiteY162" fmla="*/ 2266106 h 3641849"/>
                <a:gd name="connsiteX163" fmla="*/ 218196 w 1573156"/>
                <a:gd name="connsiteY163" fmla="*/ 2242835 h 3641849"/>
                <a:gd name="connsiteX164" fmla="*/ 176631 w 1573156"/>
                <a:gd name="connsiteY164" fmla="*/ 2250592 h 3641849"/>
                <a:gd name="connsiteX165" fmla="*/ 122255 w 1573156"/>
                <a:gd name="connsiteY165"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922524 w 1573156"/>
                <a:gd name="connsiteY136" fmla="*/ 2910134 h 3641849"/>
                <a:gd name="connsiteX137" fmla="*/ 861075 w 1573156"/>
                <a:gd name="connsiteY137" fmla="*/ 2873744 h 3641849"/>
                <a:gd name="connsiteX138" fmla="*/ 761317 w 1573156"/>
                <a:gd name="connsiteY138" fmla="*/ 2897015 h 3641849"/>
                <a:gd name="connsiteX139" fmla="*/ 700355 w 1573156"/>
                <a:gd name="connsiteY139" fmla="*/ 2891844 h 3641849"/>
                <a:gd name="connsiteX140" fmla="*/ 658790 w 1573156"/>
                <a:gd name="connsiteY140" fmla="*/ 2827201 h 3641849"/>
                <a:gd name="connsiteX141" fmla="*/ 656019 w 1573156"/>
                <a:gd name="connsiteY141" fmla="*/ 2785830 h 3641849"/>
                <a:gd name="connsiteX142" fmla="*/ 631080 w 1573156"/>
                <a:gd name="connsiteY142" fmla="*/ 2772902 h 3641849"/>
                <a:gd name="connsiteX143" fmla="*/ 567346 w 1573156"/>
                <a:gd name="connsiteY143" fmla="*/ 2759974 h 3641849"/>
                <a:gd name="connsiteX144" fmla="*/ 586743 w 1573156"/>
                <a:gd name="connsiteY144" fmla="*/ 2721188 h 3641849"/>
                <a:gd name="connsiteX145" fmla="*/ 557777 w 1573156"/>
                <a:gd name="connsiteY145" fmla="*/ 2715007 h 3641849"/>
                <a:gd name="connsiteX146" fmla="*/ 531809 w 1573156"/>
                <a:gd name="connsiteY146" fmla="*/ 2672771 h 3641849"/>
                <a:gd name="connsiteX147" fmla="*/ 414939 w 1573156"/>
                <a:gd name="connsiteY147" fmla="*/ 2682402 h 3641849"/>
                <a:gd name="connsiteX148" fmla="*/ 390000 w 1573156"/>
                <a:gd name="connsiteY148" fmla="*/ 2672059 h 3641849"/>
                <a:gd name="connsiteX149" fmla="*/ 367832 w 1573156"/>
                <a:gd name="connsiteY149" fmla="*/ 2684989 h 3641849"/>
                <a:gd name="connsiteX150" fmla="*/ 351205 w 1573156"/>
                <a:gd name="connsiteY150" fmla="*/ 2622932 h 3641849"/>
                <a:gd name="connsiteX151" fmla="*/ 340121 w 1573156"/>
                <a:gd name="connsiteY151" fmla="*/ 2597075 h 3641849"/>
                <a:gd name="connsiteX152" fmla="*/ 353976 w 1573156"/>
                <a:gd name="connsiteY152" fmla="*/ 2578974 h 3641849"/>
                <a:gd name="connsiteX153" fmla="*/ 381687 w 1573156"/>
                <a:gd name="connsiteY153" fmla="*/ 2581561 h 3641849"/>
                <a:gd name="connsiteX154" fmla="*/ 414939 w 1573156"/>
                <a:gd name="connsiteY154" fmla="*/ 2563461 h 3641849"/>
                <a:gd name="connsiteX155" fmla="*/ 412168 w 1573156"/>
                <a:gd name="connsiteY155" fmla="*/ 2537603 h 3641849"/>
                <a:gd name="connsiteX156" fmla="*/ 362289 w 1573156"/>
                <a:gd name="connsiteY156" fmla="*/ 2501404 h 3641849"/>
                <a:gd name="connsiteX157" fmla="*/ 338946 w 1573156"/>
                <a:gd name="connsiteY157" fmla="*/ 2513491 h 3641849"/>
                <a:gd name="connsiteX158" fmla="*/ 340121 w 1573156"/>
                <a:gd name="connsiteY158" fmla="*/ 2467790 h 3641849"/>
                <a:gd name="connsiteX159" fmla="*/ 306869 w 1573156"/>
                <a:gd name="connsiteY159" fmla="*/ 2429005 h 3641849"/>
                <a:gd name="connsiteX160" fmla="*/ 309641 w 1573156"/>
                <a:gd name="connsiteY160" fmla="*/ 2351433 h 3641849"/>
                <a:gd name="connsiteX161" fmla="*/ 290243 w 1573156"/>
                <a:gd name="connsiteY161" fmla="*/ 2299720 h 3641849"/>
                <a:gd name="connsiteX162" fmla="*/ 256991 w 1573156"/>
                <a:gd name="connsiteY162" fmla="*/ 2266106 h 3641849"/>
                <a:gd name="connsiteX163" fmla="*/ 218196 w 1573156"/>
                <a:gd name="connsiteY163" fmla="*/ 2242835 h 3641849"/>
                <a:gd name="connsiteX164" fmla="*/ 176631 w 1573156"/>
                <a:gd name="connsiteY164" fmla="*/ 2250592 h 3641849"/>
                <a:gd name="connsiteX165" fmla="*/ 122255 w 1573156"/>
                <a:gd name="connsiteY165"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922524 w 1573156"/>
                <a:gd name="connsiteY136" fmla="*/ 2910134 h 3641849"/>
                <a:gd name="connsiteX137" fmla="*/ 897099 w 1573156"/>
                <a:gd name="connsiteY137" fmla="*/ 2863401 h 3641849"/>
                <a:gd name="connsiteX138" fmla="*/ 761317 w 1573156"/>
                <a:gd name="connsiteY138" fmla="*/ 2897015 h 3641849"/>
                <a:gd name="connsiteX139" fmla="*/ 700355 w 1573156"/>
                <a:gd name="connsiteY139" fmla="*/ 2891844 h 3641849"/>
                <a:gd name="connsiteX140" fmla="*/ 658790 w 1573156"/>
                <a:gd name="connsiteY140" fmla="*/ 2827201 h 3641849"/>
                <a:gd name="connsiteX141" fmla="*/ 656019 w 1573156"/>
                <a:gd name="connsiteY141" fmla="*/ 2785830 h 3641849"/>
                <a:gd name="connsiteX142" fmla="*/ 631080 w 1573156"/>
                <a:gd name="connsiteY142" fmla="*/ 2772902 h 3641849"/>
                <a:gd name="connsiteX143" fmla="*/ 567346 w 1573156"/>
                <a:gd name="connsiteY143" fmla="*/ 2759974 h 3641849"/>
                <a:gd name="connsiteX144" fmla="*/ 586743 w 1573156"/>
                <a:gd name="connsiteY144" fmla="*/ 2721188 h 3641849"/>
                <a:gd name="connsiteX145" fmla="*/ 557777 w 1573156"/>
                <a:gd name="connsiteY145" fmla="*/ 2715007 h 3641849"/>
                <a:gd name="connsiteX146" fmla="*/ 531809 w 1573156"/>
                <a:gd name="connsiteY146" fmla="*/ 2672771 h 3641849"/>
                <a:gd name="connsiteX147" fmla="*/ 414939 w 1573156"/>
                <a:gd name="connsiteY147" fmla="*/ 2682402 h 3641849"/>
                <a:gd name="connsiteX148" fmla="*/ 390000 w 1573156"/>
                <a:gd name="connsiteY148" fmla="*/ 2672059 h 3641849"/>
                <a:gd name="connsiteX149" fmla="*/ 367832 w 1573156"/>
                <a:gd name="connsiteY149" fmla="*/ 2684989 h 3641849"/>
                <a:gd name="connsiteX150" fmla="*/ 351205 w 1573156"/>
                <a:gd name="connsiteY150" fmla="*/ 2622932 h 3641849"/>
                <a:gd name="connsiteX151" fmla="*/ 340121 w 1573156"/>
                <a:gd name="connsiteY151" fmla="*/ 2597075 h 3641849"/>
                <a:gd name="connsiteX152" fmla="*/ 353976 w 1573156"/>
                <a:gd name="connsiteY152" fmla="*/ 2578974 h 3641849"/>
                <a:gd name="connsiteX153" fmla="*/ 381687 w 1573156"/>
                <a:gd name="connsiteY153" fmla="*/ 2581561 h 3641849"/>
                <a:gd name="connsiteX154" fmla="*/ 414939 w 1573156"/>
                <a:gd name="connsiteY154" fmla="*/ 2563461 h 3641849"/>
                <a:gd name="connsiteX155" fmla="*/ 412168 w 1573156"/>
                <a:gd name="connsiteY155" fmla="*/ 2537603 h 3641849"/>
                <a:gd name="connsiteX156" fmla="*/ 362289 w 1573156"/>
                <a:gd name="connsiteY156" fmla="*/ 2501404 h 3641849"/>
                <a:gd name="connsiteX157" fmla="*/ 338946 w 1573156"/>
                <a:gd name="connsiteY157" fmla="*/ 2513491 h 3641849"/>
                <a:gd name="connsiteX158" fmla="*/ 340121 w 1573156"/>
                <a:gd name="connsiteY158" fmla="*/ 2467790 h 3641849"/>
                <a:gd name="connsiteX159" fmla="*/ 306869 w 1573156"/>
                <a:gd name="connsiteY159" fmla="*/ 2429005 h 3641849"/>
                <a:gd name="connsiteX160" fmla="*/ 309641 w 1573156"/>
                <a:gd name="connsiteY160" fmla="*/ 2351433 h 3641849"/>
                <a:gd name="connsiteX161" fmla="*/ 290243 w 1573156"/>
                <a:gd name="connsiteY161" fmla="*/ 2299720 h 3641849"/>
                <a:gd name="connsiteX162" fmla="*/ 256991 w 1573156"/>
                <a:gd name="connsiteY162" fmla="*/ 2266106 h 3641849"/>
                <a:gd name="connsiteX163" fmla="*/ 218196 w 1573156"/>
                <a:gd name="connsiteY163" fmla="*/ 2242835 h 3641849"/>
                <a:gd name="connsiteX164" fmla="*/ 176631 w 1573156"/>
                <a:gd name="connsiteY164" fmla="*/ 2250592 h 3641849"/>
                <a:gd name="connsiteX165" fmla="*/ 122255 w 1573156"/>
                <a:gd name="connsiteY165"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914211 w 1573156"/>
                <a:gd name="connsiteY136" fmla="*/ 2928233 h 3641849"/>
                <a:gd name="connsiteX137" fmla="*/ 897099 w 1573156"/>
                <a:gd name="connsiteY137" fmla="*/ 2863401 h 3641849"/>
                <a:gd name="connsiteX138" fmla="*/ 761317 w 1573156"/>
                <a:gd name="connsiteY138" fmla="*/ 2897015 h 3641849"/>
                <a:gd name="connsiteX139" fmla="*/ 700355 w 1573156"/>
                <a:gd name="connsiteY139" fmla="*/ 2891844 h 3641849"/>
                <a:gd name="connsiteX140" fmla="*/ 658790 w 1573156"/>
                <a:gd name="connsiteY140" fmla="*/ 2827201 h 3641849"/>
                <a:gd name="connsiteX141" fmla="*/ 656019 w 1573156"/>
                <a:gd name="connsiteY141" fmla="*/ 2785830 h 3641849"/>
                <a:gd name="connsiteX142" fmla="*/ 631080 w 1573156"/>
                <a:gd name="connsiteY142" fmla="*/ 2772902 h 3641849"/>
                <a:gd name="connsiteX143" fmla="*/ 567346 w 1573156"/>
                <a:gd name="connsiteY143" fmla="*/ 2759974 h 3641849"/>
                <a:gd name="connsiteX144" fmla="*/ 586743 w 1573156"/>
                <a:gd name="connsiteY144" fmla="*/ 2721188 h 3641849"/>
                <a:gd name="connsiteX145" fmla="*/ 557777 w 1573156"/>
                <a:gd name="connsiteY145" fmla="*/ 2715007 h 3641849"/>
                <a:gd name="connsiteX146" fmla="*/ 531809 w 1573156"/>
                <a:gd name="connsiteY146" fmla="*/ 2672771 h 3641849"/>
                <a:gd name="connsiteX147" fmla="*/ 414939 w 1573156"/>
                <a:gd name="connsiteY147" fmla="*/ 2682402 h 3641849"/>
                <a:gd name="connsiteX148" fmla="*/ 390000 w 1573156"/>
                <a:gd name="connsiteY148" fmla="*/ 2672059 h 3641849"/>
                <a:gd name="connsiteX149" fmla="*/ 367832 w 1573156"/>
                <a:gd name="connsiteY149" fmla="*/ 2684989 h 3641849"/>
                <a:gd name="connsiteX150" fmla="*/ 351205 w 1573156"/>
                <a:gd name="connsiteY150" fmla="*/ 2622932 h 3641849"/>
                <a:gd name="connsiteX151" fmla="*/ 340121 w 1573156"/>
                <a:gd name="connsiteY151" fmla="*/ 2597075 h 3641849"/>
                <a:gd name="connsiteX152" fmla="*/ 353976 w 1573156"/>
                <a:gd name="connsiteY152" fmla="*/ 2578974 h 3641849"/>
                <a:gd name="connsiteX153" fmla="*/ 381687 w 1573156"/>
                <a:gd name="connsiteY153" fmla="*/ 2581561 h 3641849"/>
                <a:gd name="connsiteX154" fmla="*/ 414939 w 1573156"/>
                <a:gd name="connsiteY154" fmla="*/ 2563461 h 3641849"/>
                <a:gd name="connsiteX155" fmla="*/ 412168 w 1573156"/>
                <a:gd name="connsiteY155" fmla="*/ 2537603 h 3641849"/>
                <a:gd name="connsiteX156" fmla="*/ 362289 w 1573156"/>
                <a:gd name="connsiteY156" fmla="*/ 2501404 h 3641849"/>
                <a:gd name="connsiteX157" fmla="*/ 338946 w 1573156"/>
                <a:gd name="connsiteY157" fmla="*/ 2513491 h 3641849"/>
                <a:gd name="connsiteX158" fmla="*/ 340121 w 1573156"/>
                <a:gd name="connsiteY158" fmla="*/ 2467790 h 3641849"/>
                <a:gd name="connsiteX159" fmla="*/ 306869 w 1573156"/>
                <a:gd name="connsiteY159" fmla="*/ 2429005 h 3641849"/>
                <a:gd name="connsiteX160" fmla="*/ 309641 w 1573156"/>
                <a:gd name="connsiteY160" fmla="*/ 2351433 h 3641849"/>
                <a:gd name="connsiteX161" fmla="*/ 290243 w 1573156"/>
                <a:gd name="connsiteY161" fmla="*/ 2299720 h 3641849"/>
                <a:gd name="connsiteX162" fmla="*/ 256991 w 1573156"/>
                <a:gd name="connsiteY162" fmla="*/ 2266106 h 3641849"/>
                <a:gd name="connsiteX163" fmla="*/ 218196 w 1573156"/>
                <a:gd name="connsiteY163" fmla="*/ 2242835 h 3641849"/>
                <a:gd name="connsiteX164" fmla="*/ 176631 w 1573156"/>
                <a:gd name="connsiteY164" fmla="*/ 2250592 h 3641849"/>
                <a:gd name="connsiteX165" fmla="*/ 122255 w 1573156"/>
                <a:gd name="connsiteY165"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914211 w 1573156"/>
                <a:gd name="connsiteY136" fmla="*/ 2928233 h 3641849"/>
                <a:gd name="connsiteX137" fmla="*/ 827823 w 1573156"/>
                <a:gd name="connsiteY137" fmla="*/ 2881501 h 3641849"/>
                <a:gd name="connsiteX138" fmla="*/ 761317 w 1573156"/>
                <a:gd name="connsiteY138" fmla="*/ 2897015 h 3641849"/>
                <a:gd name="connsiteX139" fmla="*/ 700355 w 1573156"/>
                <a:gd name="connsiteY139" fmla="*/ 2891844 h 3641849"/>
                <a:gd name="connsiteX140" fmla="*/ 658790 w 1573156"/>
                <a:gd name="connsiteY140" fmla="*/ 2827201 h 3641849"/>
                <a:gd name="connsiteX141" fmla="*/ 656019 w 1573156"/>
                <a:gd name="connsiteY141" fmla="*/ 2785830 h 3641849"/>
                <a:gd name="connsiteX142" fmla="*/ 631080 w 1573156"/>
                <a:gd name="connsiteY142" fmla="*/ 2772902 h 3641849"/>
                <a:gd name="connsiteX143" fmla="*/ 567346 w 1573156"/>
                <a:gd name="connsiteY143" fmla="*/ 2759974 h 3641849"/>
                <a:gd name="connsiteX144" fmla="*/ 586743 w 1573156"/>
                <a:gd name="connsiteY144" fmla="*/ 2721188 h 3641849"/>
                <a:gd name="connsiteX145" fmla="*/ 557777 w 1573156"/>
                <a:gd name="connsiteY145" fmla="*/ 2715007 h 3641849"/>
                <a:gd name="connsiteX146" fmla="*/ 531809 w 1573156"/>
                <a:gd name="connsiteY146" fmla="*/ 2672771 h 3641849"/>
                <a:gd name="connsiteX147" fmla="*/ 414939 w 1573156"/>
                <a:gd name="connsiteY147" fmla="*/ 2682402 h 3641849"/>
                <a:gd name="connsiteX148" fmla="*/ 390000 w 1573156"/>
                <a:gd name="connsiteY148" fmla="*/ 2672059 h 3641849"/>
                <a:gd name="connsiteX149" fmla="*/ 367832 w 1573156"/>
                <a:gd name="connsiteY149" fmla="*/ 2684989 h 3641849"/>
                <a:gd name="connsiteX150" fmla="*/ 351205 w 1573156"/>
                <a:gd name="connsiteY150" fmla="*/ 2622932 h 3641849"/>
                <a:gd name="connsiteX151" fmla="*/ 340121 w 1573156"/>
                <a:gd name="connsiteY151" fmla="*/ 2597075 h 3641849"/>
                <a:gd name="connsiteX152" fmla="*/ 353976 w 1573156"/>
                <a:gd name="connsiteY152" fmla="*/ 2578974 h 3641849"/>
                <a:gd name="connsiteX153" fmla="*/ 381687 w 1573156"/>
                <a:gd name="connsiteY153" fmla="*/ 2581561 h 3641849"/>
                <a:gd name="connsiteX154" fmla="*/ 414939 w 1573156"/>
                <a:gd name="connsiteY154" fmla="*/ 2563461 h 3641849"/>
                <a:gd name="connsiteX155" fmla="*/ 412168 w 1573156"/>
                <a:gd name="connsiteY155" fmla="*/ 2537603 h 3641849"/>
                <a:gd name="connsiteX156" fmla="*/ 362289 w 1573156"/>
                <a:gd name="connsiteY156" fmla="*/ 2501404 h 3641849"/>
                <a:gd name="connsiteX157" fmla="*/ 338946 w 1573156"/>
                <a:gd name="connsiteY157" fmla="*/ 2513491 h 3641849"/>
                <a:gd name="connsiteX158" fmla="*/ 340121 w 1573156"/>
                <a:gd name="connsiteY158" fmla="*/ 2467790 h 3641849"/>
                <a:gd name="connsiteX159" fmla="*/ 306869 w 1573156"/>
                <a:gd name="connsiteY159" fmla="*/ 2429005 h 3641849"/>
                <a:gd name="connsiteX160" fmla="*/ 309641 w 1573156"/>
                <a:gd name="connsiteY160" fmla="*/ 2351433 h 3641849"/>
                <a:gd name="connsiteX161" fmla="*/ 290243 w 1573156"/>
                <a:gd name="connsiteY161" fmla="*/ 2299720 h 3641849"/>
                <a:gd name="connsiteX162" fmla="*/ 256991 w 1573156"/>
                <a:gd name="connsiteY162" fmla="*/ 2266106 h 3641849"/>
                <a:gd name="connsiteX163" fmla="*/ 218196 w 1573156"/>
                <a:gd name="connsiteY163" fmla="*/ 2242835 h 3641849"/>
                <a:gd name="connsiteX164" fmla="*/ 176631 w 1573156"/>
                <a:gd name="connsiteY164" fmla="*/ 2250592 h 3641849"/>
                <a:gd name="connsiteX165" fmla="*/ 122255 w 1573156"/>
                <a:gd name="connsiteY165"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914211 w 1573156"/>
                <a:gd name="connsiteY136" fmla="*/ 2928233 h 3641849"/>
                <a:gd name="connsiteX137" fmla="*/ 858304 w 1573156"/>
                <a:gd name="connsiteY137" fmla="*/ 2909943 h 3641849"/>
                <a:gd name="connsiteX138" fmla="*/ 827823 w 1573156"/>
                <a:gd name="connsiteY138" fmla="*/ 2881501 h 3641849"/>
                <a:gd name="connsiteX139" fmla="*/ 761317 w 1573156"/>
                <a:gd name="connsiteY139" fmla="*/ 2897015 h 3641849"/>
                <a:gd name="connsiteX140" fmla="*/ 700355 w 1573156"/>
                <a:gd name="connsiteY140" fmla="*/ 2891844 h 3641849"/>
                <a:gd name="connsiteX141" fmla="*/ 658790 w 1573156"/>
                <a:gd name="connsiteY141" fmla="*/ 2827201 h 3641849"/>
                <a:gd name="connsiteX142" fmla="*/ 656019 w 1573156"/>
                <a:gd name="connsiteY142" fmla="*/ 2785830 h 3641849"/>
                <a:gd name="connsiteX143" fmla="*/ 631080 w 1573156"/>
                <a:gd name="connsiteY143" fmla="*/ 2772902 h 3641849"/>
                <a:gd name="connsiteX144" fmla="*/ 567346 w 1573156"/>
                <a:gd name="connsiteY144" fmla="*/ 2759974 h 3641849"/>
                <a:gd name="connsiteX145" fmla="*/ 586743 w 1573156"/>
                <a:gd name="connsiteY145" fmla="*/ 2721188 h 3641849"/>
                <a:gd name="connsiteX146" fmla="*/ 557777 w 1573156"/>
                <a:gd name="connsiteY146" fmla="*/ 2715007 h 3641849"/>
                <a:gd name="connsiteX147" fmla="*/ 531809 w 1573156"/>
                <a:gd name="connsiteY147" fmla="*/ 2672771 h 3641849"/>
                <a:gd name="connsiteX148" fmla="*/ 414939 w 1573156"/>
                <a:gd name="connsiteY148" fmla="*/ 2682402 h 3641849"/>
                <a:gd name="connsiteX149" fmla="*/ 390000 w 1573156"/>
                <a:gd name="connsiteY149" fmla="*/ 2672059 h 3641849"/>
                <a:gd name="connsiteX150" fmla="*/ 367832 w 1573156"/>
                <a:gd name="connsiteY150" fmla="*/ 2684989 h 3641849"/>
                <a:gd name="connsiteX151" fmla="*/ 351205 w 1573156"/>
                <a:gd name="connsiteY151" fmla="*/ 2622932 h 3641849"/>
                <a:gd name="connsiteX152" fmla="*/ 340121 w 1573156"/>
                <a:gd name="connsiteY152" fmla="*/ 2597075 h 3641849"/>
                <a:gd name="connsiteX153" fmla="*/ 353976 w 1573156"/>
                <a:gd name="connsiteY153" fmla="*/ 2578974 h 3641849"/>
                <a:gd name="connsiteX154" fmla="*/ 381687 w 1573156"/>
                <a:gd name="connsiteY154" fmla="*/ 2581561 h 3641849"/>
                <a:gd name="connsiteX155" fmla="*/ 414939 w 1573156"/>
                <a:gd name="connsiteY155" fmla="*/ 2563461 h 3641849"/>
                <a:gd name="connsiteX156" fmla="*/ 412168 w 1573156"/>
                <a:gd name="connsiteY156" fmla="*/ 2537603 h 3641849"/>
                <a:gd name="connsiteX157" fmla="*/ 362289 w 1573156"/>
                <a:gd name="connsiteY157" fmla="*/ 2501404 h 3641849"/>
                <a:gd name="connsiteX158" fmla="*/ 338946 w 1573156"/>
                <a:gd name="connsiteY158" fmla="*/ 2513491 h 3641849"/>
                <a:gd name="connsiteX159" fmla="*/ 340121 w 1573156"/>
                <a:gd name="connsiteY159" fmla="*/ 2467790 h 3641849"/>
                <a:gd name="connsiteX160" fmla="*/ 306869 w 1573156"/>
                <a:gd name="connsiteY160" fmla="*/ 2429005 h 3641849"/>
                <a:gd name="connsiteX161" fmla="*/ 309641 w 1573156"/>
                <a:gd name="connsiteY161" fmla="*/ 2351433 h 3641849"/>
                <a:gd name="connsiteX162" fmla="*/ 290243 w 1573156"/>
                <a:gd name="connsiteY162" fmla="*/ 2299720 h 3641849"/>
                <a:gd name="connsiteX163" fmla="*/ 256991 w 1573156"/>
                <a:gd name="connsiteY163" fmla="*/ 2266106 h 3641849"/>
                <a:gd name="connsiteX164" fmla="*/ 218196 w 1573156"/>
                <a:gd name="connsiteY164" fmla="*/ 2242835 h 3641849"/>
                <a:gd name="connsiteX165" fmla="*/ 176631 w 1573156"/>
                <a:gd name="connsiteY165" fmla="*/ 2250592 h 3641849"/>
                <a:gd name="connsiteX166" fmla="*/ 122255 w 1573156"/>
                <a:gd name="connsiteY166"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137003 w 1573156"/>
                <a:gd name="connsiteY135" fmla="*/ 3018734 h 3641849"/>
                <a:gd name="connsiteX136" fmla="*/ 914211 w 1573156"/>
                <a:gd name="connsiteY136" fmla="*/ 2928233 h 3641849"/>
                <a:gd name="connsiteX137" fmla="*/ 858304 w 1573156"/>
                <a:gd name="connsiteY137" fmla="*/ 2909943 h 3641849"/>
                <a:gd name="connsiteX138" fmla="*/ 827823 w 1573156"/>
                <a:gd name="connsiteY138" fmla="*/ 2881501 h 3641849"/>
                <a:gd name="connsiteX139" fmla="*/ 761317 w 1573156"/>
                <a:gd name="connsiteY139" fmla="*/ 2897015 h 3641849"/>
                <a:gd name="connsiteX140" fmla="*/ 700355 w 1573156"/>
                <a:gd name="connsiteY140" fmla="*/ 2891844 h 3641849"/>
                <a:gd name="connsiteX141" fmla="*/ 658790 w 1573156"/>
                <a:gd name="connsiteY141" fmla="*/ 2827201 h 3641849"/>
                <a:gd name="connsiteX142" fmla="*/ 656019 w 1573156"/>
                <a:gd name="connsiteY142" fmla="*/ 2785830 h 3641849"/>
                <a:gd name="connsiteX143" fmla="*/ 631080 w 1573156"/>
                <a:gd name="connsiteY143" fmla="*/ 2772902 h 3641849"/>
                <a:gd name="connsiteX144" fmla="*/ 567346 w 1573156"/>
                <a:gd name="connsiteY144" fmla="*/ 2759974 h 3641849"/>
                <a:gd name="connsiteX145" fmla="*/ 586743 w 1573156"/>
                <a:gd name="connsiteY145" fmla="*/ 2721188 h 3641849"/>
                <a:gd name="connsiteX146" fmla="*/ 557777 w 1573156"/>
                <a:gd name="connsiteY146" fmla="*/ 2715007 h 3641849"/>
                <a:gd name="connsiteX147" fmla="*/ 531809 w 1573156"/>
                <a:gd name="connsiteY147" fmla="*/ 2672771 h 3641849"/>
                <a:gd name="connsiteX148" fmla="*/ 414939 w 1573156"/>
                <a:gd name="connsiteY148" fmla="*/ 2682402 h 3641849"/>
                <a:gd name="connsiteX149" fmla="*/ 390000 w 1573156"/>
                <a:gd name="connsiteY149" fmla="*/ 2672059 h 3641849"/>
                <a:gd name="connsiteX150" fmla="*/ 367832 w 1573156"/>
                <a:gd name="connsiteY150" fmla="*/ 2684989 h 3641849"/>
                <a:gd name="connsiteX151" fmla="*/ 351205 w 1573156"/>
                <a:gd name="connsiteY151" fmla="*/ 2622932 h 3641849"/>
                <a:gd name="connsiteX152" fmla="*/ 340121 w 1573156"/>
                <a:gd name="connsiteY152" fmla="*/ 2597075 h 3641849"/>
                <a:gd name="connsiteX153" fmla="*/ 353976 w 1573156"/>
                <a:gd name="connsiteY153" fmla="*/ 2578974 h 3641849"/>
                <a:gd name="connsiteX154" fmla="*/ 381687 w 1573156"/>
                <a:gd name="connsiteY154" fmla="*/ 2581561 h 3641849"/>
                <a:gd name="connsiteX155" fmla="*/ 414939 w 1573156"/>
                <a:gd name="connsiteY155" fmla="*/ 2563461 h 3641849"/>
                <a:gd name="connsiteX156" fmla="*/ 412168 w 1573156"/>
                <a:gd name="connsiteY156" fmla="*/ 2537603 h 3641849"/>
                <a:gd name="connsiteX157" fmla="*/ 362289 w 1573156"/>
                <a:gd name="connsiteY157" fmla="*/ 2501404 h 3641849"/>
                <a:gd name="connsiteX158" fmla="*/ 338946 w 1573156"/>
                <a:gd name="connsiteY158" fmla="*/ 2513491 h 3641849"/>
                <a:gd name="connsiteX159" fmla="*/ 340121 w 1573156"/>
                <a:gd name="connsiteY159" fmla="*/ 2467790 h 3641849"/>
                <a:gd name="connsiteX160" fmla="*/ 306869 w 1573156"/>
                <a:gd name="connsiteY160" fmla="*/ 2429005 h 3641849"/>
                <a:gd name="connsiteX161" fmla="*/ 309641 w 1573156"/>
                <a:gd name="connsiteY161" fmla="*/ 2351433 h 3641849"/>
                <a:gd name="connsiteX162" fmla="*/ 290243 w 1573156"/>
                <a:gd name="connsiteY162" fmla="*/ 2299720 h 3641849"/>
                <a:gd name="connsiteX163" fmla="*/ 256991 w 1573156"/>
                <a:gd name="connsiteY163" fmla="*/ 2266106 h 3641849"/>
                <a:gd name="connsiteX164" fmla="*/ 218196 w 1573156"/>
                <a:gd name="connsiteY164" fmla="*/ 2242835 h 3641849"/>
                <a:gd name="connsiteX165" fmla="*/ 176631 w 1573156"/>
                <a:gd name="connsiteY165" fmla="*/ 2250592 h 3641849"/>
                <a:gd name="connsiteX166" fmla="*/ 122255 w 1573156"/>
                <a:gd name="connsiteY166"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098209 w 1573156"/>
                <a:gd name="connsiteY135" fmla="*/ 3034249 h 3641849"/>
                <a:gd name="connsiteX136" fmla="*/ 914211 w 1573156"/>
                <a:gd name="connsiteY136" fmla="*/ 2928233 h 3641849"/>
                <a:gd name="connsiteX137" fmla="*/ 858304 w 1573156"/>
                <a:gd name="connsiteY137" fmla="*/ 2909943 h 3641849"/>
                <a:gd name="connsiteX138" fmla="*/ 827823 w 1573156"/>
                <a:gd name="connsiteY138" fmla="*/ 2881501 h 3641849"/>
                <a:gd name="connsiteX139" fmla="*/ 761317 w 1573156"/>
                <a:gd name="connsiteY139" fmla="*/ 2897015 h 3641849"/>
                <a:gd name="connsiteX140" fmla="*/ 700355 w 1573156"/>
                <a:gd name="connsiteY140" fmla="*/ 2891844 h 3641849"/>
                <a:gd name="connsiteX141" fmla="*/ 658790 w 1573156"/>
                <a:gd name="connsiteY141" fmla="*/ 2827201 h 3641849"/>
                <a:gd name="connsiteX142" fmla="*/ 656019 w 1573156"/>
                <a:gd name="connsiteY142" fmla="*/ 2785830 h 3641849"/>
                <a:gd name="connsiteX143" fmla="*/ 631080 w 1573156"/>
                <a:gd name="connsiteY143" fmla="*/ 2772902 h 3641849"/>
                <a:gd name="connsiteX144" fmla="*/ 567346 w 1573156"/>
                <a:gd name="connsiteY144" fmla="*/ 2759974 h 3641849"/>
                <a:gd name="connsiteX145" fmla="*/ 586743 w 1573156"/>
                <a:gd name="connsiteY145" fmla="*/ 2721188 h 3641849"/>
                <a:gd name="connsiteX146" fmla="*/ 557777 w 1573156"/>
                <a:gd name="connsiteY146" fmla="*/ 2715007 h 3641849"/>
                <a:gd name="connsiteX147" fmla="*/ 531809 w 1573156"/>
                <a:gd name="connsiteY147" fmla="*/ 2672771 h 3641849"/>
                <a:gd name="connsiteX148" fmla="*/ 414939 w 1573156"/>
                <a:gd name="connsiteY148" fmla="*/ 2682402 h 3641849"/>
                <a:gd name="connsiteX149" fmla="*/ 390000 w 1573156"/>
                <a:gd name="connsiteY149" fmla="*/ 2672059 h 3641849"/>
                <a:gd name="connsiteX150" fmla="*/ 367832 w 1573156"/>
                <a:gd name="connsiteY150" fmla="*/ 2684989 h 3641849"/>
                <a:gd name="connsiteX151" fmla="*/ 351205 w 1573156"/>
                <a:gd name="connsiteY151" fmla="*/ 2622932 h 3641849"/>
                <a:gd name="connsiteX152" fmla="*/ 340121 w 1573156"/>
                <a:gd name="connsiteY152" fmla="*/ 2597075 h 3641849"/>
                <a:gd name="connsiteX153" fmla="*/ 353976 w 1573156"/>
                <a:gd name="connsiteY153" fmla="*/ 2578974 h 3641849"/>
                <a:gd name="connsiteX154" fmla="*/ 381687 w 1573156"/>
                <a:gd name="connsiteY154" fmla="*/ 2581561 h 3641849"/>
                <a:gd name="connsiteX155" fmla="*/ 414939 w 1573156"/>
                <a:gd name="connsiteY155" fmla="*/ 2563461 h 3641849"/>
                <a:gd name="connsiteX156" fmla="*/ 412168 w 1573156"/>
                <a:gd name="connsiteY156" fmla="*/ 2537603 h 3641849"/>
                <a:gd name="connsiteX157" fmla="*/ 362289 w 1573156"/>
                <a:gd name="connsiteY157" fmla="*/ 2501404 h 3641849"/>
                <a:gd name="connsiteX158" fmla="*/ 338946 w 1573156"/>
                <a:gd name="connsiteY158" fmla="*/ 2513491 h 3641849"/>
                <a:gd name="connsiteX159" fmla="*/ 340121 w 1573156"/>
                <a:gd name="connsiteY159" fmla="*/ 2467790 h 3641849"/>
                <a:gd name="connsiteX160" fmla="*/ 306869 w 1573156"/>
                <a:gd name="connsiteY160" fmla="*/ 2429005 h 3641849"/>
                <a:gd name="connsiteX161" fmla="*/ 309641 w 1573156"/>
                <a:gd name="connsiteY161" fmla="*/ 2351433 h 3641849"/>
                <a:gd name="connsiteX162" fmla="*/ 290243 w 1573156"/>
                <a:gd name="connsiteY162" fmla="*/ 2299720 h 3641849"/>
                <a:gd name="connsiteX163" fmla="*/ 256991 w 1573156"/>
                <a:gd name="connsiteY163" fmla="*/ 2266106 h 3641849"/>
                <a:gd name="connsiteX164" fmla="*/ 218196 w 1573156"/>
                <a:gd name="connsiteY164" fmla="*/ 2242835 h 3641849"/>
                <a:gd name="connsiteX165" fmla="*/ 176631 w 1573156"/>
                <a:gd name="connsiteY165" fmla="*/ 2250592 h 3641849"/>
                <a:gd name="connsiteX166" fmla="*/ 122255 w 1573156"/>
                <a:gd name="connsiteY166"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031704 w 1573156"/>
                <a:gd name="connsiteY135" fmla="*/ 2992878 h 3641849"/>
                <a:gd name="connsiteX136" fmla="*/ 914211 w 1573156"/>
                <a:gd name="connsiteY136" fmla="*/ 2928233 h 3641849"/>
                <a:gd name="connsiteX137" fmla="*/ 858304 w 1573156"/>
                <a:gd name="connsiteY137" fmla="*/ 2909943 h 3641849"/>
                <a:gd name="connsiteX138" fmla="*/ 827823 w 1573156"/>
                <a:gd name="connsiteY138" fmla="*/ 2881501 h 3641849"/>
                <a:gd name="connsiteX139" fmla="*/ 761317 w 1573156"/>
                <a:gd name="connsiteY139" fmla="*/ 2897015 h 3641849"/>
                <a:gd name="connsiteX140" fmla="*/ 700355 w 1573156"/>
                <a:gd name="connsiteY140" fmla="*/ 2891844 h 3641849"/>
                <a:gd name="connsiteX141" fmla="*/ 658790 w 1573156"/>
                <a:gd name="connsiteY141" fmla="*/ 2827201 h 3641849"/>
                <a:gd name="connsiteX142" fmla="*/ 656019 w 1573156"/>
                <a:gd name="connsiteY142" fmla="*/ 2785830 h 3641849"/>
                <a:gd name="connsiteX143" fmla="*/ 631080 w 1573156"/>
                <a:gd name="connsiteY143" fmla="*/ 2772902 h 3641849"/>
                <a:gd name="connsiteX144" fmla="*/ 567346 w 1573156"/>
                <a:gd name="connsiteY144" fmla="*/ 2759974 h 3641849"/>
                <a:gd name="connsiteX145" fmla="*/ 586743 w 1573156"/>
                <a:gd name="connsiteY145" fmla="*/ 2721188 h 3641849"/>
                <a:gd name="connsiteX146" fmla="*/ 557777 w 1573156"/>
                <a:gd name="connsiteY146" fmla="*/ 2715007 h 3641849"/>
                <a:gd name="connsiteX147" fmla="*/ 531809 w 1573156"/>
                <a:gd name="connsiteY147" fmla="*/ 2672771 h 3641849"/>
                <a:gd name="connsiteX148" fmla="*/ 414939 w 1573156"/>
                <a:gd name="connsiteY148" fmla="*/ 2682402 h 3641849"/>
                <a:gd name="connsiteX149" fmla="*/ 390000 w 1573156"/>
                <a:gd name="connsiteY149" fmla="*/ 2672059 h 3641849"/>
                <a:gd name="connsiteX150" fmla="*/ 367832 w 1573156"/>
                <a:gd name="connsiteY150" fmla="*/ 2684989 h 3641849"/>
                <a:gd name="connsiteX151" fmla="*/ 351205 w 1573156"/>
                <a:gd name="connsiteY151" fmla="*/ 2622932 h 3641849"/>
                <a:gd name="connsiteX152" fmla="*/ 340121 w 1573156"/>
                <a:gd name="connsiteY152" fmla="*/ 2597075 h 3641849"/>
                <a:gd name="connsiteX153" fmla="*/ 353976 w 1573156"/>
                <a:gd name="connsiteY153" fmla="*/ 2578974 h 3641849"/>
                <a:gd name="connsiteX154" fmla="*/ 381687 w 1573156"/>
                <a:gd name="connsiteY154" fmla="*/ 2581561 h 3641849"/>
                <a:gd name="connsiteX155" fmla="*/ 414939 w 1573156"/>
                <a:gd name="connsiteY155" fmla="*/ 2563461 h 3641849"/>
                <a:gd name="connsiteX156" fmla="*/ 412168 w 1573156"/>
                <a:gd name="connsiteY156" fmla="*/ 2537603 h 3641849"/>
                <a:gd name="connsiteX157" fmla="*/ 362289 w 1573156"/>
                <a:gd name="connsiteY157" fmla="*/ 2501404 h 3641849"/>
                <a:gd name="connsiteX158" fmla="*/ 338946 w 1573156"/>
                <a:gd name="connsiteY158" fmla="*/ 2513491 h 3641849"/>
                <a:gd name="connsiteX159" fmla="*/ 340121 w 1573156"/>
                <a:gd name="connsiteY159" fmla="*/ 2467790 h 3641849"/>
                <a:gd name="connsiteX160" fmla="*/ 306869 w 1573156"/>
                <a:gd name="connsiteY160" fmla="*/ 2429005 h 3641849"/>
                <a:gd name="connsiteX161" fmla="*/ 309641 w 1573156"/>
                <a:gd name="connsiteY161" fmla="*/ 2351433 h 3641849"/>
                <a:gd name="connsiteX162" fmla="*/ 290243 w 1573156"/>
                <a:gd name="connsiteY162" fmla="*/ 2299720 h 3641849"/>
                <a:gd name="connsiteX163" fmla="*/ 256991 w 1573156"/>
                <a:gd name="connsiteY163" fmla="*/ 2266106 h 3641849"/>
                <a:gd name="connsiteX164" fmla="*/ 218196 w 1573156"/>
                <a:gd name="connsiteY164" fmla="*/ 2242835 h 3641849"/>
                <a:gd name="connsiteX165" fmla="*/ 176631 w 1573156"/>
                <a:gd name="connsiteY165" fmla="*/ 2250592 h 3641849"/>
                <a:gd name="connsiteX166" fmla="*/ 122255 w 1573156"/>
                <a:gd name="connsiteY166"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016252 w 1573156"/>
                <a:gd name="connsiteY135" fmla="*/ 3026300 h 3641849"/>
                <a:gd name="connsiteX136" fmla="*/ 1031704 w 1573156"/>
                <a:gd name="connsiteY136" fmla="*/ 2992878 h 3641849"/>
                <a:gd name="connsiteX137" fmla="*/ 914211 w 1573156"/>
                <a:gd name="connsiteY137" fmla="*/ 2928233 h 3641849"/>
                <a:gd name="connsiteX138" fmla="*/ 858304 w 1573156"/>
                <a:gd name="connsiteY138" fmla="*/ 2909943 h 3641849"/>
                <a:gd name="connsiteX139" fmla="*/ 827823 w 1573156"/>
                <a:gd name="connsiteY139" fmla="*/ 2881501 h 3641849"/>
                <a:gd name="connsiteX140" fmla="*/ 761317 w 1573156"/>
                <a:gd name="connsiteY140" fmla="*/ 2897015 h 3641849"/>
                <a:gd name="connsiteX141" fmla="*/ 700355 w 1573156"/>
                <a:gd name="connsiteY141" fmla="*/ 2891844 h 3641849"/>
                <a:gd name="connsiteX142" fmla="*/ 658790 w 1573156"/>
                <a:gd name="connsiteY142" fmla="*/ 2827201 h 3641849"/>
                <a:gd name="connsiteX143" fmla="*/ 656019 w 1573156"/>
                <a:gd name="connsiteY143" fmla="*/ 2785830 h 3641849"/>
                <a:gd name="connsiteX144" fmla="*/ 631080 w 1573156"/>
                <a:gd name="connsiteY144" fmla="*/ 2772902 h 3641849"/>
                <a:gd name="connsiteX145" fmla="*/ 567346 w 1573156"/>
                <a:gd name="connsiteY145" fmla="*/ 2759974 h 3641849"/>
                <a:gd name="connsiteX146" fmla="*/ 586743 w 1573156"/>
                <a:gd name="connsiteY146" fmla="*/ 2721188 h 3641849"/>
                <a:gd name="connsiteX147" fmla="*/ 557777 w 1573156"/>
                <a:gd name="connsiteY147" fmla="*/ 2715007 h 3641849"/>
                <a:gd name="connsiteX148" fmla="*/ 531809 w 1573156"/>
                <a:gd name="connsiteY148" fmla="*/ 2672771 h 3641849"/>
                <a:gd name="connsiteX149" fmla="*/ 414939 w 1573156"/>
                <a:gd name="connsiteY149" fmla="*/ 2682402 h 3641849"/>
                <a:gd name="connsiteX150" fmla="*/ 390000 w 1573156"/>
                <a:gd name="connsiteY150" fmla="*/ 2672059 h 3641849"/>
                <a:gd name="connsiteX151" fmla="*/ 367832 w 1573156"/>
                <a:gd name="connsiteY151" fmla="*/ 2684989 h 3641849"/>
                <a:gd name="connsiteX152" fmla="*/ 351205 w 1573156"/>
                <a:gd name="connsiteY152" fmla="*/ 2622932 h 3641849"/>
                <a:gd name="connsiteX153" fmla="*/ 340121 w 1573156"/>
                <a:gd name="connsiteY153" fmla="*/ 2597075 h 3641849"/>
                <a:gd name="connsiteX154" fmla="*/ 353976 w 1573156"/>
                <a:gd name="connsiteY154" fmla="*/ 2578974 h 3641849"/>
                <a:gd name="connsiteX155" fmla="*/ 381687 w 1573156"/>
                <a:gd name="connsiteY155" fmla="*/ 2581561 h 3641849"/>
                <a:gd name="connsiteX156" fmla="*/ 414939 w 1573156"/>
                <a:gd name="connsiteY156" fmla="*/ 2563461 h 3641849"/>
                <a:gd name="connsiteX157" fmla="*/ 412168 w 1573156"/>
                <a:gd name="connsiteY157" fmla="*/ 2537603 h 3641849"/>
                <a:gd name="connsiteX158" fmla="*/ 362289 w 1573156"/>
                <a:gd name="connsiteY158" fmla="*/ 2501404 h 3641849"/>
                <a:gd name="connsiteX159" fmla="*/ 338946 w 1573156"/>
                <a:gd name="connsiteY159" fmla="*/ 2513491 h 3641849"/>
                <a:gd name="connsiteX160" fmla="*/ 340121 w 1573156"/>
                <a:gd name="connsiteY160" fmla="*/ 2467790 h 3641849"/>
                <a:gd name="connsiteX161" fmla="*/ 306869 w 1573156"/>
                <a:gd name="connsiteY161" fmla="*/ 2429005 h 3641849"/>
                <a:gd name="connsiteX162" fmla="*/ 309641 w 1573156"/>
                <a:gd name="connsiteY162" fmla="*/ 2351433 h 3641849"/>
                <a:gd name="connsiteX163" fmla="*/ 290243 w 1573156"/>
                <a:gd name="connsiteY163" fmla="*/ 2299720 h 3641849"/>
                <a:gd name="connsiteX164" fmla="*/ 256991 w 1573156"/>
                <a:gd name="connsiteY164" fmla="*/ 2266106 h 3641849"/>
                <a:gd name="connsiteX165" fmla="*/ 218196 w 1573156"/>
                <a:gd name="connsiteY165" fmla="*/ 2242835 h 3641849"/>
                <a:gd name="connsiteX166" fmla="*/ 176631 w 1573156"/>
                <a:gd name="connsiteY166" fmla="*/ 2250592 h 3641849"/>
                <a:gd name="connsiteX167" fmla="*/ 122255 w 1573156"/>
                <a:gd name="connsiteY167"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035649 w 1573156"/>
                <a:gd name="connsiteY135" fmla="*/ 3080600 h 3641849"/>
                <a:gd name="connsiteX136" fmla="*/ 1016252 w 1573156"/>
                <a:gd name="connsiteY136" fmla="*/ 3026300 h 3641849"/>
                <a:gd name="connsiteX137" fmla="*/ 1031704 w 1573156"/>
                <a:gd name="connsiteY137" fmla="*/ 2992878 h 3641849"/>
                <a:gd name="connsiteX138" fmla="*/ 914211 w 1573156"/>
                <a:gd name="connsiteY138" fmla="*/ 2928233 h 3641849"/>
                <a:gd name="connsiteX139" fmla="*/ 858304 w 1573156"/>
                <a:gd name="connsiteY139" fmla="*/ 2909943 h 3641849"/>
                <a:gd name="connsiteX140" fmla="*/ 827823 w 1573156"/>
                <a:gd name="connsiteY140" fmla="*/ 2881501 h 3641849"/>
                <a:gd name="connsiteX141" fmla="*/ 761317 w 1573156"/>
                <a:gd name="connsiteY141" fmla="*/ 2897015 h 3641849"/>
                <a:gd name="connsiteX142" fmla="*/ 700355 w 1573156"/>
                <a:gd name="connsiteY142" fmla="*/ 2891844 h 3641849"/>
                <a:gd name="connsiteX143" fmla="*/ 658790 w 1573156"/>
                <a:gd name="connsiteY143" fmla="*/ 2827201 h 3641849"/>
                <a:gd name="connsiteX144" fmla="*/ 656019 w 1573156"/>
                <a:gd name="connsiteY144" fmla="*/ 2785830 h 3641849"/>
                <a:gd name="connsiteX145" fmla="*/ 631080 w 1573156"/>
                <a:gd name="connsiteY145" fmla="*/ 2772902 h 3641849"/>
                <a:gd name="connsiteX146" fmla="*/ 567346 w 1573156"/>
                <a:gd name="connsiteY146" fmla="*/ 2759974 h 3641849"/>
                <a:gd name="connsiteX147" fmla="*/ 586743 w 1573156"/>
                <a:gd name="connsiteY147" fmla="*/ 2721188 h 3641849"/>
                <a:gd name="connsiteX148" fmla="*/ 557777 w 1573156"/>
                <a:gd name="connsiteY148" fmla="*/ 2715007 h 3641849"/>
                <a:gd name="connsiteX149" fmla="*/ 531809 w 1573156"/>
                <a:gd name="connsiteY149" fmla="*/ 2672771 h 3641849"/>
                <a:gd name="connsiteX150" fmla="*/ 414939 w 1573156"/>
                <a:gd name="connsiteY150" fmla="*/ 2682402 h 3641849"/>
                <a:gd name="connsiteX151" fmla="*/ 390000 w 1573156"/>
                <a:gd name="connsiteY151" fmla="*/ 2672059 h 3641849"/>
                <a:gd name="connsiteX152" fmla="*/ 367832 w 1573156"/>
                <a:gd name="connsiteY152" fmla="*/ 2684989 h 3641849"/>
                <a:gd name="connsiteX153" fmla="*/ 351205 w 1573156"/>
                <a:gd name="connsiteY153" fmla="*/ 2622932 h 3641849"/>
                <a:gd name="connsiteX154" fmla="*/ 340121 w 1573156"/>
                <a:gd name="connsiteY154" fmla="*/ 2597075 h 3641849"/>
                <a:gd name="connsiteX155" fmla="*/ 353976 w 1573156"/>
                <a:gd name="connsiteY155" fmla="*/ 2578974 h 3641849"/>
                <a:gd name="connsiteX156" fmla="*/ 381687 w 1573156"/>
                <a:gd name="connsiteY156" fmla="*/ 2581561 h 3641849"/>
                <a:gd name="connsiteX157" fmla="*/ 414939 w 1573156"/>
                <a:gd name="connsiteY157" fmla="*/ 2563461 h 3641849"/>
                <a:gd name="connsiteX158" fmla="*/ 412168 w 1573156"/>
                <a:gd name="connsiteY158" fmla="*/ 2537603 h 3641849"/>
                <a:gd name="connsiteX159" fmla="*/ 362289 w 1573156"/>
                <a:gd name="connsiteY159" fmla="*/ 2501404 h 3641849"/>
                <a:gd name="connsiteX160" fmla="*/ 338946 w 1573156"/>
                <a:gd name="connsiteY160" fmla="*/ 2513491 h 3641849"/>
                <a:gd name="connsiteX161" fmla="*/ 340121 w 1573156"/>
                <a:gd name="connsiteY161" fmla="*/ 2467790 h 3641849"/>
                <a:gd name="connsiteX162" fmla="*/ 306869 w 1573156"/>
                <a:gd name="connsiteY162" fmla="*/ 2429005 h 3641849"/>
                <a:gd name="connsiteX163" fmla="*/ 309641 w 1573156"/>
                <a:gd name="connsiteY163" fmla="*/ 2351433 h 3641849"/>
                <a:gd name="connsiteX164" fmla="*/ 290243 w 1573156"/>
                <a:gd name="connsiteY164" fmla="*/ 2299720 h 3641849"/>
                <a:gd name="connsiteX165" fmla="*/ 256991 w 1573156"/>
                <a:gd name="connsiteY165" fmla="*/ 2266106 h 3641849"/>
                <a:gd name="connsiteX166" fmla="*/ 218196 w 1573156"/>
                <a:gd name="connsiteY166" fmla="*/ 2242835 h 3641849"/>
                <a:gd name="connsiteX167" fmla="*/ 176631 w 1573156"/>
                <a:gd name="connsiteY167" fmla="*/ 2250592 h 3641849"/>
                <a:gd name="connsiteX168" fmla="*/ 122255 w 1573156"/>
                <a:gd name="connsiteY168"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052276 w 1573156"/>
                <a:gd name="connsiteY135" fmla="*/ 3145242 h 3641849"/>
                <a:gd name="connsiteX136" fmla="*/ 1035649 w 1573156"/>
                <a:gd name="connsiteY136" fmla="*/ 3080600 h 3641849"/>
                <a:gd name="connsiteX137" fmla="*/ 1016252 w 1573156"/>
                <a:gd name="connsiteY137" fmla="*/ 3026300 h 3641849"/>
                <a:gd name="connsiteX138" fmla="*/ 1031704 w 1573156"/>
                <a:gd name="connsiteY138" fmla="*/ 2992878 h 3641849"/>
                <a:gd name="connsiteX139" fmla="*/ 914211 w 1573156"/>
                <a:gd name="connsiteY139" fmla="*/ 2928233 h 3641849"/>
                <a:gd name="connsiteX140" fmla="*/ 858304 w 1573156"/>
                <a:gd name="connsiteY140" fmla="*/ 2909943 h 3641849"/>
                <a:gd name="connsiteX141" fmla="*/ 827823 w 1573156"/>
                <a:gd name="connsiteY141" fmla="*/ 2881501 h 3641849"/>
                <a:gd name="connsiteX142" fmla="*/ 761317 w 1573156"/>
                <a:gd name="connsiteY142" fmla="*/ 2897015 h 3641849"/>
                <a:gd name="connsiteX143" fmla="*/ 700355 w 1573156"/>
                <a:gd name="connsiteY143" fmla="*/ 2891844 h 3641849"/>
                <a:gd name="connsiteX144" fmla="*/ 658790 w 1573156"/>
                <a:gd name="connsiteY144" fmla="*/ 2827201 h 3641849"/>
                <a:gd name="connsiteX145" fmla="*/ 656019 w 1573156"/>
                <a:gd name="connsiteY145" fmla="*/ 2785830 h 3641849"/>
                <a:gd name="connsiteX146" fmla="*/ 631080 w 1573156"/>
                <a:gd name="connsiteY146" fmla="*/ 2772902 h 3641849"/>
                <a:gd name="connsiteX147" fmla="*/ 567346 w 1573156"/>
                <a:gd name="connsiteY147" fmla="*/ 2759974 h 3641849"/>
                <a:gd name="connsiteX148" fmla="*/ 586743 w 1573156"/>
                <a:gd name="connsiteY148" fmla="*/ 2721188 h 3641849"/>
                <a:gd name="connsiteX149" fmla="*/ 557777 w 1573156"/>
                <a:gd name="connsiteY149" fmla="*/ 2715007 h 3641849"/>
                <a:gd name="connsiteX150" fmla="*/ 531809 w 1573156"/>
                <a:gd name="connsiteY150" fmla="*/ 2672771 h 3641849"/>
                <a:gd name="connsiteX151" fmla="*/ 414939 w 1573156"/>
                <a:gd name="connsiteY151" fmla="*/ 2682402 h 3641849"/>
                <a:gd name="connsiteX152" fmla="*/ 390000 w 1573156"/>
                <a:gd name="connsiteY152" fmla="*/ 2672059 h 3641849"/>
                <a:gd name="connsiteX153" fmla="*/ 367832 w 1573156"/>
                <a:gd name="connsiteY153" fmla="*/ 2684989 h 3641849"/>
                <a:gd name="connsiteX154" fmla="*/ 351205 w 1573156"/>
                <a:gd name="connsiteY154" fmla="*/ 2622932 h 3641849"/>
                <a:gd name="connsiteX155" fmla="*/ 340121 w 1573156"/>
                <a:gd name="connsiteY155" fmla="*/ 2597075 h 3641849"/>
                <a:gd name="connsiteX156" fmla="*/ 353976 w 1573156"/>
                <a:gd name="connsiteY156" fmla="*/ 2578974 h 3641849"/>
                <a:gd name="connsiteX157" fmla="*/ 381687 w 1573156"/>
                <a:gd name="connsiteY157" fmla="*/ 2581561 h 3641849"/>
                <a:gd name="connsiteX158" fmla="*/ 414939 w 1573156"/>
                <a:gd name="connsiteY158" fmla="*/ 2563461 h 3641849"/>
                <a:gd name="connsiteX159" fmla="*/ 412168 w 1573156"/>
                <a:gd name="connsiteY159" fmla="*/ 2537603 h 3641849"/>
                <a:gd name="connsiteX160" fmla="*/ 362289 w 1573156"/>
                <a:gd name="connsiteY160" fmla="*/ 2501404 h 3641849"/>
                <a:gd name="connsiteX161" fmla="*/ 338946 w 1573156"/>
                <a:gd name="connsiteY161" fmla="*/ 2513491 h 3641849"/>
                <a:gd name="connsiteX162" fmla="*/ 340121 w 1573156"/>
                <a:gd name="connsiteY162" fmla="*/ 2467790 h 3641849"/>
                <a:gd name="connsiteX163" fmla="*/ 306869 w 1573156"/>
                <a:gd name="connsiteY163" fmla="*/ 2429005 h 3641849"/>
                <a:gd name="connsiteX164" fmla="*/ 309641 w 1573156"/>
                <a:gd name="connsiteY164" fmla="*/ 2351433 h 3641849"/>
                <a:gd name="connsiteX165" fmla="*/ 290243 w 1573156"/>
                <a:gd name="connsiteY165" fmla="*/ 2299720 h 3641849"/>
                <a:gd name="connsiteX166" fmla="*/ 256991 w 1573156"/>
                <a:gd name="connsiteY166" fmla="*/ 2266106 h 3641849"/>
                <a:gd name="connsiteX167" fmla="*/ 218196 w 1573156"/>
                <a:gd name="connsiteY167" fmla="*/ 2242835 h 3641849"/>
                <a:gd name="connsiteX168" fmla="*/ 176631 w 1573156"/>
                <a:gd name="connsiteY168" fmla="*/ 2250592 h 3641849"/>
                <a:gd name="connsiteX169" fmla="*/ 122255 w 1573156"/>
                <a:gd name="connsiteY169"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052276 w 1573156"/>
                <a:gd name="connsiteY135" fmla="*/ 3145242 h 3641849"/>
                <a:gd name="connsiteX136" fmla="*/ 1035649 w 1573156"/>
                <a:gd name="connsiteY136" fmla="*/ 3080600 h 3641849"/>
                <a:gd name="connsiteX137" fmla="*/ 1043963 w 1573156"/>
                <a:gd name="connsiteY137" fmla="*/ 3028886 h 3641849"/>
                <a:gd name="connsiteX138" fmla="*/ 1016252 w 1573156"/>
                <a:gd name="connsiteY138" fmla="*/ 3026300 h 3641849"/>
                <a:gd name="connsiteX139" fmla="*/ 1031704 w 1573156"/>
                <a:gd name="connsiteY139" fmla="*/ 2992878 h 3641849"/>
                <a:gd name="connsiteX140" fmla="*/ 914211 w 1573156"/>
                <a:gd name="connsiteY140" fmla="*/ 2928233 h 3641849"/>
                <a:gd name="connsiteX141" fmla="*/ 858304 w 1573156"/>
                <a:gd name="connsiteY141" fmla="*/ 2909943 h 3641849"/>
                <a:gd name="connsiteX142" fmla="*/ 827823 w 1573156"/>
                <a:gd name="connsiteY142" fmla="*/ 2881501 h 3641849"/>
                <a:gd name="connsiteX143" fmla="*/ 761317 w 1573156"/>
                <a:gd name="connsiteY143" fmla="*/ 2897015 h 3641849"/>
                <a:gd name="connsiteX144" fmla="*/ 700355 w 1573156"/>
                <a:gd name="connsiteY144" fmla="*/ 2891844 h 3641849"/>
                <a:gd name="connsiteX145" fmla="*/ 658790 w 1573156"/>
                <a:gd name="connsiteY145" fmla="*/ 2827201 h 3641849"/>
                <a:gd name="connsiteX146" fmla="*/ 656019 w 1573156"/>
                <a:gd name="connsiteY146" fmla="*/ 2785830 h 3641849"/>
                <a:gd name="connsiteX147" fmla="*/ 631080 w 1573156"/>
                <a:gd name="connsiteY147" fmla="*/ 2772902 h 3641849"/>
                <a:gd name="connsiteX148" fmla="*/ 567346 w 1573156"/>
                <a:gd name="connsiteY148" fmla="*/ 2759974 h 3641849"/>
                <a:gd name="connsiteX149" fmla="*/ 586743 w 1573156"/>
                <a:gd name="connsiteY149" fmla="*/ 2721188 h 3641849"/>
                <a:gd name="connsiteX150" fmla="*/ 557777 w 1573156"/>
                <a:gd name="connsiteY150" fmla="*/ 2715007 h 3641849"/>
                <a:gd name="connsiteX151" fmla="*/ 531809 w 1573156"/>
                <a:gd name="connsiteY151" fmla="*/ 2672771 h 3641849"/>
                <a:gd name="connsiteX152" fmla="*/ 414939 w 1573156"/>
                <a:gd name="connsiteY152" fmla="*/ 2682402 h 3641849"/>
                <a:gd name="connsiteX153" fmla="*/ 390000 w 1573156"/>
                <a:gd name="connsiteY153" fmla="*/ 2672059 h 3641849"/>
                <a:gd name="connsiteX154" fmla="*/ 367832 w 1573156"/>
                <a:gd name="connsiteY154" fmla="*/ 2684989 h 3641849"/>
                <a:gd name="connsiteX155" fmla="*/ 351205 w 1573156"/>
                <a:gd name="connsiteY155" fmla="*/ 2622932 h 3641849"/>
                <a:gd name="connsiteX156" fmla="*/ 340121 w 1573156"/>
                <a:gd name="connsiteY156" fmla="*/ 2597075 h 3641849"/>
                <a:gd name="connsiteX157" fmla="*/ 353976 w 1573156"/>
                <a:gd name="connsiteY157" fmla="*/ 2578974 h 3641849"/>
                <a:gd name="connsiteX158" fmla="*/ 381687 w 1573156"/>
                <a:gd name="connsiteY158" fmla="*/ 2581561 h 3641849"/>
                <a:gd name="connsiteX159" fmla="*/ 414939 w 1573156"/>
                <a:gd name="connsiteY159" fmla="*/ 2563461 h 3641849"/>
                <a:gd name="connsiteX160" fmla="*/ 412168 w 1573156"/>
                <a:gd name="connsiteY160" fmla="*/ 2537603 h 3641849"/>
                <a:gd name="connsiteX161" fmla="*/ 362289 w 1573156"/>
                <a:gd name="connsiteY161" fmla="*/ 2501404 h 3641849"/>
                <a:gd name="connsiteX162" fmla="*/ 338946 w 1573156"/>
                <a:gd name="connsiteY162" fmla="*/ 2513491 h 3641849"/>
                <a:gd name="connsiteX163" fmla="*/ 340121 w 1573156"/>
                <a:gd name="connsiteY163" fmla="*/ 2467790 h 3641849"/>
                <a:gd name="connsiteX164" fmla="*/ 306869 w 1573156"/>
                <a:gd name="connsiteY164" fmla="*/ 2429005 h 3641849"/>
                <a:gd name="connsiteX165" fmla="*/ 309641 w 1573156"/>
                <a:gd name="connsiteY165" fmla="*/ 2351433 h 3641849"/>
                <a:gd name="connsiteX166" fmla="*/ 290243 w 1573156"/>
                <a:gd name="connsiteY166" fmla="*/ 2299720 h 3641849"/>
                <a:gd name="connsiteX167" fmla="*/ 256991 w 1573156"/>
                <a:gd name="connsiteY167" fmla="*/ 2266106 h 3641849"/>
                <a:gd name="connsiteX168" fmla="*/ 218196 w 1573156"/>
                <a:gd name="connsiteY168" fmla="*/ 2242835 h 3641849"/>
                <a:gd name="connsiteX169" fmla="*/ 176631 w 1573156"/>
                <a:gd name="connsiteY169" fmla="*/ 2250592 h 3641849"/>
                <a:gd name="connsiteX170" fmla="*/ 122255 w 1573156"/>
                <a:gd name="connsiteY170"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052276 w 1573156"/>
                <a:gd name="connsiteY135" fmla="*/ 3145242 h 3641849"/>
                <a:gd name="connsiteX136" fmla="*/ 1021794 w 1573156"/>
                <a:gd name="connsiteY136" fmla="*/ 3080601 h 3641849"/>
                <a:gd name="connsiteX137" fmla="*/ 1043963 w 1573156"/>
                <a:gd name="connsiteY137" fmla="*/ 3028886 h 3641849"/>
                <a:gd name="connsiteX138" fmla="*/ 1016252 w 1573156"/>
                <a:gd name="connsiteY138" fmla="*/ 3026300 h 3641849"/>
                <a:gd name="connsiteX139" fmla="*/ 1031704 w 1573156"/>
                <a:gd name="connsiteY139" fmla="*/ 2992878 h 3641849"/>
                <a:gd name="connsiteX140" fmla="*/ 914211 w 1573156"/>
                <a:gd name="connsiteY140" fmla="*/ 2928233 h 3641849"/>
                <a:gd name="connsiteX141" fmla="*/ 858304 w 1573156"/>
                <a:gd name="connsiteY141" fmla="*/ 2909943 h 3641849"/>
                <a:gd name="connsiteX142" fmla="*/ 827823 w 1573156"/>
                <a:gd name="connsiteY142" fmla="*/ 2881501 h 3641849"/>
                <a:gd name="connsiteX143" fmla="*/ 761317 w 1573156"/>
                <a:gd name="connsiteY143" fmla="*/ 2897015 h 3641849"/>
                <a:gd name="connsiteX144" fmla="*/ 700355 w 1573156"/>
                <a:gd name="connsiteY144" fmla="*/ 2891844 h 3641849"/>
                <a:gd name="connsiteX145" fmla="*/ 658790 w 1573156"/>
                <a:gd name="connsiteY145" fmla="*/ 2827201 h 3641849"/>
                <a:gd name="connsiteX146" fmla="*/ 656019 w 1573156"/>
                <a:gd name="connsiteY146" fmla="*/ 2785830 h 3641849"/>
                <a:gd name="connsiteX147" fmla="*/ 631080 w 1573156"/>
                <a:gd name="connsiteY147" fmla="*/ 2772902 h 3641849"/>
                <a:gd name="connsiteX148" fmla="*/ 567346 w 1573156"/>
                <a:gd name="connsiteY148" fmla="*/ 2759974 h 3641849"/>
                <a:gd name="connsiteX149" fmla="*/ 586743 w 1573156"/>
                <a:gd name="connsiteY149" fmla="*/ 2721188 h 3641849"/>
                <a:gd name="connsiteX150" fmla="*/ 557777 w 1573156"/>
                <a:gd name="connsiteY150" fmla="*/ 2715007 h 3641849"/>
                <a:gd name="connsiteX151" fmla="*/ 531809 w 1573156"/>
                <a:gd name="connsiteY151" fmla="*/ 2672771 h 3641849"/>
                <a:gd name="connsiteX152" fmla="*/ 414939 w 1573156"/>
                <a:gd name="connsiteY152" fmla="*/ 2682402 h 3641849"/>
                <a:gd name="connsiteX153" fmla="*/ 390000 w 1573156"/>
                <a:gd name="connsiteY153" fmla="*/ 2672059 h 3641849"/>
                <a:gd name="connsiteX154" fmla="*/ 367832 w 1573156"/>
                <a:gd name="connsiteY154" fmla="*/ 2684989 h 3641849"/>
                <a:gd name="connsiteX155" fmla="*/ 351205 w 1573156"/>
                <a:gd name="connsiteY155" fmla="*/ 2622932 h 3641849"/>
                <a:gd name="connsiteX156" fmla="*/ 340121 w 1573156"/>
                <a:gd name="connsiteY156" fmla="*/ 2597075 h 3641849"/>
                <a:gd name="connsiteX157" fmla="*/ 353976 w 1573156"/>
                <a:gd name="connsiteY157" fmla="*/ 2578974 h 3641849"/>
                <a:gd name="connsiteX158" fmla="*/ 381687 w 1573156"/>
                <a:gd name="connsiteY158" fmla="*/ 2581561 h 3641849"/>
                <a:gd name="connsiteX159" fmla="*/ 414939 w 1573156"/>
                <a:gd name="connsiteY159" fmla="*/ 2563461 h 3641849"/>
                <a:gd name="connsiteX160" fmla="*/ 412168 w 1573156"/>
                <a:gd name="connsiteY160" fmla="*/ 2537603 h 3641849"/>
                <a:gd name="connsiteX161" fmla="*/ 362289 w 1573156"/>
                <a:gd name="connsiteY161" fmla="*/ 2501404 h 3641849"/>
                <a:gd name="connsiteX162" fmla="*/ 338946 w 1573156"/>
                <a:gd name="connsiteY162" fmla="*/ 2513491 h 3641849"/>
                <a:gd name="connsiteX163" fmla="*/ 340121 w 1573156"/>
                <a:gd name="connsiteY163" fmla="*/ 2467790 h 3641849"/>
                <a:gd name="connsiteX164" fmla="*/ 306869 w 1573156"/>
                <a:gd name="connsiteY164" fmla="*/ 2429005 h 3641849"/>
                <a:gd name="connsiteX165" fmla="*/ 309641 w 1573156"/>
                <a:gd name="connsiteY165" fmla="*/ 2351433 h 3641849"/>
                <a:gd name="connsiteX166" fmla="*/ 290243 w 1573156"/>
                <a:gd name="connsiteY166" fmla="*/ 2299720 h 3641849"/>
                <a:gd name="connsiteX167" fmla="*/ 256991 w 1573156"/>
                <a:gd name="connsiteY167" fmla="*/ 2266106 h 3641849"/>
                <a:gd name="connsiteX168" fmla="*/ 218196 w 1573156"/>
                <a:gd name="connsiteY168" fmla="*/ 2242835 h 3641849"/>
                <a:gd name="connsiteX169" fmla="*/ 176631 w 1573156"/>
                <a:gd name="connsiteY169" fmla="*/ 2250592 h 3641849"/>
                <a:gd name="connsiteX170" fmla="*/ 122255 w 1573156"/>
                <a:gd name="connsiteY170"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052276 w 1573156"/>
                <a:gd name="connsiteY135" fmla="*/ 3145242 h 3641849"/>
                <a:gd name="connsiteX136" fmla="*/ 994084 w 1573156"/>
                <a:gd name="connsiteY136" fmla="*/ 3168513 h 3641849"/>
                <a:gd name="connsiteX137" fmla="*/ 1021794 w 1573156"/>
                <a:gd name="connsiteY137" fmla="*/ 3080601 h 3641849"/>
                <a:gd name="connsiteX138" fmla="*/ 1043963 w 1573156"/>
                <a:gd name="connsiteY138" fmla="*/ 3028886 h 3641849"/>
                <a:gd name="connsiteX139" fmla="*/ 1016252 w 1573156"/>
                <a:gd name="connsiteY139" fmla="*/ 3026300 h 3641849"/>
                <a:gd name="connsiteX140" fmla="*/ 1031704 w 1573156"/>
                <a:gd name="connsiteY140" fmla="*/ 2992878 h 3641849"/>
                <a:gd name="connsiteX141" fmla="*/ 914211 w 1573156"/>
                <a:gd name="connsiteY141" fmla="*/ 2928233 h 3641849"/>
                <a:gd name="connsiteX142" fmla="*/ 858304 w 1573156"/>
                <a:gd name="connsiteY142" fmla="*/ 2909943 h 3641849"/>
                <a:gd name="connsiteX143" fmla="*/ 827823 w 1573156"/>
                <a:gd name="connsiteY143" fmla="*/ 2881501 h 3641849"/>
                <a:gd name="connsiteX144" fmla="*/ 761317 w 1573156"/>
                <a:gd name="connsiteY144" fmla="*/ 2897015 h 3641849"/>
                <a:gd name="connsiteX145" fmla="*/ 700355 w 1573156"/>
                <a:gd name="connsiteY145" fmla="*/ 2891844 h 3641849"/>
                <a:gd name="connsiteX146" fmla="*/ 658790 w 1573156"/>
                <a:gd name="connsiteY146" fmla="*/ 2827201 h 3641849"/>
                <a:gd name="connsiteX147" fmla="*/ 656019 w 1573156"/>
                <a:gd name="connsiteY147" fmla="*/ 2785830 h 3641849"/>
                <a:gd name="connsiteX148" fmla="*/ 631080 w 1573156"/>
                <a:gd name="connsiteY148" fmla="*/ 2772902 h 3641849"/>
                <a:gd name="connsiteX149" fmla="*/ 567346 w 1573156"/>
                <a:gd name="connsiteY149" fmla="*/ 2759974 h 3641849"/>
                <a:gd name="connsiteX150" fmla="*/ 586743 w 1573156"/>
                <a:gd name="connsiteY150" fmla="*/ 2721188 h 3641849"/>
                <a:gd name="connsiteX151" fmla="*/ 557777 w 1573156"/>
                <a:gd name="connsiteY151" fmla="*/ 2715007 h 3641849"/>
                <a:gd name="connsiteX152" fmla="*/ 531809 w 1573156"/>
                <a:gd name="connsiteY152" fmla="*/ 2672771 h 3641849"/>
                <a:gd name="connsiteX153" fmla="*/ 414939 w 1573156"/>
                <a:gd name="connsiteY153" fmla="*/ 2682402 h 3641849"/>
                <a:gd name="connsiteX154" fmla="*/ 390000 w 1573156"/>
                <a:gd name="connsiteY154" fmla="*/ 2672059 h 3641849"/>
                <a:gd name="connsiteX155" fmla="*/ 367832 w 1573156"/>
                <a:gd name="connsiteY155" fmla="*/ 2684989 h 3641849"/>
                <a:gd name="connsiteX156" fmla="*/ 351205 w 1573156"/>
                <a:gd name="connsiteY156" fmla="*/ 2622932 h 3641849"/>
                <a:gd name="connsiteX157" fmla="*/ 340121 w 1573156"/>
                <a:gd name="connsiteY157" fmla="*/ 2597075 h 3641849"/>
                <a:gd name="connsiteX158" fmla="*/ 353976 w 1573156"/>
                <a:gd name="connsiteY158" fmla="*/ 2578974 h 3641849"/>
                <a:gd name="connsiteX159" fmla="*/ 381687 w 1573156"/>
                <a:gd name="connsiteY159" fmla="*/ 2581561 h 3641849"/>
                <a:gd name="connsiteX160" fmla="*/ 414939 w 1573156"/>
                <a:gd name="connsiteY160" fmla="*/ 2563461 h 3641849"/>
                <a:gd name="connsiteX161" fmla="*/ 412168 w 1573156"/>
                <a:gd name="connsiteY161" fmla="*/ 2537603 h 3641849"/>
                <a:gd name="connsiteX162" fmla="*/ 362289 w 1573156"/>
                <a:gd name="connsiteY162" fmla="*/ 2501404 h 3641849"/>
                <a:gd name="connsiteX163" fmla="*/ 338946 w 1573156"/>
                <a:gd name="connsiteY163" fmla="*/ 2513491 h 3641849"/>
                <a:gd name="connsiteX164" fmla="*/ 340121 w 1573156"/>
                <a:gd name="connsiteY164" fmla="*/ 2467790 h 3641849"/>
                <a:gd name="connsiteX165" fmla="*/ 306869 w 1573156"/>
                <a:gd name="connsiteY165" fmla="*/ 2429005 h 3641849"/>
                <a:gd name="connsiteX166" fmla="*/ 309641 w 1573156"/>
                <a:gd name="connsiteY166" fmla="*/ 2351433 h 3641849"/>
                <a:gd name="connsiteX167" fmla="*/ 290243 w 1573156"/>
                <a:gd name="connsiteY167" fmla="*/ 2299720 h 3641849"/>
                <a:gd name="connsiteX168" fmla="*/ 256991 w 1573156"/>
                <a:gd name="connsiteY168" fmla="*/ 2266106 h 3641849"/>
                <a:gd name="connsiteX169" fmla="*/ 218196 w 1573156"/>
                <a:gd name="connsiteY169" fmla="*/ 2242835 h 3641849"/>
                <a:gd name="connsiteX170" fmla="*/ 176631 w 1573156"/>
                <a:gd name="connsiteY170" fmla="*/ 2250592 h 3641849"/>
                <a:gd name="connsiteX171" fmla="*/ 122255 w 1573156"/>
                <a:gd name="connsiteY171"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052276 w 1573156"/>
                <a:gd name="connsiteY135" fmla="*/ 3145242 h 3641849"/>
                <a:gd name="connsiteX136" fmla="*/ 994084 w 1573156"/>
                <a:gd name="connsiteY136" fmla="*/ 3168513 h 3641849"/>
                <a:gd name="connsiteX137" fmla="*/ 1019023 w 1573156"/>
                <a:gd name="connsiteY137" fmla="*/ 3067671 h 3641849"/>
                <a:gd name="connsiteX138" fmla="*/ 1043963 w 1573156"/>
                <a:gd name="connsiteY138" fmla="*/ 3028886 h 3641849"/>
                <a:gd name="connsiteX139" fmla="*/ 1016252 w 1573156"/>
                <a:gd name="connsiteY139" fmla="*/ 3026300 h 3641849"/>
                <a:gd name="connsiteX140" fmla="*/ 1031704 w 1573156"/>
                <a:gd name="connsiteY140" fmla="*/ 2992878 h 3641849"/>
                <a:gd name="connsiteX141" fmla="*/ 914211 w 1573156"/>
                <a:gd name="connsiteY141" fmla="*/ 2928233 h 3641849"/>
                <a:gd name="connsiteX142" fmla="*/ 858304 w 1573156"/>
                <a:gd name="connsiteY142" fmla="*/ 2909943 h 3641849"/>
                <a:gd name="connsiteX143" fmla="*/ 827823 w 1573156"/>
                <a:gd name="connsiteY143" fmla="*/ 2881501 h 3641849"/>
                <a:gd name="connsiteX144" fmla="*/ 761317 w 1573156"/>
                <a:gd name="connsiteY144" fmla="*/ 2897015 h 3641849"/>
                <a:gd name="connsiteX145" fmla="*/ 700355 w 1573156"/>
                <a:gd name="connsiteY145" fmla="*/ 2891844 h 3641849"/>
                <a:gd name="connsiteX146" fmla="*/ 658790 w 1573156"/>
                <a:gd name="connsiteY146" fmla="*/ 2827201 h 3641849"/>
                <a:gd name="connsiteX147" fmla="*/ 656019 w 1573156"/>
                <a:gd name="connsiteY147" fmla="*/ 2785830 h 3641849"/>
                <a:gd name="connsiteX148" fmla="*/ 631080 w 1573156"/>
                <a:gd name="connsiteY148" fmla="*/ 2772902 h 3641849"/>
                <a:gd name="connsiteX149" fmla="*/ 567346 w 1573156"/>
                <a:gd name="connsiteY149" fmla="*/ 2759974 h 3641849"/>
                <a:gd name="connsiteX150" fmla="*/ 586743 w 1573156"/>
                <a:gd name="connsiteY150" fmla="*/ 2721188 h 3641849"/>
                <a:gd name="connsiteX151" fmla="*/ 557777 w 1573156"/>
                <a:gd name="connsiteY151" fmla="*/ 2715007 h 3641849"/>
                <a:gd name="connsiteX152" fmla="*/ 531809 w 1573156"/>
                <a:gd name="connsiteY152" fmla="*/ 2672771 h 3641849"/>
                <a:gd name="connsiteX153" fmla="*/ 414939 w 1573156"/>
                <a:gd name="connsiteY153" fmla="*/ 2682402 h 3641849"/>
                <a:gd name="connsiteX154" fmla="*/ 390000 w 1573156"/>
                <a:gd name="connsiteY154" fmla="*/ 2672059 h 3641849"/>
                <a:gd name="connsiteX155" fmla="*/ 367832 w 1573156"/>
                <a:gd name="connsiteY155" fmla="*/ 2684989 h 3641849"/>
                <a:gd name="connsiteX156" fmla="*/ 351205 w 1573156"/>
                <a:gd name="connsiteY156" fmla="*/ 2622932 h 3641849"/>
                <a:gd name="connsiteX157" fmla="*/ 340121 w 1573156"/>
                <a:gd name="connsiteY157" fmla="*/ 2597075 h 3641849"/>
                <a:gd name="connsiteX158" fmla="*/ 353976 w 1573156"/>
                <a:gd name="connsiteY158" fmla="*/ 2578974 h 3641849"/>
                <a:gd name="connsiteX159" fmla="*/ 381687 w 1573156"/>
                <a:gd name="connsiteY159" fmla="*/ 2581561 h 3641849"/>
                <a:gd name="connsiteX160" fmla="*/ 414939 w 1573156"/>
                <a:gd name="connsiteY160" fmla="*/ 2563461 h 3641849"/>
                <a:gd name="connsiteX161" fmla="*/ 412168 w 1573156"/>
                <a:gd name="connsiteY161" fmla="*/ 2537603 h 3641849"/>
                <a:gd name="connsiteX162" fmla="*/ 362289 w 1573156"/>
                <a:gd name="connsiteY162" fmla="*/ 2501404 h 3641849"/>
                <a:gd name="connsiteX163" fmla="*/ 338946 w 1573156"/>
                <a:gd name="connsiteY163" fmla="*/ 2513491 h 3641849"/>
                <a:gd name="connsiteX164" fmla="*/ 340121 w 1573156"/>
                <a:gd name="connsiteY164" fmla="*/ 2467790 h 3641849"/>
                <a:gd name="connsiteX165" fmla="*/ 306869 w 1573156"/>
                <a:gd name="connsiteY165" fmla="*/ 2429005 h 3641849"/>
                <a:gd name="connsiteX166" fmla="*/ 309641 w 1573156"/>
                <a:gd name="connsiteY166" fmla="*/ 2351433 h 3641849"/>
                <a:gd name="connsiteX167" fmla="*/ 290243 w 1573156"/>
                <a:gd name="connsiteY167" fmla="*/ 2299720 h 3641849"/>
                <a:gd name="connsiteX168" fmla="*/ 256991 w 1573156"/>
                <a:gd name="connsiteY168" fmla="*/ 2266106 h 3641849"/>
                <a:gd name="connsiteX169" fmla="*/ 218196 w 1573156"/>
                <a:gd name="connsiteY169" fmla="*/ 2242835 h 3641849"/>
                <a:gd name="connsiteX170" fmla="*/ 176631 w 1573156"/>
                <a:gd name="connsiteY170" fmla="*/ 2250592 h 3641849"/>
                <a:gd name="connsiteX171" fmla="*/ 122255 w 1573156"/>
                <a:gd name="connsiteY171"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1052276 w 1573156"/>
                <a:gd name="connsiteY135" fmla="*/ 3145242 h 3641849"/>
                <a:gd name="connsiteX136" fmla="*/ 994084 w 1573156"/>
                <a:gd name="connsiteY136" fmla="*/ 3168513 h 3641849"/>
                <a:gd name="connsiteX137" fmla="*/ 1027336 w 1573156"/>
                <a:gd name="connsiteY137" fmla="*/ 3114213 h 3641849"/>
                <a:gd name="connsiteX138" fmla="*/ 1019023 w 1573156"/>
                <a:gd name="connsiteY138" fmla="*/ 3067671 h 3641849"/>
                <a:gd name="connsiteX139" fmla="*/ 1043963 w 1573156"/>
                <a:gd name="connsiteY139" fmla="*/ 3028886 h 3641849"/>
                <a:gd name="connsiteX140" fmla="*/ 1016252 w 1573156"/>
                <a:gd name="connsiteY140" fmla="*/ 3026300 h 3641849"/>
                <a:gd name="connsiteX141" fmla="*/ 1031704 w 1573156"/>
                <a:gd name="connsiteY141" fmla="*/ 2992878 h 3641849"/>
                <a:gd name="connsiteX142" fmla="*/ 914211 w 1573156"/>
                <a:gd name="connsiteY142" fmla="*/ 2928233 h 3641849"/>
                <a:gd name="connsiteX143" fmla="*/ 858304 w 1573156"/>
                <a:gd name="connsiteY143" fmla="*/ 2909943 h 3641849"/>
                <a:gd name="connsiteX144" fmla="*/ 827823 w 1573156"/>
                <a:gd name="connsiteY144" fmla="*/ 2881501 h 3641849"/>
                <a:gd name="connsiteX145" fmla="*/ 761317 w 1573156"/>
                <a:gd name="connsiteY145" fmla="*/ 2897015 h 3641849"/>
                <a:gd name="connsiteX146" fmla="*/ 700355 w 1573156"/>
                <a:gd name="connsiteY146" fmla="*/ 2891844 h 3641849"/>
                <a:gd name="connsiteX147" fmla="*/ 658790 w 1573156"/>
                <a:gd name="connsiteY147" fmla="*/ 2827201 h 3641849"/>
                <a:gd name="connsiteX148" fmla="*/ 656019 w 1573156"/>
                <a:gd name="connsiteY148" fmla="*/ 2785830 h 3641849"/>
                <a:gd name="connsiteX149" fmla="*/ 631080 w 1573156"/>
                <a:gd name="connsiteY149" fmla="*/ 2772902 h 3641849"/>
                <a:gd name="connsiteX150" fmla="*/ 567346 w 1573156"/>
                <a:gd name="connsiteY150" fmla="*/ 2759974 h 3641849"/>
                <a:gd name="connsiteX151" fmla="*/ 586743 w 1573156"/>
                <a:gd name="connsiteY151" fmla="*/ 2721188 h 3641849"/>
                <a:gd name="connsiteX152" fmla="*/ 557777 w 1573156"/>
                <a:gd name="connsiteY152" fmla="*/ 2715007 h 3641849"/>
                <a:gd name="connsiteX153" fmla="*/ 531809 w 1573156"/>
                <a:gd name="connsiteY153" fmla="*/ 2672771 h 3641849"/>
                <a:gd name="connsiteX154" fmla="*/ 414939 w 1573156"/>
                <a:gd name="connsiteY154" fmla="*/ 2682402 h 3641849"/>
                <a:gd name="connsiteX155" fmla="*/ 390000 w 1573156"/>
                <a:gd name="connsiteY155" fmla="*/ 2672059 h 3641849"/>
                <a:gd name="connsiteX156" fmla="*/ 367832 w 1573156"/>
                <a:gd name="connsiteY156" fmla="*/ 2684989 h 3641849"/>
                <a:gd name="connsiteX157" fmla="*/ 351205 w 1573156"/>
                <a:gd name="connsiteY157" fmla="*/ 2622932 h 3641849"/>
                <a:gd name="connsiteX158" fmla="*/ 340121 w 1573156"/>
                <a:gd name="connsiteY158" fmla="*/ 2597075 h 3641849"/>
                <a:gd name="connsiteX159" fmla="*/ 353976 w 1573156"/>
                <a:gd name="connsiteY159" fmla="*/ 2578974 h 3641849"/>
                <a:gd name="connsiteX160" fmla="*/ 381687 w 1573156"/>
                <a:gd name="connsiteY160" fmla="*/ 2581561 h 3641849"/>
                <a:gd name="connsiteX161" fmla="*/ 414939 w 1573156"/>
                <a:gd name="connsiteY161" fmla="*/ 2563461 h 3641849"/>
                <a:gd name="connsiteX162" fmla="*/ 412168 w 1573156"/>
                <a:gd name="connsiteY162" fmla="*/ 2537603 h 3641849"/>
                <a:gd name="connsiteX163" fmla="*/ 362289 w 1573156"/>
                <a:gd name="connsiteY163" fmla="*/ 2501404 h 3641849"/>
                <a:gd name="connsiteX164" fmla="*/ 338946 w 1573156"/>
                <a:gd name="connsiteY164" fmla="*/ 2513491 h 3641849"/>
                <a:gd name="connsiteX165" fmla="*/ 340121 w 1573156"/>
                <a:gd name="connsiteY165" fmla="*/ 2467790 h 3641849"/>
                <a:gd name="connsiteX166" fmla="*/ 306869 w 1573156"/>
                <a:gd name="connsiteY166" fmla="*/ 2429005 h 3641849"/>
                <a:gd name="connsiteX167" fmla="*/ 309641 w 1573156"/>
                <a:gd name="connsiteY167" fmla="*/ 2351433 h 3641849"/>
                <a:gd name="connsiteX168" fmla="*/ 290243 w 1573156"/>
                <a:gd name="connsiteY168" fmla="*/ 2299720 h 3641849"/>
                <a:gd name="connsiteX169" fmla="*/ 256991 w 1573156"/>
                <a:gd name="connsiteY169" fmla="*/ 2266106 h 3641849"/>
                <a:gd name="connsiteX170" fmla="*/ 218196 w 1573156"/>
                <a:gd name="connsiteY170" fmla="*/ 2242835 h 3641849"/>
                <a:gd name="connsiteX171" fmla="*/ 176631 w 1573156"/>
                <a:gd name="connsiteY171" fmla="*/ 2250592 h 3641849"/>
                <a:gd name="connsiteX172" fmla="*/ 122255 w 1573156"/>
                <a:gd name="connsiteY172"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794570 w 1573156"/>
                <a:gd name="connsiteY135" fmla="*/ 3274526 h 3641849"/>
                <a:gd name="connsiteX136" fmla="*/ 994084 w 1573156"/>
                <a:gd name="connsiteY136" fmla="*/ 3168513 h 3641849"/>
                <a:gd name="connsiteX137" fmla="*/ 1027336 w 1573156"/>
                <a:gd name="connsiteY137" fmla="*/ 3114213 h 3641849"/>
                <a:gd name="connsiteX138" fmla="*/ 1019023 w 1573156"/>
                <a:gd name="connsiteY138" fmla="*/ 3067671 h 3641849"/>
                <a:gd name="connsiteX139" fmla="*/ 1043963 w 1573156"/>
                <a:gd name="connsiteY139" fmla="*/ 3028886 h 3641849"/>
                <a:gd name="connsiteX140" fmla="*/ 1016252 w 1573156"/>
                <a:gd name="connsiteY140" fmla="*/ 3026300 h 3641849"/>
                <a:gd name="connsiteX141" fmla="*/ 1031704 w 1573156"/>
                <a:gd name="connsiteY141" fmla="*/ 2992878 h 3641849"/>
                <a:gd name="connsiteX142" fmla="*/ 914211 w 1573156"/>
                <a:gd name="connsiteY142" fmla="*/ 2928233 h 3641849"/>
                <a:gd name="connsiteX143" fmla="*/ 858304 w 1573156"/>
                <a:gd name="connsiteY143" fmla="*/ 2909943 h 3641849"/>
                <a:gd name="connsiteX144" fmla="*/ 827823 w 1573156"/>
                <a:gd name="connsiteY144" fmla="*/ 2881501 h 3641849"/>
                <a:gd name="connsiteX145" fmla="*/ 761317 w 1573156"/>
                <a:gd name="connsiteY145" fmla="*/ 2897015 h 3641849"/>
                <a:gd name="connsiteX146" fmla="*/ 700355 w 1573156"/>
                <a:gd name="connsiteY146" fmla="*/ 2891844 h 3641849"/>
                <a:gd name="connsiteX147" fmla="*/ 658790 w 1573156"/>
                <a:gd name="connsiteY147" fmla="*/ 2827201 h 3641849"/>
                <a:gd name="connsiteX148" fmla="*/ 656019 w 1573156"/>
                <a:gd name="connsiteY148" fmla="*/ 2785830 h 3641849"/>
                <a:gd name="connsiteX149" fmla="*/ 631080 w 1573156"/>
                <a:gd name="connsiteY149" fmla="*/ 2772902 h 3641849"/>
                <a:gd name="connsiteX150" fmla="*/ 567346 w 1573156"/>
                <a:gd name="connsiteY150" fmla="*/ 2759974 h 3641849"/>
                <a:gd name="connsiteX151" fmla="*/ 586743 w 1573156"/>
                <a:gd name="connsiteY151" fmla="*/ 2721188 h 3641849"/>
                <a:gd name="connsiteX152" fmla="*/ 557777 w 1573156"/>
                <a:gd name="connsiteY152" fmla="*/ 2715007 h 3641849"/>
                <a:gd name="connsiteX153" fmla="*/ 531809 w 1573156"/>
                <a:gd name="connsiteY153" fmla="*/ 2672771 h 3641849"/>
                <a:gd name="connsiteX154" fmla="*/ 414939 w 1573156"/>
                <a:gd name="connsiteY154" fmla="*/ 2682402 h 3641849"/>
                <a:gd name="connsiteX155" fmla="*/ 390000 w 1573156"/>
                <a:gd name="connsiteY155" fmla="*/ 2672059 h 3641849"/>
                <a:gd name="connsiteX156" fmla="*/ 367832 w 1573156"/>
                <a:gd name="connsiteY156" fmla="*/ 2684989 h 3641849"/>
                <a:gd name="connsiteX157" fmla="*/ 351205 w 1573156"/>
                <a:gd name="connsiteY157" fmla="*/ 2622932 h 3641849"/>
                <a:gd name="connsiteX158" fmla="*/ 340121 w 1573156"/>
                <a:gd name="connsiteY158" fmla="*/ 2597075 h 3641849"/>
                <a:gd name="connsiteX159" fmla="*/ 353976 w 1573156"/>
                <a:gd name="connsiteY159" fmla="*/ 2578974 h 3641849"/>
                <a:gd name="connsiteX160" fmla="*/ 381687 w 1573156"/>
                <a:gd name="connsiteY160" fmla="*/ 2581561 h 3641849"/>
                <a:gd name="connsiteX161" fmla="*/ 414939 w 1573156"/>
                <a:gd name="connsiteY161" fmla="*/ 2563461 h 3641849"/>
                <a:gd name="connsiteX162" fmla="*/ 412168 w 1573156"/>
                <a:gd name="connsiteY162" fmla="*/ 2537603 h 3641849"/>
                <a:gd name="connsiteX163" fmla="*/ 362289 w 1573156"/>
                <a:gd name="connsiteY163" fmla="*/ 2501404 h 3641849"/>
                <a:gd name="connsiteX164" fmla="*/ 338946 w 1573156"/>
                <a:gd name="connsiteY164" fmla="*/ 2513491 h 3641849"/>
                <a:gd name="connsiteX165" fmla="*/ 340121 w 1573156"/>
                <a:gd name="connsiteY165" fmla="*/ 2467790 h 3641849"/>
                <a:gd name="connsiteX166" fmla="*/ 306869 w 1573156"/>
                <a:gd name="connsiteY166" fmla="*/ 2429005 h 3641849"/>
                <a:gd name="connsiteX167" fmla="*/ 309641 w 1573156"/>
                <a:gd name="connsiteY167" fmla="*/ 2351433 h 3641849"/>
                <a:gd name="connsiteX168" fmla="*/ 290243 w 1573156"/>
                <a:gd name="connsiteY168" fmla="*/ 2299720 h 3641849"/>
                <a:gd name="connsiteX169" fmla="*/ 256991 w 1573156"/>
                <a:gd name="connsiteY169" fmla="*/ 2266106 h 3641849"/>
                <a:gd name="connsiteX170" fmla="*/ 218196 w 1573156"/>
                <a:gd name="connsiteY170" fmla="*/ 2242835 h 3641849"/>
                <a:gd name="connsiteX171" fmla="*/ 176631 w 1573156"/>
                <a:gd name="connsiteY171" fmla="*/ 2250592 h 3641849"/>
                <a:gd name="connsiteX172" fmla="*/ 122255 w 1573156"/>
                <a:gd name="connsiteY172"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794570 w 1573156"/>
                <a:gd name="connsiteY135" fmla="*/ 3274526 h 3641849"/>
                <a:gd name="connsiteX136" fmla="*/ 960831 w 1573156"/>
                <a:gd name="connsiteY136" fmla="*/ 3165928 h 3641849"/>
                <a:gd name="connsiteX137" fmla="*/ 1027336 w 1573156"/>
                <a:gd name="connsiteY137" fmla="*/ 3114213 h 3641849"/>
                <a:gd name="connsiteX138" fmla="*/ 1019023 w 1573156"/>
                <a:gd name="connsiteY138" fmla="*/ 3067671 h 3641849"/>
                <a:gd name="connsiteX139" fmla="*/ 1043963 w 1573156"/>
                <a:gd name="connsiteY139" fmla="*/ 3028886 h 3641849"/>
                <a:gd name="connsiteX140" fmla="*/ 1016252 w 1573156"/>
                <a:gd name="connsiteY140" fmla="*/ 3026300 h 3641849"/>
                <a:gd name="connsiteX141" fmla="*/ 1031704 w 1573156"/>
                <a:gd name="connsiteY141" fmla="*/ 2992878 h 3641849"/>
                <a:gd name="connsiteX142" fmla="*/ 914211 w 1573156"/>
                <a:gd name="connsiteY142" fmla="*/ 2928233 h 3641849"/>
                <a:gd name="connsiteX143" fmla="*/ 858304 w 1573156"/>
                <a:gd name="connsiteY143" fmla="*/ 2909943 h 3641849"/>
                <a:gd name="connsiteX144" fmla="*/ 827823 w 1573156"/>
                <a:gd name="connsiteY144" fmla="*/ 2881501 h 3641849"/>
                <a:gd name="connsiteX145" fmla="*/ 761317 w 1573156"/>
                <a:gd name="connsiteY145" fmla="*/ 2897015 h 3641849"/>
                <a:gd name="connsiteX146" fmla="*/ 700355 w 1573156"/>
                <a:gd name="connsiteY146" fmla="*/ 2891844 h 3641849"/>
                <a:gd name="connsiteX147" fmla="*/ 658790 w 1573156"/>
                <a:gd name="connsiteY147" fmla="*/ 2827201 h 3641849"/>
                <a:gd name="connsiteX148" fmla="*/ 656019 w 1573156"/>
                <a:gd name="connsiteY148" fmla="*/ 2785830 h 3641849"/>
                <a:gd name="connsiteX149" fmla="*/ 631080 w 1573156"/>
                <a:gd name="connsiteY149" fmla="*/ 2772902 h 3641849"/>
                <a:gd name="connsiteX150" fmla="*/ 567346 w 1573156"/>
                <a:gd name="connsiteY150" fmla="*/ 2759974 h 3641849"/>
                <a:gd name="connsiteX151" fmla="*/ 586743 w 1573156"/>
                <a:gd name="connsiteY151" fmla="*/ 2721188 h 3641849"/>
                <a:gd name="connsiteX152" fmla="*/ 557777 w 1573156"/>
                <a:gd name="connsiteY152" fmla="*/ 2715007 h 3641849"/>
                <a:gd name="connsiteX153" fmla="*/ 531809 w 1573156"/>
                <a:gd name="connsiteY153" fmla="*/ 2672771 h 3641849"/>
                <a:gd name="connsiteX154" fmla="*/ 414939 w 1573156"/>
                <a:gd name="connsiteY154" fmla="*/ 2682402 h 3641849"/>
                <a:gd name="connsiteX155" fmla="*/ 390000 w 1573156"/>
                <a:gd name="connsiteY155" fmla="*/ 2672059 h 3641849"/>
                <a:gd name="connsiteX156" fmla="*/ 367832 w 1573156"/>
                <a:gd name="connsiteY156" fmla="*/ 2684989 h 3641849"/>
                <a:gd name="connsiteX157" fmla="*/ 351205 w 1573156"/>
                <a:gd name="connsiteY157" fmla="*/ 2622932 h 3641849"/>
                <a:gd name="connsiteX158" fmla="*/ 340121 w 1573156"/>
                <a:gd name="connsiteY158" fmla="*/ 2597075 h 3641849"/>
                <a:gd name="connsiteX159" fmla="*/ 353976 w 1573156"/>
                <a:gd name="connsiteY159" fmla="*/ 2578974 h 3641849"/>
                <a:gd name="connsiteX160" fmla="*/ 381687 w 1573156"/>
                <a:gd name="connsiteY160" fmla="*/ 2581561 h 3641849"/>
                <a:gd name="connsiteX161" fmla="*/ 414939 w 1573156"/>
                <a:gd name="connsiteY161" fmla="*/ 2563461 h 3641849"/>
                <a:gd name="connsiteX162" fmla="*/ 412168 w 1573156"/>
                <a:gd name="connsiteY162" fmla="*/ 2537603 h 3641849"/>
                <a:gd name="connsiteX163" fmla="*/ 362289 w 1573156"/>
                <a:gd name="connsiteY163" fmla="*/ 2501404 h 3641849"/>
                <a:gd name="connsiteX164" fmla="*/ 338946 w 1573156"/>
                <a:gd name="connsiteY164" fmla="*/ 2513491 h 3641849"/>
                <a:gd name="connsiteX165" fmla="*/ 340121 w 1573156"/>
                <a:gd name="connsiteY165" fmla="*/ 2467790 h 3641849"/>
                <a:gd name="connsiteX166" fmla="*/ 306869 w 1573156"/>
                <a:gd name="connsiteY166" fmla="*/ 2429005 h 3641849"/>
                <a:gd name="connsiteX167" fmla="*/ 309641 w 1573156"/>
                <a:gd name="connsiteY167" fmla="*/ 2351433 h 3641849"/>
                <a:gd name="connsiteX168" fmla="*/ 290243 w 1573156"/>
                <a:gd name="connsiteY168" fmla="*/ 2299720 h 3641849"/>
                <a:gd name="connsiteX169" fmla="*/ 256991 w 1573156"/>
                <a:gd name="connsiteY169" fmla="*/ 2266106 h 3641849"/>
                <a:gd name="connsiteX170" fmla="*/ 218196 w 1573156"/>
                <a:gd name="connsiteY170" fmla="*/ 2242835 h 3641849"/>
                <a:gd name="connsiteX171" fmla="*/ 176631 w 1573156"/>
                <a:gd name="connsiteY171" fmla="*/ 2250592 h 3641849"/>
                <a:gd name="connsiteX172" fmla="*/ 122255 w 1573156"/>
                <a:gd name="connsiteY172"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794570 w 1573156"/>
                <a:gd name="connsiteY135" fmla="*/ 3274526 h 3641849"/>
                <a:gd name="connsiteX136" fmla="*/ 960831 w 1573156"/>
                <a:gd name="connsiteY136" fmla="*/ 3165928 h 3641849"/>
                <a:gd name="connsiteX137" fmla="*/ 1024565 w 1573156"/>
                <a:gd name="connsiteY137" fmla="*/ 3114213 h 3641849"/>
                <a:gd name="connsiteX138" fmla="*/ 1019023 w 1573156"/>
                <a:gd name="connsiteY138" fmla="*/ 3067671 h 3641849"/>
                <a:gd name="connsiteX139" fmla="*/ 1043963 w 1573156"/>
                <a:gd name="connsiteY139" fmla="*/ 3028886 h 3641849"/>
                <a:gd name="connsiteX140" fmla="*/ 1016252 w 1573156"/>
                <a:gd name="connsiteY140" fmla="*/ 3026300 h 3641849"/>
                <a:gd name="connsiteX141" fmla="*/ 1031704 w 1573156"/>
                <a:gd name="connsiteY141" fmla="*/ 2992878 h 3641849"/>
                <a:gd name="connsiteX142" fmla="*/ 914211 w 1573156"/>
                <a:gd name="connsiteY142" fmla="*/ 2928233 h 3641849"/>
                <a:gd name="connsiteX143" fmla="*/ 858304 w 1573156"/>
                <a:gd name="connsiteY143" fmla="*/ 2909943 h 3641849"/>
                <a:gd name="connsiteX144" fmla="*/ 827823 w 1573156"/>
                <a:gd name="connsiteY144" fmla="*/ 2881501 h 3641849"/>
                <a:gd name="connsiteX145" fmla="*/ 761317 w 1573156"/>
                <a:gd name="connsiteY145" fmla="*/ 2897015 h 3641849"/>
                <a:gd name="connsiteX146" fmla="*/ 700355 w 1573156"/>
                <a:gd name="connsiteY146" fmla="*/ 2891844 h 3641849"/>
                <a:gd name="connsiteX147" fmla="*/ 658790 w 1573156"/>
                <a:gd name="connsiteY147" fmla="*/ 2827201 h 3641849"/>
                <a:gd name="connsiteX148" fmla="*/ 656019 w 1573156"/>
                <a:gd name="connsiteY148" fmla="*/ 2785830 h 3641849"/>
                <a:gd name="connsiteX149" fmla="*/ 631080 w 1573156"/>
                <a:gd name="connsiteY149" fmla="*/ 2772902 h 3641849"/>
                <a:gd name="connsiteX150" fmla="*/ 567346 w 1573156"/>
                <a:gd name="connsiteY150" fmla="*/ 2759974 h 3641849"/>
                <a:gd name="connsiteX151" fmla="*/ 586743 w 1573156"/>
                <a:gd name="connsiteY151" fmla="*/ 2721188 h 3641849"/>
                <a:gd name="connsiteX152" fmla="*/ 557777 w 1573156"/>
                <a:gd name="connsiteY152" fmla="*/ 2715007 h 3641849"/>
                <a:gd name="connsiteX153" fmla="*/ 531809 w 1573156"/>
                <a:gd name="connsiteY153" fmla="*/ 2672771 h 3641849"/>
                <a:gd name="connsiteX154" fmla="*/ 414939 w 1573156"/>
                <a:gd name="connsiteY154" fmla="*/ 2682402 h 3641849"/>
                <a:gd name="connsiteX155" fmla="*/ 390000 w 1573156"/>
                <a:gd name="connsiteY155" fmla="*/ 2672059 h 3641849"/>
                <a:gd name="connsiteX156" fmla="*/ 367832 w 1573156"/>
                <a:gd name="connsiteY156" fmla="*/ 2684989 h 3641849"/>
                <a:gd name="connsiteX157" fmla="*/ 351205 w 1573156"/>
                <a:gd name="connsiteY157" fmla="*/ 2622932 h 3641849"/>
                <a:gd name="connsiteX158" fmla="*/ 340121 w 1573156"/>
                <a:gd name="connsiteY158" fmla="*/ 2597075 h 3641849"/>
                <a:gd name="connsiteX159" fmla="*/ 353976 w 1573156"/>
                <a:gd name="connsiteY159" fmla="*/ 2578974 h 3641849"/>
                <a:gd name="connsiteX160" fmla="*/ 381687 w 1573156"/>
                <a:gd name="connsiteY160" fmla="*/ 2581561 h 3641849"/>
                <a:gd name="connsiteX161" fmla="*/ 414939 w 1573156"/>
                <a:gd name="connsiteY161" fmla="*/ 2563461 h 3641849"/>
                <a:gd name="connsiteX162" fmla="*/ 412168 w 1573156"/>
                <a:gd name="connsiteY162" fmla="*/ 2537603 h 3641849"/>
                <a:gd name="connsiteX163" fmla="*/ 362289 w 1573156"/>
                <a:gd name="connsiteY163" fmla="*/ 2501404 h 3641849"/>
                <a:gd name="connsiteX164" fmla="*/ 338946 w 1573156"/>
                <a:gd name="connsiteY164" fmla="*/ 2513491 h 3641849"/>
                <a:gd name="connsiteX165" fmla="*/ 340121 w 1573156"/>
                <a:gd name="connsiteY165" fmla="*/ 2467790 h 3641849"/>
                <a:gd name="connsiteX166" fmla="*/ 306869 w 1573156"/>
                <a:gd name="connsiteY166" fmla="*/ 2429005 h 3641849"/>
                <a:gd name="connsiteX167" fmla="*/ 309641 w 1573156"/>
                <a:gd name="connsiteY167" fmla="*/ 2351433 h 3641849"/>
                <a:gd name="connsiteX168" fmla="*/ 290243 w 1573156"/>
                <a:gd name="connsiteY168" fmla="*/ 2299720 h 3641849"/>
                <a:gd name="connsiteX169" fmla="*/ 256991 w 1573156"/>
                <a:gd name="connsiteY169" fmla="*/ 2266106 h 3641849"/>
                <a:gd name="connsiteX170" fmla="*/ 218196 w 1573156"/>
                <a:gd name="connsiteY170" fmla="*/ 2242835 h 3641849"/>
                <a:gd name="connsiteX171" fmla="*/ 176631 w 1573156"/>
                <a:gd name="connsiteY171" fmla="*/ 2250592 h 3641849"/>
                <a:gd name="connsiteX172" fmla="*/ 122255 w 1573156"/>
                <a:gd name="connsiteY172"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794570 w 1573156"/>
                <a:gd name="connsiteY135" fmla="*/ 3274526 h 3641849"/>
                <a:gd name="connsiteX136" fmla="*/ 919267 w 1573156"/>
                <a:gd name="connsiteY136" fmla="*/ 3215056 h 3641849"/>
                <a:gd name="connsiteX137" fmla="*/ 960831 w 1573156"/>
                <a:gd name="connsiteY137" fmla="*/ 3165928 h 3641849"/>
                <a:gd name="connsiteX138" fmla="*/ 1024565 w 1573156"/>
                <a:gd name="connsiteY138" fmla="*/ 3114213 h 3641849"/>
                <a:gd name="connsiteX139" fmla="*/ 1019023 w 1573156"/>
                <a:gd name="connsiteY139" fmla="*/ 3067671 h 3641849"/>
                <a:gd name="connsiteX140" fmla="*/ 1043963 w 1573156"/>
                <a:gd name="connsiteY140" fmla="*/ 3028886 h 3641849"/>
                <a:gd name="connsiteX141" fmla="*/ 1016252 w 1573156"/>
                <a:gd name="connsiteY141" fmla="*/ 3026300 h 3641849"/>
                <a:gd name="connsiteX142" fmla="*/ 1031704 w 1573156"/>
                <a:gd name="connsiteY142" fmla="*/ 2992878 h 3641849"/>
                <a:gd name="connsiteX143" fmla="*/ 914211 w 1573156"/>
                <a:gd name="connsiteY143" fmla="*/ 2928233 h 3641849"/>
                <a:gd name="connsiteX144" fmla="*/ 858304 w 1573156"/>
                <a:gd name="connsiteY144" fmla="*/ 2909943 h 3641849"/>
                <a:gd name="connsiteX145" fmla="*/ 827823 w 1573156"/>
                <a:gd name="connsiteY145" fmla="*/ 2881501 h 3641849"/>
                <a:gd name="connsiteX146" fmla="*/ 761317 w 1573156"/>
                <a:gd name="connsiteY146" fmla="*/ 2897015 h 3641849"/>
                <a:gd name="connsiteX147" fmla="*/ 700355 w 1573156"/>
                <a:gd name="connsiteY147" fmla="*/ 2891844 h 3641849"/>
                <a:gd name="connsiteX148" fmla="*/ 658790 w 1573156"/>
                <a:gd name="connsiteY148" fmla="*/ 2827201 h 3641849"/>
                <a:gd name="connsiteX149" fmla="*/ 656019 w 1573156"/>
                <a:gd name="connsiteY149" fmla="*/ 2785830 h 3641849"/>
                <a:gd name="connsiteX150" fmla="*/ 631080 w 1573156"/>
                <a:gd name="connsiteY150" fmla="*/ 2772902 h 3641849"/>
                <a:gd name="connsiteX151" fmla="*/ 567346 w 1573156"/>
                <a:gd name="connsiteY151" fmla="*/ 2759974 h 3641849"/>
                <a:gd name="connsiteX152" fmla="*/ 586743 w 1573156"/>
                <a:gd name="connsiteY152" fmla="*/ 2721188 h 3641849"/>
                <a:gd name="connsiteX153" fmla="*/ 557777 w 1573156"/>
                <a:gd name="connsiteY153" fmla="*/ 2715007 h 3641849"/>
                <a:gd name="connsiteX154" fmla="*/ 531809 w 1573156"/>
                <a:gd name="connsiteY154" fmla="*/ 2672771 h 3641849"/>
                <a:gd name="connsiteX155" fmla="*/ 414939 w 1573156"/>
                <a:gd name="connsiteY155" fmla="*/ 2682402 h 3641849"/>
                <a:gd name="connsiteX156" fmla="*/ 390000 w 1573156"/>
                <a:gd name="connsiteY156" fmla="*/ 2672059 h 3641849"/>
                <a:gd name="connsiteX157" fmla="*/ 367832 w 1573156"/>
                <a:gd name="connsiteY157" fmla="*/ 2684989 h 3641849"/>
                <a:gd name="connsiteX158" fmla="*/ 351205 w 1573156"/>
                <a:gd name="connsiteY158" fmla="*/ 2622932 h 3641849"/>
                <a:gd name="connsiteX159" fmla="*/ 340121 w 1573156"/>
                <a:gd name="connsiteY159" fmla="*/ 2597075 h 3641849"/>
                <a:gd name="connsiteX160" fmla="*/ 353976 w 1573156"/>
                <a:gd name="connsiteY160" fmla="*/ 2578974 h 3641849"/>
                <a:gd name="connsiteX161" fmla="*/ 381687 w 1573156"/>
                <a:gd name="connsiteY161" fmla="*/ 2581561 h 3641849"/>
                <a:gd name="connsiteX162" fmla="*/ 414939 w 1573156"/>
                <a:gd name="connsiteY162" fmla="*/ 2563461 h 3641849"/>
                <a:gd name="connsiteX163" fmla="*/ 412168 w 1573156"/>
                <a:gd name="connsiteY163" fmla="*/ 2537603 h 3641849"/>
                <a:gd name="connsiteX164" fmla="*/ 362289 w 1573156"/>
                <a:gd name="connsiteY164" fmla="*/ 2501404 h 3641849"/>
                <a:gd name="connsiteX165" fmla="*/ 338946 w 1573156"/>
                <a:gd name="connsiteY165" fmla="*/ 2513491 h 3641849"/>
                <a:gd name="connsiteX166" fmla="*/ 340121 w 1573156"/>
                <a:gd name="connsiteY166" fmla="*/ 2467790 h 3641849"/>
                <a:gd name="connsiteX167" fmla="*/ 306869 w 1573156"/>
                <a:gd name="connsiteY167" fmla="*/ 2429005 h 3641849"/>
                <a:gd name="connsiteX168" fmla="*/ 309641 w 1573156"/>
                <a:gd name="connsiteY168" fmla="*/ 2351433 h 3641849"/>
                <a:gd name="connsiteX169" fmla="*/ 290243 w 1573156"/>
                <a:gd name="connsiteY169" fmla="*/ 2299720 h 3641849"/>
                <a:gd name="connsiteX170" fmla="*/ 256991 w 1573156"/>
                <a:gd name="connsiteY170" fmla="*/ 2266106 h 3641849"/>
                <a:gd name="connsiteX171" fmla="*/ 218196 w 1573156"/>
                <a:gd name="connsiteY171" fmla="*/ 2242835 h 3641849"/>
                <a:gd name="connsiteX172" fmla="*/ 176631 w 1573156"/>
                <a:gd name="connsiteY172" fmla="*/ 2250592 h 3641849"/>
                <a:gd name="connsiteX173" fmla="*/ 122255 w 1573156"/>
                <a:gd name="connsiteY173"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794570 w 1573156"/>
                <a:gd name="connsiteY135" fmla="*/ 3274526 h 3641849"/>
                <a:gd name="connsiteX136" fmla="*/ 919267 w 1573156"/>
                <a:gd name="connsiteY136" fmla="*/ 3215056 h 3641849"/>
                <a:gd name="connsiteX137" fmla="*/ 955289 w 1573156"/>
                <a:gd name="connsiteY137" fmla="*/ 3160756 h 3641849"/>
                <a:gd name="connsiteX138" fmla="*/ 1024565 w 1573156"/>
                <a:gd name="connsiteY138" fmla="*/ 3114213 h 3641849"/>
                <a:gd name="connsiteX139" fmla="*/ 1019023 w 1573156"/>
                <a:gd name="connsiteY139" fmla="*/ 3067671 h 3641849"/>
                <a:gd name="connsiteX140" fmla="*/ 1043963 w 1573156"/>
                <a:gd name="connsiteY140" fmla="*/ 3028886 h 3641849"/>
                <a:gd name="connsiteX141" fmla="*/ 1016252 w 1573156"/>
                <a:gd name="connsiteY141" fmla="*/ 3026300 h 3641849"/>
                <a:gd name="connsiteX142" fmla="*/ 1031704 w 1573156"/>
                <a:gd name="connsiteY142" fmla="*/ 2992878 h 3641849"/>
                <a:gd name="connsiteX143" fmla="*/ 914211 w 1573156"/>
                <a:gd name="connsiteY143" fmla="*/ 2928233 h 3641849"/>
                <a:gd name="connsiteX144" fmla="*/ 858304 w 1573156"/>
                <a:gd name="connsiteY144" fmla="*/ 2909943 h 3641849"/>
                <a:gd name="connsiteX145" fmla="*/ 827823 w 1573156"/>
                <a:gd name="connsiteY145" fmla="*/ 2881501 h 3641849"/>
                <a:gd name="connsiteX146" fmla="*/ 761317 w 1573156"/>
                <a:gd name="connsiteY146" fmla="*/ 2897015 h 3641849"/>
                <a:gd name="connsiteX147" fmla="*/ 700355 w 1573156"/>
                <a:gd name="connsiteY147" fmla="*/ 2891844 h 3641849"/>
                <a:gd name="connsiteX148" fmla="*/ 658790 w 1573156"/>
                <a:gd name="connsiteY148" fmla="*/ 2827201 h 3641849"/>
                <a:gd name="connsiteX149" fmla="*/ 656019 w 1573156"/>
                <a:gd name="connsiteY149" fmla="*/ 2785830 h 3641849"/>
                <a:gd name="connsiteX150" fmla="*/ 631080 w 1573156"/>
                <a:gd name="connsiteY150" fmla="*/ 2772902 h 3641849"/>
                <a:gd name="connsiteX151" fmla="*/ 567346 w 1573156"/>
                <a:gd name="connsiteY151" fmla="*/ 2759974 h 3641849"/>
                <a:gd name="connsiteX152" fmla="*/ 586743 w 1573156"/>
                <a:gd name="connsiteY152" fmla="*/ 2721188 h 3641849"/>
                <a:gd name="connsiteX153" fmla="*/ 557777 w 1573156"/>
                <a:gd name="connsiteY153" fmla="*/ 2715007 h 3641849"/>
                <a:gd name="connsiteX154" fmla="*/ 531809 w 1573156"/>
                <a:gd name="connsiteY154" fmla="*/ 2672771 h 3641849"/>
                <a:gd name="connsiteX155" fmla="*/ 414939 w 1573156"/>
                <a:gd name="connsiteY155" fmla="*/ 2682402 h 3641849"/>
                <a:gd name="connsiteX156" fmla="*/ 390000 w 1573156"/>
                <a:gd name="connsiteY156" fmla="*/ 2672059 h 3641849"/>
                <a:gd name="connsiteX157" fmla="*/ 367832 w 1573156"/>
                <a:gd name="connsiteY157" fmla="*/ 2684989 h 3641849"/>
                <a:gd name="connsiteX158" fmla="*/ 351205 w 1573156"/>
                <a:gd name="connsiteY158" fmla="*/ 2622932 h 3641849"/>
                <a:gd name="connsiteX159" fmla="*/ 340121 w 1573156"/>
                <a:gd name="connsiteY159" fmla="*/ 2597075 h 3641849"/>
                <a:gd name="connsiteX160" fmla="*/ 353976 w 1573156"/>
                <a:gd name="connsiteY160" fmla="*/ 2578974 h 3641849"/>
                <a:gd name="connsiteX161" fmla="*/ 381687 w 1573156"/>
                <a:gd name="connsiteY161" fmla="*/ 2581561 h 3641849"/>
                <a:gd name="connsiteX162" fmla="*/ 414939 w 1573156"/>
                <a:gd name="connsiteY162" fmla="*/ 2563461 h 3641849"/>
                <a:gd name="connsiteX163" fmla="*/ 412168 w 1573156"/>
                <a:gd name="connsiteY163" fmla="*/ 2537603 h 3641849"/>
                <a:gd name="connsiteX164" fmla="*/ 362289 w 1573156"/>
                <a:gd name="connsiteY164" fmla="*/ 2501404 h 3641849"/>
                <a:gd name="connsiteX165" fmla="*/ 338946 w 1573156"/>
                <a:gd name="connsiteY165" fmla="*/ 2513491 h 3641849"/>
                <a:gd name="connsiteX166" fmla="*/ 340121 w 1573156"/>
                <a:gd name="connsiteY166" fmla="*/ 2467790 h 3641849"/>
                <a:gd name="connsiteX167" fmla="*/ 306869 w 1573156"/>
                <a:gd name="connsiteY167" fmla="*/ 2429005 h 3641849"/>
                <a:gd name="connsiteX168" fmla="*/ 309641 w 1573156"/>
                <a:gd name="connsiteY168" fmla="*/ 2351433 h 3641849"/>
                <a:gd name="connsiteX169" fmla="*/ 290243 w 1573156"/>
                <a:gd name="connsiteY169" fmla="*/ 2299720 h 3641849"/>
                <a:gd name="connsiteX170" fmla="*/ 256991 w 1573156"/>
                <a:gd name="connsiteY170" fmla="*/ 2266106 h 3641849"/>
                <a:gd name="connsiteX171" fmla="*/ 218196 w 1573156"/>
                <a:gd name="connsiteY171" fmla="*/ 2242835 h 3641849"/>
                <a:gd name="connsiteX172" fmla="*/ 176631 w 1573156"/>
                <a:gd name="connsiteY172" fmla="*/ 2250592 h 3641849"/>
                <a:gd name="connsiteX173" fmla="*/ 122255 w 1573156"/>
                <a:gd name="connsiteY173"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794570 w 1573156"/>
                <a:gd name="connsiteY135" fmla="*/ 3274526 h 3641849"/>
                <a:gd name="connsiteX136" fmla="*/ 902641 w 1573156"/>
                <a:gd name="connsiteY136" fmla="*/ 3217642 h 3641849"/>
                <a:gd name="connsiteX137" fmla="*/ 955289 w 1573156"/>
                <a:gd name="connsiteY137" fmla="*/ 3160756 h 3641849"/>
                <a:gd name="connsiteX138" fmla="*/ 1024565 w 1573156"/>
                <a:gd name="connsiteY138" fmla="*/ 3114213 h 3641849"/>
                <a:gd name="connsiteX139" fmla="*/ 1019023 w 1573156"/>
                <a:gd name="connsiteY139" fmla="*/ 3067671 h 3641849"/>
                <a:gd name="connsiteX140" fmla="*/ 1043963 w 1573156"/>
                <a:gd name="connsiteY140" fmla="*/ 3028886 h 3641849"/>
                <a:gd name="connsiteX141" fmla="*/ 1016252 w 1573156"/>
                <a:gd name="connsiteY141" fmla="*/ 3026300 h 3641849"/>
                <a:gd name="connsiteX142" fmla="*/ 1031704 w 1573156"/>
                <a:gd name="connsiteY142" fmla="*/ 2992878 h 3641849"/>
                <a:gd name="connsiteX143" fmla="*/ 914211 w 1573156"/>
                <a:gd name="connsiteY143" fmla="*/ 2928233 h 3641849"/>
                <a:gd name="connsiteX144" fmla="*/ 858304 w 1573156"/>
                <a:gd name="connsiteY144" fmla="*/ 2909943 h 3641849"/>
                <a:gd name="connsiteX145" fmla="*/ 827823 w 1573156"/>
                <a:gd name="connsiteY145" fmla="*/ 2881501 h 3641849"/>
                <a:gd name="connsiteX146" fmla="*/ 761317 w 1573156"/>
                <a:gd name="connsiteY146" fmla="*/ 2897015 h 3641849"/>
                <a:gd name="connsiteX147" fmla="*/ 700355 w 1573156"/>
                <a:gd name="connsiteY147" fmla="*/ 2891844 h 3641849"/>
                <a:gd name="connsiteX148" fmla="*/ 658790 w 1573156"/>
                <a:gd name="connsiteY148" fmla="*/ 2827201 h 3641849"/>
                <a:gd name="connsiteX149" fmla="*/ 656019 w 1573156"/>
                <a:gd name="connsiteY149" fmla="*/ 2785830 h 3641849"/>
                <a:gd name="connsiteX150" fmla="*/ 631080 w 1573156"/>
                <a:gd name="connsiteY150" fmla="*/ 2772902 h 3641849"/>
                <a:gd name="connsiteX151" fmla="*/ 567346 w 1573156"/>
                <a:gd name="connsiteY151" fmla="*/ 2759974 h 3641849"/>
                <a:gd name="connsiteX152" fmla="*/ 586743 w 1573156"/>
                <a:gd name="connsiteY152" fmla="*/ 2721188 h 3641849"/>
                <a:gd name="connsiteX153" fmla="*/ 557777 w 1573156"/>
                <a:gd name="connsiteY153" fmla="*/ 2715007 h 3641849"/>
                <a:gd name="connsiteX154" fmla="*/ 531809 w 1573156"/>
                <a:gd name="connsiteY154" fmla="*/ 2672771 h 3641849"/>
                <a:gd name="connsiteX155" fmla="*/ 414939 w 1573156"/>
                <a:gd name="connsiteY155" fmla="*/ 2682402 h 3641849"/>
                <a:gd name="connsiteX156" fmla="*/ 390000 w 1573156"/>
                <a:gd name="connsiteY156" fmla="*/ 2672059 h 3641849"/>
                <a:gd name="connsiteX157" fmla="*/ 367832 w 1573156"/>
                <a:gd name="connsiteY157" fmla="*/ 2684989 h 3641849"/>
                <a:gd name="connsiteX158" fmla="*/ 351205 w 1573156"/>
                <a:gd name="connsiteY158" fmla="*/ 2622932 h 3641849"/>
                <a:gd name="connsiteX159" fmla="*/ 340121 w 1573156"/>
                <a:gd name="connsiteY159" fmla="*/ 2597075 h 3641849"/>
                <a:gd name="connsiteX160" fmla="*/ 353976 w 1573156"/>
                <a:gd name="connsiteY160" fmla="*/ 2578974 h 3641849"/>
                <a:gd name="connsiteX161" fmla="*/ 381687 w 1573156"/>
                <a:gd name="connsiteY161" fmla="*/ 2581561 h 3641849"/>
                <a:gd name="connsiteX162" fmla="*/ 414939 w 1573156"/>
                <a:gd name="connsiteY162" fmla="*/ 2563461 h 3641849"/>
                <a:gd name="connsiteX163" fmla="*/ 412168 w 1573156"/>
                <a:gd name="connsiteY163" fmla="*/ 2537603 h 3641849"/>
                <a:gd name="connsiteX164" fmla="*/ 362289 w 1573156"/>
                <a:gd name="connsiteY164" fmla="*/ 2501404 h 3641849"/>
                <a:gd name="connsiteX165" fmla="*/ 338946 w 1573156"/>
                <a:gd name="connsiteY165" fmla="*/ 2513491 h 3641849"/>
                <a:gd name="connsiteX166" fmla="*/ 340121 w 1573156"/>
                <a:gd name="connsiteY166" fmla="*/ 2467790 h 3641849"/>
                <a:gd name="connsiteX167" fmla="*/ 306869 w 1573156"/>
                <a:gd name="connsiteY167" fmla="*/ 2429005 h 3641849"/>
                <a:gd name="connsiteX168" fmla="*/ 309641 w 1573156"/>
                <a:gd name="connsiteY168" fmla="*/ 2351433 h 3641849"/>
                <a:gd name="connsiteX169" fmla="*/ 290243 w 1573156"/>
                <a:gd name="connsiteY169" fmla="*/ 2299720 h 3641849"/>
                <a:gd name="connsiteX170" fmla="*/ 256991 w 1573156"/>
                <a:gd name="connsiteY170" fmla="*/ 2266106 h 3641849"/>
                <a:gd name="connsiteX171" fmla="*/ 218196 w 1573156"/>
                <a:gd name="connsiteY171" fmla="*/ 2242835 h 3641849"/>
                <a:gd name="connsiteX172" fmla="*/ 176631 w 1573156"/>
                <a:gd name="connsiteY172" fmla="*/ 2250592 h 3641849"/>
                <a:gd name="connsiteX173" fmla="*/ 122255 w 1573156"/>
                <a:gd name="connsiteY173"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794570 w 1573156"/>
                <a:gd name="connsiteY135" fmla="*/ 3274526 h 3641849"/>
                <a:gd name="connsiteX136" fmla="*/ 902641 w 1573156"/>
                <a:gd name="connsiteY136" fmla="*/ 3217642 h 3641849"/>
                <a:gd name="connsiteX137" fmla="*/ 955289 w 1573156"/>
                <a:gd name="connsiteY137" fmla="*/ 3160756 h 3641849"/>
                <a:gd name="connsiteX138" fmla="*/ 1024565 w 1573156"/>
                <a:gd name="connsiteY138" fmla="*/ 3114213 h 3641849"/>
                <a:gd name="connsiteX139" fmla="*/ 1019023 w 1573156"/>
                <a:gd name="connsiteY139" fmla="*/ 3067671 h 3641849"/>
                <a:gd name="connsiteX140" fmla="*/ 1043963 w 1573156"/>
                <a:gd name="connsiteY140" fmla="*/ 3028886 h 3641849"/>
                <a:gd name="connsiteX141" fmla="*/ 1016252 w 1573156"/>
                <a:gd name="connsiteY141" fmla="*/ 3026300 h 3641849"/>
                <a:gd name="connsiteX142" fmla="*/ 1031704 w 1573156"/>
                <a:gd name="connsiteY142" fmla="*/ 2992878 h 3641849"/>
                <a:gd name="connsiteX143" fmla="*/ 914211 w 1573156"/>
                <a:gd name="connsiteY143" fmla="*/ 2928233 h 3641849"/>
                <a:gd name="connsiteX144" fmla="*/ 858304 w 1573156"/>
                <a:gd name="connsiteY144" fmla="*/ 2909943 h 3641849"/>
                <a:gd name="connsiteX145" fmla="*/ 827823 w 1573156"/>
                <a:gd name="connsiteY145" fmla="*/ 2881501 h 3641849"/>
                <a:gd name="connsiteX146" fmla="*/ 761317 w 1573156"/>
                <a:gd name="connsiteY146" fmla="*/ 2897015 h 3641849"/>
                <a:gd name="connsiteX147" fmla="*/ 700355 w 1573156"/>
                <a:gd name="connsiteY147" fmla="*/ 2891844 h 3641849"/>
                <a:gd name="connsiteX148" fmla="*/ 658790 w 1573156"/>
                <a:gd name="connsiteY148" fmla="*/ 2827201 h 3641849"/>
                <a:gd name="connsiteX149" fmla="*/ 656019 w 1573156"/>
                <a:gd name="connsiteY149" fmla="*/ 2785830 h 3641849"/>
                <a:gd name="connsiteX150" fmla="*/ 631080 w 1573156"/>
                <a:gd name="connsiteY150" fmla="*/ 2772902 h 3641849"/>
                <a:gd name="connsiteX151" fmla="*/ 567346 w 1573156"/>
                <a:gd name="connsiteY151" fmla="*/ 2759974 h 3641849"/>
                <a:gd name="connsiteX152" fmla="*/ 586743 w 1573156"/>
                <a:gd name="connsiteY152" fmla="*/ 2721188 h 3641849"/>
                <a:gd name="connsiteX153" fmla="*/ 557777 w 1573156"/>
                <a:gd name="connsiteY153" fmla="*/ 2715007 h 3641849"/>
                <a:gd name="connsiteX154" fmla="*/ 531809 w 1573156"/>
                <a:gd name="connsiteY154" fmla="*/ 2672771 h 3641849"/>
                <a:gd name="connsiteX155" fmla="*/ 414939 w 1573156"/>
                <a:gd name="connsiteY155" fmla="*/ 2682402 h 3641849"/>
                <a:gd name="connsiteX156" fmla="*/ 390000 w 1573156"/>
                <a:gd name="connsiteY156" fmla="*/ 2672059 h 3641849"/>
                <a:gd name="connsiteX157" fmla="*/ 367832 w 1573156"/>
                <a:gd name="connsiteY157" fmla="*/ 2684989 h 3641849"/>
                <a:gd name="connsiteX158" fmla="*/ 351205 w 1573156"/>
                <a:gd name="connsiteY158" fmla="*/ 2622932 h 3641849"/>
                <a:gd name="connsiteX159" fmla="*/ 340121 w 1573156"/>
                <a:gd name="connsiteY159" fmla="*/ 2597075 h 3641849"/>
                <a:gd name="connsiteX160" fmla="*/ 353976 w 1573156"/>
                <a:gd name="connsiteY160" fmla="*/ 2578974 h 3641849"/>
                <a:gd name="connsiteX161" fmla="*/ 381687 w 1573156"/>
                <a:gd name="connsiteY161" fmla="*/ 2581561 h 3641849"/>
                <a:gd name="connsiteX162" fmla="*/ 414939 w 1573156"/>
                <a:gd name="connsiteY162" fmla="*/ 2563461 h 3641849"/>
                <a:gd name="connsiteX163" fmla="*/ 412168 w 1573156"/>
                <a:gd name="connsiteY163" fmla="*/ 2537603 h 3641849"/>
                <a:gd name="connsiteX164" fmla="*/ 362289 w 1573156"/>
                <a:gd name="connsiteY164" fmla="*/ 2501404 h 3641849"/>
                <a:gd name="connsiteX165" fmla="*/ 338946 w 1573156"/>
                <a:gd name="connsiteY165" fmla="*/ 2513491 h 3641849"/>
                <a:gd name="connsiteX166" fmla="*/ 340121 w 1573156"/>
                <a:gd name="connsiteY166" fmla="*/ 2467790 h 3641849"/>
                <a:gd name="connsiteX167" fmla="*/ 306869 w 1573156"/>
                <a:gd name="connsiteY167" fmla="*/ 2429005 h 3641849"/>
                <a:gd name="connsiteX168" fmla="*/ 309641 w 1573156"/>
                <a:gd name="connsiteY168" fmla="*/ 2351433 h 3641849"/>
                <a:gd name="connsiteX169" fmla="*/ 290243 w 1573156"/>
                <a:gd name="connsiteY169" fmla="*/ 2299720 h 3641849"/>
                <a:gd name="connsiteX170" fmla="*/ 256991 w 1573156"/>
                <a:gd name="connsiteY170" fmla="*/ 2266106 h 3641849"/>
                <a:gd name="connsiteX171" fmla="*/ 218196 w 1573156"/>
                <a:gd name="connsiteY171" fmla="*/ 2242835 h 3641849"/>
                <a:gd name="connsiteX172" fmla="*/ 176631 w 1573156"/>
                <a:gd name="connsiteY172" fmla="*/ 2250592 h 3641849"/>
                <a:gd name="connsiteX173" fmla="*/ 122255 w 1573156"/>
                <a:gd name="connsiteY173"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842741 w 1573156"/>
                <a:gd name="connsiteY134" fmla="*/ 3326370 h 3641849"/>
                <a:gd name="connsiteX135" fmla="*/ 755776 w 1573156"/>
                <a:gd name="connsiteY135" fmla="*/ 3297798 h 3641849"/>
                <a:gd name="connsiteX136" fmla="*/ 902641 w 1573156"/>
                <a:gd name="connsiteY136" fmla="*/ 3217642 h 3641849"/>
                <a:gd name="connsiteX137" fmla="*/ 955289 w 1573156"/>
                <a:gd name="connsiteY137" fmla="*/ 3160756 h 3641849"/>
                <a:gd name="connsiteX138" fmla="*/ 1024565 w 1573156"/>
                <a:gd name="connsiteY138" fmla="*/ 3114213 h 3641849"/>
                <a:gd name="connsiteX139" fmla="*/ 1019023 w 1573156"/>
                <a:gd name="connsiteY139" fmla="*/ 3067671 h 3641849"/>
                <a:gd name="connsiteX140" fmla="*/ 1043963 w 1573156"/>
                <a:gd name="connsiteY140" fmla="*/ 3028886 h 3641849"/>
                <a:gd name="connsiteX141" fmla="*/ 1016252 w 1573156"/>
                <a:gd name="connsiteY141" fmla="*/ 3026300 h 3641849"/>
                <a:gd name="connsiteX142" fmla="*/ 1031704 w 1573156"/>
                <a:gd name="connsiteY142" fmla="*/ 2992878 h 3641849"/>
                <a:gd name="connsiteX143" fmla="*/ 914211 w 1573156"/>
                <a:gd name="connsiteY143" fmla="*/ 2928233 h 3641849"/>
                <a:gd name="connsiteX144" fmla="*/ 858304 w 1573156"/>
                <a:gd name="connsiteY144" fmla="*/ 2909943 h 3641849"/>
                <a:gd name="connsiteX145" fmla="*/ 827823 w 1573156"/>
                <a:gd name="connsiteY145" fmla="*/ 2881501 h 3641849"/>
                <a:gd name="connsiteX146" fmla="*/ 761317 w 1573156"/>
                <a:gd name="connsiteY146" fmla="*/ 2897015 h 3641849"/>
                <a:gd name="connsiteX147" fmla="*/ 700355 w 1573156"/>
                <a:gd name="connsiteY147" fmla="*/ 2891844 h 3641849"/>
                <a:gd name="connsiteX148" fmla="*/ 658790 w 1573156"/>
                <a:gd name="connsiteY148" fmla="*/ 2827201 h 3641849"/>
                <a:gd name="connsiteX149" fmla="*/ 656019 w 1573156"/>
                <a:gd name="connsiteY149" fmla="*/ 2785830 h 3641849"/>
                <a:gd name="connsiteX150" fmla="*/ 631080 w 1573156"/>
                <a:gd name="connsiteY150" fmla="*/ 2772902 h 3641849"/>
                <a:gd name="connsiteX151" fmla="*/ 567346 w 1573156"/>
                <a:gd name="connsiteY151" fmla="*/ 2759974 h 3641849"/>
                <a:gd name="connsiteX152" fmla="*/ 586743 w 1573156"/>
                <a:gd name="connsiteY152" fmla="*/ 2721188 h 3641849"/>
                <a:gd name="connsiteX153" fmla="*/ 557777 w 1573156"/>
                <a:gd name="connsiteY153" fmla="*/ 2715007 h 3641849"/>
                <a:gd name="connsiteX154" fmla="*/ 531809 w 1573156"/>
                <a:gd name="connsiteY154" fmla="*/ 2672771 h 3641849"/>
                <a:gd name="connsiteX155" fmla="*/ 414939 w 1573156"/>
                <a:gd name="connsiteY155" fmla="*/ 2682402 h 3641849"/>
                <a:gd name="connsiteX156" fmla="*/ 390000 w 1573156"/>
                <a:gd name="connsiteY156" fmla="*/ 2672059 h 3641849"/>
                <a:gd name="connsiteX157" fmla="*/ 367832 w 1573156"/>
                <a:gd name="connsiteY157" fmla="*/ 2684989 h 3641849"/>
                <a:gd name="connsiteX158" fmla="*/ 351205 w 1573156"/>
                <a:gd name="connsiteY158" fmla="*/ 2622932 h 3641849"/>
                <a:gd name="connsiteX159" fmla="*/ 340121 w 1573156"/>
                <a:gd name="connsiteY159" fmla="*/ 2597075 h 3641849"/>
                <a:gd name="connsiteX160" fmla="*/ 353976 w 1573156"/>
                <a:gd name="connsiteY160" fmla="*/ 2578974 h 3641849"/>
                <a:gd name="connsiteX161" fmla="*/ 381687 w 1573156"/>
                <a:gd name="connsiteY161" fmla="*/ 2581561 h 3641849"/>
                <a:gd name="connsiteX162" fmla="*/ 414939 w 1573156"/>
                <a:gd name="connsiteY162" fmla="*/ 2563461 h 3641849"/>
                <a:gd name="connsiteX163" fmla="*/ 412168 w 1573156"/>
                <a:gd name="connsiteY163" fmla="*/ 2537603 h 3641849"/>
                <a:gd name="connsiteX164" fmla="*/ 362289 w 1573156"/>
                <a:gd name="connsiteY164" fmla="*/ 2501404 h 3641849"/>
                <a:gd name="connsiteX165" fmla="*/ 338946 w 1573156"/>
                <a:gd name="connsiteY165" fmla="*/ 2513491 h 3641849"/>
                <a:gd name="connsiteX166" fmla="*/ 340121 w 1573156"/>
                <a:gd name="connsiteY166" fmla="*/ 2467790 h 3641849"/>
                <a:gd name="connsiteX167" fmla="*/ 306869 w 1573156"/>
                <a:gd name="connsiteY167" fmla="*/ 2429005 h 3641849"/>
                <a:gd name="connsiteX168" fmla="*/ 309641 w 1573156"/>
                <a:gd name="connsiteY168" fmla="*/ 2351433 h 3641849"/>
                <a:gd name="connsiteX169" fmla="*/ 290243 w 1573156"/>
                <a:gd name="connsiteY169" fmla="*/ 2299720 h 3641849"/>
                <a:gd name="connsiteX170" fmla="*/ 256991 w 1573156"/>
                <a:gd name="connsiteY170" fmla="*/ 2266106 h 3641849"/>
                <a:gd name="connsiteX171" fmla="*/ 218196 w 1573156"/>
                <a:gd name="connsiteY171" fmla="*/ 2242835 h 3641849"/>
                <a:gd name="connsiteX172" fmla="*/ 176631 w 1573156"/>
                <a:gd name="connsiteY172" fmla="*/ 2250592 h 3641849"/>
                <a:gd name="connsiteX173" fmla="*/ 122255 w 1573156"/>
                <a:gd name="connsiteY173"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792864 w 1573156"/>
                <a:gd name="connsiteY134" fmla="*/ 3398769 h 3641849"/>
                <a:gd name="connsiteX135" fmla="*/ 755776 w 1573156"/>
                <a:gd name="connsiteY135" fmla="*/ 3297798 h 3641849"/>
                <a:gd name="connsiteX136" fmla="*/ 902641 w 1573156"/>
                <a:gd name="connsiteY136" fmla="*/ 3217642 h 3641849"/>
                <a:gd name="connsiteX137" fmla="*/ 955289 w 1573156"/>
                <a:gd name="connsiteY137" fmla="*/ 3160756 h 3641849"/>
                <a:gd name="connsiteX138" fmla="*/ 1024565 w 1573156"/>
                <a:gd name="connsiteY138" fmla="*/ 3114213 h 3641849"/>
                <a:gd name="connsiteX139" fmla="*/ 1019023 w 1573156"/>
                <a:gd name="connsiteY139" fmla="*/ 3067671 h 3641849"/>
                <a:gd name="connsiteX140" fmla="*/ 1043963 w 1573156"/>
                <a:gd name="connsiteY140" fmla="*/ 3028886 h 3641849"/>
                <a:gd name="connsiteX141" fmla="*/ 1016252 w 1573156"/>
                <a:gd name="connsiteY141" fmla="*/ 3026300 h 3641849"/>
                <a:gd name="connsiteX142" fmla="*/ 1031704 w 1573156"/>
                <a:gd name="connsiteY142" fmla="*/ 2992878 h 3641849"/>
                <a:gd name="connsiteX143" fmla="*/ 914211 w 1573156"/>
                <a:gd name="connsiteY143" fmla="*/ 2928233 h 3641849"/>
                <a:gd name="connsiteX144" fmla="*/ 858304 w 1573156"/>
                <a:gd name="connsiteY144" fmla="*/ 2909943 h 3641849"/>
                <a:gd name="connsiteX145" fmla="*/ 827823 w 1573156"/>
                <a:gd name="connsiteY145" fmla="*/ 2881501 h 3641849"/>
                <a:gd name="connsiteX146" fmla="*/ 761317 w 1573156"/>
                <a:gd name="connsiteY146" fmla="*/ 2897015 h 3641849"/>
                <a:gd name="connsiteX147" fmla="*/ 700355 w 1573156"/>
                <a:gd name="connsiteY147" fmla="*/ 2891844 h 3641849"/>
                <a:gd name="connsiteX148" fmla="*/ 658790 w 1573156"/>
                <a:gd name="connsiteY148" fmla="*/ 2827201 h 3641849"/>
                <a:gd name="connsiteX149" fmla="*/ 656019 w 1573156"/>
                <a:gd name="connsiteY149" fmla="*/ 2785830 h 3641849"/>
                <a:gd name="connsiteX150" fmla="*/ 631080 w 1573156"/>
                <a:gd name="connsiteY150" fmla="*/ 2772902 h 3641849"/>
                <a:gd name="connsiteX151" fmla="*/ 567346 w 1573156"/>
                <a:gd name="connsiteY151" fmla="*/ 2759974 h 3641849"/>
                <a:gd name="connsiteX152" fmla="*/ 586743 w 1573156"/>
                <a:gd name="connsiteY152" fmla="*/ 2721188 h 3641849"/>
                <a:gd name="connsiteX153" fmla="*/ 557777 w 1573156"/>
                <a:gd name="connsiteY153" fmla="*/ 2715007 h 3641849"/>
                <a:gd name="connsiteX154" fmla="*/ 531809 w 1573156"/>
                <a:gd name="connsiteY154" fmla="*/ 2672771 h 3641849"/>
                <a:gd name="connsiteX155" fmla="*/ 414939 w 1573156"/>
                <a:gd name="connsiteY155" fmla="*/ 2682402 h 3641849"/>
                <a:gd name="connsiteX156" fmla="*/ 390000 w 1573156"/>
                <a:gd name="connsiteY156" fmla="*/ 2672059 h 3641849"/>
                <a:gd name="connsiteX157" fmla="*/ 367832 w 1573156"/>
                <a:gd name="connsiteY157" fmla="*/ 2684989 h 3641849"/>
                <a:gd name="connsiteX158" fmla="*/ 351205 w 1573156"/>
                <a:gd name="connsiteY158" fmla="*/ 2622932 h 3641849"/>
                <a:gd name="connsiteX159" fmla="*/ 340121 w 1573156"/>
                <a:gd name="connsiteY159" fmla="*/ 2597075 h 3641849"/>
                <a:gd name="connsiteX160" fmla="*/ 353976 w 1573156"/>
                <a:gd name="connsiteY160" fmla="*/ 2578974 h 3641849"/>
                <a:gd name="connsiteX161" fmla="*/ 381687 w 1573156"/>
                <a:gd name="connsiteY161" fmla="*/ 2581561 h 3641849"/>
                <a:gd name="connsiteX162" fmla="*/ 414939 w 1573156"/>
                <a:gd name="connsiteY162" fmla="*/ 2563461 h 3641849"/>
                <a:gd name="connsiteX163" fmla="*/ 412168 w 1573156"/>
                <a:gd name="connsiteY163" fmla="*/ 2537603 h 3641849"/>
                <a:gd name="connsiteX164" fmla="*/ 362289 w 1573156"/>
                <a:gd name="connsiteY164" fmla="*/ 2501404 h 3641849"/>
                <a:gd name="connsiteX165" fmla="*/ 338946 w 1573156"/>
                <a:gd name="connsiteY165" fmla="*/ 2513491 h 3641849"/>
                <a:gd name="connsiteX166" fmla="*/ 340121 w 1573156"/>
                <a:gd name="connsiteY166" fmla="*/ 2467790 h 3641849"/>
                <a:gd name="connsiteX167" fmla="*/ 306869 w 1573156"/>
                <a:gd name="connsiteY167" fmla="*/ 2429005 h 3641849"/>
                <a:gd name="connsiteX168" fmla="*/ 309641 w 1573156"/>
                <a:gd name="connsiteY168" fmla="*/ 2351433 h 3641849"/>
                <a:gd name="connsiteX169" fmla="*/ 290243 w 1573156"/>
                <a:gd name="connsiteY169" fmla="*/ 2299720 h 3641849"/>
                <a:gd name="connsiteX170" fmla="*/ 256991 w 1573156"/>
                <a:gd name="connsiteY170" fmla="*/ 2266106 h 3641849"/>
                <a:gd name="connsiteX171" fmla="*/ 218196 w 1573156"/>
                <a:gd name="connsiteY171" fmla="*/ 2242835 h 3641849"/>
                <a:gd name="connsiteX172" fmla="*/ 176631 w 1573156"/>
                <a:gd name="connsiteY172" fmla="*/ 2250592 h 3641849"/>
                <a:gd name="connsiteX173" fmla="*/ 122255 w 1573156"/>
                <a:gd name="connsiteY173"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792864 w 1573156"/>
                <a:gd name="connsiteY134" fmla="*/ 3398769 h 3641849"/>
                <a:gd name="connsiteX135" fmla="*/ 747462 w 1573156"/>
                <a:gd name="connsiteY135" fmla="*/ 3297798 h 3641849"/>
                <a:gd name="connsiteX136" fmla="*/ 902641 w 1573156"/>
                <a:gd name="connsiteY136" fmla="*/ 3217642 h 3641849"/>
                <a:gd name="connsiteX137" fmla="*/ 955289 w 1573156"/>
                <a:gd name="connsiteY137" fmla="*/ 3160756 h 3641849"/>
                <a:gd name="connsiteX138" fmla="*/ 1024565 w 1573156"/>
                <a:gd name="connsiteY138" fmla="*/ 3114213 h 3641849"/>
                <a:gd name="connsiteX139" fmla="*/ 1019023 w 1573156"/>
                <a:gd name="connsiteY139" fmla="*/ 3067671 h 3641849"/>
                <a:gd name="connsiteX140" fmla="*/ 1043963 w 1573156"/>
                <a:gd name="connsiteY140" fmla="*/ 3028886 h 3641849"/>
                <a:gd name="connsiteX141" fmla="*/ 1016252 w 1573156"/>
                <a:gd name="connsiteY141" fmla="*/ 3026300 h 3641849"/>
                <a:gd name="connsiteX142" fmla="*/ 1031704 w 1573156"/>
                <a:gd name="connsiteY142" fmla="*/ 2992878 h 3641849"/>
                <a:gd name="connsiteX143" fmla="*/ 914211 w 1573156"/>
                <a:gd name="connsiteY143" fmla="*/ 2928233 h 3641849"/>
                <a:gd name="connsiteX144" fmla="*/ 858304 w 1573156"/>
                <a:gd name="connsiteY144" fmla="*/ 2909943 h 3641849"/>
                <a:gd name="connsiteX145" fmla="*/ 827823 w 1573156"/>
                <a:gd name="connsiteY145" fmla="*/ 2881501 h 3641849"/>
                <a:gd name="connsiteX146" fmla="*/ 761317 w 1573156"/>
                <a:gd name="connsiteY146" fmla="*/ 2897015 h 3641849"/>
                <a:gd name="connsiteX147" fmla="*/ 700355 w 1573156"/>
                <a:gd name="connsiteY147" fmla="*/ 2891844 h 3641849"/>
                <a:gd name="connsiteX148" fmla="*/ 658790 w 1573156"/>
                <a:gd name="connsiteY148" fmla="*/ 2827201 h 3641849"/>
                <a:gd name="connsiteX149" fmla="*/ 656019 w 1573156"/>
                <a:gd name="connsiteY149" fmla="*/ 2785830 h 3641849"/>
                <a:gd name="connsiteX150" fmla="*/ 631080 w 1573156"/>
                <a:gd name="connsiteY150" fmla="*/ 2772902 h 3641849"/>
                <a:gd name="connsiteX151" fmla="*/ 567346 w 1573156"/>
                <a:gd name="connsiteY151" fmla="*/ 2759974 h 3641849"/>
                <a:gd name="connsiteX152" fmla="*/ 586743 w 1573156"/>
                <a:gd name="connsiteY152" fmla="*/ 2721188 h 3641849"/>
                <a:gd name="connsiteX153" fmla="*/ 557777 w 1573156"/>
                <a:gd name="connsiteY153" fmla="*/ 2715007 h 3641849"/>
                <a:gd name="connsiteX154" fmla="*/ 531809 w 1573156"/>
                <a:gd name="connsiteY154" fmla="*/ 2672771 h 3641849"/>
                <a:gd name="connsiteX155" fmla="*/ 414939 w 1573156"/>
                <a:gd name="connsiteY155" fmla="*/ 2682402 h 3641849"/>
                <a:gd name="connsiteX156" fmla="*/ 390000 w 1573156"/>
                <a:gd name="connsiteY156" fmla="*/ 2672059 h 3641849"/>
                <a:gd name="connsiteX157" fmla="*/ 367832 w 1573156"/>
                <a:gd name="connsiteY157" fmla="*/ 2684989 h 3641849"/>
                <a:gd name="connsiteX158" fmla="*/ 351205 w 1573156"/>
                <a:gd name="connsiteY158" fmla="*/ 2622932 h 3641849"/>
                <a:gd name="connsiteX159" fmla="*/ 340121 w 1573156"/>
                <a:gd name="connsiteY159" fmla="*/ 2597075 h 3641849"/>
                <a:gd name="connsiteX160" fmla="*/ 353976 w 1573156"/>
                <a:gd name="connsiteY160" fmla="*/ 2578974 h 3641849"/>
                <a:gd name="connsiteX161" fmla="*/ 381687 w 1573156"/>
                <a:gd name="connsiteY161" fmla="*/ 2581561 h 3641849"/>
                <a:gd name="connsiteX162" fmla="*/ 414939 w 1573156"/>
                <a:gd name="connsiteY162" fmla="*/ 2563461 h 3641849"/>
                <a:gd name="connsiteX163" fmla="*/ 412168 w 1573156"/>
                <a:gd name="connsiteY163" fmla="*/ 2537603 h 3641849"/>
                <a:gd name="connsiteX164" fmla="*/ 362289 w 1573156"/>
                <a:gd name="connsiteY164" fmla="*/ 2501404 h 3641849"/>
                <a:gd name="connsiteX165" fmla="*/ 338946 w 1573156"/>
                <a:gd name="connsiteY165" fmla="*/ 2513491 h 3641849"/>
                <a:gd name="connsiteX166" fmla="*/ 340121 w 1573156"/>
                <a:gd name="connsiteY166" fmla="*/ 2467790 h 3641849"/>
                <a:gd name="connsiteX167" fmla="*/ 306869 w 1573156"/>
                <a:gd name="connsiteY167" fmla="*/ 2429005 h 3641849"/>
                <a:gd name="connsiteX168" fmla="*/ 309641 w 1573156"/>
                <a:gd name="connsiteY168" fmla="*/ 2351433 h 3641849"/>
                <a:gd name="connsiteX169" fmla="*/ 290243 w 1573156"/>
                <a:gd name="connsiteY169" fmla="*/ 2299720 h 3641849"/>
                <a:gd name="connsiteX170" fmla="*/ 256991 w 1573156"/>
                <a:gd name="connsiteY170" fmla="*/ 2266106 h 3641849"/>
                <a:gd name="connsiteX171" fmla="*/ 218196 w 1573156"/>
                <a:gd name="connsiteY171" fmla="*/ 2242835 h 3641849"/>
                <a:gd name="connsiteX172" fmla="*/ 176631 w 1573156"/>
                <a:gd name="connsiteY172" fmla="*/ 2250592 h 3641849"/>
                <a:gd name="connsiteX173" fmla="*/ 122255 w 1573156"/>
                <a:gd name="connsiteY173"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792864 w 1573156"/>
                <a:gd name="connsiteY134" fmla="*/ 3398769 h 3641849"/>
                <a:gd name="connsiteX135" fmla="*/ 747462 w 1573156"/>
                <a:gd name="connsiteY135" fmla="*/ 3297798 h 3641849"/>
                <a:gd name="connsiteX136" fmla="*/ 836135 w 1573156"/>
                <a:gd name="connsiteY136" fmla="*/ 3225398 h 3641849"/>
                <a:gd name="connsiteX137" fmla="*/ 902641 w 1573156"/>
                <a:gd name="connsiteY137" fmla="*/ 3217642 h 3641849"/>
                <a:gd name="connsiteX138" fmla="*/ 955289 w 1573156"/>
                <a:gd name="connsiteY138" fmla="*/ 3160756 h 3641849"/>
                <a:gd name="connsiteX139" fmla="*/ 1024565 w 1573156"/>
                <a:gd name="connsiteY139" fmla="*/ 3114213 h 3641849"/>
                <a:gd name="connsiteX140" fmla="*/ 1019023 w 1573156"/>
                <a:gd name="connsiteY140" fmla="*/ 3067671 h 3641849"/>
                <a:gd name="connsiteX141" fmla="*/ 1043963 w 1573156"/>
                <a:gd name="connsiteY141" fmla="*/ 3028886 h 3641849"/>
                <a:gd name="connsiteX142" fmla="*/ 1016252 w 1573156"/>
                <a:gd name="connsiteY142" fmla="*/ 3026300 h 3641849"/>
                <a:gd name="connsiteX143" fmla="*/ 1031704 w 1573156"/>
                <a:gd name="connsiteY143" fmla="*/ 2992878 h 3641849"/>
                <a:gd name="connsiteX144" fmla="*/ 914211 w 1573156"/>
                <a:gd name="connsiteY144" fmla="*/ 2928233 h 3641849"/>
                <a:gd name="connsiteX145" fmla="*/ 858304 w 1573156"/>
                <a:gd name="connsiteY145" fmla="*/ 2909943 h 3641849"/>
                <a:gd name="connsiteX146" fmla="*/ 827823 w 1573156"/>
                <a:gd name="connsiteY146" fmla="*/ 2881501 h 3641849"/>
                <a:gd name="connsiteX147" fmla="*/ 761317 w 1573156"/>
                <a:gd name="connsiteY147" fmla="*/ 2897015 h 3641849"/>
                <a:gd name="connsiteX148" fmla="*/ 700355 w 1573156"/>
                <a:gd name="connsiteY148" fmla="*/ 2891844 h 3641849"/>
                <a:gd name="connsiteX149" fmla="*/ 658790 w 1573156"/>
                <a:gd name="connsiteY149" fmla="*/ 2827201 h 3641849"/>
                <a:gd name="connsiteX150" fmla="*/ 656019 w 1573156"/>
                <a:gd name="connsiteY150" fmla="*/ 2785830 h 3641849"/>
                <a:gd name="connsiteX151" fmla="*/ 631080 w 1573156"/>
                <a:gd name="connsiteY151" fmla="*/ 2772902 h 3641849"/>
                <a:gd name="connsiteX152" fmla="*/ 567346 w 1573156"/>
                <a:gd name="connsiteY152" fmla="*/ 2759974 h 3641849"/>
                <a:gd name="connsiteX153" fmla="*/ 586743 w 1573156"/>
                <a:gd name="connsiteY153" fmla="*/ 2721188 h 3641849"/>
                <a:gd name="connsiteX154" fmla="*/ 557777 w 1573156"/>
                <a:gd name="connsiteY154" fmla="*/ 2715007 h 3641849"/>
                <a:gd name="connsiteX155" fmla="*/ 531809 w 1573156"/>
                <a:gd name="connsiteY155" fmla="*/ 2672771 h 3641849"/>
                <a:gd name="connsiteX156" fmla="*/ 414939 w 1573156"/>
                <a:gd name="connsiteY156" fmla="*/ 2682402 h 3641849"/>
                <a:gd name="connsiteX157" fmla="*/ 390000 w 1573156"/>
                <a:gd name="connsiteY157" fmla="*/ 2672059 h 3641849"/>
                <a:gd name="connsiteX158" fmla="*/ 367832 w 1573156"/>
                <a:gd name="connsiteY158" fmla="*/ 2684989 h 3641849"/>
                <a:gd name="connsiteX159" fmla="*/ 351205 w 1573156"/>
                <a:gd name="connsiteY159" fmla="*/ 2622932 h 3641849"/>
                <a:gd name="connsiteX160" fmla="*/ 340121 w 1573156"/>
                <a:gd name="connsiteY160" fmla="*/ 2597075 h 3641849"/>
                <a:gd name="connsiteX161" fmla="*/ 353976 w 1573156"/>
                <a:gd name="connsiteY161" fmla="*/ 2578974 h 3641849"/>
                <a:gd name="connsiteX162" fmla="*/ 381687 w 1573156"/>
                <a:gd name="connsiteY162" fmla="*/ 2581561 h 3641849"/>
                <a:gd name="connsiteX163" fmla="*/ 414939 w 1573156"/>
                <a:gd name="connsiteY163" fmla="*/ 2563461 h 3641849"/>
                <a:gd name="connsiteX164" fmla="*/ 412168 w 1573156"/>
                <a:gd name="connsiteY164" fmla="*/ 2537603 h 3641849"/>
                <a:gd name="connsiteX165" fmla="*/ 362289 w 1573156"/>
                <a:gd name="connsiteY165" fmla="*/ 2501404 h 3641849"/>
                <a:gd name="connsiteX166" fmla="*/ 338946 w 1573156"/>
                <a:gd name="connsiteY166" fmla="*/ 2513491 h 3641849"/>
                <a:gd name="connsiteX167" fmla="*/ 340121 w 1573156"/>
                <a:gd name="connsiteY167" fmla="*/ 2467790 h 3641849"/>
                <a:gd name="connsiteX168" fmla="*/ 306869 w 1573156"/>
                <a:gd name="connsiteY168" fmla="*/ 2429005 h 3641849"/>
                <a:gd name="connsiteX169" fmla="*/ 309641 w 1573156"/>
                <a:gd name="connsiteY169" fmla="*/ 2351433 h 3641849"/>
                <a:gd name="connsiteX170" fmla="*/ 290243 w 1573156"/>
                <a:gd name="connsiteY170" fmla="*/ 2299720 h 3641849"/>
                <a:gd name="connsiteX171" fmla="*/ 256991 w 1573156"/>
                <a:gd name="connsiteY171" fmla="*/ 2266106 h 3641849"/>
                <a:gd name="connsiteX172" fmla="*/ 218196 w 1573156"/>
                <a:gd name="connsiteY172" fmla="*/ 2242835 h 3641849"/>
                <a:gd name="connsiteX173" fmla="*/ 176631 w 1573156"/>
                <a:gd name="connsiteY173" fmla="*/ 2250592 h 3641849"/>
                <a:gd name="connsiteX174" fmla="*/ 122255 w 1573156"/>
                <a:gd name="connsiteY174"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795636 w 1573156"/>
                <a:gd name="connsiteY134" fmla="*/ 3398769 h 3641849"/>
                <a:gd name="connsiteX135" fmla="*/ 747462 w 1573156"/>
                <a:gd name="connsiteY135" fmla="*/ 3297798 h 3641849"/>
                <a:gd name="connsiteX136" fmla="*/ 836135 w 1573156"/>
                <a:gd name="connsiteY136" fmla="*/ 3225398 h 3641849"/>
                <a:gd name="connsiteX137" fmla="*/ 902641 w 1573156"/>
                <a:gd name="connsiteY137" fmla="*/ 3217642 h 3641849"/>
                <a:gd name="connsiteX138" fmla="*/ 955289 w 1573156"/>
                <a:gd name="connsiteY138" fmla="*/ 3160756 h 3641849"/>
                <a:gd name="connsiteX139" fmla="*/ 1024565 w 1573156"/>
                <a:gd name="connsiteY139" fmla="*/ 3114213 h 3641849"/>
                <a:gd name="connsiteX140" fmla="*/ 1019023 w 1573156"/>
                <a:gd name="connsiteY140" fmla="*/ 3067671 h 3641849"/>
                <a:gd name="connsiteX141" fmla="*/ 1043963 w 1573156"/>
                <a:gd name="connsiteY141" fmla="*/ 3028886 h 3641849"/>
                <a:gd name="connsiteX142" fmla="*/ 1016252 w 1573156"/>
                <a:gd name="connsiteY142" fmla="*/ 3026300 h 3641849"/>
                <a:gd name="connsiteX143" fmla="*/ 1031704 w 1573156"/>
                <a:gd name="connsiteY143" fmla="*/ 2992878 h 3641849"/>
                <a:gd name="connsiteX144" fmla="*/ 914211 w 1573156"/>
                <a:gd name="connsiteY144" fmla="*/ 2928233 h 3641849"/>
                <a:gd name="connsiteX145" fmla="*/ 858304 w 1573156"/>
                <a:gd name="connsiteY145" fmla="*/ 2909943 h 3641849"/>
                <a:gd name="connsiteX146" fmla="*/ 827823 w 1573156"/>
                <a:gd name="connsiteY146" fmla="*/ 2881501 h 3641849"/>
                <a:gd name="connsiteX147" fmla="*/ 761317 w 1573156"/>
                <a:gd name="connsiteY147" fmla="*/ 2897015 h 3641849"/>
                <a:gd name="connsiteX148" fmla="*/ 700355 w 1573156"/>
                <a:gd name="connsiteY148" fmla="*/ 2891844 h 3641849"/>
                <a:gd name="connsiteX149" fmla="*/ 658790 w 1573156"/>
                <a:gd name="connsiteY149" fmla="*/ 2827201 h 3641849"/>
                <a:gd name="connsiteX150" fmla="*/ 656019 w 1573156"/>
                <a:gd name="connsiteY150" fmla="*/ 2785830 h 3641849"/>
                <a:gd name="connsiteX151" fmla="*/ 631080 w 1573156"/>
                <a:gd name="connsiteY151" fmla="*/ 2772902 h 3641849"/>
                <a:gd name="connsiteX152" fmla="*/ 567346 w 1573156"/>
                <a:gd name="connsiteY152" fmla="*/ 2759974 h 3641849"/>
                <a:gd name="connsiteX153" fmla="*/ 586743 w 1573156"/>
                <a:gd name="connsiteY153" fmla="*/ 2721188 h 3641849"/>
                <a:gd name="connsiteX154" fmla="*/ 557777 w 1573156"/>
                <a:gd name="connsiteY154" fmla="*/ 2715007 h 3641849"/>
                <a:gd name="connsiteX155" fmla="*/ 531809 w 1573156"/>
                <a:gd name="connsiteY155" fmla="*/ 2672771 h 3641849"/>
                <a:gd name="connsiteX156" fmla="*/ 414939 w 1573156"/>
                <a:gd name="connsiteY156" fmla="*/ 2682402 h 3641849"/>
                <a:gd name="connsiteX157" fmla="*/ 390000 w 1573156"/>
                <a:gd name="connsiteY157" fmla="*/ 2672059 h 3641849"/>
                <a:gd name="connsiteX158" fmla="*/ 367832 w 1573156"/>
                <a:gd name="connsiteY158" fmla="*/ 2684989 h 3641849"/>
                <a:gd name="connsiteX159" fmla="*/ 351205 w 1573156"/>
                <a:gd name="connsiteY159" fmla="*/ 2622932 h 3641849"/>
                <a:gd name="connsiteX160" fmla="*/ 340121 w 1573156"/>
                <a:gd name="connsiteY160" fmla="*/ 2597075 h 3641849"/>
                <a:gd name="connsiteX161" fmla="*/ 353976 w 1573156"/>
                <a:gd name="connsiteY161" fmla="*/ 2578974 h 3641849"/>
                <a:gd name="connsiteX162" fmla="*/ 381687 w 1573156"/>
                <a:gd name="connsiteY162" fmla="*/ 2581561 h 3641849"/>
                <a:gd name="connsiteX163" fmla="*/ 414939 w 1573156"/>
                <a:gd name="connsiteY163" fmla="*/ 2563461 h 3641849"/>
                <a:gd name="connsiteX164" fmla="*/ 412168 w 1573156"/>
                <a:gd name="connsiteY164" fmla="*/ 2537603 h 3641849"/>
                <a:gd name="connsiteX165" fmla="*/ 362289 w 1573156"/>
                <a:gd name="connsiteY165" fmla="*/ 2501404 h 3641849"/>
                <a:gd name="connsiteX166" fmla="*/ 338946 w 1573156"/>
                <a:gd name="connsiteY166" fmla="*/ 2513491 h 3641849"/>
                <a:gd name="connsiteX167" fmla="*/ 340121 w 1573156"/>
                <a:gd name="connsiteY167" fmla="*/ 2467790 h 3641849"/>
                <a:gd name="connsiteX168" fmla="*/ 306869 w 1573156"/>
                <a:gd name="connsiteY168" fmla="*/ 2429005 h 3641849"/>
                <a:gd name="connsiteX169" fmla="*/ 309641 w 1573156"/>
                <a:gd name="connsiteY169" fmla="*/ 2351433 h 3641849"/>
                <a:gd name="connsiteX170" fmla="*/ 290243 w 1573156"/>
                <a:gd name="connsiteY170" fmla="*/ 2299720 h 3641849"/>
                <a:gd name="connsiteX171" fmla="*/ 256991 w 1573156"/>
                <a:gd name="connsiteY171" fmla="*/ 2266106 h 3641849"/>
                <a:gd name="connsiteX172" fmla="*/ 218196 w 1573156"/>
                <a:gd name="connsiteY172" fmla="*/ 2242835 h 3641849"/>
                <a:gd name="connsiteX173" fmla="*/ 176631 w 1573156"/>
                <a:gd name="connsiteY173" fmla="*/ 2250592 h 3641849"/>
                <a:gd name="connsiteX174" fmla="*/ 122255 w 1573156"/>
                <a:gd name="connsiteY174"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795636 w 1573156"/>
                <a:gd name="connsiteY134" fmla="*/ 3398769 h 3641849"/>
                <a:gd name="connsiteX135" fmla="*/ 802883 w 1573156"/>
                <a:gd name="connsiteY135" fmla="*/ 3365025 h 3641849"/>
                <a:gd name="connsiteX136" fmla="*/ 747462 w 1573156"/>
                <a:gd name="connsiteY136" fmla="*/ 3297798 h 3641849"/>
                <a:gd name="connsiteX137" fmla="*/ 836135 w 1573156"/>
                <a:gd name="connsiteY137" fmla="*/ 3225398 h 3641849"/>
                <a:gd name="connsiteX138" fmla="*/ 902641 w 1573156"/>
                <a:gd name="connsiteY138" fmla="*/ 3217642 h 3641849"/>
                <a:gd name="connsiteX139" fmla="*/ 955289 w 1573156"/>
                <a:gd name="connsiteY139" fmla="*/ 3160756 h 3641849"/>
                <a:gd name="connsiteX140" fmla="*/ 1024565 w 1573156"/>
                <a:gd name="connsiteY140" fmla="*/ 3114213 h 3641849"/>
                <a:gd name="connsiteX141" fmla="*/ 1019023 w 1573156"/>
                <a:gd name="connsiteY141" fmla="*/ 3067671 h 3641849"/>
                <a:gd name="connsiteX142" fmla="*/ 1043963 w 1573156"/>
                <a:gd name="connsiteY142" fmla="*/ 3028886 h 3641849"/>
                <a:gd name="connsiteX143" fmla="*/ 1016252 w 1573156"/>
                <a:gd name="connsiteY143" fmla="*/ 3026300 h 3641849"/>
                <a:gd name="connsiteX144" fmla="*/ 1031704 w 1573156"/>
                <a:gd name="connsiteY144" fmla="*/ 2992878 h 3641849"/>
                <a:gd name="connsiteX145" fmla="*/ 914211 w 1573156"/>
                <a:gd name="connsiteY145" fmla="*/ 2928233 h 3641849"/>
                <a:gd name="connsiteX146" fmla="*/ 858304 w 1573156"/>
                <a:gd name="connsiteY146" fmla="*/ 2909943 h 3641849"/>
                <a:gd name="connsiteX147" fmla="*/ 827823 w 1573156"/>
                <a:gd name="connsiteY147" fmla="*/ 2881501 h 3641849"/>
                <a:gd name="connsiteX148" fmla="*/ 761317 w 1573156"/>
                <a:gd name="connsiteY148" fmla="*/ 2897015 h 3641849"/>
                <a:gd name="connsiteX149" fmla="*/ 700355 w 1573156"/>
                <a:gd name="connsiteY149" fmla="*/ 2891844 h 3641849"/>
                <a:gd name="connsiteX150" fmla="*/ 658790 w 1573156"/>
                <a:gd name="connsiteY150" fmla="*/ 2827201 h 3641849"/>
                <a:gd name="connsiteX151" fmla="*/ 656019 w 1573156"/>
                <a:gd name="connsiteY151" fmla="*/ 2785830 h 3641849"/>
                <a:gd name="connsiteX152" fmla="*/ 631080 w 1573156"/>
                <a:gd name="connsiteY152" fmla="*/ 2772902 h 3641849"/>
                <a:gd name="connsiteX153" fmla="*/ 567346 w 1573156"/>
                <a:gd name="connsiteY153" fmla="*/ 2759974 h 3641849"/>
                <a:gd name="connsiteX154" fmla="*/ 586743 w 1573156"/>
                <a:gd name="connsiteY154" fmla="*/ 2721188 h 3641849"/>
                <a:gd name="connsiteX155" fmla="*/ 557777 w 1573156"/>
                <a:gd name="connsiteY155" fmla="*/ 2715007 h 3641849"/>
                <a:gd name="connsiteX156" fmla="*/ 531809 w 1573156"/>
                <a:gd name="connsiteY156" fmla="*/ 2672771 h 3641849"/>
                <a:gd name="connsiteX157" fmla="*/ 414939 w 1573156"/>
                <a:gd name="connsiteY157" fmla="*/ 2682402 h 3641849"/>
                <a:gd name="connsiteX158" fmla="*/ 390000 w 1573156"/>
                <a:gd name="connsiteY158" fmla="*/ 2672059 h 3641849"/>
                <a:gd name="connsiteX159" fmla="*/ 367832 w 1573156"/>
                <a:gd name="connsiteY159" fmla="*/ 2684989 h 3641849"/>
                <a:gd name="connsiteX160" fmla="*/ 351205 w 1573156"/>
                <a:gd name="connsiteY160" fmla="*/ 2622932 h 3641849"/>
                <a:gd name="connsiteX161" fmla="*/ 340121 w 1573156"/>
                <a:gd name="connsiteY161" fmla="*/ 2597075 h 3641849"/>
                <a:gd name="connsiteX162" fmla="*/ 353976 w 1573156"/>
                <a:gd name="connsiteY162" fmla="*/ 2578974 h 3641849"/>
                <a:gd name="connsiteX163" fmla="*/ 381687 w 1573156"/>
                <a:gd name="connsiteY163" fmla="*/ 2581561 h 3641849"/>
                <a:gd name="connsiteX164" fmla="*/ 414939 w 1573156"/>
                <a:gd name="connsiteY164" fmla="*/ 2563461 h 3641849"/>
                <a:gd name="connsiteX165" fmla="*/ 412168 w 1573156"/>
                <a:gd name="connsiteY165" fmla="*/ 2537603 h 3641849"/>
                <a:gd name="connsiteX166" fmla="*/ 362289 w 1573156"/>
                <a:gd name="connsiteY166" fmla="*/ 2501404 h 3641849"/>
                <a:gd name="connsiteX167" fmla="*/ 338946 w 1573156"/>
                <a:gd name="connsiteY167" fmla="*/ 2513491 h 3641849"/>
                <a:gd name="connsiteX168" fmla="*/ 340121 w 1573156"/>
                <a:gd name="connsiteY168" fmla="*/ 2467790 h 3641849"/>
                <a:gd name="connsiteX169" fmla="*/ 306869 w 1573156"/>
                <a:gd name="connsiteY169" fmla="*/ 2429005 h 3641849"/>
                <a:gd name="connsiteX170" fmla="*/ 309641 w 1573156"/>
                <a:gd name="connsiteY170" fmla="*/ 2351433 h 3641849"/>
                <a:gd name="connsiteX171" fmla="*/ 290243 w 1573156"/>
                <a:gd name="connsiteY171" fmla="*/ 2299720 h 3641849"/>
                <a:gd name="connsiteX172" fmla="*/ 256991 w 1573156"/>
                <a:gd name="connsiteY172" fmla="*/ 2266106 h 3641849"/>
                <a:gd name="connsiteX173" fmla="*/ 218196 w 1573156"/>
                <a:gd name="connsiteY173" fmla="*/ 2242835 h 3641849"/>
                <a:gd name="connsiteX174" fmla="*/ 176631 w 1573156"/>
                <a:gd name="connsiteY174" fmla="*/ 2250592 h 3641849"/>
                <a:gd name="connsiteX175" fmla="*/ 122255 w 1573156"/>
                <a:gd name="connsiteY175"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776238 w 1573156"/>
                <a:gd name="connsiteY134" fmla="*/ 3504783 h 3641849"/>
                <a:gd name="connsiteX135" fmla="*/ 802883 w 1573156"/>
                <a:gd name="connsiteY135" fmla="*/ 3365025 h 3641849"/>
                <a:gd name="connsiteX136" fmla="*/ 747462 w 1573156"/>
                <a:gd name="connsiteY136" fmla="*/ 3297798 h 3641849"/>
                <a:gd name="connsiteX137" fmla="*/ 836135 w 1573156"/>
                <a:gd name="connsiteY137" fmla="*/ 3225398 h 3641849"/>
                <a:gd name="connsiteX138" fmla="*/ 902641 w 1573156"/>
                <a:gd name="connsiteY138" fmla="*/ 3217642 h 3641849"/>
                <a:gd name="connsiteX139" fmla="*/ 955289 w 1573156"/>
                <a:gd name="connsiteY139" fmla="*/ 3160756 h 3641849"/>
                <a:gd name="connsiteX140" fmla="*/ 1024565 w 1573156"/>
                <a:gd name="connsiteY140" fmla="*/ 3114213 h 3641849"/>
                <a:gd name="connsiteX141" fmla="*/ 1019023 w 1573156"/>
                <a:gd name="connsiteY141" fmla="*/ 3067671 h 3641849"/>
                <a:gd name="connsiteX142" fmla="*/ 1043963 w 1573156"/>
                <a:gd name="connsiteY142" fmla="*/ 3028886 h 3641849"/>
                <a:gd name="connsiteX143" fmla="*/ 1016252 w 1573156"/>
                <a:gd name="connsiteY143" fmla="*/ 3026300 h 3641849"/>
                <a:gd name="connsiteX144" fmla="*/ 1031704 w 1573156"/>
                <a:gd name="connsiteY144" fmla="*/ 2992878 h 3641849"/>
                <a:gd name="connsiteX145" fmla="*/ 914211 w 1573156"/>
                <a:gd name="connsiteY145" fmla="*/ 2928233 h 3641849"/>
                <a:gd name="connsiteX146" fmla="*/ 858304 w 1573156"/>
                <a:gd name="connsiteY146" fmla="*/ 2909943 h 3641849"/>
                <a:gd name="connsiteX147" fmla="*/ 827823 w 1573156"/>
                <a:gd name="connsiteY147" fmla="*/ 2881501 h 3641849"/>
                <a:gd name="connsiteX148" fmla="*/ 761317 w 1573156"/>
                <a:gd name="connsiteY148" fmla="*/ 2897015 h 3641849"/>
                <a:gd name="connsiteX149" fmla="*/ 700355 w 1573156"/>
                <a:gd name="connsiteY149" fmla="*/ 2891844 h 3641849"/>
                <a:gd name="connsiteX150" fmla="*/ 658790 w 1573156"/>
                <a:gd name="connsiteY150" fmla="*/ 2827201 h 3641849"/>
                <a:gd name="connsiteX151" fmla="*/ 656019 w 1573156"/>
                <a:gd name="connsiteY151" fmla="*/ 2785830 h 3641849"/>
                <a:gd name="connsiteX152" fmla="*/ 631080 w 1573156"/>
                <a:gd name="connsiteY152" fmla="*/ 2772902 h 3641849"/>
                <a:gd name="connsiteX153" fmla="*/ 567346 w 1573156"/>
                <a:gd name="connsiteY153" fmla="*/ 2759974 h 3641849"/>
                <a:gd name="connsiteX154" fmla="*/ 586743 w 1573156"/>
                <a:gd name="connsiteY154" fmla="*/ 2721188 h 3641849"/>
                <a:gd name="connsiteX155" fmla="*/ 557777 w 1573156"/>
                <a:gd name="connsiteY155" fmla="*/ 2715007 h 3641849"/>
                <a:gd name="connsiteX156" fmla="*/ 531809 w 1573156"/>
                <a:gd name="connsiteY156" fmla="*/ 2672771 h 3641849"/>
                <a:gd name="connsiteX157" fmla="*/ 414939 w 1573156"/>
                <a:gd name="connsiteY157" fmla="*/ 2682402 h 3641849"/>
                <a:gd name="connsiteX158" fmla="*/ 390000 w 1573156"/>
                <a:gd name="connsiteY158" fmla="*/ 2672059 h 3641849"/>
                <a:gd name="connsiteX159" fmla="*/ 367832 w 1573156"/>
                <a:gd name="connsiteY159" fmla="*/ 2684989 h 3641849"/>
                <a:gd name="connsiteX160" fmla="*/ 351205 w 1573156"/>
                <a:gd name="connsiteY160" fmla="*/ 2622932 h 3641849"/>
                <a:gd name="connsiteX161" fmla="*/ 340121 w 1573156"/>
                <a:gd name="connsiteY161" fmla="*/ 2597075 h 3641849"/>
                <a:gd name="connsiteX162" fmla="*/ 353976 w 1573156"/>
                <a:gd name="connsiteY162" fmla="*/ 2578974 h 3641849"/>
                <a:gd name="connsiteX163" fmla="*/ 381687 w 1573156"/>
                <a:gd name="connsiteY163" fmla="*/ 2581561 h 3641849"/>
                <a:gd name="connsiteX164" fmla="*/ 414939 w 1573156"/>
                <a:gd name="connsiteY164" fmla="*/ 2563461 h 3641849"/>
                <a:gd name="connsiteX165" fmla="*/ 412168 w 1573156"/>
                <a:gd name="connsiteY165" fmla="*/ 2537603 h 3641849"/>
                <a:gd name="connsiteX166" fmla="*/ 362289 w 1573156"/>
                <a:gd name="connsiteY166" fmla="*/ 2501404 h 3641849"/>
                <a:gd name="connsiteX167" fmla="*/ 338946 w 1573156"/>
                <a:gd name="connsiteY167" fmla="*/ 2513491 h 3641849"/>
                <a:gd name="connsiteX168" fmla="*/ 340121 w 1573156"/>
                <a:gd name="connsiteY168" fmla="*/ 2467790 h 3641849"/>
                <a:gd name="connsiteX169" fmla="*/ 306869 w 1573156"/>
                <a:gd name="connsiteY169" fmla="*/ 2429005 h 3641849"/>
                <a:gd name="connsiteX170" fmla="*/ 309641 w 1573156"/>
                <a:gd name="connsiteY170" fmla="*/ 2351433 h 3641849"/>
                <a:gd name="connsiteX171" fmla="*/ 290243 w 1573156"/>
                <a:gd name="connsiteY171" fmla="*/ 2299720 h 3641849"/>
                <a:gd name="connsiteX172" fmla="*/ 256991 w 1573156"/>
                <a:gd name="connsiteY172" fmla="*/ 2266106 h 3641849"/>
                <a:gd name="connsiteX173" fmla="*/ 218196 w 1573156"/>
                <a:gd name="connsiteY173" fmla="*/ 2242835 h 3641849"/>
                <a:gd name="connsiteX174" fmla="*/ 176631 w 1573156"/>
                <a:gd name="connsiteY174" fmla="*/ 2250592 h 3641849"/>
                <a:gd name="connsiteX175" fmla="*/ 122255 w 1573156"/>
                <a:gd name="connsiteY175"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776238 w 1573156"/>
                <a:gd name="connsiteY134" fmla="*/ 3504783 h 3641849"/>
                <a:gd name="connsiteX135" fmla="*/ 783486 w 1573156"/>
                <a:gd name="connsiteY135" fmla="*/ 3354683 h 3641849"/>
                <a:gd name="connsiteX136" fmla="*/ 747462 w 1573156"/>
                <a:gd name="connsiteY136" fmla="*/ 3297798 h 3641849"/>
                <a:gd name="connsiteX137" fmla="*/ 836135 w 1573156"/>
                <a:gd name="connsiteY137" fmla="*/ 3225398 h 3641849"/>
                <a:gd name="connsiteX138" fmla="*/ 902641 w 1573156"/>
                <a:gd name="connsiteY138" fmla="*/ 3217642 h 3641849"/>
                <a:gd name="connsiteX139" fmla="*/ 955289 w 1573156"/>
                <a:gd name="connsiteY139" fmla="*/ 3160756 h 3641849"/>
                <a:gd name="connsiteX140" fmla="*/ 1024565 w 1573156"/>
                <a:gd name="connsiteY140" fmla="*/ 3114213 h 3641849"/>
                <a:gd name="connsiteX141" fmla="*/ 1019023 w 1573156"/>
                <a:gd name="connsiteY141" fmla="*/ 3067671 h 3641849"/>
                <a:gd name="connsiteX142" fmla="*/ 1043963 w 1573156"/>
                <a:gd name="connsiteY142" fmla="*/ 3028886 h 3641849"/>
                <a:gd name="connsiteX143" fmla="*/ 1016252 w 1573156"/>
                <a:gd name="connsiteY143" fmla="*/ 3026300 h 3641849"/>
                <a:gd name="connsiteX144" fmla="*/ 1031704 w 1573156"/>
                <a:gd name="connsiteY144" fmla="*/ 2992878 h 3641849"/>
                <a:gd name="connsiteX145" fmla="*/ 914211 w 1573156"/>
                <a:gd name="connsiteY145" fmla="*/ 2928233 h 3641849"/>
                <a:gd name="connsiteX146" fmla="*/ 858304 w 1573156"/>
                <a:gd name="connsiteY146" fmla="*/ 2909943 h 3641849"/>
                <a:gd name="connsiteX147" fmla="*/ 827823 w 1573156"/>
                <a:gd name="connsiteY147" fmla="*/ 2881501 h 3641849"/>
                <a:gd name="connsiteX148" fmla="*/ 761317 w 1573156"/>
                <a:gd name="connsiteY148" fmla="*/ 2897015 h 3641849"/>
                <a:gd name="connsiteX149" fmla="*/ 700355 w 1573156"/>
                <a:gd name="connsiteY149" fmla="*/ 2891844 h 3641849"/>
                <a:gd name="connsiteX150" fmla="*/ 658790 w 1573156"/>
                <a:gd name="connsiteY150" fmla="*/ 2827201 h 3641849"/>
                <a:gd name="connsiteX151" fmla="*/ 656019 w 1573156"/>
                <a:gd name="connsiteY151" fmla="*/ 2785830 h 3641849"/>
                <a:gd name="connsiteX152" fmla="*/ 631080 w 1573156"/>
                <a:gd name="connsiteY152" fmla="*/ 2772902 h 3641849"/>
                <a:gd name="connsiteX153" fmla="*/ 567346 w 1573156"/>
                <a:gd name="connsiteY153" fmla="*/ 2759974 h 3641849"/>
                <a:gd name="connsiteX154" fmla="*/ 586743 w 1573156"/>
                <a:gd name="connsiteY154" fmla="*/ 2721188 h 3641849"/>
                <a:gd name="connsiteX155" fmla="*/ 557777 w 1573156"/>
                <a:gd name="connsiteY155" fmla="*/ 2715007 h 3641849"/>
                <a:gd name="connsiteX156" fmla="*/ 531809 w 1573156"/>
                <a:gd name="connsiteY156" fmla="*/ 2672771 h 3641849"/>
                <a:gd name="connsiteX157" fmla="*/ 414939 w 1573156"/>
                <a:gd name="connsiteY157" fmla="*/ 2682402 h 3641849"/>
                <a:gd name="connsiteX158" fmla="*/ 390000 w 1573156"/>
                <a:gd name="connsiteY158" fmla="*/ 2672059 h 3641849"/>
                <a:gd name="connsiteX159" fmla="*/ 367832 w 1573156"/>
                <a:gd name="connsiteY159" fmla="*/ 2684989 h 3641849"/>
                <a:gd name="connsiteX160" fmla="*/ 351205 w 1573156"/>
                <a:gd name="connsiteY160" fmla="*/ 2622932 h 3641849"/>
                <a:gd name="connsiteX161" fmla="*/ 340121 w 1573156"/>
                <a:gd name="connsiteY161" fmla="*/ 2597075 h 3641849"/>
                <a:gd name="connsiteX162" fmla="*/ 353976 w 1573156"/>
                <a:gd name="connsiteY162" fmla="*/ 2578974 h 3641849"/>
                <a:gd name="connsiteX163" fmla="*/ 381687 w 1573156"/>
                <a:gd name="connsiteY163" fmla="*/ 2581561 h 3641849"/>
                <a:gd name="connsiteX164" fmla="*/ 414939 w 1573156"/>
                <a:gd name="connsiteY164" fmla="*/ 2563461 h 3641849"/>
                <a:gd name="connsiteX165" fmla="*/ 412168 w 1573156"/>
                <a:gd name="connsiteY165" fmla="*/ 2537603 h 3641849"/>
                <a:gd name="connsiteX166" fmla="*/ 362289 w 1573156"/>
                <a:gd name="connsiteY166" fmla="*/ 2501404 h 3641849"/>
                <a:gd name="connsiteX167" fmla="*/ 338946 w 1573156"/>
                <a:gd name="connsiteY167" fmla="*/ 2513491 h 3641849"/>
                <a:gd name="connsiteX168" fmla="*/ 340121 w 1573156"/>
                <a:gd name="connsiteY168" fmla="*/ 2467790 h 3641849"/>
                <a:gd name="connsiteX169" fmla="*/ 306869 w 1573156"/>
                <a:gd name="connsiteY169" fmla="*/ 2429005 h 3641849"/>
                <a:gd name="connsiteX170" fmla="*/ 309641 w 1573156"/>
                <a:gd name="connsiteY170" fmla="*/ 2351433 h 3641849"/>
                <a:gd name="connsiteX171" fmla="*/ 290243 w 1573156"/>
                <a:gd name="connsiteY171" fmla="*/ 2299720 h 3641849"/>
                <a:gd name="connsiteX172" fmla="*/ 256991 w 1573156"/>
                <a:gd name="connsiteY172" fmla="*/ 2266106 h 3641849"/>
                <a:gd name="connsiteX173" fmla="*/ 218196 w 1573156"/>
                <a:gd name="connsiteY173" fmla="*/ 2242835 h 3641849"/>
                <a:gd name="connsiteX174" fmla="*/ 176631 w 1573156"/>
                <a:gd name="connsiteY174" fmla="*/ 2250592 h 3641849"/>
                <a:gd name="connsiteX175" fmla="*/ 122255 w 1573156"/>
                <a:gd name="connsiteY175"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776238 w 1573156"/>
                <a:gd name="connsiteY134" fmla="*/ 3504783 h 3641849"/>
                <a:gd name="connsiteX135" fmla="*/ 758547 w 1573156"/>
                <a:gd name="connsiteY135" fmla="*/ 3411568 h 3641849"/>
                <a:gd name="connsiteX136" fmla="*/ 783486 w 1573156"/>
                <a:gd name="connsiteY136" fmla="*/ 3354683 h 3641849"/>
                <a:gd name="connsiteX137" fmla="*/ 747462 w 1573156"/>
                <a:gd name="connsiteY137" fmla="*/ 3297798 h 3641849"/>
                <a:gd name="connsiteX138" fmla="*/ 836135 w 1573156"/>
                <a:gd name="connsiteY138" fmla="*/ 3225398 h 3641849"/>
                <a:gd name="connsiteX139" fmla="*/ 902641 w 1573156"/>
                <a:gd name="connsiteY139" fmla="*/ 3217642 h 3641849"/>
                <a:gd name="connsiteX140" fmla="*/ 955289 w 1573156"/>
                <a:gd name="connsiteY140" fmla="*/ 3160756 h 3641849"/>
                <a:gd name="connsiteX141" fmla="*/ 1024565 w 1573156"/>
                <a:gd name="connsiteY141" fmla="*/ 3114213 h 3641849"/>
                <a:gd name="connsiteX142" fmla="*/ 1019023 w 1573156"/>
                <a:gd name="connsiteY142" fmla="*/ 3067671 h 3641849"/>
                <a:gd name="connsiteX143" fmla="*/ 1043963 w 1573156"/>
                <a:gd name="connsiteY143" fmla="*/ 3028886 h 3641849"/>
                <a:gd name="connsiteX144" fmla="*/ 1016252 w 1573156"/>
                <a:gd name="connsiteY144" fmla="*/ 3026300 h 3641849"/>
                <a:gd name="connsiteX145" fmla="*/ 1031704 w 1573156"/>
                <a:gd name="connsiteY145" fmla="*/ 2992878 h 3641849"/>
                <a:gd name="connsiteX146" fmla="*/ 914211 w 1573156"/>
                <a:gd name="connsiteY146" fmla="*/ 2928233 h 3641849"/>
                <a:gd name="connsiteX147" fmla="*/ 858304 w 1573156"/>
                <a:gd name="connsiteY147" fmla="*/ 2909943 h 3641849"/>
                <a:gd name="connsiteX148" fmla="*/ 827823 w 1573156"/>
                <a:gd name="connsiteY148" fmla="*/ 2881501 h 3641849"/>
                <a:gd name="connsiteX149" fmla="*/ 761317 w 1573156"/>
                <a:gd name="connsiteY149" fmla="*/ 2897015 h 3641849"/>
                <a:gd name="connsiteX150" fmla="*/ 700355 w 1573156"/>
                <a:gd name="connsiteY150" fmla="*/ 2891844 h 3641849"/>
                <a:gd name="connsiteX151" fmla="*/ 658790 w 1573156"/>
                <a:gd name="connsiteY151" fmla="*/ 2827201 h 3641849"/>
                <a:gd name="connsiteX152" fmla="*/ 656019 w 1573156"/>
                <a:gd name="connsiteY152" fmla="*/ 2785830 h 3641849"/>
                <a:gd name="connsiteX153" fmla="*/ 631080 w 1573156"/>
                <a:gd name="connsiteY153" fmla="*/ 2772902 h 3641849"/>
                <a:gd name="connsiteX154" fmla="*/ 567346 w 1573156"/>
                <a:gd name="connsiteY154" fmla="*/ 2759974 h 3641849"/>
                <a:gd name="connsiteX155" fmla="*/ 586743 w 1573156"/>
                <a:gd name="connsiteY155" fmla="*/ 2721188 h 3641849"/>
                <a:gd name="connsiteX156" fmla="*/ 557777 w 1573156"/>
                <a:gd name="connsiteY156" fmla="*/ 2715007 h 3641849"/>
                <a:gd name="connsiteX157" fmla="*/ 531809 w 1573156"/>
                <a:gd name="connsiteY157" fmla="*/ 2672771 h 3641849"/>
                <a:gd name="connsiteX158" fmla="*/ 414939 w 1573156"/>
                <a:gd name="connsiteY158" fmla="*/ 2682402 h 3641849"/>
                <a:gd name="connsiteX159" fmla="*/ 390000 w 1573156"/>
                <a:gd name="connsiteY159" fmla="*/ 2672059 h 3641849"/>
                <a:gd name="connsiteX160" fmla="*/ 367832 w 1573156"/>
                <a:gd name="connsiteY160" fmla="*/ 2684989 h 3641849"/>
                <a:gd name="connsiteX161" fmla="*/ 351205 w 1573156"/>
                <a:gd name="connsiteY161" fmla="*/ 2622932 h 3641849"/>
                <a:gd name="connsiteX162" fmla="*/ 340121 w 1573156"/>
                <a:gd name="connsiteY162" fmla="*/ 2597075 h 3641849"/>
                <a:gd name="connsiteX163" fmla="*/ 353976 w 1573156"/>
                <a:gd name="connsiteY163" fmla="*/ 2578974 h 3641849"/>
                <a:gd name="connsiteX164" fmla="*/ 381687 w 1573156"/>
                <a:gd name="connsiteY164" fmla="*/ 2581561 h 3641849"/>
                <a:gd name="connsiteX165" fmla="*/ 414939 w 1573156"/>
                <a:gd name="connsiteY165" fmla="*/ 2563461 h 3641849"/>
                <a:gd name="connsiteX166" fmla="*/ 412168 w 1573156"/>
                <a:gd name="connsiteY166" fmla="*/ 2537603 h 3641849"/>
                <a:gd name="connsiteX167" fmla="*/ 362289 w 1573156"/>
                <a:gd name="connsiteY167" fmla="*/ 2501404 h 3641849"/>
                <a:gd name="connsiteX168" fmla="*/ 338946 w 1573156"/>
                <a:gd name="connsiteY168" fmla="*/ 2513491 h 3641849"/>
                <a:gd name="connsiteX169" fmla="*/ 340121 w 1573156"/>
                <a:gd name="connsiteY169" fmla="*/ 2467790 h 3641849"/>
                <a:gd name="connsiteX170" fmla="*/ 306869 w 1573156"/>
                <a:gd name="connsiteY170" fmla="*/ 2429005 h 3641849"/>
                <a:gd name="connsiteX171" fmla="*/ 309641 w 1573156"/>
                <a:gd name="connsiteY171" fmla="*/ 2351433 h 3641849"/>
                <a:gd name="connsiteX172" fmla="*/ 290243 w 1573156"/>
                <a:gd name="connsiteY172" fmla="*/ 2299720 h 3641849"/>
                <a:gd name="connsiteX173" fmla="*/ 256991 w 1573156"/>
                <a:gd name="connsiteY173" fmla="*/ 2266106 h 3641849"/>
                <a:gd name="connsiteX174" fmla="*/ 218196 w 1573156"/>
                <a:gd name="connsiteY174" fmla="*/ 2242835 h 3641849"/>
                <a:gd name="connsiteX175" fmla="*/ 176631 w 1573156"/>
                <a:gd name="connsiteY175" fmla="*/ 2250592 h 3641849"/>
                <a:gd name="connsiteX176" fmla="*/ 122255 w 1573156"/>
                <a:gd name="connsiteY176"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776238 w 1573156"/>
                <a:gd name="connsiteY134" fmla="*/ 3504783 h 3641849"/>
                <a:gd name="connsiteX135" fmla="*/ 736378 w 1573156"/>
                <a:gd name="connsiteY135" fmla="*/ 3450354 h 3641849"/>
                <a:gd name="connsiteX136" fmla="*/ 758547 w 1573156"/>
                <a:gd name="connsiteY136" fmla="*/ 3411568 h 3641849"/>
                <a:gd name="connsiteX137" fmla="*/ 783486 w 1573156"/>
                <a:gd name="connsiteY137" fmla="*/ 3354683 h 3641849"/>
                <a:gd name="connsiteX138" fmla="*/ 747462 w 1573156"/>
                <a:gd name="connsiteY138" fmla="*/ 3297798 h 3641849"/>
                <a:gd name="connsiteX139" fmla="*/ 836135 w 1573156"/>
                <a:gd name="connsiteY139" fmla="*/ 3225398 h 3641849"/>
                <a:gd name="connsiteX140" fmla="*/ 902641 w 1573156"/>
                <a:gd name="connsiteY140" fmla="*/ 3217642 h 3641849"/>
                <a:gd name="connsiteX141" fmla="*/ 955289 w 1573156"/>
                <a:gd name="connsiteY141" fmla="*/ 3160756 h 3641849"/>
                <a:gd name="connsiteX142" fmla="*/ 1024565 w 1573156"/>
                <a:gd name="connsiteY142" fmla="*/ 3114213 h 3641849"/>
                <a:gd name="connsiteX143" fmla="*/ 1019023 w 1573156"/>
                <a:gd name="connsiteY143" fmla="*/ 3067671 h 3641849"/>
                <a:gd name="connsiteX144" fmla="*/ 1043963 w 1573156"/>
                <a:gd name="connsiteY144" fmla="*/ 3028886 h 3641849"/>
                <a:gd name="connsiteX145" fmla="*/ 1016252 w 1573156"/>
                <a:gd name="connsiteY145" fmla="*/ 3026300 h 3641849"/>
                <a:gd name="connsiteX146" fmla="*/ 1031704 w 1573156"/>
                <a:gd name="connsiteY146" fmla="*/ 2992878 h 3641849"/>
                <a:gd name="connsiteX147" fmla="*/ 914211 w 1573156"/>
                <a:gd name="connsiteY147" fmla="*/ 2928233 h 3641849"/>
                <a:gd name="connsiteX148" fmla="*/ 858304 w 1573156"/>
                <a:gd name="connsiteY148" fmla="*/ 2909943 h 3641849"/>
                <a:gd name="connsiteX149" fmla="*/ 827823 w 1573156"/>
                <a:gd name="connsiteY149" fmla="*/ 2881501 h 3641849"/>
                <a:gd name="connsiteX150" fmla="*/ 761317 w 1573156"/>
                <a:gd name="connsiteY150" fmla="*/ 2897015 h 3641849"/>
                <a:gd name="connsiteX151" fmla="*/ 700355 w 1573156"/>
                <a:gd name="connsiteY151" fmla="*/ 2891844 h 3641849"/>
                <a:gd name="connsiteX152" fmla="*/ 658790 w 1573156"/>
                <a:gd name="connsiteY152" fmla="*/ 2827201 h 3641849"/>
                <a:gd name="connsiteX153" fmla="*/ 656019 w 1573156"/>
                <a:gd name="connsiteY153" fmla="*/ 2785830 h 3641849"/>
                <a:gd name="connsiteX154" fmla="*/ 631080 w 1573156"/>
                <a:gd name="connsiteY154" fmla="*/ 2772902 h 3641849"/>
                <a:gd name="connsiteX155" fmla="*/ 567346 w 1573156"/>
                <a:gd name="connsiteY155" fmla="*/ 2759974 h 3641849"/>
                <a:gd name="connsiteX156" fmla="*/ 586743 w 1573156"/>
                <a:gd name="connsiteY156" fmla="*/ 2721188 h 3641849"/>
                <a:gd name="connsiteX157" fmla="*/ 557777 w 1573156"/>
                <a:gd name="connsiteY157" fmla="*/ 2715007 h 3641849"/>
                <a:gd name="connsiteX158" fmla="*/ 531809 w 1573156"/>
                <a:gd name="connsiteY158" fmla="*/ 2672771 h 3641849"/>
                <a:gd name="connsiteX159" fmla="*/ 414939 w 1573156"/>
                <a:gd name="connsiteY159" fmla="*/ 2682402 h 3641849"/>
                <a:gd name="connsiteX160" fmla="*/ 390000 w 1573156"/>
                <a:gd name="connsiteY160" fmla="*/ 2672059 h 3641849"/>
                <a:gd name="connsiteX161" fmla="*/ 367832 w 1573156"/>
                <a:gd name="connsiteY161" fmla="*/ 2684989 h 3641849"/>
                <a:gd name="connsiteX162" fmla="*/ 351205 w 1573156"/>
                <a:gd name="connsiteY162" fmla="*/ 2622932 h 3641849"/>
                <a:gd name="connsiteX163" fmla="*/ 340121 w 1573156"/>
                <a:gd name="connsiteY163" fmla="*/ 2597075 h 3641849"/>
                <a:gd name="connsiteX164" fmla="*/ 353976 w 1573156"/>
                <a:gd name="connsiteY164" fmla="*/ 2578974 h 3641849"/>
                <a:gd name="connsiteX165" fmla="*/ 381687 w 1573156"/>
                <a:gd name="connsiteY165" fmla="*/ 2581561 h 3641849"/>
                <a:gd name="connsiteX166" fmla="*/ 414939 w 1573156"/>
                <a:gd name="connsiteY166" fmla="*/ 2563461 h 3641849"/>
                <a:gd name="connsiteX167" fmla="*/ 412168 w 1573156"/>
                <a:gd name="connsiteY167" fmla="*/ 2537603 h 3641849"/>
                <a:gd name="connsiteX168" fmla="*/ 362289 w 1573156"/>
                <a:gd name="connsiteY168" fmla="*/ 2501404 h 3641849"/>
                <a:gd name="connsiteX169" fmla="*/ 338946 w 1573156"/>
                <a:gd name="connsiteY169" fmla="*/ 2513491 h 3641849"/>
                <a:gd name="connsiteX170" fmla="*/ 340121 w 1573156"/>
                <a:gd name="connsiteY170" fmla="*/ 2467790 h 3641849"/>
                <a:gd name="connsiteX171" fmla="*/ 306869 w 1573156"/>
                <a:gd name="connsiteY171" fmla="*/ 2429005 h 3641849"/>
                <a:gd name="connsiteX172" fmla="*/ 309641 w 1573156"/>
                <a:gd name="connsiteY172" fmla="*/ 2351433 h 3641849"/>
                <a:gd name="connsiteX173" fmla="*/ 290243 w 1573156"/>
                <a:gd name="connsiteY173" fmla="*/ 2299720 h 3641849"/>
                <a:gd name="connsiteX174" fmla="*/ 256991 w 1573156"/>
                <a:gd name="connsiteY174" fmla="*/ 2266106 h 3641849"/>
                <a:gd name="connsiteX175" fmla="*/ 218196 w 1573156"/>
                <a:gd name="connsiteY175" fmla="*/ 2242835 h 3641849"/>
                <a:gd name="connsiteX176" fmla="*/ 176631 w 1573156"/>
                <a:gd name="connsiteY176" fmla="*/ 2250592 h 3641849"/>
                <a:gd name="connsiteX177" fmla="*/ 122255 w 1573156"/>
                <a:gd name="connsiteY177"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776238 w 1573156"/>
                <a:gd name="connsiteY134" fmla="*/ 3504783 h 3641849"/>
                <a:gd name="connsiteX135" fmla="*/ 708669 w 1573156"/>
                <a:gd name="connsiteY135" fmla="*/ 3437426 h 3641849"/>
                <a:gd name="connsiteX136" fmla="*/ 758547 w 1573156"/>
                <a:gd name="connsiteY136" fmla="*/ 3411568 h 3641849"/>
                <a:gd name="connsiteX137" fmla="*/ 783486 w 1573156"/>
                <a:gd name="connsiteY137" fmla="*/ 3354683 h 3641849"/>
                <a:gd name="connsiteX138" fmla="*/ 747462 w 1573156"/>
                <a:gd name="connsiteY138" fmla="*/ 3297798 h 3641849"/>
                <a:gd name="connsiteX139" fmla="*/ 836135 w 1573156"/>
                <a:gd name="connsiteY139" fmla="*/ 3225398 h 3641849"/>
                <a:gd name="connsiteX140" fmla="*/ 902641 w 1573156"/>
                <a:gd name="connsiteY140" fmla="*/ 3217642 h 3641849"/>
                <a:gd name="connsiteX141" fmla="*/ 955289 w 1573156"/>
                <a:gd name="connsiteY141" fmla="*/ 3160756 h 3641849"/>
                <a:gd name="connsiteX142" fmla="*/ 1024565 w 1573156"/>
                <a:gd name="connsiteY142" fmla="*/ 3114213 h 3641849"/>
                <a:gd name="connsiteX143" fmla="*/ 1019023 w 1573156"/>
                <a:gd name="connsiteY143" fmla="*/ 3067671 h 3641849"/>
                <a:gd name="connsiteX144" fmla="*/ 1043963 w 1573156"/>
                <a:gd name="connsiteY144" fmla="*/ 3028886 h 3641849"/>
                <a:gd name="connsiteX145" fmla="*/ 1016252 w 1573156"/>
                <a:gd name="connsiteY145" fmla="*/ 3026300 h 3641849"/>
                <a:gd name="connsiteX146" fmla="*/ 1031704 w 1573156"/>
                <a:gd name="connsiteY146" fmla="*/ 2992878 h 3641849"/>
                <a:gd name="connsiteX147" fmla="*/ 914211 w 1573156"/>
                <a:gd name="connsiteY147" fmla="*/ 2928233 h 3641849"/>
                <a:gd name="connsiteX148" fmla="*/ 858304 w 1573156"/>
                <a:gd name="connsiteY148" fmla="*/ 2909943 h 3641849"/>
                <a:gd name="connsiteX149" fmla="*/ 827823 w 1573156"/>
                <a:gd name="connsiteY149" fmla="*/ 2881501 h 3641849"/>
                <a:gd name="connsiteX150" fmla="*/ 761317 w 1573156"/>
                <a:gd name="connsiteY150" fmla="*/ 2897015 h 3641849"/>
                <a:gd name="connsiteX151" fmla="*/ 700355 w 1573156"/>
                <a:gd name="connsiteY151" fmla="*/ 2891844 h 3641849"/>
                <a:gd name="connsiteX152" fmla="*/ 658790 w 1573156"/>
                <a:gd name="connsiteY152" fmla="*/ 2827201 h 3641849"/>
                <a:gd name="connsiteX153" fmla="*/ 656019 w 1573156"/>
                <a:gd name="connsiteY153" fmla="*/ 2785830 h 3641849"/>
                <a:gd name="connsiteX154" fmla="*/ 631080 w 1573156"/>
                <a:gd name="connsiteY154" fmla="*/ 2772902 h 3641849"/>
                <a:gd name="connsiteX155" fmla="*/ 567346 w 1573156"/>
                <a:gd name="connsiteY155" fmla="*/ 2759974 h 3641849"/>
                <a:gd name="connsiteX156" fmla="*/ 586743 w 1573156"/>
                <a:gd name="connsiteY156" fmla="*/ 2721188 h 3641849"/>
                <a:gd name="connsiteX157" fmla="*/ 557777 w 1573156"/>
                <a:gd name="connsiteY157" fmla="*/ 2715007 h 3641849"/>
                <a:gd name="connsiteX158" fmla="*/ 531809 w 1573156"/>
                <a:gd name="connsiteY158" fmla="*/ 2672771 h 3641849"/>
                <a:gd name="connsiteX159" fmla="*/ 414939 w 1573156"/>
                <a:gd name="connsiteY159" fmla="*/ 2682402 h 3641849"/>
                <a:gd name="connsiteX160" fmla="*/ 390000 w 1573156"/>
                <a:gd name="connsiteY160" fmla="*/ 2672059 h 3641849"/>
                <a:gd name="connsiteX161" fmla="*/ 367832 w 1573156"/>
                <a:gd name="connsiteY161" fmla="*/ 2684989 h 3641849"/>
                <a:gd name="connsiteX162" fmla="*/ 351205 w 1573156"/>
                <a:gd name="connsiteY162" fmla="*/ 2622932 h 3641849"/>
                <a:gd name="connsiteX163" fmla="*/ 340121 w 1573156"/>
                <a:gd name="connsiteY163" fmla="*/ 2597075 h 3641849"/>
                <a:gd name="connsiteX164" fmla="*/ 353976 w 1573156"/>
                <a:gd name="connsiteY164" fmla="*/ 2578974 h 3641849"/>
                <a:gd name="connsiteX165" fmla="*/ 381687 w 1573156"/>
                <a:gd name="connsiteY165" fmla="*/ 2581561 h 3641849"/>
                <a:gd name="connsiteX166" fmla="*/ 414939 w 1573156"/>
                <a:gd name="connsiteY166" fmla="*/ 2563461 h 3641849"/>
                <a:gd name="connsiteX167" fmla="*/ 412168 w 1573156"/>
                <a:gd name="connsiteY167" fmla="*/ 2537603 h 3641849"/>
                <a:gd name="connsiteX168" fmla="*/ 362289 w 1573156"/>
                <a:gd name="connsiteY168" fmla="*/ 2501404 h 3641849"/>
                <a:gd name="connsiteX169" fmla="*/ 338946 w 1573156"/>
                <a:gd name="connsiteY169" fmla="*/ 2513491 h 3641849"/>
                <a:gd name="connsiteX170" fmla="*/ 340121 w 1573156"/>
                <a:gd name="connsiteY170" fmla="*/ 2467790 h 3641849"/>
                <a:gd name="connsiteX171" fmla="*/ 306869 w 1573156"/>
                <a:gd name="connsiteY171" fmla="*/ 2429005 h 3641849"/>
                <a:gd name="connsiteX172" fmla="*/ 309641 w 1573156"/>
                <a:gd name="connsiteY172" fmla="*/ 2351433 h 3641849"/>
                <a:gd name="connsiteX173" fmla="*/ 290243 w 1573156"/>
                <a:gd name="connsiteY173" fmla="*/ 2299720 h 3641849"/>
                <a:gd name="connsiteX174" fmla="*/ 256991 w 1573156"/>
                <a:gd name="connsiteY174" fmla="*/ 2266106 h 3641849"/>
                <a:gd name="connsiteX175" fmla="*/ 218196 w 1573156"/>
                <a:gd name="connsiteY175" fmla="*/ 2242835 h 3641849"/>
                <a:gd name="connsiteX176" fmla="*/ 176631 w 1573156"/>
                <a:gd name="connsiteY176" fmla="*/ 2250592 h 3641849"/>
                <a:gd name="connsiteX177" fmla="*/ 122255 w 1573156"/>
                <a:gd name="connsiteY177"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776238 w 1573156"/>
                <a:gd name="connsiteY134" fmla="*/ 3504783 h 3641849"/>
                <a:gd name="connsiteX135" fmla="*/ 708669 w 1573156"/>
                <a:gd name="connsiteY135" fmla="*/ 3437426 h 3641849"/>
                <a:gd name="connsiteX136" fmla="*/ 753005 w 1573156"/>
                <a:gd name="connsiteY136" fmla="*/ 3440011 h 3641849"/>
                <a:gd name="connsiteX137" fmla="*/ 758547 w 1573156"/>
                <a:gd name="connsiteY137" fmla="*/ 3411568 h 3641849"/>
                <a:gd name="connsiteX138" fmla="*/ 783486 w 1573156"/>
                <a:gd name="connsiteY138" fmla="*/ 3354683 h 3641849"/>
                <a:gd name="connsiteX139" fmla="*/ 747462 w 1573156"/>
                <a:gd name="connsiteY139" fmla="*/ 3297798 h 3641849"/>
                <a:gd name="connsiteX140" fmla="*/ 836135 w 1573156"/>
                <a:gd name="connsiteY140" fmla="*/ 3225398 h 3641849"/>
                <a:gd name="connsiteX141" fmla="*/ 902641 w 1573156"/>
                <a:gd name="connsiteY141" fmla="*/ 3217642 h 3641849"/>
                <a:gd name="connsiteX142" fmla="*/ 955289 w 1573156"/>
                <a:gd name="connsiteY142" fmla="*/ 3160756 h 3641849"/>
                <a:gd name="connsiteX143" fmla="*/ 1024565 w 1573156"/>
                <a:gd name="connsiteY143" fmla="*/ 3114213 h 3641849"/>
                <a:gd name="connsiteX144" fmla="*/ 1019023 w 1573156"/>
                <a:gd name="connsiteY144" fmla="*/ 3067671 h 3641849"/>
                <a:gd name="connsiteX145" fmla="*/ 1043963 w 1573156"/>
                <a:gd name="connsiteY145" fmla="*/ 3028886 h 3641849"/>
                <a:gd name="connsiteX146" fmla="*/ 1016252 w 1573156"/>
                <a:gd name="connsiteY146" fmla="*/ 3026300 h 3641849"/>
                <a:gd name="connsiteX147" fmla="*/ 1031704 w 1573156"/>
                <a:gd name="connsiteY147" fmla="*/ 2992878 h 3641849"/>
                <a:gd name="connsiteX148" fmla="*/ 914211 w 1573156"/>
                <a:gd name="connsiteY148" fmla="*/ 2928233 h 3641849"/>
                <a:gd name="connsiteX149" fmla="*/ 858304 w 1573156"/>
                <a:gd name="connsiteY149" fmla="*/ 2909943 h 3641849"/>
                <a:gd name="connsiteX150" fmla="*/ 827823 w 1573156"/>
                <a:gd name="connsiteY150" fmla="*/ 2881501 h 3641849"/>
                <a:gd name="connsiteX151" fmla="*/ 761317 w 1573156"/>
                <a:gd name="connsiteY151" fmla="*/ 2897015 h 3641849"/>
                <a:gd name="connsiteX152" fmla="*/ 700355 w 1573156"/>
                <a:gd name="connsiteY152" fmla="*/ 2891844 h 3641849"/>
                <a:gd name="connsiteX153" fmla="*/ 658790 w 1573156"/>
                <a:gd name="connsiteY153" fmla="*/ 2827201 h 3641849"/>
                <a:gd name="connsiteX154" fmla="*/ 656019 w 1573156"/>
                <a:gd name="connsiteY154" fmla="*/ 2785830 h 3641849"/>
                <a:gd name="connsiteX155" fmla="*/ 631080 w 1573156"/>
                <a:gd name="connsiteY155" fmla="*/ 2772902 h 3641849"/>
                <a:gd name="connsiteX156" fmla="*/ 567346 w 1573156"/>
                <a:gd name="connsiteY156" fmla="*/ 2759974 h 3641849"/>
                <a:gd name="connsiteX157" fmla="*/ 586743 w 1573156"/>
                <a:gd name="connsiteY157" fmla="*/ 2721188 h 3641849"/>
                <a:gd name="connsiteX158" fmla="*/ 557777 w 1573156"/>
                <a:gd name="connsiteY158" fmla="*/ 2715007 h 3641849"/>
                <a:gd name="connsiteX159" fmla="*/ 531809 w 1573156"/>
                <a:gd name="connsiteY159" fmla="*/ 2672771 h 3641849"/>
                <a:gd name="connsiteX160" fmla="*/ 414939 w 1573156"/>
                <a:gd name="connsiteY160" fmla="*/ 2682402 h 3641849"/>
                <a:gd name="connsiteX161" fmla="*/ 390000 w 1573156"/>
                <a:gd name="connsiteY161" fmla="*/ 2672059 h 3641849"/>
                <a:gd name="connsiteX162" fmla="*/ 367832 w 1573156"/>
                <a:gd name="connsiteY162" fmla="*/ 2684989 h 3641849"/>
                <a:gd name="connsiteX163" fmla="*/ 351205 w 1573156"/>
                <a:gd name="connsiteY163" fmla="*/ 2622932 h 3641849"/>
                <a:gd name="connsiteX164" fmla="*/ 340121 w 1573156"/>
                <a:gd name="connsiteY164" fmla="*/ 2597075 h 3641849"/>
                <a:gd name="connsiteX165" fmla="*/ 353976 w 1573156"/>
                <a:gd name="connsiteY165" fmla="*/ 2578974 h 3641849"/>
                <a:gd name="connsiteX166" fmla="*/ 381687 w 1573156"/>
                <a:gd name="connsiteY166" fmla="*/ 2581561 h 3641849"/>
                <a:gd name="connsiteX167" fmla="*/ 414939 w 1573156"/>
                <a:gd name="connsiteY167" fmla="*/ 2563461 h 3641849"/>
                <a:gd name="connsiteX168" fmla="*/ 412168 w 1573156"/>
                <a:gd name="connsiteY168" fmla="*/ 2537603 h 3641849"/>
                <a:gd name="connsiteX169" fmla="*/ 362289 w 1573156"/>
                <a:gd name="connsiteY169" fmla="*/ 2501404 h 3641849"/>
                <a:gd name="connsiteX170" fmla="*/ 338946 w 1573156"/>
                <a:gd name="connsiteY170" fmla="*/ 2513491 h 3641849"/>
                <a:gd name="connsiteX171" fmla="*/ 340121 w 1573156"/>
                <a:gd name="connsiteY171" fmla="*/ 2467790 h 3641849"/>
                <a:gd name="connsiteX172" fmla="*/ 306869 w 1573156"/>
                <a:gd name="connsiteY172" fmla="*/ 2429005 h 3641849"/>
                <a:gd name="connsiteX173" fmla="*/ 309641 w 1573156"/>
                <a:gd name="connsiteY173" fmla="*/ 2351433 h 3641849"/>
                <a:gd name="connsiteX174" fmla="*/ 290243 w 1573156"/>
                <a:gd name="connsiteY174" fmla="*/ 2299720 h 3641849"/>
                <a:gd name="connsiteX175" fmla="*/ 256991 w 1573156"/>
                <a:gd name="connsiteY175" fmla="*/ 2266106 h 3641849"/>
                <a:gd name="connsiteX176" fmla="*/ 218196 w 1573156"/>
                <a:gd name="connsiteY176" fmla="*/ 2242835 h 3641849"/>
                <a:gd name="connsiteX177" fmla="*/ 176631 w 1573156"/>
                <a:gd name="connsiteY177" fmla="*/ 2250592 h 3641849"/>
                <a:gd name="connsiteX178" fmla="*/ 122255 w 1573156"/>
                <a:gd name="connsiteY178"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776238 w 1573156"/>
                <a:gd name="connsiteY134" fmla="*/ 3504783 h 3641849"/>
                <a:gd name="connsiteX135" fmla="*/ 708669 w 1573156"/>
                <a:gd name="connsiteY135" fmla="*/ 3437426 h 3641849"/>
                <a:gd name="connsiteX136" fmla="*/ 753005 w 1573156"/>
                <a:gd name="connsiteY136" fmla="*/ 3440011 h 3641849"/>
                <a:gd name="connsiteX137" fmla="*/ 750233 w 1573156"/>
                <a:gd name="connsiteY137" fmla="*/ 3408982 h 3641849"/>
                <a:gd name="connsiteX138" fmla="*/ 783486 w 1573156"/>
                <a:gd name="connsiteY138" fmla="*/ 3354683 h 3641849"/>
                <a:gd name="connsiteX139" fmla="*/ 747462 w 1573156"/>
                <a:gd name="connsiteY139" fmla="*/ 3297798 h 3641849"/>
                <a:gd name="connsiteX140" fmla="*/ 836135 w 1573156"/>
                <a:gd name="connsiteY140" fmla="*/ 3225398 h 3641849"/>
                <a:gd name="connsiteX141" fmla="*/ 902641 w 1573156"/>
                <a:gd name="connsiteY141" fmla="*/ 3217642 h 3641849"/>
                <a:gd name="connsiteX142" fmla="*/ 955289 w 1573156"/>
                <a:gd name="connsiteY142" fmla="*/ 3160756 h 3641849"/>
                <a:gd name="connsiteX143" fmla="*/ 1024565 w 1573156"/>
                <a:gd name="connsiteY143" fmla="*/ 3114213 h 3641849"/>
                <a:gd name="connsiteX144" fmla="*/ 1019023 w 1573156"/>
                <a:gd name="connsiteY144" fmla="*/ 3067671 h 3641849"/>
                <a:gd name="connsiteX145" fmla="*/ 1043963 w 1573156"/>
                <a:gd name="connsiteY145" fmla="*/ 3028886 h 3641849"/>
                <a:gd name="connsiteX146" fmla="*/ 1016252 w 1573156"/>
                <a:gd name="connsiteY146" fmla="*/ 3026300 h 3641849"/>
                <a:gd name="connsiteX147" fmla="*/ 1031704 w 1573156"/>
                <a:gd name="connsiteY147" fmla="*/ 2992878 h 3641849"/>
                <a:gd name="connsiteX148" fmla="*/ 914211 w 1573156"/>
                <a:gd name="connsiteY148" fmla="*/ 2928233 h 3641849"/>
                <a:gd name="connsiteX149" fmla="*/ 858304 w 1573156"/>
                <a:gd name="connsiteY149" fmla="*/ 2909943 h 3641849"/>
                <a:gd name="connsiteX150" fmla="*/ 827823 w 1573156"/>
                <a:gd name="connsiteY150" fmla="*/ 2881501 h 3641849"/>
                <a:gd name="connsiteX151" fmla="*/ 761317 w 1573156"/>
                <a:gd name="connsiteY151" fmla="*/ 2897015 h 3641849"/>
                <a:gd name="connsiteX152" fmla="*/ 700355 w 1573156"/>
                <a:gd name="connsiteY152" fmla="*/ 2891844 h 3641849"/>
                <a:gd name="connsiteX153" fmla="*/ 658790 w 1573156"/>
                <a:gd name="connsiteY153" fmla="*/ 2827201 h 3641849"/>
                <a:gd name="connsiteX154" fmla="*/ 656019 w 1573156"/>
                <a:gd name="connsiteY154" fmla="*/ 2785830 h 3641849"/>
                <a:gd name="connsiteX155" fmla="*/ 631080 w 1573156"/>
                <a:gd name="connsiteY155" fmla="*/ 2772902 h 3641849"/>
                <a:gd name="connsiteX156" fmla="*/ 567346 w 1573156"/>
                <a:gd name="connsiteY156" fmla="*/ 2759974 h 3641849"/>
                <a:gd name="connsiteX157" fmla="*/ 586743 w 1573156"/>
                <a:gd name="connsiteY157" fmla="*/ 2721188 h 3641849"/>
                <a:gd name="connsiteX158" fmla="*/ 557777 w 1573156"/>
                <a:gd name="connsiteY158" fmla="*/ 2715007 h 3641849"/>
                <a:gd name="connsiteX159" fmla="*/ 531809 w 1573156"/>
                <a:gd name="connsiteY159" fmla="*/ 2672771 h 3641849"/>
                <a:gd name="connsiteX160" fmla="*/ 414939 w 1573156"/>
                <a:gd name="connsiteY160" fmla="*/ 2682402 h 3641849"/>
                <a:gd name="connsiteX161" fmla="*/ 390000 w 1573156"/>
                <a:gd name="connsiteY161" fmla="*/ 2672059 h 3641849"/>
                <a:gd name="connsiteX162" fmla="*/ 367832 w 1573156"/>
                <a:gd name="connsiteY162" fmla="*/ 2684989 h 3641849"/>
                <a:gd name="connsiteX163" fmla="*/ 351205 w 1573156"/>
                <a:gd name="connsiteY163" fmla="*/ 2622932 h 3641849"/>
                <a:gd name="connsiteX164" fmla="*/ 340121 w 1573156"/>
                <a:gd name="connsiteY164" fmla="*/ 2597075 h 3641849"/>
                <a:gd name="connsiteX165" fmla="*/ 353976 w 1573156"/>
                <a:gd name="connsiteY165" fmla="*/ 2578974 h 3641849"/>
                <a:gd name="connsiteX166" fmla="*/ 381687 w 1573156"/>
                <a:gd name="connsiteY166" fmla="*/ 2581561 h 3641849"/>
                <a:gd name="connsiteX167" fmla="*/ 414939 w 1573156"/>
                <a:gd name="connsiteY167" fmla="*/ 2563461 h 3641849"/>
                <a:gd name="connsiteX168" fmla="*/ 412168 w 1573156"/>
                <a:gd name="connsiteY168" fmla="*/ 2537603 h 3641849"/>
                <a:gd name="connsiteX169" fmla="*/ 362289 w 1573156"/>
                <a:gd name="connsiteY169" fmla="*/ 2501404 h 3641849"/>
                <a:gd name="connsiteX170" fmla="*/ 338946 w 1573156"/>
                <a:gd name="connsiteY170" fmla="*/ 2513491 h 3641849"/>
                <a:gd name="connsiteX171" fmla="*/ 340121 w 1573156"/>
                <a:gd name="connsiteY171" fmla="*/ 2467790 h 3641849"/>
                <a:gd name="connsiteX172" fmla="*/ 306869 w 1573156"/>
                <a:gd name="connsiteY172" fmla="*/ 2429005 h 3641849"/>
                <a:gd name="connsiteX173" fmla="*/ 309641 w 1573156"/>
                <a:gd name="connsiteY173" fmla="*/ 2351433 h 3641849"/>
                <a:gd name="connsiteX174" fmla="*/ 290243 w 1573156"/>
                <a:gd name="connsiteY174" fmla="*/ 2299720 h 3641849"/>
                <a:gd name="connsiteX175" fmla="*/ 256991 w 1573156"/>
                <a:gd name="connsiteY175" fmla="*/ 2266106 h 3641849"/>
                <a:gd name="connsiteX176" fmla="*/ 218196 w 1573156"/>
                <a:gd name="connsiteY176" fmla="*/ 2242835 h 3641849"/>
                <a:gd name="connsiteX177" fmla="*/ 176631 w 1573156"/>
                <a:gd name="connsiteY177" fmla="*/ 2250592 h 3641849"/>
                <a:gd name="connsiteX178" fmla="*/ 122255 w 1573156"/>
                <a:gd name="connsiteY178"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41039 w 1573156"/>
                <a:gd name="connsiteY133" fmla="*/ 3406887 h 3641849"/>
                <a:gd name="connsiteX134" fmla="*/ 776238 w 1573156"/>
                <a:gd name="connsiteY134" fmla="*/ 3504783 h 3641849"/>
                <a:gd name="connsiteX135" fmla="*/ 708669 w 1573156"/>
                <a:gd name="connsiteY135" fmla="*/ 3437426 h 3641849"/>
                <a:gd name="connsiteX136" fmla="*/ 739150 w 1573156"/>
                <a:gd name="connsiteY136" fmla="*/ 3437426 h 3641849"/>
                <a:gd name="connsiteX137" fmla="*/ 750233 w 1573156"/>
                <a:gd name="connsiteY137" fmla="*/ 3408982 h 3641849"/>
                <a:gd name="connsiteX138" fmla="*/ 783486 w 1573156"/>
                <a:gd name="connsiteY138" fmla="*/ 3354683 h 3641849"/>
                <a:gd name="connsiteX139" fmla="*/ 747462 w 1573156"/>
                <a:gd name="connsiteY139" fmla="*/ 3297798 h 3641849"/>
                <a:gd name="connsiteX140" fmla="*/ 836135 w 1573156"/>
                <a:gd name="connsiteY140" fmla="*/ 3225398 h 3641849"/>
                <a:gd name="connsiteX141" fmla="*/ 902641 w 1573156"/>
                <a:gd name="connsiteY141" fmla="*/ 3217642 h 3641849"/>
                <a:gd name="connsiteX142" fmla="*/ 955289 w 1573156"/>
                <a:gd name="connsiteY142" fmla="*/ 3160756 h 3641849"/>
                <a:gd name="connsiteX143" fmla="*/ 1024565 w 1573156"/>
                <a:gd name="connsiteY143" fmla="*/ 3114213 h 3641849"/>
                <a:gd name="connsiteX144" fmla="*/ 1019023 w 1573156"/>
                <a:gd name="connsiteY144" fmla="*/ 3067671 h 3641849"/>
                <a:gd name="connsiteX145" fmla="*/ 1043963 w 1573156"/>
                <a:gd name="connsiteY145" fmla="*/ 3028886 h 3641849"/>
                <a:gd name="connsiteX146" fmla="*/ 1016252 w 1573156"/>
                <a:gd name="connsiteY146" fmla="*/ 3026300 h 3641849"/>
                <a:gd name="connsiteX147" fmla="*/ 1031704 w 1573156"/>
                <a:gd name="connsiteY147" fmla="*/ 2992878 h 3641849"/>
                <a:gd name="connsiteX148" fmla="*/ 914211 w 1573156"/>
                <a:gd name="connsiteY148" fmla="*/ 2928233 h 3641849"/>
                <a:gd name="connsiteX149" fmla="*/ 858304 w 1573156"/>
                <a:gd name="connsiteY149" fmla="*/ 2909943 h 3641849"/>
                <a:gd name="connsiteX150" fmla="*/ 827823 w 1573156"/>
                <a:gd name="connsiteY150" fmla="*/ 2881501 h 3641849"/>
                <a:gd name="connsiteX151" fmla="*/ 761317 w 1573156"/>
                <a:gd name="connsiteY151" fmla="*/ 2897015 h 3641849"/>
                <a:gd name="connsiteX152" fmla="*/ 700355 w 1573156"/>
                <a:gd name="connsiteY152" fmla="*/ 2891844 h 3641849"/>
                <a:gd name="connsiteX153" fmla="*/ 658790 w 1573156"/>
                <a:gd name="connsiteY153" fmla="*/ 2827201 h 3641849"/>
                <a:gd name="connsiteX154" fmla="*/ 656019 w 1573156"/>
                <a:gd name="connsiteY154" fmla="*/ 2785830 h 3641849"/>
                <a:gd name="connsiteX155" fmla="*/ 631080 w 1573156"/>
                <a:gd name="connsiteY155" fmla="*/ 2772902 h 3641849"/>
                <a:gd name="connsiteX156" fmla="*/ 567346 w 1573156"/>
                <a:gd name="connsiteY156" fmla="*/ 2759974 h 3641849"/>
                <a:gd name="connsiteX157" fmla="*/ 586743 w 1573156"/>
                <a:gd name="connsiteY157" fmla="*/ 2721188 h 3641849"/>
                <a:gd name="connsiteX158" fmla="*/ 557777 w 1573156"/>
                <a:gd name="connsiteY158" fmla="*/ 2715007 h 3641849"/>
                <a:gd name="connsiteX159" fmla="*/ 531809 w 1573156"/>
                <a:gd name="connsiteY159" fmla="*/ 2672771 h 3641849"/>
                <a:gd name="connsiteX160" fmla="*/ 414939 w 1573156"/>
                <a:gd name="connsiteY160" fmla="*/ 2682402 h 3641849"/>
                <a:gd name="connsiteX161" fmla="*/ 390000 w 1573156"/>
                <a:gd name="connsiteY161" fmla="*/ 2672059 h 3641849"/>
                <a:gd name="connsiteX162" fmla="*/ 367832 w 1573156"/>
                <a:gd name="connsiteY162" fmla="*/ 2684989 h 3641849"/>
                <a:gd name="connsiteX163" fmla="*/ 351205 w 1573156"/>
                <a:gd name="connsiteY163" fmla="*/ 2622932 h 3641849"/>
                <a:gd name="connsiteX164" fmla="*/ 340121 w 1573156"/>
                <a:gd name="connsiteY164" fmla="*/ 2597075 h 3641849"/>
                <a:gd name="connsiteX165" fmla="*/ 353976 w 1573156"/>
                <a:gd name="connsiteY165" fmla="*/ 2578974 h 3641849"/>
                <a:gd name="connsiteX166" fmla="*/ 381687 w 1573156"/>
                <a:gd name="connsiteY166" fmla="*/ 2581561 h 3641849"/>
                <a:gd name="connsiteX167" fmla="*/ 414939 w 1573156"/>
                <a:gd name="connsiteY167" fmla="*/ 2563461 h 3641849"/>
                <a:gd name="connsiteX168" fmla="*/ 412168 w 1573156"/>
                <a:gd name="connsiteY168" fmla="*/ 2537603 h 3641849"/>
                <a:gd name="connsiteX169" fmla="*/ 362289 w 1573156"/>
                <a:gd name="connsiteY169" fmla="*/ 2501404 h 3641849"/>
                <a:gd name="connsiteX170" fmla="*/ 338946 w 1573156"/>
                <a:gd name="connsiteY170" fmla="*/ 2513491 h 3641849"/>
                <a:gd name="connsiteX171" fmla="*/ 340121 w 1573156"/>
                <a:gd name="connsiteY171" fmla="*/ 2467790 h 3641849"/>
                <a:gd name="connsiteX172" fmla="*/ 306869 w 1573156"/>
                <a:gd name="connsiteY172" fmla="*/ 2429005 h 3641849"/>
                <a:gd name="connsiteX173" fmla="*/ 309641 w 1573156"/>
                <a:gd name="connsiteY173" fmla="*/ 2351433 h 3641849"/>
                <a:gd name="connsiteX174" fmla="*/ 290243 w 1573156"/>
                <a:gd name="connsiteY174" fmla="*/ 2299720 h 3641849"/>
                <a:gd name="connsiteX175" fmla="*/ 256991 w 1573156"/>
                <a:gd name="connsiteY175" fmla="*/ 2266106 h 3641849"/>
                <a:gd name="connsiteX176" fmla="*/ 218196 w 1573156"/>
                <a:gd name="connsiteY176" fmla="*/ 2242835 h 3641849"/>
                <a:gd name="connsiteX177" fmla="*/ 176631 w 1573156"/>
                <a:gd name="connsiteY177" fmla="*/ 2250592 h 3641849"/>
                <a:gd name="connsiteX178" fmla="*/ 122255 w 1573156"/>
                <a:gd name="connsiteY178" fmla="*/ 2214066 h 3641849"/>
                <a:gd name="connsiteX0" fmla="*/ 122255 w 1573156"/>
                <a:gd name="connsiteY0" fmla="*/ 2214066 h 3641849"/>
                <a:gd name="connsiteX1" fmla="*/ 63018 w 1573156"/>
                <a:gd name="connsiteY1" fmla="*/ 2216977 h 3641849"/>
                <a:gd name="connsiteX2" fmla="*/ 60248 w 1573156"/>
                <a:gd name="connsiteY2" fmla="*/ 2118721 h 3641849"/>
                <a:gd name="connsiteX3" fmla="*/ 71333 w 1573156"/>
                <a:gd name="connsiteY3" fmla="*/ 2077350 h 3641849"/>
                <a:gd name="connsiteX4" fmla="*/ 74102 w 1573156"/>
                <a:gd name="connsiteY4" fmla="*/ 2030807 h 3641849"/>
                <a:gd name="connsiteX5" fmla="*/ 76875 w 1573156"/>
                <a:gd name="connsiteY5" fmla="*/ 2020467 h 3641849"/>
                <a:gd name="connsiteX6" fmla="*/ 118439 w 1573156"/>
                <a:gd name="connsiteY6" fmla="*/ 1992023 h 3641849"/>
                <a:gd name="connsiteX7" fmla="*/ 82416 w 1573156"/>
                <a:gd name="connsiteY7" fmla="*/ 1963580 h 3641849"/>
                <a:gd name="connsiteX8" fmla="*/ 51935 w 1573156"/>
                <a:gd name="connsiteY8" fmla="*/ 1927380 h 3641849"/>
                <a:gd name="connsiteX9" fmla="*/ 40850 w 1573156"/>
                <a:gd name="connsiteY9" fmla="*/ 1893766 h 3641849"/>
                <a:gd name="connsiteX10" fmla="*/ 43621 w 1573156"/>
                <a:gd name="connsiteY10" fmla="*/ 1844639 h 3641849"/>
                <a:gd name="connsiteX11" fmla="*/ 82416 w 1573156"/>
                <a:gd name="connsiteY11" fmla="*/ 1826538 h 3641849"/>
                <a:gd name="connsiteX12" fmla="*/ 112899 w 1573156"/>
                <a:gd name="connsiteY12" fmla="*/ 1782581 h 3641849"/>
                <a:gd name="connsiteX13" fmla="*/ 96271 w 1573156"/>
                <a:gd name="connsiteY13" fmla="*/ 1754138 h 3641849"/>
                <a:gd name="connsiteX14" fmla="*/ 40851 w 1573156"/>
                <a:gd name="connsiteY14" fmla="*/ 1746381 h 3641849"/>
                <a:gd name="connsiteX15" fmla="*/ 2057 w 1573156"/>
                <a:gd name="connsiteY15" fmla="*/ 1730867 h 3641849"/>
                <a:gd name="connsiteX16" fmla="*/ 38079 w 1573156"/>
                <a:gd name="connsiteY16" fmla="*/ 1689496 h 3641849"/>
                <a:gd name="connsiteX17" fmla="*/ 18683 w 1573156"/>
                <a:gd name="connsiteY17" fmla="*/ 1679153 h 3641849"/>
                <a:gd name="connsiteX18" fmla="*/ 2055 w 1573156"/>
                <a:gd name="connsiteY18" fmla="*/ 1640367 h 3641849"/>
                <a:gd name="connsiteX19" fmla="*/ 65790 w 1573156"/>
                <a:gd name="connsiteY19" fmla="*/ 1650711 h 3641849"/>
                <a:gd name="connsiteX20" fmla="*/ 93501 w 1573156"/>
                <a:gd name="connsiteY20" fmla="*/ 1627440 h 3641849"/>
                <a:gd name="connsiteX21" fmla="*/ 187716 w 1573156"/>
                <a:gd name="connsiteY21" fmla="*/ 1536941 h 3641849"/>
                <a:gd name="connsiteX22" fmla="*/ 212655 w 1573156"/>
                <a:gd name="connsiteY22" fmla="*/ 1505912 h 3641849"/>
                <a:gd name="connsiteX23" fmla="*/ 198801 w 1573156"/>
                <a:gd name="connsiteY23" fmla="*/ 1555040 h 3641849"/>
                <a:gd name="connsiteX24" fmla="*/ 218197 w 1573156"/>
                <a:gd name="connsiteY24" fmla="*/ 1588655 h 3641849"/>
                <a:gd name="connsiteX25" fmla="*/ 262534 w 1573156"/>
                <a:gd name="connsiteY25" fmla="*/ 1666225 h 3641849"/>
                <a:gd name="connsiteX26" fmla="*/ 331810 w 1573156"/>
                <a:gd name="connsiteY26" fmla="*/ 1653297 h 3641849"/>
                <a:gd name="connsiteX27" fmla="*/ 351206 w 1573156"/>
                <a:gd name="connsiteY27" fmla="*/ 1622268 h 3641849"/>
                <a:gd name="connsiteX28" fmla="*/ 365062 w 1573156"/>
                <a:gd name="connsiteY28" fmla="*/ 1557627 h 3641849"/>
                <a:gd name="connsiteX29" fmla="*/ 304099 w 1573156"/>
                <a:gd name="connsiteY29" fmla="*/ 1511084 h 3641849"/>
                <a:gd name="connsiteX30" fmla="*/ 259763 w 1573156"/>
                <a:gd name="connsiteY30" fmla="*/ 1485227 h 3641849"/>
                <a:gd name="connsiteX31" fmla="*/ 198801 w 1573156"/>
                <a:gd name="connsiteY31" fmla="*/ 1495570 h 3641849"/>
                <a:gd name="connsiteX32" fmla="*/ 376147 w 1573156"/>
                <a:gd name="connsiteY32" fmla="*/ 1299057 h 3641849"/>
                <a:gd name="connsiteX33" fmla="*/ 223740 w 1573156"/>
                <a:gd name="connsiteY33" fmla="*/ 1151672 h 3641849"/>
                <a:gd name="connsiteX34" fmla="*/ 284703 w 1573156"/>
                <a:gd name="connsiteY34" fmla="*/ 1089617 h 3641849"/>
                <a:gd name="connsiteX35" fmla="*/ 218198 w 1573156"/>
                <a:gd name="connsiteY35" fmla="*/ 1050829 h 3641849"/>
                <a:gd name="connsiteX36" fmla="*/ 259763 w 1573156"/>
                <a:gd name="connsiteY36" fmla="*/ 1019802 h 3641849"/>
                <a:gd name="connsiteX37" fmla="*/ 212657 w 1573156"/>
                <a:gd name="connsiteY37" fmla="*/ 993947 h 3641849"/>
                <a:gd name="connsiteX38" fmla="*/ 212656 w 1573156"/>
                <a:gd name="connsiteY38" fmla="*/ 794845 h 3641849"/>
                <a:gd name="connsiteX39" fmla="*/ 251451 w 1573156"/>
                <a:gd name="connsiteY39" fmla="*/ 779332 h 3641849"/>
                <a:gd name="connsiteX40" fmla="*/ 137838 w 1573156"/>
                <a:gd name="connsiteY40" fmla="*/ 551792 h 3641849"/>
                <a:gd name="connsiteX41" fmla="*/ 135067 w 1573156"/>
                <a:gd name="connsiteY41" fmla="*/ 551792 h 3641849"/>
                <a:gd name="connsiteX42" fmla="*/ 184945 w 1573156"/>
                <a:gd name="connsiteY42" fmla="*/ 469048 h 3641849"/>
                <a:gd name="connsiteX43" fmla="*/ 201571 w 1573156"/>
                <a:gd name="connsiteY43" fmla="*/ 378550 h 3641849"/>
                <a:gd name="connsiteX44" fmla="*/ 126752 w 1573156"/>
                <a:gd name="connsiteY44" fmla="*/ 319079 h 3641849"/>
                <a:gd name="connsiteX45" fmla="*/ 118440 w 1573156"/>
                <a:gd name="connsiteY45" fmla="*/ 251851 h 3641849"/>
                <a:gd name="connsiteX46" fmla="*/ 173860 w 1573156"/>
                <a:gd name="connsiteY46" fmla="*/ 158764 h 3641849"/>
                <a:gd name="connsiteX47" fmla="*/ 193258 w 1573156"/>
                <a:gd name="connsiteY47" fmla="*/ 135494 h 3641849"/>
                <a:gd name="connsiteX48" fmla="*/ 207113 w 1573156"/>
                <a:gd name="connsiteY48" fmla="*/ 117394 h 3641849"/>
                <a:gd name="connsiteX49" fmla="*/ 215426 w 1573156"/>
                <a:gd name="connsiteY49" fmla="*/ 73438 h 3641849"/>
                <a:gd name="connsiteX50" fmla="*/ 240365 w 1573156"/>
                <a:gd name="connsiteY50" fmla="*/ 101880 h 3641849"/>
                <a:gd name="connsiteX51" fmla="*/ 270847 w 1573156"/>
                <a:gd name="connsiteY51" fmla="*/ 88952 h 3641849"/>
                <a:gd name="connsiteX52" fmla="*/ 273617 w 1573156"/>
                <a:gd name="connsiteY52" fmla="*/ 63095 h 3641849"/>
                <a:gd name="connsiteX53" fmla="*/ 281931 w 1573156"/>
                <a:gd name="connsiteY53" fmla="*/ 34652 h 3641849"/>
                <a:gd name="connsiteX54" fmla="*/ 284703 w 1573156"/>
                <a:gd name="connsiteY54" fmla="*/ 3624 h 3641849"/>
                <a:gd name="connsiteX55" fmla="*/ 420483 w 1573156"/>
                <a:gd name="connsiteY55" fmla="*/ 57924 h 3641849"/>
                <a:gd name="connsiteX56" fmla="*/ 450963 w 1573156"/>
                <a:gd name="connsiteY56" fmla="*/ 161352 h 3641849"/>
                <a:gd name="connsiteX57" fmla="*/ 464819 w 1573156"/>
                <a:gd name="connsiteY57" fmla="*/ 184622 h 3641849"/>
                <a:gd name="connsiteX58" fmla="*/ 475903 w 1573156"/>
                <a:gd name="connsiteY58" fmla="*/ 187208 h 3641849"/>
                <a:gd name="connsiteX59" fmla="*/ 589515 w 1573156"/>
                <a:gd name="connsiteY59" fmla="*/ 156181 h 3641849"/>
                <a:gd name="connsiteX60" fmla="*/ 656020 w 1573156"/>
                <a:gd name="connsiteY60" fmla="*/ 166522 h 3641849"/>
                <a:gd name="connsiteX61" fmla="*/ 719754 w 1573156"/>
                <a:gd name="connsiteY61" fmla="*/ 213065 h 3641849"/>
                <a:gd name="connsiteX62" fmla="*/ 733781 w 1573156"/>
                <a:gd name="connsiteY62" fmla="*/ 242621 h 3641849"/>
                <a:gd name="connsiteX63" fmla="*/ 789028 w 1573156"/>
                <a:gd name="connsiteY63" fmla="*/ 277708 h 3641849"/>
                <a:gd name="connsiteX64" fmla="*/ 877702 w 1573156"/>
                <a:gd name="connsiteY64" fmla="*/ 303563 h 3641849"/>
                <a:gd name="connsiteX65" fmla="*/ 949748 w 1573156"/>
                <a:gd name="connsiteY65" fmla="*/ 350106 h 3641849"/>
                <a:gd name="connsiteX66" fmla="*/ 999627 w 1573156"/>
                <a:gd name="connsiteY66" fmla="*/ 401820 h 3641849"/>
                <a:gd name="connsiteX67" fmla="*/ 1024566 w 1573156"/>
                <a:gd name="connsiteY67" fmla="*/ 440606 h 3641849"/>
                <a:gd name="connsiteX68" fmla="*/ 1057819 w 1573156"/>
                <a:gd name="connsiteY68" fmla="*/ 466462 h 3641849"/>
                <a:gd name="connsiteX69" fmla="*/ 1041191 w 1573156"/>
                <a:gd name="connsiteY69" fmla="*/ 691417 h 3641849"/>
                <a:gd name="connsiteX70" fmla="*/ 913725 w 1573156"/>
                <a:gd name="connsiteY70" fmla="*/ 771575 h 3641849"/>
                <a:gd name="connsiteX71" fmla="*/ 800113 w 1573156"/>
                <a:gd name="connsiteY71" fmla="*/ 779331 h 3641849"/>
                <a:gd name="connsiteX72" fmla="*/ 661560 w 1573156"/>
                <a:gd name="connsiteY72" fmla="*/ 758645 h 3641849"/>
                <a:gd name="connsiteX73" fmla="*/ 570116 w 1573156"/>
                <a:gd name="connsiteY73" fmla="*/ 722445 h 3641849"/>
                <a:gd name="connsiteX74" fmla="*/ 550719 w 1573156"/>
                <a:gd name="connsiteY74" fmla="*/ 750888 h 3641849"/>
                <a:gd name="connsiteX75" fmla="*/ 581361 w 1573156"/>
                <a:gd name="connsiteY75" fmla="*/ 824301 h 3641849"/>
                <a:gd name="connsiteX76" fmla="*/ 586902 w 1573156"/>
                <a:gd name="connsiteY76" fmla="*/ 951000 h 3641849"/>
                <a:gd name="connsiteX77" fmla="*/ 559032 w 1573156"/>
                <a:gd name="connsiteY77" fmla="*/ 1012043 h 3641849"/>
                <a:gd name="connsiteX78" fmla="*/ 614451 w 1573156"/>
                <a:gd name="connsiteY78" fmla="*/ 1032728 h 3641849"/>
                <a:gd name="connsiteX79" fmla="*/ 631079 w 1573156"/>
                <a:gd name="connsiteY79" fmla="*/ 1048242 h 3641849"/>
                <a:gd name="connsiteX80" fmla="*/ 656019 w 1573156"/>
                <a:gd name="connsiteY80" fmla="*/ 1074099 h 3641849"/>
                <a:gd name="connsiteX81" fmla="*/ 653248 w 1573156"/>
                <a:gd name="connsiteY81" fmla="*/ 1076685 h 3641849"/>
                <a:gd name="connsiteX82" fmla="*/ 692041 w 1573156"/>
                <a:gd name="connsiteY82" fmla="*/ 1071514 h 3641849"/>
                <a:gd name="connsiteX83" fmla="*/ 700355 w 1573156"/>
                <a:gd name="connsiteY83" fmla="*/ 1035314 h 3641849"/>
                <a:gd name="connsiteX84" fmla="*/ 661560 w 1573156"/>
                <a:gd name="connsiteY84" fmla="*/ 957743 h 3641849"/>
                <a:gd name="connsiteX85" fmla="*/ 730836 w 1573156"/>
                <a:gd name="connsiteY85" fmla="*/ 911200 h 3641849"/>
                <a:gd name="connsiteX86" fmla="*/ 798608 w 1573156"/>
                <a:gd name="connsiteY86" fmla="*/ 918934 h 3641849"/>
                <a:gd name="connsiteX87" fmla="*/ 822441 w 1573156"/>
                <a:gd name="connsiteY87" fmla="*/ 951001 h 3641849"/>
                <a:gd name="connsiteX88" fmla="*/ 978170 w 1573156"/>
                <a:gd name="connsiteY88" fmla="*/ 1007364 h 3641849"/>
                <a:gd name="connsiteX89" fmla="*/ 963762 w 1573156"/>
                <a:gd name="connsiteY89" fmla="*/ 971687 h 3641849"/>
                <a:gd name="connsiteX90" fmla="*/ 930510 w 1573156"/>
                <a:gd name="connsiteY90" fmla="*/ 932901 h 3641849"/>
                <a:gd name="connsiteX91" fmla="*/ 919426 w 1573156"/>
                <a:gd name="connsiteY91" fmla="*/ 881187 h 3641849"/>
                <a:gd name="connsiteX92" fmla="*/ 958221 w 1573156"/>
                <a:gd name="connsiteY92" fmla="*/ 832060 h 3641849"/>
                <a:gd name="connsiteX93" fmla="*/ 985931 w 1573156"/>
                <a:gd name="connsiteY93" fmla="*/ 803617 h 3641849"/>
                <a:gd name="connsiteX94" fmla="*/ 1010871 w 1573156"/>
                <a:gd name="connsiteY94" fmla="*/ 767417 h 3641849"/>
                <a:gd name="connsiteX95" fmla="*/ 1091231 w 1573156"/>
                <a:gd name="connsiteY95" fmla="*/ 762245 h 3641849"/>
                <a:gd name="connsiteX96" fmla="*/ 1096772 w 1573156"/>
                <a:gd name="connsiteY96" fmla="*/ 741560 h 3641849"/>
                <a:gd name="connsiteX97" fmla="*/ 1121712 w 1573156"/>
                <a:gd name="connsiteY97" fmla="*/ 705360 h 3641849"/>
                <a:gd name="connsiteX98" fmla="*/ 1155516 w 1573156"/>
                <a:gd name="connsiteY98" fmla="*/ 687772 h 3641849"/>
                <a:gd name="connsiteX99" fmla="*/ 1213156 w 1573156"/>
                <a:gd name="connsiteY99" fmla="*/ 700189 h 3641849"/>
                <a:gd name="connsiteX100" fmla="*/ 1251949 w 1573156"/>
                <a:gd name="connsiteY100" fmla="*/ 720875 h 3641849"/>
                <a:gd name="connsiteX101" fmla="*/ 1299057 w 1573156"/>
                <a:gd name="connsiteY101" fmla="*/ 728632 h 3641849"/>
                <a:gd name="connsiteX102" fmla="*/ 1299057 w 1573156"/>
                <a:gd name="connsiteY102" fmla="*/ 733803 h 3641849"/>
                <a:gd name="connsiteX103" fmla="*/ 1321226 w 1573156"/>
                <a:gd name="connsiteY103" fmla="*/ 674332 h 3641849"/>
                <a:gd name="connsiteX104" fmla="*/ 1331201 w 1573156"/>
                <a:gd name="connsiteY104" fmla="*/ 640714 h 3641849"/>
                <a:gd name="connsiteX105" fmla="*/ 1337852 w 1573156"/>
                <a:gd name="connsiteY105" fmla="*/ 622618 h 3641849"/>
                <a:gd name="connsiteX106" fmla="*/ 1340789 w 1573156"/>
                <a:gd name="connsiteY106" fmla="*/ 591288 h 3641849"/>
                <a:gd name="connsiteX107" fmla="*/ 1260263 w 1573156"/>
                <a:gd name="connsiteY107" fmla="*/ 545048 h 3641849"/>
                <a:gd name="connsiteX108" fmla="*/ 1246408 w 1573156"/>
                <a:gd name="connsiteY108" fmla="*/ 472648 h 3641849"/>
                <a:gd name="connsiteX109" fmla="*/ 1246408 w 1573156"/>
                <a:gd name="connsiteY109" fmla="*/ 454548 h 3641849"/>
                <a:gd name="connsiteX110" fmla="*/ 1257491 w 1573156"/>
                <a:gd name="connsiteY110" fmla="*/ 431276 h 3641849"/>
                <a:gd name="connsiteX111" fmla="*/ 1260263 w 1573156"/>
                <a:gd name="connsiteY111" fmla="*/ 415762 h 3641849"/>
                <a:gd name="connsiteX112" fmla="*/ 1260262 w 1573156"/>
                <a:gd name="connsiteY112" fmla="*/ 358878 h 3641849"/>
                <a:gd name="connsiteX113" fmla="*/ 1238094 w 1573156"/>
                <a:gd name="connsiteY113" fmla="*/ 335607 h 3641849"/>
                <a:gd name="connsiteX114" fmla="*/ 1210384 w 1573156"/>
                <a:gd name="connsiteY114" fmla="*/ 304578 h 3641849"/>
                <a:gd name="connsiteX115" fmla="*/ 1206216 w 1573156"/>
                <a:gd name="connsiteY115" fmla="*/ 280325 h 3641849"/>
                <a:gd name="connsiteX116" fmla="*/ 1257492 w 1573156"/>
                <a:gd name="connsiteY116" fmla="*/ 258034 h 3641849"/>
                <a:gd name="connsiteX117" fmla="*/ 1311072 w 1573156"/>
                <a:gd name="connsiteY117" fmla="*/ 267906 h 3641849"/>
                <a:gd name="connsiteX118" fmla="*/ 1389856 w 1573156"/>
                <a:gd name="connsiteY118" fmla="*/ 279816 h 3641849"/>
                <a:gd name="connsiteX119" fmla="*/ 1474179 w 1573156"/>
                <a:gd name="connsiteY119" fmla="*/ 349175 h 3641849"/>
                <a:gd name="connsiteX120" fmla="*/ 1536314 w 1573156"/>
                <a:gd name="connsiteY120" fmla="*/ 425271 h 3641849"/>
                <a:gd name="connsiteX121" fmla="*/ 1435343 w 1573156"/>
                <a:gd name="connsiteY121" fmla="*/ 454265 h 3641849"/>
                <a:gd name="connsiteX122" fmla="*/ 1419809 w 1573156"/>
                <a:gd name="connsiteY122" fmla="*/ 501372 h 3641849"/>
                <a:gd name="connsiteX123" fmla="*/ 1477479 w 1573156"/>
                <a:gd name="connsiteY123" fmla="*/ 585862 h 3641849"/>
                <a:gd name="connsiteX124" fmla="*/ 1513013 w 1573156"/>
                <a:gd name="connsiteY124" fmla="*/ 591964 h 3641849"/>
                <a:gd name="connsiteX125" fmla="*/ 1565633 w 1573156"/>
                <a:gd name="connsiteY125" fmla="*/ 598304 h 3641849"/>
                <a:gd name="connsiteX126" fmla="*/ 1560670 w 1573156"/>
                <a:gd name="connsiteY126" fmla="*/ 709079 h 3641849"/>
                <a:gd name="connsiteX127" fmla="*/ 1571739 w 1573156"/>
                <a:gd name="connsiteY127" fmla="*/ 1040047 h 3641849"/>
                <a:gd name="connsiteX128" fmla="*/ 1562871 w 1573156"/>
                <a:gd name="connsiteY128" fmla="*/ 1842646 h 3641849"/>
                <a:gd name="connsiteX129" fmla="*/ 1571738 w 1573156"/>
                <a:gd name="connsiteY129" fmla="*/ 2297728 h 3641849"/>
                <a:gd name="connsiteX130" fmla="*/ 1545290 w 1573156"/>
                <a:gd name="connsiteY130" fmla="*/ 3607693 h 3641849"/>
                <a:gd name="connsiteX131" fmla="*/ 1286863 w 1573156"/>
                <a:gd name="connsiteY131" fmla="*/ 3564098 h 3641849"/>
                <a:gd name="connsiteX132" fmla="*/ 1118385 w 1573156"/>
                <a:gd name="connsiteY132" fmla="*/ 3497903 h 3641849"/>
                <a:gd name="connsiteX133" fmla="*/ 907787 w 1573156"/>
                <a:gd name="connsiteY133" fmla="*/ 3629257 h 3641849"/>
                <a:gd name="connsiteX134" fmla="*/ 776238 w 1573156"/>
                <a:gd name="connsiteY134" fmla="*/ 3504783 h 3641849"/>
                <a:gd name="connsiteX135" fmla="*/ 708669 w 1573156"/>
                <a:gd name="connsiteY135" fmla="*/ 3437426 h 3641849"/>
                <a:gd name="connsiteX136" fmla="*/ 739150 w 1573156"/>
                <a:gd name="connsiteY136" fmla="*/ 3437426 h 3641849"/>
                <a:gd name="connsiteX137" fmla="*/ 750233 w 1573156"/>
                <a:gd name="connsiteY137" fmla="*/ 3408982 h 3641849"/>
                <a:gd name="connsiteX138" fmla="*/ 783486 w 1573156"/>
                <a:gd name="connsiteY138" fmla="*/ 3354683 h 3641849"/>
                <a:gd name="connsiteX139" fmla="*/ 747462 w 1573156"/>
                <a:gd name="connsiteY139" fmla="*/ 3297798 h 3641849"/>
                <a:gd name="connsiteX140" fmla="*/ 836135 w 1573156"/>
                <a:gd name="connsiteY140" fmla="*/ 3225398 h 3641849"/>
                <a:gd name="connsiteX141" fmla="*/ 902641 w 1573156"/>
                <a:gd name="connsiteY141" fmla="*/ 3217642 h 3641849"/>
                <a:gd name="connsiteX142" fmla="*/ 955289 w 1573156"/>
                <a:gd name="connsiteY142" fmla="*/ 3160756 h 3641849"/>
                <a:gd name="connsiteX143" fmla="*/ 1024565 w 1573156"/>
                <a:gd name="connsiteY143" fmla="*/ 3114213 h 3641849"/>
                <a:gd name="connsiteX144" fmla="*/ 1019023 w 1573156"/>
                <a:gd name="connsiteY144" fmla="*/ 3067671 h 3641849"/>
                <a:gd name="connsiteX145" fmla="*/ 1043963 w 1573156"/>
                <a:gd name="connsiteY145" fmla="*/ 3028886 h 3641849"/>
                <a:gd name="connsiteX146" fmla="*/ 1016252 w 1573156"/>
                <a:gd name="connsiteY146" fmla="*/ 3026300 h 3641849"/>
                <a:gd name="connsiteX147" fmla="*/ 1031704 w 1573156"/>
                <a:gd name="connsiteY147" fmla="*/ 2992878 h 3641849"/>
                <a:gd name="connsiteX148" fmla="*/ 914211 w 1573156"/>
                <a:gd name="connsiteY148" fmla="*/ 2928233 h 3641849"/>
                <a:gd name="connsiteX149" fmla="*/ 858304 w 1573156"/>
                <a:gd name="connsiteY149" fmla="*/ 2909943 h 3641849"/>
                <a:gd name="connsiteX150" fmla="*/ 827823 w 1573156"/>
                <a:gd name="connsiteY150" fmla="*/ 2881501 h 3641849"/>
                <a:gd name="connsiteX151" fmla="*/ 761317 w 1573156"/>
                <a:gd name="connsiteY151" fmla="*/ 2897015 h 3641849"/>
                <a:gd name="connsiteX152" fmla="*/ 700355 w 1573156"/>
                <a:gd name="connsiteY152" fmla="*/ 2891844 h 3641849"/>
                <a:gd name="connsiteX153" fmla="*/ 658790 w 1573156"/>
                <a:gd name="connsiteY153" fmla="*/ 2827201 h 3641849"/>
                <a:gd name="connsiteX154" fmla="*/ 656019 w 1573156"/>
                <a:gd name="connsiteY154" fmla="*/ 2785830 h 3641849"/>
                <a:gd name="connsiteX155" fmla="*/ 631080 w 1573156"/>
                <a:gd name="connsiteY155" fmla="*/ 2772902 h 3641849"/>
                <a:gd name="connsiteX156" fmla="*/ 567346 w 1573156"/>
                <a:gd name="connsiteY156" fmla="*/ 2759974 h 3641849"/>
                <a:gd name="connsiteX157" fmla="*/ 586743 w 1573156"/>
                <a:gd name="connsiteY157" fmla="*/ 2721188 h 3641849"/>
                <a:gd name="connsiteX158" fmla="*/ 557777 w 1573156"/>
                <a:gd name="connsiteY158" fmla="*/ 2715007 h 3641849"/>
                <a:gd name="connsiteX159" fmla="*/ 531809 w 1573156"/>
                <a:gd name="connsiteY159" fmla="*/ 2672771 h 3641849"/>
                <a:gd name="connsiteX160" fmla="*/ 414939 w 1573156"/>
                <a:gd name="connsiteY160" fmla="*/ 2682402 h 3641849"/>
                <a:gd name="connsiteX161" fmla="*/ 390000 w 1573156"/>
                <a:gd name="connsiteY161" fmla="*/ 2672059 h 3641849"/>
                <a:gd name="connsiteX162" fmla="*/ 367832 w 1573156"/>
                <a:gd name="connsiteY162" fmla="*/ 2684989 h 3641849"/>
                <a:gd name="connsiteX163" fmla="*/ 351205 w 1573156"/>
                <a:gd name="connsiteY163" fmla="*/ 2622932 h 3641849"/>
                <a:gd name="connsiteX164" fmla="*/ 340121 w 1573156"/>
                <a:gd name="connsiteY164" fmla="*/ 2597075 h 3641849"/>
                <a:gd name="connsiteX165" fmla="*/ 353976 w 1573156"/>
                <a:gd name="connsiteY165" fmla="*/ 2578974 h 3641849"/>
                <a:gd name="connsiteX166" fmla="*/ 381687 w 1573156"/>
                <a:gd name="connsiteY166" fmla="*/ 2581561 h 3641849"/>
                <a:gd name="connsiteX167" fmla="*/ 414939 w 1573156"/>
                <a:gd name="connsiteY167" fmla="*/ 2563461 h 3641849"/>
                <a:gd name="connsiteX168" fmla="*/ 412168 w 1573156"/>
                <a:gd name="connsiteY168" fmla="*/ 2537603 h 3641849"/>
                <a:gd name="connsiteX169" fmla="*/ 362289 w 1573156"/>
                <a:gd name="connsiteY169" fmla="*/ 2501404 h 3641849"/>
                <a:gd name="connsiteX170" fmla="*/ 338946 w 1573156"/>
                <a:gd name="connsiteY170" fmla="*/ 2513491 h 3641849"/>
                <a:gd name="connsiteX171" fmla="*/ 340121 w 1573156"/>
                <a:gd name="connsiteY171" fmla="*/ 2467790 h 3641849"/>
                <a:gd name="connsiteX172" fmla="*/ 306869 w 1573156"/>
                <a:gd name="connsiteY172" fmla="*/ 2429005 h 3641849"/>
                <a:gd name="connsiteX173" fmla="*/ 309641 w 1573156"/>
                <a:gd name="connsiteY173" fmla="*/ 2351433 h 3641849"/>
                <a:gd name="connsiteX174" fmla="*/ 290243 w 1573156"/>
                <a:gd name="connsiteY174" fmla="*/ 2299720 h 3641849"/>
                <a:gd name="connsiteX175" fmla="*/ 256991 w 1573156"/>
                <a:gd name="connsiteY175" fmla="*/ 2266106 h 3641849"/>
                <a:gd name="connsiteX176" fmla="*/ 218196 w 1573156"/>
                <a:gd name="connsiteY176" fmla="*/ 2242835 h 3641849"/>
                <a:gd name="connsiteX177" fmla="*/ 176631 w 1573156"/>
                <a:gd name="connsiteY177" fmla="*/ 2250592 h 3641849"/>
                <a:gd name="connsiteX178" fmla="*/ 122255 w 1573156"/>
                <a:gd name="connsiteY178" fmla="*/ 2214066 h 3641849"/>
                <a:gd name="connsiteX0" fmla="*/ 122255 w 1573156"/>
                <a:gd name="connsiteY0" fmla="*/ 2214066 h 3672811"/>
                <a:gd name="connsiteX1" fmla="*/ 63018 w 1573156"/>
                <a:gd name="connsiteY1" fmla="*/ 2216977 h 3672811"/>
                <a:gd name="connsiteX2" fmla="*/ 60248 w 1573156"/>
                <a:gd name="connsiteY2" fmla="*/ 2118721 h 3672811"/>
                <a:gd name="connsiteX3" fmla="*/ 71333 w 1573156"/>
                <a:gd name="connsiteY3" fmla="*/ 2077350 h 3672811"/>
                <a:gd name="connsiteX4" fmla="*/ 74102 w 1573156"/>
                <a:gd name="connsiteY4" fmla="*/ 2030807 h 3672811"/>
                <a:gd name="connsiteX5" fmla="*/ 76875 w 1573156"/>
                <a:gd name="connsiteY5" fmla="*/ 2020467 h 3672811"/>
                <a:gd name="connsiteX6" fmla="*/ 118439 w 1573156"/>
                <a:gd name="connsiteY6" fmla="*/ 1992023 h 3672811"/>
                <a:gd name="connsiteX7" fmla="*/ 82416 w 1573156"/>
                <a:gd name="connsiteY7" fmla="*/ 1963580 h 3672811"/>
                <a:gd name="connsiteX8" fmla="*/ 51935 w 1573156"/>
                <a:gd name="connsiteY8" fmla="*/ 1927380 h 3672811"/>
                <a:gd name="connsiteX9" fmla="*/ 40850 w 1573156"/>
                <a:gd name="connsiteY9" fmla="*/ 1893766 h 3672811"/>
                <a:gd name="connsiteX10" fmla="*/ 43621 w 1573156"/>
                <a:gd name="connsiteY10" fmla="*/ 1844639 h 3672811"/>
                <a:gd name="connsiteX11" fmla="*/ 82416 w 1573156"/>
                <a:gd name="connsiteY11" fmla="*/ 1826538 h 3672811"/>
                <a:gd name="connsiteX12" fmla="*/ 112899 w 1573156"/>
                <a:gd name="connsiteY12" fmla="*/ 1782581 h 3672811"/>
                <a:gd name="connsiteX13" fmla="*/ 96271 w 1573156"/>
                <a:gd name="connsiteY13" fmla="*/ 1754138 h 3672811"/>
                <a:gd name="connsiteX14" fmla="*/ 40851 w 1573156"/>
                <a:gd name="connsiteY14" fmla="*/ 1746381 h 3672811"/>
                <a:gd name="connsiteX15" fmla="*/ 2057 w 1573156"/>
                <a:gd name="connsiteY15" fmla="*/ 1730867 h 3672811"/>
                <a:gd name="connsiteX16" fmla="*/ 38079 w 1573156"/>
                <a:gd name="connsiteY16" fmla="*/ 1689496 h 3672811"/>
                <a:gd name="connsiteX17" fmla="*/ 18683 w 1573156"/>
                <a:gd name="connsiteY17" fmla="*/ 1679153 h 3672811"/>
                <a:gd name="connsiteX18" fmla="*/ 2055 w 1573156"/>
                <a:gd name="connsiteY18" fmla="*/ 1640367 h 3672811"/>
                <a:gd name="connsiteX19" fmla="*/ 65790 w 1573156"/>
                <a:gd name="connsiteY19" fmla="*/ 1650711 h 3672811"/>
                <a:gd name="connsiteX20" fmla="*/ 93501 w 1573156"/>
                <a:gd name="connsiteY20" fmla="*/ 1627440 h 3672811"/>
                <a:gd name="connsiteX21" fmla="*/ 187716 w 1573156"/>
                <a:gd name="connsiteY21" fmla="*/ 1536941 h 3672811"/>
                <a:gd name="connsiteX22" fmla="*/ 212655 w 1573156"/>
                <a:gd name="connsiteY22" fmla="*/ 1505912 h 3672811"/>
                <a:gd name="connsiteX23" fmla="*/ 198801 w 1573156"/>
                <a:gd name="connsiteY23" fmla="*/ 1555040 h 3672811"/>
                <a:gd name="connsiteX24" fmla="*/ 218197 w 1573156"/>
                <a:gd name="connsiteY24" fmla="*/ 1588655 h 3672811"/>
                <a:gd name="connsiteX25" fmla="*/ 262534 w 1573156"/>
                <a:gd name="connsiteY25" fmla="*/ 1666225 h 3672811"/>
                <a:gd name="connsiteX26" fmla="*/ 331810 w 1573156"/>
                <a:gd name="connsiteY26" fmla="*/ 1653297 h 3672811"/>
                <a:gd name="connsiteX27" fmla="*/ 351206 w 1573156"/>
                <a:gd name="connsiteY27" fmla="*/ 1622268 h 3672811"/>
                <a:gd name="connsiteX28" fmla="*/ 365062 w 1573156"/>
                <a:gd name="connsiteY28" fmla="*/ 1557627 h 3672811"/>
                <a:gd name="connsiteX29" fmla="*/ 304099 w 1573156"/>
                <a:gd name="connsiteY29" fmla="*/ 1511084 h 3672811"/>
                <a:gd name="connsiteX30" fmla="*/ 259763 w 1573156"/>
                <a:gd name="connsiteY30" fmla="*/ 1485227 h 3672811"/>
                <a:gd name="connsiteX31" fmla="*/ 198801 w 1573156"/>
                <a:gd name="connsiteY31" fmla="*/ 1495570 h 3672811"/>
                <a:gd name="connsiteX32" fmla="*/ 376147 w 1573156"/>
                <a:gd name="connsiteY32" fmla="*/ 1299057 h 3672811"/>
                <a:gd name="connsiteX33" fmla="*/ 223740 w 1573156"/>
                <a:gd name="connsiteY33" fmla="*/ 1151672 h 3672811"/>
                <a:gd name="connsiteX34" fmla="*/ 284703 w 1573156"/>
                <a:gd name="connsiteY34" fmla="*/ 1089617 h 3672811"/>
                <a:gd name="connsiteX35" fmla="*/ 218198 w 1573156"/>
                <a:gd name="connsiteY35" fmla="*/ 1050829 h 3672811"/>
                <a:gd name="connsiteX36" fmla="*/ 259763 w 1573156"/>
                <a:gd name="connsiteY36" fmla="*/ 1019802 h 3672811"/>
                <a:gd name="connsiteX37" fmla="*/ 212657 w 1573156"/>
                <a:gd name="connsiteY37" fmla="*/ 993947 h 3672811"/>
                <a:gd name="connsiteX38" fmla="*/ 212656 w 1573156"/>
                <a:gd name="connsiteY38" fmla="*/ 794845 h 3672811"/>
                <a:gd name="connsiteX39" fmla="*/ 251451 w 1573156"/>
                <a:gd name="connsiteY39" fmla="*/ 779332 h 3672811"/>
                <a:gd name="connsiteX40" fmla="*/ 137838 w 1573156"/>
                <a:gd name="connsiteY40" fmla="*/ 551792 h 3672811"/>
                <a:gd name="connsiteX41" fmla="*/ 135067 w 1573156"/>
                <a:gd name="connsiteY41" fmla="*/ 551792 h 3672811"/>
                <a:gd name="connsiteX42" fmla="*/ 184945 w 1573156"/>
                <a:gd name="connsiteY42" fmla="*/ 469048 h 3672811"/>
                <a:gd name="connsiteX43" fmla="*/ 201571 w 1573156"/>
                <a:gd name="connsiteY43" fmla="*/ 378550 h 3672811"/>
                <a:gd name="connsiteX44" fmla="*/ 126752 w 1573156"/>
                <a:gd name="connsiteY44" fmla="*/ 319079 h 3672811"/>
                <a:gd name="connsiteX45" fmla="*/ 118440 w 1573156"/>
                <a:gd name="connsiteY45" fmla="*/ 251851 h 3672811"/>
                <a:gd name="connsiteX46" fmla="*/ 173860 w 1573156"/>
                <a:gd name="connsiteY46" fmla="*/ 158764 h 3672811"/>
                <a:gd name="connsiteX47" fmla="*/ 193258 w 1573156"/>
                <a:gd name="connsiteY47" fmla="*/ 135494 h 3672811"/>
                <a:gd name="connsiteX48" fmla="*/ 207113 w 1573156"/>
                <a:gd name="connsiteY48" fmla="*/ 117394 h 3672811"/>
                <a:gd name="connsiteX49" fmla="*/ 215426 w 1573156"/>
                <a:gd name="connsiteY49" fmla="*/ 73438 h 3672811"/>
                <a:gd name="connsiteX50" fmla="*/ 240365 w 1573156"/>
                <a:gd name="connsiteY50" fmla="*/ 101880 h 3672811"/>
                <a:gd name="connsiteX51" fmla="*/ 270847 w 1573156"/>
                <a:gd name="connsiteY51" fmla="*/ 88952 h 3672811"/>
                <a:gd name="connsiteX52" fmla="*/ 273617 w 1573156"/>
                <a:gd name="connsiteY52" fmla="*/ 63095 h 3672811"/>
                <a:gd name="connsiteX53" fmla="*/ 281931 w 1573156"/>
                <a:gd name="connsiteY53" fmla="*/ 34652 h 3672811"/>
                <a:gd name="connsiteX54" fmla="*/ 284703 w 1573156"/>
                <a:gd name="connsiteY54" fmla="*/ 3624 h 3672811"/>
                <a:gd name="connsiteX55" fmla="*/ 420483 w 1573156"/>
                <a:gd name="connsiteY55" fmla="*/ 57924 h 3672811"/>
                <a:gd name="connsiteX56" fmla="*/ 450963 w 1573156"/>
                <a:gd name="connsiteY56" fmla="*/ 161352 h 3672811"/>
                <a:gd name="connsiteX57" fmla="*/ 464819 w 1573156"/>
                <a:gd name="connsiteY57" fmla="*/ 184622 h 3672811"/>
                <a:gd name="connsiteX58" fmla="*/ 475903 w 1573156"/>
                <a:gd name="connsiteY58" fmla="*/ 187208 h 3672811"/>
                <a:gd name="connsiteX59" fmla="*/ 589515 w 1573156"/>
                <a:gd name="connsiteY59" fmla="*/ 156181 h 3672811"/>
                <a:gd name="connsiteX60" fmla="*/ 656020 w 1573156"/>
                <a:gd name="connsiteY60" fmla="*/ 166522 h 3672811"/>
                <a:gd name="connsiteX61" fmla="*/ 719754 w 1573156"/>
                <a:gd name="connsiteY61" fmla="*/ 213065 h 3672811"/>
                <a:gd name="connsiteX62" fmla="*/ 733781 w 1573156"/>
                <a:gd name="connsiteY62" fmla="*/ 242621 h 3672811"/>
                <a:gd name="connsiteX63" fmla="*/ 789028 w 1573156"/>
                <a:gd name="connsiteY63" fmla="*/ 277708 h 3672811"/>
                <a:gd name="connsiteX64" fmla="*/ 877702 w 1573156"/>
                <a:gd name="connsiteY64" fmla="*/ 303563 h 3672811"/>
                <a:gd name="connsiteX65" fmla="*/ 949748 w 1573156"/>
                <a:gd name="connsiteY65" fmla="*/ 350106 h 3672811"/>
                <a:gd name="connsiteX66" fmla="*/ 999627 w 1573156"/>
                <a:gd name="connsiteY66" fmla="*/ 401820 h 3672811"/>
                <a:gd name="connsiteX67" fmla="*/ 1024566 w 1573156"/>
                <a:gd name="connsiteY67" fmla="*/ 440606 h 3672811"/>
                <a:gd name="connsiteX68" fmla="*/ 1057819 w 1573156"/>
                <a:gd name="connsiteY68" fmla="*/ 466462 h 3672811"/>
                <a:gd name="connsiteX69" fmla="*/ 1041191 w 1573156"/>
                <a:gd name="connsiteY69" fmla="*/ 691417 h 3672811"/>
                <a:gd name="connsiteX70" fmla="*/ 913725 w 1573156"/>
                <a:gd name="connsiteY70" fmla="*/ 771575 h 3672811"/>
                <a:gd name="connsiteX71" fmla="*/ 800113 w 1573156"/>
                <a:gd name="connsiteY71" fmla="*/ 779331 h 3672811"/>
                <a:gd name="connsiteX72" fmla="*/ 661560 w 1573156"/>
                <a:gd name="connsiteY72" fmla="*/ 758645 h 3672811"/>
                <a:gd name="connsiteX73" fmla="*/ 570116 w 1573156"/>
                <a:gd name="connsiteY73" fmla="*/ 722445 h 3672811"/>
                <a:gd name="connsiteX74" fmla="*/ 550719 w 1573156"/>
                <a:gd name="connsiteY74" fmla="*/ 750888 h 3672811"/>
                <a:gd name="connsiteX75" fmla="*/ 581361 w 1573156"/>
                <a:gd name="connsiteY75" fmla="*/ 824301 h 3672811"/>
                <a:gd name="connsiteX76" fmla="*/ 586902 w 1573156"/>
                <a:gd name="connsiteY76" fmla="*/ 951000 h 3672811"/>
                <a:gd name="connsiteX77" fmla="*/ 559032 w 1573156"/>
                <a:gd name="connsiteY77" fmla="*/ 1012043 h 3672811"/>
                <a:gd name="connsiteX78" fmla="*/ 614451 w 1573156"/>
                <a:gd name="connsiteY78" fmla="*/ 1032728 h 3672811"/>
                <a:gd name="connsiteX79" fmla="*/ 631079 w 1573156"/>
                <a:gd name="connsiteY79" fmla="*/ 1048242 h 3672811"/>
                <a:gd name="connsiteX80" fmla="*/ 656019 w 1573156"/>
                <a:gd name="connsiteY80" fmla="*/ 1074099 h 3672811"/>
                <a:gd name="connsiteX81" fmla="*/ 653248 w 1573156"/>
                <a:gd name="connsiteY81" fmla="*/ 1076685 h 3672811"/>
                <a:gd name="connsiteX82" fmla="*/ 692041 w 1573156"/>
                <a:gd name="connsiteY82" fmla="*/ 1071514 h 3672811"/>
                <a:gd name="connsiteX83" fmla="*/ 700355 w 1573156"/>
                <a:gd name="connsiteY83" fmla="*/ 1035314 h 3672811"/>
                <a:gd name="connsiteX84" fmla="*/ 661560 w 1573156"/>
                <a:gd name="connsiteY84" fmla="*/ 957743 h 3672811"/>
                <a:gd name="connsiteX85" fmla="*/ 730836 w 1573156"/>
                <a:gd name="connsiteY85" fmla="*/ 911200 h 3672811"/>
                <a:gd name="connsiteX86" fmla="*/ 798608 w 1573156"/>
                <a:gd name="connsiteY86" fmla="*/ 918934 h 3672811"/>
                <a:gd name="connsiteX87" fmla="*/ 822441 w 1573156"/>
                <a:gd name="connsiteY87" fmla="*/ 951001 h 3672811"/>
                <a:gd name="connsiteX88" fmla="*/ 978170 w 1573156"/>
                <a:gd name="connsiteY88" fmla="*/ 1007364 h 3672811"/>
                <a:gd name="connsiteX89" fmla="*/ 963762 w 1573156"/>
                <a:gd name="connsiteY89" fmla="*/ 971687 h 3672811"/>
                <a:gd name="connsiteX90" fmla="*/ 930510 w 1573156"/>
                <a:gd name="connsiteY90" fmla="*/ 932901 h 3672811"/>
                <a:gd name="connsiteX91" fmla="*/ 919426 w 1573156"/>
                <a:gd name="connsiteY91" fmla="*/ 881187 h 3672811"/>
                <a:gd name="connsiteX92" fmla="*/ 958221 w 1573156"/>
                <a:gd name="connsiteY92" fmla="*/ 832060 h 3672811"/>
                <a:gd name="connsiteX93" fmla="*/ 985931 w 1573156"/>
                <a:gd name="connsiteY93" fmla="*/ 803617 h 3672811"/>
                <a:gd name="connsiteX94" fmla="*/ 1010871 w 1573156"/>
                <a:gd name="connsiteY94" fmla="*/ 767417 h 3672811"/>
                <a:gd name="connsiteX95" fmla="*/ 1091231 w 1573156"/>
                <a:gd name="connsiteY95" fmla="*/ 762245 h 3672811"/>
                <a:gd name="connsiteX96" fmla="*/ 1096772 w 1573156"/>
                <a:gd name="connsiteY96" fmla="*/ 741560 h 3672811"/>
                <a:gd name="connsiteX97" fmla="*/ 1121712 w 1573156"/>
                <a:gd name="connsiteY97" fmla="*/ 705360 h 3672811"/>
                <a:gd name="connsiteX98" fmla="*/ 1155516 w 1573156"/>
                <a:gd name="connsiteY98" fmla="*/ 687772 h 3672811"/>
                <a:gd name="connsiteX99" fmla="*/ 1213156 w 1573156"/>
                <a:gd name="connsiteY99" fmla="*/ 700189 h 3672811"/>
                <a:gd name="connsiteX100" fmla="*/ 1251949 w 1573156"/>
                <a:gd name="connsiteY100" fmla="*/ 720875 h 3672811"/>
                <a:gd name="connsiteX101" fmla="*/ 1299057 w 1573156"/>
                <a:gd name="connsiteY101" fmla="*/ 728632 h 3672811"/>
                <a:gd name="connsiteX102" fmla="*/ 1299057 w 1573156"/>
                <a:gd name="connsiteY102" fmla="*/ 733803 h 3672811"/>
                <a:gd name="connsiteX103" fmla="*/ 1321226 w 1573156"/>
                <a:gd name="connsiteY103" fmla="*/ 674332 h 3672811"/>
                <a:gd name="connsiteX104" fmla="*/ 1331201 w 1573156"/>
                <a:gd name="connsiteY104" fmla="*/ 640714 h 3672811"/>
                <a:gd name="connsiteX105" fmla="*/ 1337852 w 1573156"/>
                <a:gd name="connsiteY105" fmla="*/ 622618 h 3672811"/>
                <a:gd name="connsiteX106" fmla="*/ 1340789 w 1573156"/>
                <a:gd name="connsiteY106" fmla="*/ 591288 h 3672811"/>
                <a:gd name="connsiteX107" fmla="*/ 1260263 w 1573156"/>
                <a:gd name="connsiteY107" fmla="*/ 545048 h 3672811"/>
                <a:gd name="connsiteX108" fmla="*/ 1246408 w 1573156"/>
                <a:gd name="connsiteY108" fmla="*/ 472648 h 3672811"/>
                <a:gd name="connsiteX109" fmla="*/ 1246408 w 1573156"/>
                <a:gd name="connsiteY109" fmla="*/ 454548 h 3672811"/>
                <a:gd name="connsiteX110" fmla="*/ 1257491 w 1573156"/>
                <a:gd name="connsiteY110" fmla="*/ 431276 h 3672811"/>
                <a:gd name="connsiteX111" fmla="*/ 1260263 w 1573156"/>
                <a:gd name="connsiteY111" fmla="*/ 415762 h 3672811"/>
                <a:gd name="connsiteX112" fmla="*/ 1260262 w 1573156"/>
                <a:gd name="connsiteY112" fmla="*/ 358878 h 3672811"/>
                <a:gd name="connsiteX113" fmla="*/ 1238094 w 1573156"/>
                <a:gd name="connsiteY113" fmla="*/ 335607 h 3672811"/>
                <a:gd name="connsiteX114" fmla="*/ 1210384 w 1573156"/>
                <a:gd name="connsiteY114" fmla="*/ 304578 h 3672811"/>
                <a:gd name="connsiteX115" fmla="*/ 1206216 w 1573156"/>
                <a:gd name="connsiteY115" fmla="*/ 280325 h 3672811"/>
                <a:gd name="connsiteX116" fmla="*/ 1257492 w 1573156"/>
                <a:gd name="connsiteY116" fmla="*/ 258034 h 3672811"/>
                <a:gd name="connsiteX117" fmla="*/ 1311072 w 1573156"/>
                <a:gd name="connsiteY117" fmla="*/ 267906 h 3672811"/>
                <a:gd name="connsiteX118" fmla="*/ 1389856 w 1573156"/>
                <a:gd name="connsiteY118" fmla="*/ 279816 h 3672811"/>
                <a:gd name="connsiteX119" fmla="*/ 1474179 w 1573156"/>
                <a:gd name="connsiteY119" fmla="*/ 349175 h 3672811"/>
                <a:gd name="connsiteX120" fmla="*/ 1536314 w 1573156"/>
                <a:gd name="connsiteY120" fmla="*/ 425271 h 3672811"/>
                <a:gd name="connsiteX121" fmla="*/ 1435343 w 1573156"/>
                <a:gd name="connsiteY121" fmla="*/ 454265 h 3672811"/>
                <a:gd name="connsiteX122" fmla="*/ 1419809 w 1573156"/>
                <a:gd name="connsiteY122" fmla="*/ 501372 h 3672811"/>
                <a:gd name="connsiteX123" fmla="*/ 1477479 w 1573156"/>
                <a:gd name="connsiteY123" fmla="*/ 585862 h 3672811"/>
                <a:gd name="connsiteX124" fmla="*/ 1513013 w 1573156"/>
                <a:gd name="connsiteY124" fmla="*/ 591964 h 3672811"/>
                <a:gd name="connsiteX125" fmla="*/ 1565633 w 1573156"/>
                <a:gd name="connsiteY125" fmla="*/ 598304 h 3672811"/>
                <a:gd name="connsiteX126" fmla="*/ 1560670 w 1573156"/>
                <a:gd name="connsiteY126" fmla="*/ 709079 h 3672811"/>
                <a:gd name="connsiteX127" fmla="*/ 1571739 w 1573156"/>
                <a:gd name="connsiteY127" fmla="*/ 1040047 h 3672811"/>
                <a:gd name="connsiteX128" fmla="*/ 1562871 w 1573156"/>
                <a:gd name="connsiteY128" fmla="*/ 1842646 h 3672811"/>
                <a:gd name="connsiteX129" fmla="*/ 1571738 w 1573156"/>
                <a:gd name="connsiteY129" fmla="*/ 2297728 h 3672811"/>
                <a:gd name="connsiteX130" fmla="*/ 1545290 w 1573156"/>
                <a:gd name="connsiteY130" fmla="*/ 3607693 h 3672811"/>
                <a:gd name="connsiteX131" fmla="*/ 1286863 w 1573156"/>
                <a:gd name="connsiteY131" fmla="*/ 3564098 h 3672811"/>
                <a:gd name="connsiteX132" fmla="*/ 1096217 w 1573156"/>
                <a:gd name="connsiteY132" fmla="*/ 3653045 h 3672811"/>
                <a:gd name="connsiteX133" fmla="*/ 907787 w 1573156"/>
                <a:gd name="connsiteY133" fmla="*/ 3629257 h 3672811"/>
                <a:gd name="connsiteX134" fmla="*/ 776238 w 1573156"/>
                <a:gd name="connsiteY134" fmla="*/ 3504783 h 3672811"/>
                <a:gd name="connsiteX135" fmla="*/ 708669 w 1573156"/>
                <a:gd name="connsiteY135" fmla="*/ 3437426 h 3672811"/>
                <a:gd name="connsiteX136" fmla="*/ 739150 w 1573156"/>
                <a:gd name="connsiteY136" fmla="*/ 3437426 h 3672811"/>
                <a:gd name="connsiteX137" fmla="*/ 750233 w 1573156"/>
                <a:gd name="connsiteY137" fmla="*/ 3408982 h 3672811"/>
                <a:gd name="connsiteX138" fmla="*/ 783486 w 1573156"/>
                <a:gd name="connsiteY138" fmla="*/ 3354683 h 3672811"/>
                <a:gd name="connsiteX139" fmla="*/ 747462 w 1573156"/>
                <a:gd name="connsiteY139" fmla="*/ 3297798 h 3672811"/>
                <a:gd name="connsiteX140" fmla="*/ 836135 w 1573156"/>
                <a:gd name="connsiteY140" fmla="*/ 3225398 h 3672811"/>
                <a:gd name="connsiteX141" fmla="*/ 902641 w 1573156"/>
                <a:gd name="connsiteY141" fmla="*/ 3217642 h 3672811"/>
                <a:gd name="connsiteX142" fmla="*/ 955289 w 1573156"/>
                <a:gd name="connsiteY142" fmla="*/ 3160756 h 3672811"/>
                <a:gd name="connsiteX143" fmla="*/ 1024565 w 1573156"/>
                <a:gd name="connsiteY143" fmla="*/ 3114213 h 3672811"/>
                <a:gd name="connsiteX144" fmla="*/ 1019023 w 1573156"/>
                <a:gd name="connsiteY144" fmla="*/ 3067671 h 3672811"/>
                <a:gd name="connsiteX145" fmla="*/ 1043963 w 1573156"/>
                <a:gd name="connsiteY145" fmla="*/ 3028886 h 3672811"/>
                <a:gd name="connsiteX146" fmla="*/ 1016252 w 1573156"/>
                <a:gd name="connsiteY146" fmla="*/ 3026300 h 3672811"/>
                <a:gd name="connsiteX147" fmla="*/ 1031704 w 1573156"/>
                <a:gd name="connsiteY147" fmla="*/ 2992878 h 3672811"/>
                <a:gd name="connsiteX148" fmla="*/ 914211 w 1573156"/>
                <a:gd name="connsiteY148" fmla="*/ 2928233 h 3672811"/>
                <a:gd name="connsiteX149" fmla="*/ 858304 w 1573156"/>
                <a:gd name="connsiteY149" fmla="*/ 2909943 h 3672811"/>
                <a:gd name="connsiteX150" fmla="*/ 827823 w 1573156"/>
                <a:gd name="connsiteY150" fmla="*/ 2881501 h 3672811"/>
                <a:gd name="connsiteX151" fmla="*/ 761317 w 1573156"/>
                <a:gd name="connsiteY151" fmla="*/ 2897015 h 3672811"/>
                <a:gd name="connsiteX152" fmla="*/ 700355 w 1573156"/>
                <a:gd name="connsiteY152" fmla="*/ 2891844 h 3672811"/>
                <a:gd name="connsiteX153" fmla="*/ 658790 w 1573156"/>
                <a:gd name="connsiteY153" fmla="*/ 2827201 h 3672811"/>
                <a:gd name="connsiteX154" fmla="*/ 656019 w 1573156"/>
                <a:gd name="connsiteY154" fmla="*/ 2785830 h 3672811"/>
                <a:gd name="connsiteX155" fmla="*/ 631080 w 1573156"/>
                <a:gd name="connsiteY155" fmla="*/ 2772902 h 3672811"/>
                <a:gd name="connsiteX156" fmla="*/ 567346 w 1573156"/>
                <a:gd name="connsiteY156" fmla="*/ 2759974 h 3672811"/>
                <a:gd name="connsiteX157" fmla="*/ 586743 w 1573156"/>
                <a:gd name="connsiteY157" fmla="*/ 2721188 h 3672811"/>
                <a:gd name="connsiteX158" fmla="*/ 557777 w 1573156"/>
                <a:gd name="connsiteY158" fmla="*/ 2715007 h 3672811"/>
                <a:gd name="connsiteX159" fmla="*/ 531809 w 1573156"/>
                <a:gd name="connsiteY159" fmla="*/ 2672771 h 3672811"/>
                <a:gd name="connsiteX160" fmla="*/ 414939 w 1573156"/>
                <a:gd name="connsiteY160" fmla="*/ 2682402 h 3672811"/>
                <a:gd name="connsiteX161" fmla="*/ 390000 w 1573156"/>
                <a:gd name="connsiteY161" fmla="*/ 2672059 h 3672811"/>
                <a:gd name="connsiteX162" fmla="*/ 367832 w 1573156"/>
                <a:gd name="connsiteY162" fmla="*/ 2684989 h 3672811"/>
                <a:gd name="connsiteX163" fmla="*/ 351205 w 1573156"/>
                <a:gd name="connsiteY163" fmla="*/ 2622932 h 3672811"/>
                <a:gd name="connsiteX164" fmla="*/ 340121 w 1573156"/>
                <a:gd name="connsiteY164" fmla="*/ 2597075 h 3672811"/>
                <a:gd name="connsiteX165" fmla="*/ 353976 w 1573156"/>
                <a:gd name="connsiteY165" fmla="*/ 2578974 h 3672811"/>
                <a:gd name="connsiteX166" fmla="*/ 381687 w 1573156"/>
                <a:gd name="connsiteY166" fmla="*/ 2581561 h 3672811"/>
                <a:gd name="connsiteX167" fmla="*/ 414939 w 1573156"/>
                <a:gd name="connsiteY167" fmla="*/ 2563461 h 3672811"/>
                <a:gd name="connsiteX168" fmla="*/ 412168 w 1573156"/>
                <a:gd name="connsiteY168" fmla="*/ 2537603 h 3672811"/>
                <a:gd name="connsiteX169" fmla="*/ 362289 w 1573156"/>
                <a:gd name="connsiteY169" fmla="*/ 2501404 h 3672811"/>
                <a:gd name="connsiteX170" fmla="*/ 338946 w 1573156"/>
                <a:gd name="connsiteY170" fmla="*/ 2513491 h 3672811"/>
                <a:gd name="connsiteX171" fmla="*/ 340121 w 1573156"/>
                <a:gd name="connsiteY171" fmla="*/ 2467790 h 3672811"/>
                <a:gd name="connsiteX172" fmla="*/ 306869 w 1573156"/>
                <a:gd name="connsiteY172" fmla="*/ 2429005 h 3672811"/>
                <a:gd name="connsiteX173" fmla="*/ 309641 w 1573156"/>
                <a:gd name="connsiteY173" fmla="*/ 2351433 h 3672811"/>
                <a:gd name="connsiteX174" fmla="*/ 290243 w 1573156"/>
                <a:gd name="connsiteY174" fmla="*/ 2299720 h 3672811"/>
                <a:gd name="connsiteX175" fmla="*/ 256991 w 1573156"/>
                <a:gd name="connsiteY175" fmla="*/ 2266106 h 3672811"/>
                <a:gd name="connsiteX176" fmla="*/ 218196 w 1573156"/>
                <a:gd name="connsiteY176" fmla="*/ 2242835 h 3672811"/>
                <a:gd name="connsiteX177" fmla="*/ 176631 w 1573156"/>
                <a:gd name="connsiteY177" fmla="*/ 2250592 h 3672811"/>
                <a:gd name="connsiteX178" fmla="*/ 122255 w 1573156"/>
                <a:gd name="connsiteY178" fmla="*/ 2214066 h 3672811"/>
                <a:gd name="connsiteX0" fmla="*/ 122255 w 1573156"/>
                <a:gd name="connsiteY0" fmla="*/ 2214066 h 3653242"/>
                <a:gd name="connsiteX1" fmla="*/ 63018 w 1573156"/>
                <a:gd name="connsiteY1" fmla="*/ 2216977 h 3653242"/>
                <a:gd name="connsiteX2" fmla="*/ 60248 w 1573156"/>
                <a:gd name="connsiteY2" fmla="*/ 2118721 h 3653242"/>
                <a:gd name="connsiteX3" fmla="*/ 71333 w 1573156"/>
                <a:gd name="connsiteY3" fmla="*/ 2077350 h 3653242"/>
                <a:gd name="connsiteX4" fmla="*/ 74102 w 1573156"/>
                <a:gd name="connsiteY4" fmla="*/ 2030807 h 3653242"/>
                <a:gd name="connsiteX5" fmla="*/ 76875 w 1573156"/>
                <a:gd name="connsiteY5" fmla="*/ 2020467 h 3653242"/>
                <a:gd name="connsiteX6" fmla="*/ 118439 w 1573156"/>
                <a:gd name="connsiteY6" fmla="*/ 1992023 h 3653242"/>
                <a:gd name="connsiteX7" fmla="*/ 82416 w 1573156"/>
                <a:gd name="connsiteY7" fmla="*/ 1963580 h 3653242"/>
                <a:gd name="connsiteX8" fmla="*/ 51935 w 1573156"/>
                <a:gd name="connsiteY8" fmla="*/ 1927380 h 3653242"/>
                <a:gd name="connsiteX9" fmla="*/ 40850 w 1573156"/>
                <a:gd name="connsiteY9" fmla="*/ 1893766 h 3653242"/>
                <a:gd name="connsiteX10" fmla="*/ 43621 w 1573156"/>
                <a:gd name="connsiteY10" fmla="*/ 1844639 h 3653242"/>
                <a:gd name="connsiteX11" fmla="*/ 82416 w 1573156"/>
                <a:gd name="connsiteY11" fmla="*/ 1826538 h 3653242"/>
                <a:gd name="connsiteX12" fmla="*/ 112899 w 1573156"/>
                <a:gd name="connsiteY12" fmla="*/ 1782581 h 3653242"/>
                <a:gd name="connsiteX13" fmla="*/ 96271 w 1573156"/>
                <a:gd name="connsiteY13" fmla="*/ 1754138 h 3653242"/>
                <a:gd name="connsiteX14" fmla="*/ 40851 w 1573156"/>
                <a:gd name="connsiteY14" fmla="*/ 1746381 h 3653242"/>
                <a:gd name="connsiteX15" fmla="*/ 2057 w 1573156"/>
                <a:gd name="connsiteY15" fmla="*/ 1730867 h 3653242"/>
                <a:gd name="connsiteX16" fmla="*/ 38079 w 1573156"/>
                <a:gd name="connsiteY16" fmla="*/ 1689496 h 3653242"/>
                <a:gd name="connsiteX17" fmla="*/ 18683 w 1573156"/>
                <a:gd name="connsiteY17" fmla="*/ 1679153 h 3653242"/>
                <a:gd name="connsiteX18" fmla="*/ 2055 w 1573156"/>
                <a:gd name="connsiteY18" fmla="*/ 1640367 h 3653242"/>
                <a:gd name="connsiteX19" fmla="*/ 65790 w 1573156"/>
                <a:gd name="connsiteY19" fmla="*/ 1650711 h 3653242"/>
                <a:gd name="connsiteX20" fmla="*/ 93501 w 1573156"/>
                <a:gd name="connsiteY20" fmla="*/ 1627440 h 3653242"/>
                <a:gd name="connsiteX21" fmla="*/ 187716 w 1573156"/>
                <a:gd name="connsiteY21" fmla="*/ 1536941 h 3653242"/>
                <a:gd name="connsiteX22" fmla="*/ 212655 w 1573156"/>
                <a:gd name="connsiteY22" fmla="*/ 1505912 h 3653242"/>
                <a:gd name="connsiteX23" fmla="*/ 198801 w 1573156"/>
                <a:gd name="connsiteY23" fmla="*/ 1555040 h 3653242"/>
                <a:gd name="connsiteX24" fmla="*/ 218197 w 1573156"/>
                <a:gd name="connsiteY24" fmla="*/ 1588655 h 3653242"/>
                <a:gd name="connsiteX25" fmla="*/ 262534 w 1573156"/>
                <a:gd name="connsiteY25" fmla="*/ 1666225 h 3653242"/>
                <a:gd name="connsiteX26" fmla="*/ 331810 w 1573156"/>
                <a:gd name="connsiteY26" fmla="*/ 1653297 h 3653242"/>
                <a:gd name="connsiteX27" fmla="*/ 351206 w 1573156"/>
                <a:gd name="connsiteY27" fmla="*/ 1622268 h 3653242"/>
                <a:gd name="connsiteX28" fmla="*/ 365062 w 1573156"/>
                <a:gd name="connsiteY28" fmla="*/ 1557627 h 3653242"/>
                <a:gd name="connsiteX29" fmla="*/ 304099 w 1573156"/>
                <a:gd name="connsiteY29" fmla="*/ 1511084 h 3653242"/>
                <a:gd name="connsiteX30" fmla="*/ 259763 w 1573156"/>
                <a:gd name="connsiteY30" fmla="*/ 1485227 h 3653242"/>
                <a:gd name="connsiteX31" fmla="*/ 198801 w 1573156"/>
                <a:gd name="connsiteY31" fmla="*/ 1495570 h 3653242"/>
                <a:gd name="connsiteX32" fmla="*/ 376147 w 1573156"/>
                <a:gd name="connsiteY32" fmla="*/ 1299057 h 3653242"/>
                <a:gd name="connsiteX33" fmla="*/ 223740 w 1573156"/>
                <a:gd name="connsiteY33" fmla="*/ 1151672 h 3653242"/>
                <a:gd name="connsiteX34" fmla="*/ 284703 w 1573156"/>
                <a:gd name="connsiteY34" fmla="*/ 1089617 h 3653242"/>
                <a:gd name="connsiteX35" fmla="*/ 218198 w 1573156"/>
                <a:gd name="connsiteY35" fmla="*/ 1050829 h 3653242"/>
                <a:gd name="connsiteX36" fmla="*/ 259763 w 1573156"/>
                <a:gd name="connsiteY36" fmla="*/ 1019802 h 3653242"/>
                <a:gd name="connsiteX37" fmla="*/ 212657 w 1573156"/>
                <a:gd name="connsiteY37" fmla="*/ 993947 h 3653242"/>
                <a:gd name="connsiteX38" fmla="*/ 212656 w 1573156"/>
                <a:gd name="connsiteY38" fmla="*/ 794845 h 3653242"/>
                <a:gd name="connsiteX39" fmla="*/ 251451 w 1573156"/>
                <a:gd name="connsiteY39" fmla="*/ 779332 h 3653242"/>
                <a:gd name="connsiteX40" fmla="*/ 137838 w 1573156"/>
                <a:gd name="connsiteY40" fmla="*/ 551792 h 3653242"/>
                <a:gd name="connsiteX41" fmla="*/ 135067 w 1573156"/>
                <a:gd name="connsiteY41" fmla="*/ 551792 h 3653242"/>
                <a:gd name="connsiteX42" fmla="*/ 184945 w 1573156"/>
                <a:gd name="connsiteY42" fmla="*/ 469048 h 3653242"/>
                <a:gd name="connsiteX43" fmla="*/ 201571 w 1573156"/>
                <a:gd name="connsiteY43" fmla="*/ 378550 h 3653242"/>
                <a:gd name="connsiteX44" fmla="*/ 126752 w 1573156"/>
                <a:gd name="connsiteY44" fmla="*/ 319079 h 3653242"/>
                <a:gd name="connsiteX45" fmla="*/ 118440 w 1573156"/>
                <a:gd name="connsiteY45" fmla="*/ 251851 h 3653242"/>
                <a:gd name="connsiteX46" fmla="*/ 173860 w 1573156"/>
                <a:gd name="connsiteY46" fmla="*/ 158764 h 3653242"/>
                <a:gd name="connsiteX47" fmla="*/ 193258 w 1573156"/>
                <a:gd name="connsiteY47" fmla="*/ 135494 h 3653242"/>
                <a:gd name="connsiteX48" fmla="*/ 207113 w 1573156"/>
                <a:gd name="connsiteY48" fmla="*/ 117394 h 3653242"/>
                <a:gd name="connsiteX49" fmla="*/ 215426 w 1573156"/>
                <a:gd name="connsiteY49" fmla="*/ 73438 h 3653242"/>
                <a:gd name="connsiteX50" fmla="*/ 240365 w 1573156"/>
                <a:gd name="connsiteY50" fmla="*/ 101880 h 3653242"/>
                <a:gd name="connsiteX51" fmla="*/ 270847 w 1573156"/>
                <a:gd name="connsiteY51" fmla="*/ 88952 h 3653242"/>
                <a:gd name="connsiteX52" fmla="*/ 273617 w 1573156"/>
                <a:gd name="connsiteY52" fmla="*/ 63095 h 3653242"/>
                <a:gd name="connsiteX53" fmla="*/ 281931 w 1573156"/>
                <a:gd name="connsiteY53" fmla="*/ 34652 h 3653242"/>
                <a:gd name="connsiteX54" fmla="*/ 284703 w 1573156"/>
                <a:gd name="connsiteY54" fmla="*/ 3624 h 3653242"/>
                <a:gd name="connsiteX55" fmla="*/ 420483 w 1573156"/>
                <a:gd name="connsiteY55" fmla="*/ 57924 h 3653242"/>
                <a:gd name="connsiteX56" fmla="*/ 450963 w 1573156"/>
                <a:gd name="connsiteY56" fmla="*/ 161352 h 3653242"/>
                <a:gd name="connsiteX57" fmla="*/ 464819 w 1573156"/>
                <a:gd name="connsiteY57" fmla="*/ 184622 h 3653242"/>
                <a:gd name="connsiteX58" fmla="*/ 475903 w 1573156"/>
                <a:gd name="connsiteY58" fmla="*/ 187208 h 3653242"/>
                <a:gd name="connsiteX59" fmla="*/ 589515 w 1573156"/>
                <a:gd name="connsiteY59" fmla="*/ 156181 h 3653242"/>
                <a:gd name="connsiteX60" fmla="*/ 656020 w 1573156"/>
                <a:gd name="connsiteY60" fmla="*/ 166522 h 3653242"/>
                <a:gd name="connsiteX61" fmla="*/ 719754 w 1573156"/>
                <a:gd name="connsiteY61" fmla="*/ 213065 h 3653242"/>
                <a:gd name="connsiteX62" fmla="*/ 733781 w 1573156"/>
                <a:gd name="connsiteY62" fmla="*/ 242621 h 3653242"/>
                <a:gd name="connsiteX63" fmla="*/ 789028 w 1573156"/>
                <a:gd name="connsiteY63" fmla="*/ 277708 h 3653242"/>
                <a:gd name="connsiteX64" fmla="*/ 877702 w 1573156"/>
                <a:gd name="connsiteY64" fmla="*/ 303563 h 3653242"/>
                <a:gd name="connsiteX65" fmla="*/ 949748 w 1573156"/>
                <a:gd name="connsiteY65" fmla="*/ 350106 h 3653242"/>
                <a:gd name="connsiteX66" fmla="*/ 999627 w 1573156"/>
                <a:gd name="connsiteY66" fmla="*/ 401820 h 3653242"/>
                <a:gd name="connsiteX67" fmla="*/ 1024566 w 1573156"/>
                <a:gd name="connsiteY67" fmla="*/ 440606 h 3653242"/>
                <a:gd name="connsiteX68" fmla="*/ 1057819 w 1573156"/>
                <a:gd name="connsiteY68" fmla="*/ 466462 h 3653242"/>
                <a:gd name="connsiteX69" fmla="*/ 1041191 w 1573156"/>
                <a:gd name="connsiteY69" fmla="*/ 691417 h 3653242"/>
                <a:gd name="connsiteX70" fmla="*/ 913725 w 1573156"/>
                <a:gd name="connsiteY70" fmla="*/ 771575 h 3653242"/>
                <a:gd name="connsiteX71" fmla="*/ 800113 w 1573156"/>
                <a:gd name="connsiteY71" fmla="*/ 779331 h 3653242"/>
                <a:gd name="connsiteX72" fmla="*/ 661560 w 1573156"/>
                <a:gd name="connsiteY72" fmla="*/ 758645 h 3653242"/>
                <a:gd name="connsiteX73" fmla="*/ 570116 w 1573156"/>
                <a:gd name="connsiteY73" fmla="*/ 722445 h 3653242"/>
                <a:gd name="connsiteX74" fmla="*/ 550719 w 1573156"/>
                <a:gd name="connsiteY74" fmla="*/ 750888 h 3653242"/>
                <a:gd name="connsiteX75" fmla="*/ 581361 w 1573156"/>
                <a:gd name="connsiteY75" fmla="*/ 824301 h 3653242"/>
                <a:gd name="connsiteX76" fmla="*/ 586902 w 1573156"/>
                <a:gd name="connsiteY76" fmla="*/ 951000 h 3653242"/>
                <a:gd name="connsiteX77" fmla="*/ 559032 w 1573156"/>
                <a:gd name="connsiteY77" fmla="*/ 1012043 h 3653242"/>
                <a:gd name="connsiteX78" fmla="*/ 614451 w 1573156"/>
                <a:gd name="connsiteY78" fmla="*/ 1032728 h 3653242"/>
                <a:gd name="connsiteX79" fmla="*/ 631079 w 1573156"/>
                <a:gd name="connsiteY79" fmla="*/ 1048242 h 3653242"/>
                <a:gd name="connsiteX80" fmla="*/ 656019 w 1573156"/>
                <a:gd name="connsiteY80" fmla="*/ 1074099 h 3653242"/>
                <a:gd name="connsiteX81" fmla="*/ 653248 w 1573156"/>
                <a:gd name="connsiteY81" fmla="*/ 1076685 h 3653242"/>
                <a:gd name="connsiteX82" fmla="*/ 692041 w 1573156"/>
                <a:gd name="connsiteY82" fmla="*/ 1071514 h 3653242"/>
                <a:gd name="connsiteX83" fmla="*/ 700355 w 1573156"/>
                <a:gd name="connsiteY83" fmla="*/ 1035314 h 3653242"/>
                <a:gd name="connsiteX84" fmla="*/ 661560 w 1573156"/>
                <a:gd name="connsiteY84" fmla="*/ 957743 h 3653242"/>
                <a:gd name="connsiteX85" fmla="*/ 730836 w 1573156"/>
                <a:gd name="connsiteY85" fmla="*/ 911200 h 3653242"/>
                <a:gd name="connsiteX86" fmla="*/ 798608 w 1573156"/>
                <a:gd name="connsiteY86" fmla="*/ 918934 h 3653242"/>
                <a:gd name="connsiteX87" fmla="*/ 822441 w 1573156"/>
                <a:gd name="connsiteY87" fmla="*/ 951001 h 3653242"/>
                <a:gd name="connsiteX88" fmla="*/ 978170 w 1573156"/>
                <a:gd name="connsiteY88" fmla="*/ 1007364 h 3653242"/>
                <a:gd name="connsiteX89" fmla="*/ 963762 w 1573156"/>
                <a:gd name="connsiteY89" fmla="*/ 971687 h 3653242"/>
                <a:gd name="connsiteX90" fmla="*/ 930510 w 1573156"/>
                <a:gd name="connsiteY90" fmla="*/ 932901 h 3653242"/>
                <a:gd name="connsiteX91" fmla="*/ 919426 w 1573156"/>
                <a:gd name="connsiteY91" fmla="*/ 881187 h 3653242"/>
                <a:gd name="connsiteX92" fmla="*/ 958221 w 1573156"/>
                <a:gd name="connsiteY92" fmla="*/ 832060 h 3653242"/>
                <a:gd name="connsiteX93" fmla="*/ 985931 w 1573156"/>
                <a:gd name="connsiteY93" fmla="*/ 803617 h 3653242"/>
                <a:gd name="connsiteX94" fmla="*/ 1010871 w 1573156"/>
                <a:gd name="connsiteY94" fmla="*/ 767417 h 3653242"/>
                <a:gd name="connsiteX95" fmla="*/ 1091231 w 1573156"/>
                <a:gd name="connsiteY95" fmla="*/ 762245 h 3653242"/>
                <a:gd name="connsiteX96" fmla="*/ 1096772 w 1573156"/>
                <a:gd name="connsiteY96" fmla="*/ 741560 h 3653242"/>
                <a:gd name="connsiteX97" fmla="*/ 1121712 w 1573156"/>
                <a:gd name="connsiteY97" fmla="*/ 705360 h 3653242"/>
                <a:gd name="connsiteX98" fmla="*/ 1155516 w 1573156"/>
                <a:gd name="connsiteY98" fmla="*/ 687772 h 3653242"/>
                <a:gd name="connsiteX99" fmla="*/ 1213156 w 1573156"/>
                <a:gd name="connsiteY99" fmla="*/ 700189 h 3653242"/>
                <a:gd name="connsiteX100" fmla="*/ 1251949 w 1573156"/>
                <a:gd name="connsiteY100" fmla="*/ 720875 h 3653242"/>
                <a:gd name="connsiteX101" fmla="*/ 1299057 w 1573156"/>
                <a:gd name="connsiteY101" fmla="*/ 728632 h 3653242"/>
                <a:gd name="connsiteX102" fmla="*/ 1299057 w 1573156"/>
                <a:gd name="connsiteY102" fmla="*/ 733803 h 3653242"/>
                <a:gd name="connsiteX103" fmla="*/ 1321226 w 1573156"/>
                <a:gd name="connsiteY103" fmla="*/ 674332 h 3653242"/>
                <a:gd name="connsiteX104" fmla="*/ 1331201 w 1573156"/>
                <a:gd name="connsiteY104" fmla="*/ 640714 h 3653242"/>
                <a:gd name="connsiteX105" fmla="*/ 1337852 w 1573156"/>
                <a:gd name="connsiteY105" fmla="*/ 622618 h 3653242"/>
                <a:gd name="connsiteX106" fmla="*/ 1340789 w 1573156"/>
                <a:gd name="connsiteY106" fmla="*/ 591288 h 3653242"/>
                <a:gd name="connsiteX107" fmla="*/ 1260263 w 1573156"/>
                <a:gd name="connsiteY107" fmla="*/ 545048 h 3653242"/>
                <a:gd name="connsiteX108" fmla="*/ 1246408 w 1573156"/>
                <a:gd name="connsiteY108" fmla="*/ 472648 h 3653242"/>
                <a:gd name="connsiteX109" fmla="*/ 1246408 w 1573156"/>
                <a:gd name="connsiteY109" fmla="*/ 454548 h 3653242"/>
                <a:gd name="connsiteX110" fmla="*/ 1257491 w 1573156"/>
                <a:gd name="connsiteY110" fmla="*/ 431276 h 3653242"/>
                <a:gd name="connsiteX111" fmla="*/ 1260263 w 1573156"/>
                <a:gd name="connsiteY111" fmla="*/ 415762 h 3653242"/>
                <a:gd name="connsiteX112" fmla="*/ 1260262 w 1573156"/>
                <a:gd name="connsiteY112" fmla="*/ 358878 h 3653242"/>
                <a:gd name="connsiteX113" fmla="*/ 1238094 w 1573156"/>
                <a:gd name="connsiteY113" fmla="*/ 335607 h 3653242"/>
                <a:gd name="connsiteX114" fmla="*/ 1210384 w 1573156"/>
                <a:gd name="connsiteY114" fmla="*/ 304578 h 3653242"/>
                <a:gd name="connsiteX115" fmla="*/ 1206216 w 1573156"/>
                <a:gd name="connsiteY115" fmla="*/ 280325 h 3653242"/>
                <a:gd name="connsiteX116" fmla="*/ 1257492 w 1573156"/>
                <a:gd name="connsiteY116" fmla="*/ 258034 h 3653242"/>
                <a:gd name="connsiteX117" fmla="*/ 1311072 w 1573156"/>
                <a:gd name="connsiteY117" fmla="*/ 267906 h 3653242"/>
                <a:gd name="connsiteX118" fmla="*/ 1389856 w 1573156"/>
                <a:gd name="connsiteY118" fmla="*/ 279816 h 3653242"/>
                <a:gd name="connsiteX119" fmla="*/ 1474179 w 1573156"/>
                <a:gd name="connsiteY119" fmla="*/ 349175 h 3653242"/>
                <a:gd name="connsiteX120" fmla="*/ 1536314 w 1573156"/>
                <a:gd name="connsiteY120" fmla="*/ 425271 h 3653242"/>
                <a:gd name="connsiteX121" fmla="*/ 1435343 w 1573156"/>
                <a:gd name="connsiteY121" fmla="*/ 454265 h 3653242"/>
                <a:gd name="connsiteX122" fmla="*/ 1419809 w 1573156"/>
                <a:gd name="connsiteY122" fmla="*/ 501372 h 3653242"/>
                <a:gd name="connsiteX123" fmla="*/ 1477479 w 1573156"/>
                <a:gd name="connsiteY123" fmla="*/ 585862 h 3653242"/>
                <a:gd name="connsiteX124" fmla="*/ 1513013 w 1573156"/>
                <a:gd name="connsiteY124" fmla="*/ 591964 h 3653242"/>
                <a:gd name="connsiteX125" fmla="*/ 1565633 w 1573156"/>
                <a:gd name="connsiteY125" fmla="*/ 598304 h 3653242"/>
                <a:gd name="connsiteX126" fmla="*/ 1560670 w 1573156"/>
                <a:gd name="connsiteY126" fmla="*/ 709079 h 3653242"/>
                <a:gd name="connsiteX127" fmla="*/ 1571739 w 1573156"/>
                <a:gd name="connsiteY127" fmla="*/ 1040047 h 3653242"/>
                <a:gd name="connsiteX128" fmla="*/ 1562871 w 1573156"/>
                <a:gd name="connsiteY128" fmla="*/ 1842646 h 3653242"/>
                <a:gd name="connsiteX129" fmla="*/ 1571738 w 1573156"/>
                <a:gd name="connsiteY129" fmla="*/ 2297728 h 3653242"/>
                <a:gd name="connsiteX130" fmla="*/ 1545290 w 1573156"/>
                <a:gd name="connsiteY130" fmla="*/ 3607693 h 3653242"/>
                <a:gd name="connsiteX131" fmla="*/ 1286863 w 1573156"/>
                <a:gd name="connsiteY131" fmla="*/ 3564098 h 3653242"/>
                <a:gd name="connsiteX132" fmla="*/ 963603 w 1573156"/>
                <a:gd name="connsiteY132" fmla="*/ 3589981 h 3653242"/>
                <a:gd name="connsiteX133" fmla="*/ 1096217 w 1573156"/>
                <a:gd name="connsiteY133" fmla="*/ 3653045 h 3653242"/>
                <a:gd name="connsiteX134" fmla="*/ 907787 w 1573156"/>
                <a:gd name="connsiteY134" fmla="*/ 3629257 h 3653242"/>
                <a:gd name="connsiteX135" fmla="*/ 776238 w 1573156"/>
                <a:gd name="connsiteY135" fmla="*/ 3504783 h 3653242"/>
                <a:gd name="connsiteX136" fmla="*/ 708669 w 1573156"/>
                <a:gd name="connsiteY136" fmla="*/ 3437426 h 3653242"/>
                <a:gd name="connsiteX137" fmla="*/ 739150 w 1573156"/>
                <a:gd name="connsiteY137" fmla="*/ 3437426 h 3653242"/>
                <a:gd name="connsiteX138" fmla="*/ 750233 w 1573156"/>
                <a:gd name="connsiteY138" fmla="*/ 3408982 h 3653242"/>
                <a:gd name="connsiteX139" fmla="*/ 783486 w 1573156"/>
                <a:gd name="connsiteY139" fmla="*/ 3354683 h 3653242"/>
                <a:gd name="connsiteX140" fmla="*/ 747462 w 1573156"/>
                <a:gd name="connsiteY140" fmla="*/ 3297798 h 3653242"/>
                <a:gd name="connsiteX141" fmla="*/ 836135 w 1573156"/>
                <a:gd name="connsiteY141" fmla="*/ 3225398 h 3653242"/>
                <a:gd name="connsiteX142" fmla="*/ 902641 w 1573156"/>
                <a:gd name="connsiteY142" fmla="*/ 3217642 h 3653242"/>
                <a:gd name="connsiteX143" fmla="*/ 955289 w 1573156"/>
                <a:gd name="connsiteY143" fmla="*/ 3160756 h 3653242"/>
                <a:gd name="connsiteX144" fmla="*/ 1024565 w 1573156"/>
                <a:gd name="connsiteY144" fmla="*/ 3114213 h 3653242"/>
                <a:gd name="connsiteX145" fmla="*/ 1019023 w 1573156"/>
                <a:gd name="connsiteY145" fmla="*/ 3067671 h 3653242"/>
                <a:gd name="connsiteX146" fmla="*/ 1043963 w 1573156"/>
                <a:gd name="connsiteY146" fmla="*/ 3028886 h 3653242"/>
                <a:gd name="connsiteX147" fmla="*/ 1016252 w 1573156"/>
                <a:gd name="connsiteY147" fmla="*/ 3026300 h 3653242"/>
                <a:gd name="connsiteX148" fmla="*/ 1031704 w 1573156"/>
                <a:gd name="connsiteY148" fmla="*/ 2992878 h 3653242"/>
                <a:gd name="connsiteX149" fmla="*/ 914211 w 1573156"/>
                <a:gd name="connsiteY149" fmla="*/ 2928233 h 3653242"/>
                <a:gd name="connsiteX150" fmla="*/ 858304 w 1573156"/>
                <a:gd name="connsiteY150" fmla="*/ 2909943 h 3653242"/>
                <a:gd name="connsiteX151" fmla="*/ 827823 w 1573156"/>
                <a:gd name="connsiteY151" fmla="*/ 2881501 h 3653242"/>
                <a:gd name="connsiteX152" fmla="*/ 761317 w 1573156"/>
                <a:gd name="connsiteY152" fmla="*/ 2897015 h 3653242"/>
                <a:gd name="connsiteX153" fmla="*/ 700355 w 1573156"/>
                <a:gd name="connsiteY153" fmla="*/ 2891844 h 3653242"/>
                <a:gd name="connsiteX154" fmla="*/ 658790 w 1573156"/>
                <a:gd name="connsiteY154" fmla="*/ 2827201 h 3653242"/>
                <a:gd name="connsiteX155" fmla="*/ 656019 w 1573156"/>
                <a:gd name="connsiteY155" fmla="*/ 2785830 h 3653242"/>
                <a:gd name="connsiteX156" fmla="*/ 631080 w 1573156"/>
                <a:gd name="connsiteY156" fmla="*/ 2772902 h 3653242"/>
                <a:gd name="connsiteX157" fmla="*/ 567346 w 1573156"/>
                <a:gd name="connsiteY157" fmla="*/ 2759974 h 3653242"/>
                <a:gd name="connsiteX158" fmla="*/ 586743 w 1573156"/>
                <a:gd name="connsiteY158" fmla="*/ 2721188 h 3653242"/>
                <a:gd name="connsiteX159" fmla="*/ 557777 w 1573156"/>
                <a:gd name="connsiteY159" fmla="*/ 2715007 h 3653242"/>
                <a:gd name="connsiteX160" fmla="*/ 531809 w 1573156"/>
                <a:gd name="connsiteY160" fmla="*/ 2672771 h 3653242"/>
                <a:gd name="connsiteX161" fmla="*/ 414939 w 1573156"/>
                <a:gd name="connsiteY161" fmla="*/ 2682402 h 3653242"/>
                <a:gd name="connsiteX162" fmla="*/ 390000 w 1573156"/>
                <a:gd name="connsiteY162" fmla="*/ 2672059 h 3653242"/>
                <a:gd name="connsiteX163" fmla="*/ 367832 w 1573156"/>
                <a:gd name="connsiteY163" fmla="*/ 2684989 h 3653242"/>
                <a:gd name="connsiteX164" fmla="*/ 351205 w 1573156"/>
                <a:gd name="connsiteY164" fmla="*/ 2622932 h 3653242"/>
                <a:gd name="connsiteX165" fmla="*/ 340121 w 1573156"/>
                <a:gd name="connsiteY165" fmla="*/ 2597075 h 3653242"/>
                <a:gd name="connsiteX166" fmla="*/ 353976 w 1573156"/>
                <a:gd name="connsiteY166" fmla="*/ 2578974 h 3653242"/>
                <a:gd name="connsiteX167" fmla="*/ 381687 w 1573156"/>
                <a:gd name="connsiteY167" fmla="*/ 2581561 h 3653242"/>
                <a:gd name="connsiteX168" fmla="*/ 414939 w 1573156"/>
                <a:gd name="connsiteY168" fmla="*/ 2563461 h 3653242"/>
                <a:gd name="connsiteX169" fmla="*/ 412168 w 1573156"/>
                <a:gd name="connsiteY169" fmla="*/ 2537603 h 3653242"/>
                <a:gd name="connsiteX170" fmla="*/ 362289 w 1573156"/>
                <a:gd name="connsiteY170" fmla="*/ 2501404 h 3653242"/>
                <a:gd name="connsiteX171" fmla="*/ 338946 w 1573156"/>
                <a:gd name="connsiteY171" fmla="*/ 2513491 h 3653242"/>
                <a:gd name="connsiteX172" fmla="*/ 340121 w 1573156"/>
                <a:gd name="connsiteY172" fmla="*/ 2467790 h 3653242"/>
                <a:gd name="connsiteX173" fmla="*/ 306869 w 1573156"/>
                <a:gd name="connsiteY173" fmla="*/ 2429005 h 3653242"/>
                <a:gd name="connsiteX174" fmla="*/ 309641 w 1573156"/>
                <a:gd name="connsiteY174" fmla="*/ 2351433 h 3653242"/>
                <a:gd name="connsiteX175" fmla="*/ 290243 w 1573156"/>
                <a:gd name="connsiteY175" fmla="*/ 2299720 h 3653242"/>
                <a:gd name="connsiteX176" fmla="*/ 256991 w 1573156"/>
                <a:gd name="connsiteY176" fmla="*/ 2266106 h 3653242"/>
                <a:gd name="connsiteX177" fmla="*/ 218196 w 1573156"/>
                <a:gd name="connsiteY177" fmla="*/ 2242835 h 3653242"/>
                <a:gd name="connsiteX178" fmla="*/ 176631 w 1573156"/>
                <a:gd name="connsiteY178" fmla="*/ 2250592 h 3653242"/>
                <a:gd name="connsiteX179" fmla="*/ 122255 w 1573156"/>
                <a:gd name="connsiteY179" fmla="*/ 2214066 h 3653242"/>
                <a:gd name="connsiteX0" fmla="*/ 122255 w 1573156"/>
                <a:gd name="connsiteY0" fmla="*/ 2214066 h 3653252"/>
                <a:gd name="connsiteX1" fmla="*/ 63018 w 1573156"/>
                <a:gd name="connsiteY1" fmla="*/ 2216977 h 3653252"/>
                <a:gd name="connsiteX2" fmla="*/ 60248 w 1573156"/>
                <a:gd name="connsiteY2" fmla="*/ 2118721 h 3653252"/>
                <a:gd name="connsiteX3" fmla="*/ 71333 w 1573156"/>
                <a:gd name="connsiteY3" fmla="*/ 2077350 h 3653252"/>
                <a:gd name="connsiteX4" fmla="*/ 74102 w 1573156"/>
                <a:gd name="connsiteY4" fmla="*/ 2030807 h 3653252"/>
                <a:gd name="connsiteX5" fmla="*/ 76875 w 1573156"/>
                <a:gd name="connsiteY5" fmla="*/ 2020467 h 3653252"/>
                <a:gd name="connsiteX6" fmla="*/ 118439 w 1573156"/>
                <a:gd name="connsiteY6" fmla="*/ 1992023 h 3653252"/>
                <a:gd name="connsiteX7" fmla="*/ 82416 w 1573156"/>
                <a:gd name="connsiteY7" fmla="*/ 1963580 h 3653252"/>
                <a:gd name="connsiteX8" fmla="*/ 51935 w 1573156"/>
                <a:gd name="connsiteY8" fmla="*/ 1927380 h 3653252"/>
                <a:gd name="connsiteX9" fmla="*/ 40850 w 1573156"/>
                <a:gd name="connsiteY9" fmla="*/ 1893766 h 3653252"/>
                <a:gd name="connsiteX10" fmla="*/ 43621 w 1573156"/>
                <a:gd name="connsiteY10" fmla="*/ 1844639 h 3653252"/>
                <a:gd name="connsiteX11" fmla="*/ 82416 w 1573156"/>
                <a:gd name="connsiteY11" fmla="*/ 1826538 h 3653252"/>
                <a:gd name="connsiteX12" fmla="*/ 112899 w 1573156"/>
                <a:gd name="connsiteY12" fmla="*/ 1782581 h 3653252"/>
                <a:gd name="connsiteX13" fmla="*/ 96271 w 1573156"/>
                <a:gd name="connsiteY13" fmla="*/ 1754138 h 3653252"/>
                <a:gd name="connsiteX14" fmla="*/ 40851 w 1573156"/>
                <a:gd name="connsiteY14" fmla="*/ 1746381 h 3653252"/>
                <a:gd name="connsiteX15" fmla="*/ 2057 w 1573156"/>
                <a:gd name="connsiteY15" fmla="*/ 1730867 h 3653252"/>
                <a:gd name="connsiteX16" fmla="*/ 38079 w 1573156"/>
                <a:gd name="connsiteY16" fmla="*/ 1689496 h 3653252"/>
                <a:gd name="connsiteX17" fmla="*/ 18683 w 1573156"/>
                <a:gd name="connsiteY17" fmla="*/ 1679153 h 3653252"/>
                <a:gd name="connsiteX18" fmla="*/ 2055 w 1573156"/>
                <a:gd name="connsiteY18" fmla="*/ 1640367 h 3653252"/>
                <a:gd name="connsiteX19" fmla="*/ 65790 w 1573156"/>
                <a:gd name="connsiteY19" fmla="*/ 1650711 h 3653252"/>
                <a:gd name="connsiteX20" fmla="*/ 93501 w 1573156"/>
                <a:gd name="connsiteY20" fmla="*/ 1627440 h 3653252"/>
                <a:gd name="connsiteX21" fmla="*/ 187716 w 1573156"/>
                <a:gd name="connsiteY21" fmla="*/ 1536941 h 3653252"/>
                <a:gd name="connsiteX22" fmla="*/ 212655 w 1573156"/>
                <a:gd name="connsiteY22" fmla="*/ 1505912 h 3653252"/>
                <a:gd name="connsiteX23" fmla="*/ 198801 w 1573156"/>
                <a:gd name="connsiteY23" fmla="*/ 1555040 h 3653252"/>
                <a:gd name="connsiteX24" fmla="*/ 218197 w 1573156"/>
                <a:gd name="connsiteY24" fmla="*/ 1588655 h 3653252"/>
                <a:gd name="connsiteX25" fmla="*/ 262534 w 1573156"/>
                <a:gd name="connsiteY25" fmla="*/ 1666225 h 3653252"/>
                <a:gd name="connsiteX26" fmla="*/ 331810 w 1573156"/>
                <a:gd name="connsiteY26" fmla="*/ 1653297 h 3653252"/>
                <a:gd name="connsiteX27" fmla="*/ 351206 w 1573156"/>
                <a:gd name="connsiteY27" fmla="*/ 1622268 h 3653252"/>
                <a:gd name="connsiteX28" fmla="*/ 365062 w 1573156"/>
                <a:gd name="connsiteY28" fmla="*/ 1557627 h 3653252"/>
                <a:gd name="connsiteX29" fmla="*/ 304099 w 1573156"/>
                <a:gd name="connsiteY29" fmla="*/ 1511084 h 3653252"/>
                <a:gd name="connsiteX30" fmla="*/ 259763 w 1573156"/>
                <a:gd name="connsiteY30" fmla="*/ 1485227 h 3653252"/>
                <a:gd name="connsiteX31" fmla="*/ 198801 w 1573156"/>
                <a:gd name="connsiteY31" fmla="*/ 1495570 h 3653252"/>
                <a:gd name="connsiteX32" fmla="*/ 376147 w 1573156"/>
                <a:gd name="connsiteY32" fmla="*/ 1299057 h 3653252"/>
                <a:gd name="connsiteX33" fmla="*/ 223740 w 1573156"/>
                <a:gd name="connsiteY33" fmla="*/ 1151672 h 3653252"/>
                <a:gd name="connsiteX34" fmla="*/ 284703 w 1573156"/>
                <a:gd name="connsiteY34" fmla="*/ 1089617 h 3653252"/>
                <a:gd name="connsiteX35" fmla="*/ 218198 w 1573156"/>
                <a:gd name="connsiteY35" fmla="*/ 1050829 h 3653252"/>
                <a:gd name="connsiteX36" fmla="*/ 259763 w 1573156"/>
                <a:gd name="connsiteY36" fmla="*/ 1019802 h 3653252"/>
                <a:gd name="connsiteX37" fmla="*/ 212657 w 1573156"/>
                <a:gd name="connsiteY37" fmla="*/ 993947 h 3653252"/>
                <a:gd name="connsiteX38" fmla="*/ 212656 w 1573156"/>
                <a:gd name="connsiteY38" fmla="*/ 794845 h 3653252"/>
                <a:gd name="connsiteX39" fmla="*/ 251451 w 1573156"/>
                <a:gd name="connsiteY39" fmla="*/ 779332 h 3653252"/>
                <a:gd name="connsiteX40" fmla="*/ 137838 w 1573156"/>
                <a:gd name="connsiteY40" fmla="*/ 551792 h 3653252"/>
                <a:gd name="connsiteX41" fmla="*/ 135067 w 1573156"/>
                <a:gd name="connsiteY41" fmla="*/ 551792 h 3653252"/>
                <a:gd name="connsiteX42" fmla="*/ 184945 w 1573156"/>
                <a:gd name="connsiteY42" fmla="*/ 469048 h 3653252"/>
                <a:gd name="connsiteX43" fmla="*/ 201571 w 1573156"/>
                <a:gd name="connsiteY43" fmla="*/ 378550 h 3653252"/>
                <a:gd name="connsiteX44" fmla="*/ 126752 w 1573156"/>
                <a:gd name="connsiteY44" fmla="*/ 319079 h 3653252"/>
                <a:gd name="connsiteX45" fmla="*/ 118440 w 1573156"/>
                <a:gd name="connsiteY45" fmla="*/ 251851 h 3653252"/>
                <a:gd name="connsiteX46" fmla="*/ 173860 w 1573156"/>
                <a:gd name="connsiteY46" fmla="*/ 158764 h 3653252"/>
                <a:gd name="connsiteX47" fmla="*/ 193258 w 1573156"/>
                <a:gd name="connsiteY47" fmla="*/ 135494 h 3653252"/>
                <a:gd name="connsiteX48" fmla="*/ 207113 w 1573156"/>
                <a:gd name="connsiteY48" fmla="*/ 117394 h 3653252"/>
                <a:gd name="connsiteX49" fmla="*/ 215426 w 1573156"/>
                <a:gd name="connsiteY49" fmla="*/ 73438 h 3653252"/>
                <a:gd name="connsiteX50" fmla="*/ 240365 w 1573156"/>
                <a:gd name="connsiteY50" fmla="*/ 101880 h 3653252"/>
                <a:gd name="connsiteX51" fmla="*/ 270847 w 1573156"/>
                <a:gd name="connsiteY51" fmla="*/ 88952 h 3653252"/>
                <a:gd name="connsiteX52" fmla="*/ 273617 w 1573156"/>
                <a:gd name="connsiteY52" fmla="*/ 63095 h 3653252"/>
                <a:gd name="connsiteX53" fmla="*/ 281931 w 1573156"/>
                <a:gd name="connsiteY53" fmla="*/ 34652 h 3653252"/>
                <a:gd name="connsiteX54" fmla="*/ 284703 w 1573156"/>
                <a:gd name="connsiteY54" fmla="*/ 3624 h 3653252"/>
                <a:gd name="connsiteX55" fmla="*/ 420483 w 1573156"/>
                <a:gd name="connsiteY55" fmla="*/ 57924 h 3653252"/>
                <a:gd name="connsiteX56" fmla="*/ 450963 w 1573156"/>
                <a:gd name="connsiteY56" fmla="*/ 161352 h 3653252"/>
                <a:gd name="connsiteX57" fmla="*/ 464819 w 1573156"/>
                <a:gd name="connsiteY57" fmla="*/ 184622 h 3653252"/>
                <a:gd name="connsiteX58" fmla="*/ 475903 w 1573156"/>
                <a:gd name="connsiteY58" fmla="*/ 187208 h 3653252"/>
                <a:gd name="connsiteX59" fmla="*/ 589515 w 1573156"/>
                <a:gd name="connsiteY59" fmla="*/ 156181 h 3653252"/>
                <a:gd name="connsiteX60" fmla="*/ 656020 w 1573156"/>
                <a:gd name="connsiteY60" fmla="*/ 166522 h 3653252"/>
                <a:gd name="connsiteX61" fmla="*/ 719754 w 1573156"/>
                <a:gd name="connsiteY61" fmla="*/ 213065 h 3653252"/>
                <a:gd name="connsiteX62" fmla="*/ 733781 w 1573156"/>
                <a:gd name="connsiteY62" fmla="*/ 242621 h 3653252"/>
                <a:gd name="connsiteX63" fmla="*/ 789028 w 1573156"/>
                <a:gd name="connsiteY63" fmla="*/ 277708 h 3653252"/>
                <a:gd name="connsiteX64" fmla="*/ 877702 w 1573156"/>
                <a:gd name="connsiteY64" fmla="*/ 303563 h 3653252"/>
                <a:gd name="connsiteX65" fmla="*/ 949748 w 1573156"/>
                <a:gd name="connsiteY65" fmla="*/ 350106 h 3653252"/>
                <a:gd name="connsiteX66" fmla="*/ 999627 w 1573156"/>
                <a:gd name="connsiteY66" fmla="*/ 401820 h 3653252"/>
                <a:gd name="connsiteX67" fmla="*/ 1024566 w 1573156"/>
                <a:gd name="connsiteY67" fmla="*/ 440606 h 3653252"/>
                <a:gd name="connsiteX68" fmla="*/ 1057819 w 1573156"/>
                <a:gd name="connsiteY68" fmla="*/ 466462 h 3653252"/>
                <a:gd name="connsiteX69" fmla="*/ 1041191 w 1573156"/>
                <a:gd name="connsiteY69" fmla="*/ 691417 h 3653252"/>
                <a:gd name="connsiteX70" fmla="*/ 913725 w 1573156"/>
                <a:gd name="connsiteY70" fmla="*/ 771575 h 3653252"/>
                <a:gd name="connsiteX71" fmla="*/ 800113 w 1573156"/>
                <a:gd name="connsiteY71" fmla="*/ 779331 h 3653252"/>
                <a:gd name="connsiteX72" fmla="*/ 661560 w 1573156"/>
                <a:gd name="connsiteY72" fmla="*/ 758645 h 3653252"/>
                <a:gd name="connsiteX73" fmla="*/ 570116 w 1573156"/>
                <a:gd name="connsiteY73" fmla="*/ 722445 h 3653252"/>
                <a:gd name="connsiteX74" fmla="*/ 550719 w 1573156"/>
                <a:gd name="connsiteY74" fmla="*/ 750888 h 3653252"/>
                <a:gd name="connsiteX75" fmla="*/ 581361 w 1573156"/>
                <a:gd name="connsiteY75" fmla="*/ 824301 h 3653252"/>
                <a:gd name="connsiteX76" fmla="*/ 586902 w 1573156"/>
                <a:gd name="connsiteY76" fmla="*/ 951000 h 3653252"/>
                <a:gd name="connsiteX77" fmla="*/ 559032 w 1573156"/>
                <a:gd name="connsiteY77" fmla="*/ 1012043 h 3653252"/>
                <a:gd name="connsiteX78" fmla="*/ 614451 w 1573156"/>
                <a:gd name="connsiteY78" fmla="*/ 1032728 h 3653252"/>
                <a:gd name="connsiteX79" fmla="*/ 631079 w 1573156"/>
                <a:gd name="connsiteY79" fmla="*/ 1048242 h 3653252"/>
                <a:gd name="connsiteX80" fmla="*/ 656019 w 1573156"/>
                <a:gd name="connsiteY80" fmla="*/ 1074099 h 3653252"/>
                <a:gd name="connsiteX81" fmla="*/ 653248 w 1573156"/>
                <a:gd name="connsiteY81" fmla="*/ 1076685 h 3653252"/>
                <a:gd name="connsiteX82" fmla="*/ 692041 w 1573156"/>
                <a:gd name="connsiteY82" fmla="*/ 1071514 h 3653252"/>
                <a:gd name="connsiteX83" fmla="*/ 700355 w 1573156"/>
                <a:gd name="connsiteY83" fmla="*/ 1035314 h 3653252"/>
                <a:gd name="connsiteX84" fmla="*/ 661560 w 1573156"/>
                <a:gd name="connsiteY84" fmla="*/ 957743 h 3653252"/>
                <a:gd name="connsiteX85" fmla="*/ 730836 w 1573156"/>
                <a:gd name="connsiteY85" fmla="*/ 911200 h 3653252"/>
                <a:gd name="connsiteX86" fmla="*/ 798608 w 1573156"/>
                <a:gd name="connsiteY86" fmla="*/ 918934 h 3653252"/>
                <a:gd name="connsiteX87" fmla="*/ 822441 w 1573156"/>
                <a:gd name="connsiteY87" fmla="*/ 951001 h 3653252"/>
                <a:gd name="connsiteX88" fmla="*/ 978170 w 1573156"/>
                <a:gd name="connsiteY88" fmla="*/ 1007364 h 3653252"/>
                <a:gd name="connsiteX89" fmla="*/ 963762 w 1573156"/>
                <a:gd name="connsiteY89" fmla="*/ 971687 h 3653252"/>
                <a:gd name="connsiteX90" fmla="*/ 930510 w 1573156"/>
                <a:gd name="connsiteY90" fmla="*/ 932901 h 3653252"/>
                <a:gd name="connsiteX91" fmla="*/ 919426 w 1573156"/>
                <a:gd name="connsiteY91" fmla="*/ 881187 h 3653252"/>
                <a:gd name="connsiteX92" fmla="*/ 958221 w 1573156"/>
                <a:gd name="connsiteY92" fmla="*/ 832060 h 3653252"/>
                <a:gd name="connsiteX93" fmla="*/ 985931 w 1573156"/>
                <a:gd name="connsiteY93" fmla="*/ 803617 h 3653252"/>
                <a:gd name="connsiteX94" fmla="*/ 1010871 w 1573156"/>
                <a:gd name="connsiteY94" fmla="*/ 767417 h 3653252"/>
                <a:gd name="connsiteX95" fmla="*/ 1091231 w 1573156"/>
                <a:gd name="connsiteY95" fmla="*/ 762245 h 3653252"/>
                <a:gd name="connsiteX96" fmla="*/ 1096772 w 1573156"/>
                <a:gd name="connsiteY96" fmla="*/ 741560 h 3653252"/>
                <a:gd name="connsiteX97" fmla="*/ 1121712 w 1573156"/>
                <a:gd name="connsiteY97" fmla="*/ 705360 h 3653252"/>
                <a:gd name="connsiteX98" fmla="*/ 1155516 w 1573156"/>
                <a:gd name="connsiteY98" fmla="*/ 687772 h 3653252"/>
                <a:gd name="connsiteX99" fmla="*/ 1213156 w 1573156"/>
                <a:gd name="connsiteY99" fmla="*/ 700189 h 3653252"/>
                <a:gd name="connsiteX100" fmla="*/ 1251949 w 1573156"/>
                <a:gd name="connsiteY100" fmla="*/ 720875 h 3653252"/>
                <a:gd name="connsiteX101" fmla="*/ 1299057 w 1573156"/>
                <a:gd name="connsiteY101" fmla="*/ 728632 h 3653252"/>
                <a:gd name="connsiteX102" fmla="*/ 1299057 w 1573156"/>
                <a:gd name="connsiteY102" fmla="*/ 733803 h 3653252"/>
                <a:gd name="connsiteX103" fmla="*/ 1321226 w 1573156"/>
                <a:gd name="connsiteY103" fmla="*/ 674332 h 3653252"/>
                <a:gd name="connsiteX104" fmla="*/ 1331201 w 1573156"/>
                <a:gd name="connsiteY104" fmla="*/ 640714 h 3653252"/>
                <a:gd name="connsiteX105" fmla="*/ 1337852 w 1573156"/>
                <a:gd name="connsiteY105" fmla="*/ 622618 h 3653252"/>
                <a:gd name="connsiteX106" fmla="*/ 1340789 w 1573156"/>
                <a:gd name="connsiteY106" fmla="*/ 591288 h 3653252"/>
                <a:gd name="connsiteX107" fmla="*/ 1260263 w 1573156"/>
                <a:gd name="connsiteY107" fmla="*/ 545048 h 3653252"/>
                <a:gd name="connsiteX108" fmla="*/ 1246408 w 1573156"/>
                <a:gd name="connsiteY108" fmla="*/ 472648 h 3653252"/>
                <a:gd name="connsiteX109" fmla="*/ 1246408 w 1573156"/>
                <a:gd name="connsiteY109" fmla="*/ 454548 h 3653252"/>
                <a:gd name="connsiteX110" fmla="*/ 1257491 w 1573156"/>
                <a:gd name="connsiteY110" fmla="*/ 431276 h 3653252"/>
                <a:gd name="connsiteX111" fmla="*/ 1260263 w 1573156"/>
                <a:gd name="connsiteY111" fmla="*/ 415762 h 3653252"/>
                <a:gd name="connsiteX112" fmla="*/ 1260262 w 1573156"/>
                <a:gd name="connsiteY112" fmla="*/ 358878 h 3653252"/>
                <a:gd name="connsiteX113" fmla="*/ 1238094 w 1573156"/>
                <a:gd name="connsiteY113" fmla="*/ 335607 h 3653252"/>
                <a:gd name="connsiteX114" fmla="*/ 1210384 w 1573156"/>
                <a:gd name="connsiteY114" fmla="*/ 304578 h 3653252"/>
                <a:gd name="connsiteX115" fmla="*/ 1206216 w 1573156"/>
                <a:gd name="connsiteY115" fmla="*/ 280325 h 3653252"/>
                <a:gd name="connsiteX116" fmla="*/ 1257492 w 1573156"/>
                <a:gd name="connsiteY116" fmla="*/ 258034 h 3653252"/>
                <a:gd name="connsiteX117" fmla="*/ 1311072 w 1573156"/>
                <a:gd name="connsiteY117" fmla="*/ 267906 h 3653252"/>
                <a:gd name="connsiteX118" fmla="*/ 1389856 w 1573156"/>
                <a:gd name="connsiteY118" fmla="*/ 279816 h 3653252"/>
                <a:gd name="connsiteX119" fmla="*/ 1474179 w 1573156"/>
                <a:gd name="connsiteY119" fmla="*/ 349175 h 3653252"/>
                <a:gd name="connsiteX120" fmla="*/ 1536314 w 1573156"/>
                <a:gd name="connsiteY120" fmla="*/ 425271 h 3653252"/>
                <a:gd name="connsiteX121" fmla="*/ 1435343 w 1573156"/>
                <a:gd name="connsiteY121" fmla="*/ 454265 h 3653252"/>
                <a:gd name="connsiteX122" fmla="*/ 1419809 w 1573156"/>
                <a:gd name="connsiteY122" fmla="*/ 501372 h 3653252"/>
                <a:gd name="connsiteX123" fmla="*/ 1477479 w 1573156"/>
                <a:gd name="connsiteY123" fmla="*/ 585862 h 3653252"/>
                <a:gd name="connsiteX124" fmla="*/ 1513013 w 1573156"/>
                <a:gd name="connsiteY124" fmla="*/ 591964 h 3653252"/>
                <a:gd name="connsiteX125" fmla="*/ 1565633 w 1573156"/>
                <a:gd name="connsiteY125" fmla="*/ 598304 h 3653252"/>
                <a:gd name="connsiteX126" fmla="*/ 1560670 w 1573156"/>
                <a:gd name="connsiteY126" fmla="*/ 709079 h 3653252"/>
                <a:gd name="connsiteX127" fmla="*/ 1571739 w 1573156"/>
                <a:gd name="connsiteY127" fmla="*/ 1040047 h 3653252"/>
                <a:gd name="connsiteX128" fmla="*/ 1562871 w 1573156"/>
                <a:gd name="connsiteY128" fmla="*/ 1842646 h 3653252"/>
                <a:gd name="connsiteX129" fmla="*/ 1571738 w 1573156"/>
                <a:gd name="connsiteY129" fmla="*/ 2297728 h 3653252"/>
                <a:gd name="connsiteX130" fmla="*/ 1545290 w 1573156"/>
                <a:gd name="connsiteY130" fmla="*/ 3607693 h 3653252"/>
                <a:gd name="connsiteX131" fmla="*/ 1286863 w 1573156"/>
                <a:gd name="connsiteY131" fmla="*/ 3564098 h 3653252"/>
                <a:gd name="connsiteX132" fmla="*/ 1013482 w 1573156"/>
                <a:gd name="connsiteY132" fmla="*/ 3592567 h 3653252"/>
                <a:gd name="connsiteX133" fmla="*/ 1096217 w 1573156"/>
                <a:gd name="connsiteY133" fmla="*/ 3653045 h 3653252"/>
                <a:gd name="connsiteX134" fmla="*/ 907787 w 1573156"/>
                <a:gd name="connsiteY134" fmla="*/ 3629257 h 3653252"/>
                <a:gd name="connsiteX135" fmla="*/ 776238 w 1573156"/>
                <a:gd name="connsiteY135" fmla="*/ 3504783 h 3653252"/>
                <a:gd name="connsiteX136" fmla="*/ 708669 w 1573156"/>
                <a:gd name="connsiteY136" fmla="*/ 3437426 h 3653252"/>
                <a:gd name="connsiteX137" fmla="*/ 739150 w 1573156"/>
                <a:gd name="connsiteY137" fmla="*/ 3437426 h 3653252"/>
                <a:gd name="connsiteX138" fmla="*/ 750233 w 1573156"/>
                <a:gd name="connsiteY138" fmla="*/ 3408982 h 3653252"/>
                <a:gd name="connsiteX139" fmla="*/ 783486 w 1573156"/>
                <a:gd name="connsiteY139" fmla="*/ 3354683 h 3653252"/>
                <a:gd name="connsiteX140" fmla="*/ 747462 w 1573156"/>
                <a:gd name="connsiteY140" fmla="*/ 3297798 h 3653252"/>
                <a:gd name="connsiteX141" fmla="*/ 836135 w 1573156"/>
                <a:gd name="connsiteY141" fmla="*/ 3225398 h 3653252"/>
                <a:gd name="connsiteX142" fmla="*/ 902641 w 1573156"/>
                <a:gd name="connsiteY142" fmla="*/ 3217642 h 3653252"/>
                <a:gd name="connsiteX143" fmla="*/ 955289 w 1573156"/>
                <a:gd name="connsiteY143" fmla="*/ 3160756 h 3653252"/>
                <a:gd name="connsiteX144" fmla="*/ 1024565 w 1573156"/>
                <a:gd name="connsiteY144" fmla="*/ 3114213 h 3653252"/>
                <a:gd name="connsiteX145" fmla="*/ 1019023 w 1573156"/>
                <a:gd name="connsiteY145" fmla="*/ 3067671 h 3653252"/>
                <a:gd name="connsiteX146" fmla="*/ 1043963 w 1573156"/>
                <a:gd name="connsiteY146" fmla="*/ 3028886 h 3653252"/>
                <a:gd name="connsiteX147" fmla="*/ 1016252 w 1573156"/>
                <a:gd name="connsiteY147" fmla="*/ 3026300 h 3653252"/>
                <a:gd name="connsiteX148" fmla="*/ 1031704 w 1573156"/>
                <a:gd name="connsiteY148" fmla="*/ 2992878 h 3653252"/>
                <a:gd name="connsiteX149" fmla="*/ 914211 w 1573156"/>
                <a:gd name="connsiteY149" fmla="*/ 2928233 h 3653252"/>
                <a:gd name="connsiteX150" fmla="*/ 858304 w 1573156"/>
                <a:gd name="connsiteY150" fmla="*/ 2909943 h 3653252"/>
                <a:gd name="connsiteX151" fmla="*/ 827823 w 1573156"/>
                <a:gd name="connsiteY151" fmla="*/ 2881501 h 3653252"/>
                <a:gd name="connsiteX152" fmla="*/ 761317 w 1573156"/>
                <a:gd name="connsiteY152" fmla="*/ 2897015 h 3653252"/>
                <a:gd name="connsiteX153" fmla="*/ 700355 w 1573156"/>
                <a:gd name="connsiteY153" fmla="*/ 2891844 h 3653252"/>
                <a:gd name="connsiteX154" fmla="*/ 658790 w 1573156"/>
                <a:gd name="connsiteY154" fmla="*/ 2827201 h 3653252"/>
                <a:gd name="connsiteX155" fmla="*/ 656019 w 1573156"/>
                <a:gd name="connsiteY155" fmla="*/ 2785830 h 3653252"/>
                <a:gd name="connsiteX156" fmla="*/ 631080 w 1573156"/>
                <a:gd name="connsiteY156" fmla="*/ 2772902 h 3653252"/>
                <a:gd name="connsiteX157" fmla="*/ 567346 w 1573156"/>
                <a:gd name="connsiteY157" fmla="*/ 2759974 h 3653252"/>
                <a:gd name="connsiteX158" fmla="*/ 586743 w 1573156"/>
                <a:gd name="connsiteY158" fmla="*/ 2721188 h 3653252"/>
                <a:gd name="connsiteX159" fmla="*/ 557777 w 1573156"/>
                <a:gd name="connsiteY159" fmla="*/ 2715007 h 3653252"/>
                <a:gd name="connsiteX160" fmla="*/ 531809 w 1573156"/>
                <a:gd name="connsiteY160" fmla="*/ 2672771 h 3653252"/>
                <a:gd name="connsiteX161" fmla="*/ 414939 w 1573156"/>
                <a:gd name="connsiteY161" fmla="*/ 2682402 h 3653252"/>
                <a:gd name="connsiteX162" fmla="*/ 390000 w 1573156"/>
                <a:gd name="connsiteY162" fmla="*/ 2672059 h 3653252"/>
                <a:gd name="connsiteX163" fmla="*/ 367832 w 1573156"/>
                <a:gd name="connsiteY163" fmla="*/ 2684989 h 3653252"/>
                <a:gd name="connsiteX164" fmla="*/ 351205 w 1573156"/>
                <a:gd name="connsiteY164" fmla="*/ 2622932 h 3653252"/>
                <a:gd name="connsiteX165" fmla="*/ 340121 w 1573156"/>
                <a:gd name="connsiteY165" fmla="*/ 2597075 h 3653252"/>
                <a:gd name="connsiteX166" fmla="*/ 353976 w 1573156"/>
                <a:gd name="connsiteY166" fmla="*/ 2578974 h 3653252"/>
                <a:gd name="connsiteX167" fmla="*/ 381687 w 1573156"/>
                <a:gd name="connsiteY167" fmla="*/ 2581561 h 3653252"/>
                <a:gd name="connsiteX168" fmla="*/ 414939 w 1573156"/>
                <a:gd name="connsiteY168" fmla="*/ 2563461 h 3653252"/>
                <a:gd name="connsiteX169" fmla="*/ 412168 w 1573156"/>
                <a:gd name="connsiteY169" fmla="*/ 2537603 h 3653252"/>
                <a:gd name="connsiteX170" fmla="*/ 362289 w 1573156"/>
                <a:gd name="connsiteY170" fmla="*/ 2501404 h 3653252"/>
                <a:gd name="connsiteX171" fmla="*/ 338946 w 1573156"/>
                <a:gd name="connsiteY171" fmla="*/ 2513491 h 3653252"/>
                <a:gd name="connsiteX172" fmla="*/ 340121 w 1573156"/>
                <a:gd name="connsiteY172" fmla="*/ 2467790 h 3653252"/>
                <a:gd name="connsiteX173" fmla="*/ 306869 w 1573156"/>
                <a:gd name="connsiteY173" fmla="*/ 2429005 h 3653252"/>
                <a:gd name="connsiteX174" fmla="*/ 309641 w 1573156"/>
                <a:gd name="connsiteY174" fmla="*/ 2351433 h 3653252"/>
                <a:gd name="connsiteX175" fmla="*/ 290243 w 1573156"/>
                <a:gd name="connsiteY175" fmla="*/ 2299720 h 3653252"/>
                <a:gd name="connsiteX176" fmla="*/ 256991 w 1573156"/>
                <a:gd name="connsiteY176" fmla="*/ 2266106 h 3653252"/>
                <a:gd name="connsiteX177" fmla="*/ 218196 w 1573156"/>
                <a:gd name="connsiteY177" fmla="*/ 2242835 h 3653252"/>
                <a:gd name="connsiteX178" fmla="*/ 176631 w 1573156"/>
                <a:gd name="connsiteY178" fmla="*/ 2250592 h 3653252"/>
                <a:gd name="connsiteX179" fmla="*/ 122255 w 1573156"/>
                <a:gd name="connsiteY179" fmla="*/ 2214066 h 3653252"/>
                <a:gd name="connsiteX0" fmla="*/ 122255 w 1573156"/>
                <a:gd name="connsiteY0" fmla="*/ 2214066 h 3663560"/>
                <a:gd name="connsiteX1" fmla="*/ 63018 w 1573156"/>
                <a:gd name="connsiteY1" fmla="*/ 2216977 h 3663560"/>
                <a:gd name="connsiteX2" fmla="*/ 60248 w 1573156"/>
                <a:gd name="connsiteY2" fmla="*/ 2118721 h 3663560"/>
                <a:gd name="connsiteX3" fmla="*/ 71333 w 1573156"/>
                <a:gd name="connsiteY3" fmla="*/ 2077350 h 3663560"/>
                <a:gd name="connsiteX4" fmla="*/ 74102 w 1573156"/>
                <a:gd name="connsiteY4" fmla="*/ 2030807 h 3663560"/>
                <a:gd name="connsiteX5" fmla="*/ 76875 w 1573156"/>
                <a:gd name="connsiteY5" fmla="*/ 2020467 h 3663560"/>
                <a:gd name="connsiteX6" fmla="*/ 118439 w 1573156"/>
                <a:gd name="connsiteY6" fmla="*/ 1992023 h 3663560"/>
                <a:gd name="connsiteX7" fmla="*/ 82416 w 1573156"/>
                <a:gd name="connsiteY7" fmla="*/ 1963580 h 3663560"/>
                <a:gd name="connsiteX8" fmla="*/ 51935 w 1573156"/>
                <a:gd name="connsiteY8" fmla="*/ 1927380 h 3663560"/>
                <a:gd name="connsiteX9" fmla="*/ 40850 w 1573156"/>
                <a:gd name="connsiteY9" fmla="*/ 1893766 h 3663560"/>
                <a:gd name="connsiteX10" fmla="*/ 43621 w 1573156"/>
                <a:gd name="connsiteY10" fmla="*/ 1844639 h 3663560"/>
                <a:gd name="connsiteX11" fmla="*/ 82416 w 1573156"/>
                <a:gd name="connsiteY11" fmla="*/ 1826538 h 3663560"/>
                <a:gd name="connsiteX12" fmla="*/ 112899 w 1573156"/>
                <a:gd name="connsiteY12" fmla="*/ 1782581 h 3663560"/>
                <a:gd name="connsiteX13" fmla="*/ 96271 w 1573156"/>
                <a:gd name="connsiteY13" fmla="*/ 1754138 h 3663560"/>
                <a:gd name="connsiteX14" fmla="*/ 40851 w 1573156"/>
                <a:gd name="connsiteY14" fmla="*/ 1746381 h 3663560"/>
                <a:gd name="connsiteX15" fmla="*/ 2057 w 1573156"/>
                <a:gd name="connsiteY15" fmla="*/ 1730867 h 3663560"/>
                <a:gd name="connsiteX16" fmla="*/ 38079 w 1573156"/>
                <a:gd name="connsiteY16" fmla="*/ 1689496 h 3663560"/>
                <a:gd name="connsiteX17" fmla="*/ 18683 w 1573156"/>
                <a:gd name="connsiteY17" fmla="*/ 1679153 h 3663560"/>
                <a:gd name="connsiteX18" fmla="*/ 2055 w 1573156"/>
                <a:gd name="connsiteY18" fmla="*/ 1640367 h 3663560"/>
                <a:gd name="connsiteX19" fmla="*/ 65790 w 1573156"/>
                <a:gd name="connsiteY19" fmla="*/ 1650711 h 3663560"/>
                <a:gd name="connsiteX20" fmla="*/ 93501 w 1573156"/>
                <a:gd name="connsiteY20" fmla="*/ 1627440 h 3663560"/>
                <a:gd name="connsiteX21" fmla="*/ 187716 w 1573156"/>
                <a:gd name="connsiteY21" fmla="*/ 1536941 h 3663560"/>
                <a:gd name="connsiteX22" fmla="*/ 212655 w 1573156"/>
                <a:gd name="connsiteY22" fmla="*/ 1505912 h 3663560"/>
                <a:gd name="connsiteX23" fmla="*/ 198801 w 1573156"/>
                <a:gd name="connsiteY23" fmla="*/ 1555040 h 3663560"/>
                <a:gd name="connsiteX24" fmla="*/ 218197 w 1573156"/>
                <a:gd name="connsiteY24" fmla="*/ 1588655 h 3663560"/>
                <a:gd name="connsiteX25" fmla="*/ 262534 w 1573156"/>
                <a:gd name="connsiteY25" fmla="*/ 1666225 h 3663560"/>
                <a:gd name="connsiteX26" fmla="*/ 331810 w 1573156"/>
                <a:gd name="connsiteY26" fmla="*/ 1653297 h 3663560"/>
                <a:gd name="connsiteX27" fmla="*/ 351206 w 1573156"/>
                <a:gd name="connsiteY27" fmla="*/ 1622268 h 3663560"/>
                <a:gd name="connsiteX28" fmla="*/ 365062 w 1573156"/>
                <a:gd name="connsiteY28" fmla="*/ 1557627 h 3663560"/>
                <a:gd name="connsiteX29" fmla="*/ 304099 w 1573156"/>
                <a:gd name="connsiteY29" fmla="*/ 1511084 h 3663560"/>
                <a:gd name="connsiteX30" fmla="*/ 259763 w 1573156"/>
                <a:gd name="connsiteY30" fmla="*/ 1485227 h 3663560"/>
                <a:gd name="connsiteX31" fmla="*/ 198801 w 1573156"/>
                <a:gd name="connsiteY31" fmla="*/ 1495570 h 3663560"/>
                <a:gd name="connsiteX32" fmla="*/ 376147 w 1573156"/>
                <a:gd name="connsiteY32" fmla="*/ 1299057 h 3663560"/>
                <a:gd name="connsiteX33" fmla="*/ 223740 w 1573156"/>
                <a:gd name="connsiteY33" fmla="*/ 1151672 h 3663560"/>
                <a:gd name="connsiteX34" fmla="*/ 284703 w 1573156"/>
                <a:gd name="connsiteY34" fmla="*/ 1089617 h 3663560"/>
                <a:gd name="connsiteX35" fmla="*/ 218198 w 1573156"/>
                <a:gd name="connsiteY35" fmla="*/ 1050829 h 3663560"/>
                <a:gd name="connsiteX36" fmla="*/ 259763 w 1573156"/>
                <a:gd name="connsiteY36" fmla="*/ 1019802 h 3663560"/>
                <a:gd name="connsiteX37" fmla="*/ 212657 w 1573156"/>
                <a:gd name="connsiteY37" fmla="*/ 993947 h 3663560"/>
                <a:gd name="connsiteX38" fmla="*/ 212656 w 1573156"/>
                <a:gd name="connsiteY38" fmla="*/ 794845 h 3663560"/>
                <a:gd name="connsiteX39" fmla="*/ 251451 w 1573156"/>
                <a:gd name="connsiteY39" fmla="*/ 779332 h 3663560"/>
                <a:gd name="connsiteX40" fmla="*/ 137838 w 1573156"/>
                <a:gd name="connsiteY40" fmla="*/ 551792 h 3663560"/>
                <a:gd name="connsiteX41" fmla="*/ 135067 w 1573156"/>
                <a:gd name="connsiteY41" fmla="*/ 551792 h 3663560"/>
                <a:gd name="connsiteX42" fmla="*/ 184945 w 1573156"/>
                <a:gd name="connsiteY42" fmla="*/ 469048 h 3663560"/>
                <a:gd name="connsiteX43" fmla="*/ 201571 w 1573156"/>
                <a:gd name="connsiteY43" fmla="*/ 378550 h 3663560"/>
                <a:gd name="connsiteX44" fmla="*/ 126752 w 1573156"/>
                <a:gd name="connsiteY44" fmla="*/ 319079 h 3663560"/>
                <a:gd name="connsiteX45" fmla="*/ 118440 w 1573156"/>
                <a:gd name="connsiteY45" fmla="*/ 251851 h 3663560"/>
                <a:gd name="connsiteX46" fmla="*/ 173860 w 1573156"/>
                <a:gd name="connsiteY46" fmla="*/ 158764 h 3663560"/>
                <a:gd name="connsiteX47" fmla="*/ 193258 w 1573156"/>
                <a:gd name="connsiteY47" fmla="*/ 135494 h 3663560"/>
                <a:gd name="connsiteX48" fmla="*/ 207113 w 1573156"/>
                <a:gd name="connsiteY48" fmla="*/ 117394 h 3663560"/>
                <a:gd name="connsiteX49" fmla="*/ 215426 w 1573156"/>
                <a:gd name="connsiteY49" fmla="*/ 73438 h 3663560"/>
                <a:gd name="connsiteX50" fmla="*/ 240365 w 1573156"/>
                <a:gd name="connsiteY50" fmla="*/ 101880 h 3663560"/>
                <a:gd name="connsiteX51" fmla="*/ 270847 w 1573156"/>
                <a:gd name="connsiteY51" fmla="*/ 88952 h 3663560"/>
                <a:gd name="connsiteX52" fmla="*/ 273617 w 1573156"/>
                <a:gd name="connsiteY52" fmla="*/ 63095 h 3663560"/>
                <a:gd name="connsiteX53" fmla="*/ 281931 w 1573156"/>
                <a:gd name="connsiteY53" fmla="*/ 34652 h 3663560"/>
                <a:gd name="connsiteX54" fmla="*/ 284703 w 1573156"/>
                <a:gd name="connsiteY54" fmla="*/ 3624 h 3663560"/>
                <a:gd name="connsiteX55" fmla="*/ 420483 w 1573156"/>
                <a:gd name="connsiteY55" fmla="*/ 57924 h 3663560"/>
                <a:gd name="connsiteX56" fmla="*/ 450963 w 1573156"/>
                <a:gd name="connsiteY56" fmla="*/ 161352 h 3663560"/>
                <a:gd name="connsiteX57" fmla="*/ 464819 w 1573156"/>
                <a:gd name="connsiteY57" fmla="*/ 184622 h 3663560"/>
                <a:gd name="connsiteX58" fmla="*/ 475903 w 1573156"/>
                <a:gd name="connsiteY58" fmla="*/ 187208 h 3663560"/>
                <a:gd name="connsiteX59" fmla="*/ 589515 w 1573156"/>
                <a:gd name="connsiteY59" fmla="*/ 156181 h 3663560"/>
                <a:gd name="connsiteX60" fmla="*/ 656020 w 1573156"/>
                <a:gd name="connsiteY60" fmla="*/ 166522 h 3663560"/>
                <a:gd name="connsiteX61" fmla="*/ 719754 w 1573156"/>
                <a:gd name="connsiteY61" fmla="*/ 213065 h 3663560"/>
                <a:gd name="connsiteX62" fmla="*/ 733781 w 1573156"/>
                <a:gd name="connsiteY62" fmla="*/ 242621 h 3663560"/>
                <a:gd name="connsiteX63" fmla="*/ 789028 w 1573156"/>
                <a:gd name="connsiteY63" fmla="*/ 277708 h 3663560"/>
                <a:gd name="connsiteX64" fmla="*/ 877702 w 1573156"/>
                <a:gd name="connsiteY64" fmla="*/ 303563 h 3663560"/>
                <a:gd name="connsiteX65" fmla="*/ 949748 w 1573156"/>
                <a:gd name="connsiteY65" fmla="*/ 350106 h 3663560"/>
                <a:gd name="connsiteX66" fmla="*/ 999627 w 1573156"/>
                <a:gd name="connsiteY66" fmla="*/ 401820 h 3663560"/>
                <a:gd name="connsiteX67" fmla="*/ 1024566 w 1573156"/>
                <a:gd name="connsiteY67" fmla="*/ 440606 h 3663560"/>
                <a:gd name="connsiteX68" fmla="*/ 1057819 w 1573156"/>
                <a:gd name="connsiteY68" fmla="*/ 466462 h 3663560"/>
                <a:gd name="connsiteX69" fmla="*/ 1041191 w 1573156"/>
                <a:gd name="connsiteY69" fmla="*/ 691417 h 3663560"/>
                <a:gd name="connsiteX70" fmla="*/ 913725 w 1573156"/>
                <a:gd name="connsiteY70" fmla="*/ 771575 h 3663560"/>
                <a:gd name="connsiteX71" fmla="*/ 800113 w 1573156"/>
                <a:gd name="connsiteY71" fmla="*/ 779331 h 3663560"/>
                <a:gd name="connsiteX72" fmla="*/ 661560 w 1573156"/>
                <a:gd name="connsiteY72" fmla="*/ 758645 h 3663560"/>
                <a:gd name="connsiteX73" fmla="*/ 570116 w 1573156"/>
                <a:gd name="connsiteY73" fmla="*/ 722445 h 3663560"/>
                <a:gd name="connsiteX74" fmla="*/ 550719 w 1573156"/>
                <a:gd name="connsiteY74" fmla="*/ 750888 h 3663560"/>
                <a:gd name="connsiteX75" fmla="*/ 581361 w 1573156"/>
                <a:gd name="connsiteY75" fmla="*/ 824301 h 3663560"/>
                <a:gd name="connsiteX76" fmla="*/ 586902 w 1573156"/>
                <a:gd name="connsiteY76" fmla="*/ 951000 h 3663560"/>
                <a:gd name="connsiteX77" fmla="*/ 559032 w 1573156"/>
                <a:gd name="connsiteY77" fmla="*/ 1012043 h 3663560"/>
                <a:gd name="connsiteX78" fmla="*/ 614451 w 1573156"/>
                <a:gd name="connsiteY78" fmla="*/ 1032728 h 3663560"/>
                <a:gd name="connsiteX79" fmla="*/ 631079 w 1573156"/>
                <a:gd name="connsiteY79" fmla="*/ 1048242 h 3663560"/>
                <a:gd name="connsiteX80" fmla="*/ 656019 w 1573156"/>
                <a:gd name="connsiteY80" fmla="*/ 1074099 h 3663560"/>
                <a:gd name="connsiteX81" fmla="*/ 653248 w 1573156"/>
                <a:gd name="connsiteY81" fmla="*/ 1076685 h 3663560"/>
                <a:gd name="connsiteX82" fmla="*/ 692041 w 1573156"/>
                <a:gd name="connsiteY82" fmla="*/ 1071514 h 3663560"/>
                <a:gd name="connsiteX83" fmla="*/ 700355 w 1573156"/>
                <a:gd name="connsiteY83" fmla="*/ 1035314 h 3663560"/>
                <a:gd name="connsiteX84" fmla="*/ 661560 w 1573156"/>
                <a:gd name="connsiteY84" fmla="*/ 957743 h 3663560"/>
                <a:gd name="connsiteX85" fmla="*/ 730836 w 1573156"/>
                <a:gd name="connsiteY85" fmla="*/ 911200 h 3663560"/>
                <a:gd name="connsiteX86" fmla="*/ 798608 w 1573156"/>
                <a:gd name="connsiteY86" fmla="*/ 918934 h 3663560"/>
                <a:gd name="connsiteX87" fmla="*/ 822441 w 1573156"/>
                <a:gd name="connsiteY87" fmla="*/ 951001 h 3663560"/>
                <a:gd name="connsiteX88" fmla="*/ 978170 w 1573156"/>
                <a:gd name="connsiteY88" fmla="*/ 1007364 h 3663560"/>
                <a:gd name="connsiteX89" fmla="*/ 963762 w 1573156"/>
                <a:gd name="connsiteY89" fmla="*/ 971687 h 3663560"/>
                <a:gd name="connsiteX90" fmla="*/ 930510 w 1573156"/>
                <a:gd name="connsiteY90" fmla="*/ 932901 h 3663560"/>
                <a:gd name="connsiteX91" fmla="*/ 919426 w 1573156"/>
                <a:gd name="connsiteY91" fmla="*/ 881187 h 3663560"/>
                <a:gd name="connsiteX92" fmla="*/ 958221 w 1573156"/>
                <a:gd name="connsiteY92" fmla="*/ 832060 h 3663560"/>
                <a:gd name="connsiteX93" fmla="*/ 985931 w 1573156"/>
                <a:gd name="connsiteY93" fmla="*/ 803617 h 3663560"/>
                <a:gd name="connsiteX94" fmla="*/ 1010871 w 1573156"/>
                <a:gd name="connsiteY94" fmla="*/ 767417 h 3663560"/>
                <a:gd name="connsiteX95" fmla="*/ 1091231 w 1573156"/>
                <a:gd name="connsiteY95" fmla="*/ 762245 h 3663560"/>
                <a:gd name="connsiteX96" fmla="*/ 1096772 w 1573156"/>
                <a:gd name="connsiteY96" fmla="*/ 741560 h 3663560"/>
                <a:gd name="connsiteX97" fmla="*/ 1121712 w 1573156"/>
                <a:gd name="connsiteY97" fmla="*/ 705360 h 3663560"/>
                <a:gd name="connsiteX98" fmla="*/ 1155516 w 1573156"/>
                <a:gd name="connsiteY98" fmla="*/ 687772 h 3663560"/>
                <a:gd name="connsiteX99" fmla="*/ 1213156 w 1573156"/>
                <a:gd name="connsiteY99" fmla="*/ 700189 h 3663560"/>
                <a:gd name="connsiteX100" fmla="*/ 1251949 w 1573156"/>
                <a:gd name="connsiteY100" fmla="*/ 720875 h 3663560"/>
                <a:gd name="connsiteX101" fmla="*/ 1299057 w 1573156"/>
                <a:gd name="connsiteY101" fmla="*/ 728632 h 3663560"/>
                <a:gd name="connsiteX102" fmla="*/ 1299057 w 1573156"/>
                <a:gd name="connsiteY102" fmla="*/ 733803 h 3663560"/>
                <a:gd name="connsiteX103" fmla="*/ 1321226 w 1573156"/>
                <a:gd name="connsiteY103" fmla="*/ 674332 h 3663560"/>
                <a:gd name="connsiteX104" fmla="*/ 1331201 w 1573156"/>
                <a:gd name="connsiteY104" fmla="*/ 640714 h 3663560"/>
                <a:gd name="connsiteX105" fmla="*/ 1337852 w 1573156"/>
                <a:gd name="connsiteY105" fmla="*/ 622618 h 3663560"/>
                <a:gd name="connsiteX106" fmla="*/ 1340789 w 1573156"/>
                <a:gd name="connsiteY106" fmla="*/ 591288 h 3663560"/>
                <a:gd name="connsiteX107" fmla="*/ 1260263 w 1573156"/>
                <a:gd name="connsiteY107" fmla="*/ 545048 h 3663560"/>
                <a:gd name="connsiteX108" fmla="*/ 1246408 w 1573156"/>
                <a:gd name="connsiteY108" fmla="*/ 472648 h 3663560"/>
                <a:gd name="connsiteX109" fmla="*/ 1246408 w 1573156"/>
                <a:gd name="connsiteY109" fmla="*/ 454548 h 3663560"/>
                <a:gd name="connsiteX110" fmla="*/ 1257491 w 1573156"/>
                <a:gd name="connsiteY110" fmla="*/ 431276 h 3663560"/>
                <a:gd name="connsiteX111" fmla="*/ 1260263 w 1573156"/>
                <a:gd name="connsiteY111" fmla="*/ 415762 h 3663560"/>
                <a:gd name="connsiteX112" fmla="*/ 1260262 w 1573156"/>
                <a:gd name="connsiteY112" fmla="*/ 358878 h 3663560"/>
                <a:gd name="connsiteX113" fmla="*/ 1238094 w 1573156"/>
                <a:gd name="connsiteY113" fmla="*/ 335607 h 3663560"/>
                <a:gd name="connsiteX114" fmla="*/ 1210384 w 1573156"/>
                <a:gd name="connsiteY114" fmla="*/ 304578 h 3663560"/>
                <a:gd name="connsiteX115" fmla="*/ 1206216 w 1573156"/>
                <a:gd name="connsiteY115" fmla="*/ 280325 h 3663560"/>
                <a:gd name="connsiteX116" fmla="*/ 1257492 w 1573156"/>
                <a:gd name="connsiteY116" fmla="*/ 258034 h 3663560"/>
                <a:gd name="connsiteX117" fmla="*/ 1311072 w 1573156"/>
                <a:gd name="connsiteY117" fmla="*/ 267906 h 3663560"/>
                <a:gd name="connsiteX118" fmla="*/ 1389856 w 1573156"/>
                <a:gd name="connsiteY118" fmla="*/ 279816 h 3663560"/>
                <a:gd name="connsiteX119" fmla="*/ 1474179 w 1573156"/>
                <a:gd name="connsiteY119" fmla="*/ 349175 h 3663560"/>
                <a:gd name="connsiteX120" fmla="*/ 1536314 w 1573156"/>
                <a:gd name="connsiteY120" fmla="*/ 425271 h 3663560"/>
                <a:gd name="connsiteX121" fmla="*/ 1435343 w 1573156"/>
                <a:gd name="connsiteY121" fmla="*/ 454265 h 3663560"/>
                <a:gd name="connsiteX122" fmla="*/ 1419809 w 1573156"/>
                <a:gd name="connsiteY122" fmla="*/ 501372 h 3663560"/>
                <a:gd name="connsiteX123" fmla="*/ 1477479 w 1573156"/>
                <a:gd name="connsiteY123" fmla="*/ 585862 h 3663560"/>
                <a:gd name="connsiteX124" fmla="*/ 1513013 w 1573156"/>
                <a:gd name="connsiteY124" fmla="*/ 591964 h 3663560"/>
                <a:gd name="connsiteX125" fmla="*/ 1565633 w 1573156"/>
                <a:gd name="connsiteY125" fmla="*/ 598304 h 3663560"/>
                <a:gd name="connsiteX126" fmla="*/ 1560670 w 1573156"/>
                <a:gd name="connsiteY126" fmla="*/ 709079 h 3663560"/>
                <a:gd name="connsiteX127" fmla="*/ 1571739 w 1573156"/>
                <a:gd name="connsiteY127" fmla="*/ 1040047 h 3663560"/>
                <a:gd name="connsiteX128" fmla="*/ 1562871 w 1573156"/>
                <a:gd name="connsiteY128" fmla="*/ 1842646 h 3663560"/>
                <a:gd name="connsiteX129" fmla="*/ 1571738 w 1573156"/>
                <a:gd name="connsiteY129" fmla="*/ 2297728 h 3663560"/>
                <a:gd name="connsiteX130" fmla="*/ 1545290 w 1573156"/>
                <a:gd name="connsiteY130" fmla="*/ 3607693 h 3663560"/>
                <a:gd name="connsiteX131" fmla="*/ 1286863 w 1573156"/>
                <a:gd name="connsiteY131" fmla="*/ 3564098 h 3663560"/>
                <a:gd name="connsiteX132" fmla="*/ 1013482 w 1573156"/>
                <a:gd name="connsiteY132" fmla="*/ 3592567 h 3663560"/>
                <a:gd name="connsiteX133" fmla="*/ 1123928 w 1573156"/>
                <a:gd name="connsiteY133" fmla="*/ 3663387 h 3663560"/>
                <a:gd name="connsiteX134" fmla="*/ 907787 w 1573156"/>
                <a:gd name="connsiteY134" fmla="*/ 3629257 h 3663560"/>
                <a:gd name="connsiteX135" fmla="*/ 776238 w 1573156"/>
                <a:gd name="connsiteY135" fmla="*/ 3504783 h 3663560"/>
                <a:gd name="connsiteX136" fmla="*/ 708669 w 1573156"/>
                <a:gd name="connsiteY136" fmla="*/ 3437426 h 3663560"/>
                <a:gd name="connsiteX137" fmla="*/ 739150 w 1573156"/>
                <a:gd name="connsiteY137" fmla="*/ 3437426 h 3663560"/>
                <a:gd name="connsiteX138" fmla="*/ 750233 w 1573156"/>
                <a:gd name="connsiteY138" fmla="*/ 3408982 h 3663560"/>
                <a:gd name="connsiteX139" fmla="*/ 783486 w 1573156"/>
                <a:gd name="connsiteY139" fmla="*/ 3354683 h 3663560"/>
                <a:gd name="connsiteX140" fmla="*/ 747462 w 1573156"/>
                <a:gd name="connsiteY140" fmla="*/ 3297798 h 3663560"/>
                <a:gd name="connsiteX141" fmla="*/ 836135 w 1573156"/>
                <a:gd name="connsiteY141" fmla="*/ 3225398 h 3663560"/>
                <a:gd name="connsiteX142" fmla="*/ 902641 w 1573156"/>
                <a:gd name="connsiteY142" fmla="*/ 3217642 h 3663560"/>
                <a:gd name="connsiteX143" fmla="*/ 955289 w 1573156"/>
                <a:gd name="connsiteY143" fmla="*/ 3160756 h 3663560"/>
                <a:gd name="connsiteX144" fmla="*/ 1024565 w 1573156"/>
                <a:gd name="connsiteY144" fmla="*/ 3114213 h 3663560"/>
                <a:gd name="connsiteX145" fmla="*/ 1019023 w 1573156"/>
                <a:gd name="connsiteY145" fmla="*/ 3067671 h 3663560"/>
                <a:gd name="connsiteX146" fmla="*/ 1043963 w 1573156"/>
                <a:gd name="connsiteY146" fmla="*/ 3028886 h 3663560"/>
                <a:gd name="connsiteX147" fmla="*/ 1016252 w 1573156"/>
                <a:gd name="connsiteY147" fmla="*/ 3026300 h 3663560"/>
                <a:gd name="connsiteX148" fmla="*/ 1031704 w 1573156"/>
                <a:gd name="connsiteY148" fmla="*/ 2992878 h 3663560"/>
                <a:gd name="connsiteX149" fmla="*/ 914211 w 1573156"/>
                <a:gd name="connsiteY149" fmla="*/ 2928233 h 3663560"/>
                <a:gd name="connsiteX150" fmla="*/ 858304 w 1573156"/>
                <a:gd name="connsiteY150" fmla="*/ 2909943 h 3663560"/>
                <a:gd name="connsiteX151" fmla="*/ 827823 w 1573156"/>
                <a:gd name="connsiteY151" fmla="*/ 2881501 h 3663560"/>
                <a:gd name="connsiteX152" fmla="*/ 761317 w 1573156"/>
                <a:gd name="connsiteY152" fmla="*/ 2897015 h 3663560"/>
                <a:gd name="connsiteX153" fmla="*/ 700355 w 1573156"/>
                <a:gd name="connsiteY153" fmla="*/ 2891844 h 3663560"/>
                <a:gd name="connsiteX154" fmla="*/ 658790 w 1573156"/>
                <a:gd name="connsiteY154" fmla="*/ 2827201 h 3663560"/>
                <a:gd name="connsiteX155" fmla="*/ 656019 w 1573156"/>
                <a:gd name="connsiteY155" fmla="*/ 2785830 h 3663560"/>
                <a:gd name="connsiteX156" fmla="*/ 631080 w 1573156"/>
                <a:gd name="connsiteY156" fmla="*/ 2772902 h 3663560"/>
                <a:gd name="connsiteX157" fmla="*/ 567346 w 1573156"/>
                <a:gd name="connsiteY157" fmla="*/ 2759974 h 3663560"/>
                <a:gd name="connsiteX158" fmla="*/ 586743 w 1573156"/>
                <a:gd name="connsiteY158" fmla="*/ 2721188 h 3663560"/>
                <a:gd name="connsiteX159" fmla="*/ 557777 w 1573156"/>
                <a:gd name="connsiteY159" fmla="*/ 2715007 h 3663560"/>
                <a:gd name="connsiteX160" fmla="*/ 531809 w 1573156"/>
                <a:gd name="connsiteY160" fmla="*/ 2672771 h 3663560"/>
                <a:gd name="connsiteX161" fmla="*/ 414939 w 1573156"/>
                <a:gd name="connsiteY161" fmla="*/ 2682402 h 3663560"/>
                <a:gd name="connsiteX162" fmla="*/ 390000 w 1573156"/>
                <a:gd name="connsiteY162" fmla="*/ 2672059 h 3663560"/>
                <a:gd name="connsiteX163" fmla="*/ 367832 w 1573156"/>
                <a:gd name="connsiteY163" fmla="*/ 2684989 h 3663560"/>
                <a:gd name="connsiteX164" fmla="*/ 351205 w 1573156"/>
                <a:gd name="connsiteY164" fmla="*/ 2622932 h 3663560"/>
                <a:gd name="connsiteX165" fmla="*/ 340121 w 1573156"/>
                <a:gd name="connsiteY165" fmla="*/ 2597075 h 3663560"/>
                <a:gd name="connsiteX166" fmla="*/ 353976 w 1573156"/>
                <a:gd name="connsiteY166" fmla="*/ 2578974 h 3663560"/>
                <a:gd name="connsiteX167" fmla="*/ 381687 w 1573156"/>
                <a:gd name="connsiteY167" fmla="*/ 2581561 h 3663560"/>
                <a:gd name="connsiteX168" fmla="*/ 414939 w 1573156"/>
                <a:gd name="connsiteY168" fmla="*/ 2563461 h 3663560"/>
                <a:gd name="connsiteX169" fmla="*/ 412168 w 1573156"/>
                <a:gd name="connsiteY169" fmla="*/ 2537603 h 3663560"/>
                <a:gd name="connsiteX170" fmla="*/ 362289 w 1573156"/>
                <a:gd name="connsiteY170" fmla="*/ 2501404 h 3663560"/>
                <a:gd name="connsiteX171" fmla="*/ 338946 w 1573156"/>
                <a:gd name="connsiteY171" fmla="*/ 2513491 h 3663560"/>
                <a:gd name="connsiteX172" fmla="*/ 340121 w 1573156"/>
                <a:gd name="connsiteY172" fmla="*/ 2467790 h 3663560"/>
                <a:gd name="connsiteX173" fmla="*/ 306869 w 1573156"/>
                <a:gd name="connsiteY173" fmla="*/ 2429005 h 3663560"/>
                <a:gd name="connsiteX174" fmla="*/ 309641 w 1573156"/>
                <a:gd name="connsiteY174" fmla="*/ 2351433 h 3663560"/>
                <a:gd name="connsiteX175" fmla="*/ 290243 w 1573156"/>
                <a:gd name="connsiteY175" fmla="*/ 2299720 h 3663560"/>
                <a:gd name="connsiteX176" fmla="*/ 256991 w 1573156"/>
                <a:gd name="connsiteY176" fmla="*/ 2266106 h 3663560"/>
                <a:gd name="connsiteX177" fmla="*/ 218196 w 1573156"/>
                <a:gd name="connsiteY177" fmla="*/ 2242835 h 3663560"/>
                <a:gd name="connsiteX178" fmla="*/ 176631 w 1573156"/>
                <a:gd name="connsiteY178" fmla="*/ 2250592 h 3663560"/>
                <a:gd name="connsiteX179" fmla="*/ 122255 w 1573156"/>
                <a:gd name="connsiteY179" fmla="*/ 2214066 h 3663560"/>
                <a:gd name="connsiteX0" fmla="*/ 122255 w 1573156"/>
                <a:gd name="connsiteY0" fmla="*/ 2214066 h 3663560"/>
                <a:gd name="connsiteX1" fmla="*/ 63018 w 1573156"/>
                <a:gd name="connsiteY1" fmla="*/ 2216977 h 3663560"/>
                <a:gd name="connsiteX2" fmla="*/ 60248 w 1573156"/>
                <a:gd name="connsiteY2" fmla="*/ 2118721 h 3663560"/>
                <a:gd name="connsiteX3" fmla="*/ 71333 w 1573156"/>
                <a:gd name="connsiteY3" fmla="*/ 2077350 h 3663560"/>
                <a:gd name="connsiteX4" fmla="*/ 74102 w 1573156"/>
                <a:gd name="connsiteY4" fmla="*/ 2030807 h 3663560"/>
                <a:gd name="connsiteX5" fmla="*/ 76875 w 1573156"/>
                <a:gd name="connsiteY5" fmla="*/ 2020467 h 3663560"/>
                <a:gd name="connsiteX6" fmla="*/ 118439 w 1573156"/>
                <a:gd name="connsiteY6" fmla="*/ 1992023 h 3663560"/>
                <a:gd name="connsiteX7" fmla="*/ 82416 w 1573156"/>
                <a:gd name="connsiteY7" fmla="*/ 1963580 h 3663560"/>
                <a:gd name="connsiteX8" fmla="*/ 51935 w 1573156"/>
                <a:gd name="connsiteY8" fmla="*/ 1927380 h 3663560"/>
                <a:gd name="connsiteX9" fmla="*/ 40850 w 1573156"/>
                <a:gd name="connsiteY9" fmla="*/ 1893766 h 3663560"/>
                <a:gd name="connsiteX10" fmla="*/ 43621 w 1573156"/>
                <a:gd name="connsiteY10" fmla="*/ 1844639 h 3663560"/>
                <a:gd name="connsiteX11" fmla="*/ 82416 w 1573156"/>
                <a:gd name="connsiteY11" fmla="*/ 1826538 h 3663560"/>
                <a:gd name="connsiteX12" fmla="*/ 112899 w 1573156"/>
                <a:gd name="connsiteY12" fmla="*/ 1782581 h 3663560"/>
                <a:gd name="connsiteX13" fmla="*/ 96271 w 1573156"/>
                <a:gd name="connsiteY13" fmla="*/ 1754138 h 3663560"/>
                <a:gd name="connsiteX14" fmla="*/ 40851 w 1573156"/>
                <a:gd name="connsiteY14" fmla="*/ 1746381 h 3663560"/>
                <a:gd name="connsiteX15" fmla="*/ 2057 w 1573156"/>
                <a:gd name="connsiteY15" fmla="*/ 1730867 h 3663560"/>
                <a:gd name="connsiteX16" fmla="*/ 38079 w 1573156"/>
                <a:gd name="connsiteY16" fmla="*/ 1689496 h 3663560"/>
                <a:gd name="connsiteX17" fmla="*/ 18683 w 1573156"/>
                <a:gd name="connsiteY17" fmla="*/ 1679153 h 3663560"/>
                <a:gd name="connsiteX18" fmla="*/ 2055 w 1573156"/>
                <a:gd name="connsiteY18" fmla="*/ 1640367 h 3663560"/>
                <a:gd name="connsiteX19" fmla="*/ 65790 w 1573156"/>
                <a:gd name="connsiteY19" fmla="*/ 1650711 h 3663560"/>
                <a:gd name="connsiteX20" fmla="*/ 93501 w 1573156"/>
                <a:gd name="connsiteY20" fmla="*/ 1627440 h 3663560"/>
                <a:gd name="connsiteX21" fmla="*/ 187716 w 1573156"/>
                <a:gd name="connsiteY21" fmla="*/ 1536941 h 3663560"/>
                <a:gd name="connsiteX22" fmla="*/ 212655 w 1573156"/>
                <a:gd name="connsiteY22" fmla="*/ 1505912 h 3663560"/>
                <a:gd name="connsiteX23" fmla="*/ 198801 w 1573156"/>
                <a:gd name="connsiteY23" fmla="*/ 1555040 h 3663560"/>
                <a:gd name="connsiteX24" fmla="*/ 218197 w 1573156"/>
                <a:gd name="connsiteY24" fmla="*/ 1588655 h 3663560"/>
                <a:gd name="connsiteX25" fmla="*/ 262534 w 1573156"/>
                <a:gd name="connsiteY25" fmla="*/ 1666225 h 3663560"/>
                <a:gd name="connsiteX26" fmla="*/ 331810 w 1573156"/>
                <a:gd name="connsiteY26" fmla="*/ 1653297 h 3663560"/>
                <a:gd name="connsiteX27" fmla="*/ 351206 w 1573156"/>
                <a:gd name="connsiteY27" fmla="*/ 1622268 h 3663560"/>
                <a:gd name="connsiteX28" fmla="*/ 365062 w 1573156"/>
                <a:gd name="connsiteY28" fmla="*/ 1557627 h 3663560"/>
                <a:gd name="connsiteX29" fmla="*/ 304099 w 1573156"/>
                <a:gd name="connsiteY29" fmla="*/ 1511084 h 3663560"/>
                <a:gd name="connsiteX30" fmla="*/ 259763 w 1573156"/>
                <a:gd name="connsiteY30" fmla="*/ 1485227 h 3663560"/>
                <a:gd name="connsiteX31" fmla="*/ 198801 w 1573156"/>
                <a:gd name="connsiteY31" fmla="*/ 1495570 h 3663560"/>
                <a:gd name="connsiteX32" fmla="*/ 376147 w 1573156"/>
                <a:gd name="connsiteY32" fmla="*/ 1299057 h 3663560"/>
                <a:gd name="connsiteX33" fmla="*/ 223740 w 1573156"/>
                <a:gd name="connsiteY33" fmla="*/ 1151672 h 3663560"/>
                <a:gd name="connsiteX34" fmla="*/ 284703 w 1573156"/>
                <a:gd name="connsiteY34" fmla="*/ 1089617 h 3663560"/>
                <a:gd name="connsiteX35" fmla="*/ 218198 w 1573156"/>
                <a:gd name="connsiteY35" fmla="*/ 1050829 h 3663560"/>
                <a:gd name="connsiteX36" fmla="*/ 259763 w 1573156"/>
                <a:gd name="connsiteY36" fmla="*/ 1019802 h 3663560"/>
                <a:gd name="connsiteX37" fmla="*/ 212657 w 1573156"/>
                <a:gd name="connsiteY37" fmla="*/ 993947 h 3663560"/>
                <a:gd name="connsiteX38" fmla="*/ 212656 w 1573156"/>
                <a:gd name="connsiteY38" fmla="*/ 794845 h 3663560"/>
                <a:gd name="connsiteX39" fmla="*/ 251451 w 1573156"/>
                <a:gd name="connsiteY39" fmla="*/ 779332 h 3663560"/>
                <a:gd name="connsiteX40" fmla="*/ 137838 w 1573156"/>
                <a:gd name="connsiteY40" fmla="*/ 551792 h 3663560"/>
                <a:gd name="connsiteX41" fmla="*/ 135067 w 1573156"/>
                <a:gd name="connsiteY41" fmla="*/ 551792 h 3663560"/>
                <a:gd name="connsiteX42" fmla="*/ 184945 w 1573156"/>
                <a:gd name="connsiteY42" fmla="*/ 469048 h 3663560"/>
                <a:gd name="connsiteX43" fmla="*/ 201571 w 1573156"/>
                <a:gd name="connsiteY43" fmla="*/ 378550 h 3663560"/>
                <a:gd name="connsiteX44" fmla="*/ 126752 w 1573156"/>
                <a:gd name="connsiteY44" fmla="*/ 319079 h 3663560"/>
                <a:gd name="connsiteX45" fmla="*/ 118440 w 1573156"/>
                <a:gd name="connsiteY45" fmla="*/ 251851 h 3663560"/>
                <a:gd name="connsiteX46" fmla="*/ 173860 w 1573156"/>
                <a:gd name="connsiteY46" fmla="*/ 158764 h 3663560"/>
                <a:gd name="connsiteX47" fmla="*/ 193258 w 1573156"/>
                <a:gd name="connsiteY47" fmla="*/ 135494 h 3663560"/>
                <a:gd name="connsiteX48" fmla="*/ 207113 w 1573156"/>
                <a:gd name="connsiteY48" fmla="*/ 117394 h 3663560"/>
                <a:gd name="connsiteX49" fmla="*/ 215426 w 1573156"/>
                <a:gd name="connsiteY49" fmla="*/ 73438 h 3663560"/>
                <a:gd name="connsiteX50" fmla="*/ 240365 w 1573156"/>
                <a:gd name="connsiteY50" fmla="*/ 101880 h 3663560"/>
                <a:gd name="connsiteX51" fmla="*/ 270847 w 1573156"/>
                <a:gd name="connsiteY51" fmla="*/ 88952 h 3663560"/>
                <a:gd name="connsiteX52" fmla="*/ 273617 w 1573156"/>
                <a:gd name="connsiteY52" fmla="*/ 63095 h 3663560"/>
                <a:gd name="connsiteX53" fmla="*/ 281931 w 1573156"/>
                <a:gd name="connsiteY53" fmla="*/ 34652 h 3663560"/>
                <a:gd name="connsiteX54" fmla="*/ 284703 w 1573156"/>
                <a:gd name="connsiteY54" fmla="*/ 3624 h 3663560"/>
                <a:gd name="connsiteX55" fmla="*/ 420483 w 1573156"/>
                <a:gd name="connsiteY55" fmla="*/ 57924 h 3663560"/>
                <a:gd name="connsiteX56" fmla="*/ 450963 w 1573156"/>
                <a:gd name="connsiteY56" fmla="*/ 161352 h 3663560"/>
                <a:gd name="connsiteX57" fmla="*/ 464819 w 1573156"/>
                <a:gd name="connsiteY57" fmla="*/ 184622 h 3663560"/>
                <a:gd name="connsiteX58" fmla="*/ 475903 w 1573156"/>
                <a:gd name="connsiteY58" fmla="*/ 187208 h 3663560"/>
                <a:gd name="connsiteX59" fmla="*/ 589515 w 1573156"/>
                <a:gd name="connsiteY59" fmla="*/ 156181 h 3663560"/>
                <a:gd name="connsiteX60" fmla="*/ 656020 w 1573156"/>
                <a:gd name="connsiteY60" fmla="*/ 166522 h 3663560"/>
                <a:gd name="connsiteX61" fmla="*/ 719754 w 1573156"/>
                <a:gd name="connsiteY61" fmla="*/ 213065 h 3663560"/>
                <a:gd name="connsiteX62" fmla="*/ 733781 w 1573156"/>
                <a:gd name="connsiteY62" fmla="*/ 242621 h 3663560"/>
                <a:gd name="connsiteX63" fmla="*/ 789028 w 1573156"/>
                <a:gd name="connsiteY63" fmla="*/ 277708 h 3663560"/>
                <a:gd name="connsiteX64" fmla="*/ 877702 w 1573156"/>
                <a:gd name="connsiteY64" fmla="*/ 303563 h 3663560"/>
                <a:gd name="connsiteX65" fmla="*/ 949748 w 1573156"/>
                <a:gd name="connsiteY65" fmla="*/ 350106 h 3663560"/>
                <a:gd name="connsiteX66" fmla="*/ 999627 w 1573156"/>
                <a:gd name="connsiteY66" fmla="*/ 401820 h 3663560"/>
                <a:gd name="connsiteX67" fmla="*/ 1024566 w 1573156"/>
                <a:gd name="connsiteY67" fmla="*/ 440606 h 3663560"/>
                <a:gd name="connsiteX68" fmla="*/ 1057819 w 1573156"/>
                <a:gd name="connsiteY68" fmla="*/ 466462 h 3663560"/>
                <a:gd name="connsiteX69" fmla="*/ 1041191 w 1573156"/>
                <a:gd name="connsiteY69" fmla="*/ 691417 h 3663560"/>
                <a:gd name="connsiteX70" fmla="*/ 913725 w 1573156"/>
                <a:gd name="connsiteY70" fmla="*/ 771575 h 3663560"/>
                <a:gd name="connsiteX71" fmla="*/ 800113 w 1573156"/>
                <a:gd name="connsiteY71" fmla="*/ 779331 h 3663560"/>
                <a:gd name="connsiteX72" fmla="*/ 661560 w 1573156"/>
                <a:gd name="connsiteY72" fmla="*/ 758645 h 3663560"/>
                <a:gd name="connsiteX73" fmla="*/ 570116 w 1573156"/>
                <a:gd name="connsiteY73" fmla="*/ 722445 h 3663560"/>
                <a:gd name="connsiteX74" fmla="*/ 550719 w 1573156"/>
                <a:gd name="connsiteY74" fmla="*/ 750888 h 3663560"/>
                <a:gd name="connsiteX75" fmla="*/ 581361 w 1573156"/>
                <a:gd name="connsiteY75" fmla="*/ 824301 h 3663560"/>
                <a:gd name="connsiteX76" fmla="*/ 586902 w 1573156"/>
                <a:gd name="connsiteY76" fmla="*/ 951000 h 3663560"/>
                <a:gd name="connsiteX77" fmla="*/ 559032 w 1573156"/>
                <a:gd name="connsiteY77" fmla="*/ 1012043 h 3663560"/>
                <a:gd name="connsiteX78" fmla="*/ 614451 w 1573156"/>
                <a:gd name="connsiteY78" fmla="*/ 1032728 h 3663560"/>
                <a:gd name="connsiteX79" fmla="*/ 631079 w 1573156"/>
                <a:gd name="connsiteY79" fmla="*/ 1048242 h 3663560"/>
                <a:gd name="connsiteX80" fmla="*/ 656019 w 1573156"/>
                <a:gd name="connsiteY80" fmla="*/ 1074099 h 3663560"/>
                <a:gd name="connsiteX81" fmla="*/ 653248 w 1573156"/>
                <a:gd name="connsiteY81" fmla="*/ 1076685 h 3663560"/>
                <a:gd name="connsiteX82" fmla="*/ 692041 w 1573156"/>
                <a:gd name="connsiteY82" fmla="*/ 1071514 h 3663560"/>
                <a:gd name="connsiteX83" fmla="*/ 700355 w 1573156"/>
                <a:gd name="connsiteY83" fmla="*/ 1035314 h 3663560"/>
                <a:gd name="connsiteX84" fmla="*/ 661560 w 1573156"/>
                <a:gd name="connsiteY84" fmla="*/ 957743 h 3663560"/>
                <a:gd name="connsiteX85" fmla="*/ 730836 w 1573156"/>
                <a:gd name="connsiteY85" fmla="*/ 911200 h 3663560"/>
                <a:gd name="connsiteX86" fmla="*/ 798608 w 1573156"/>
                <a:gd name="connsiteY86" fmla="*/ 918934 h 3663560"/>
                <a:gd name="connsiteX87" fmla="*/ 822441 w 1573156"/>
                <a:gd name="connsiteY87" fmla="*/ 951001 h 3663560"/>
                <a:gd name="connsiteX88" fmla="*/ 978170 w 1573156"/>
                <a:gd name="connsiteY88" fmla="*/ 1007364 h 3663560"/>
                <a:gd name="connsiteX89" fmla="*/ 963762 w 1573156"/>
                <a:gd name="connsiteY89" fmla="*/ 971687 h 3663560"/>
                <a:gd name="connsiteX90" fmla="*/ 930510 w 1573156"/>
                <a:gd name="connsiteY90" fmla="*/ 932901 h 3663560"/>
                <a:gd name="connsiteX91" fmla="*/ 919426 w 1573156"/>
                <a:gd name="connsiteY91" fmla="*/ 881187 h 3663560"/>
                <a:gd name="connsiteX92" fmla="*/ 958221 w 1573156"/>
                <a:gd name="connsiteY92" fmla="*/ 832060 h 3663560"/>
                <a:gd name="connsiteX93" fmla="*/ 985931 w 1573156"/>
                <a:gd name="connsiteY93" fmla="*/ 803617 h 3663560"/>
                <a:gd name="connsiteX94" fmla="*/ 1010871 w 1573156"/>
                <a:gd name="connsiteY94" fmla="*/ 767417 h 3663560"/>
                <a:gd name="connsiteX95" fmla="*/ 1091231 w 1573156"/>
                <a:gd name="connsiteY95" fmla="*/ 762245 h 3663560"/>
                <a:gd name="connsiteX96" fmla="*/ 1096772 w 1573156"/>
                <a:gd name="connsiteY96" fmla="*/ 741560 h 3663560"/>
                <a:gd name="connsiteX97" fmla="*/ 1121712 w 1573156"/>
                <a:gd name="connsiteY97" fmla="*/ 705360 h 3663560"/>
                <a:gd name="connsiteX98" fmla="*/ 1155516 w 1573156"/>
                <a:gd name="connsiteY98" fmla="*/ 687772 h 3663560"/>
                <a:gd name="connsiteX99" fmla="*/ 1213156 w 1573156"/>
                <a:gd name="connsiteY99" fmla="*/ 700189 h 3663560"/>
                <a:gd name="connsiteX100" fmla="*/ 1251949 w 1573156"/>
                <a:gd name="connsiteY100" fmla="*/ 720875 h 3663560"/>
                <a:gd name="connsiteX101" fmla="*/ 1299057 w 1573156"/>
                <a:gd name="connsiteY101" fmla="*/ 728632 h 3663560"/>
                <a:gd name="connsiteX102" fmla="*/ 1299057 w 1573156"/>
                <a:gd name="connsiteY102" fmla="*/ 733803 h 3663560"/>
                <a:gd name="connsiteX103" fmla="*/ 1321226 w 1573156"/>
                <a:gd name="connsiteY103" fmla="*/ 674332 h 3663560"/>
                <a:gd name="connsiteX104" fmla="*/ 1331201 w 1573156"/>
                <a:gd name="connsiteY104" fmla="*/ 640714 h 3663560"/>
                <a:gd name="connsiteX105" fmla="*/ 1337852 w 1573156"/>
                <a:gd name="connsiteY105" fmla="*/ 622618 h 3663560"/>
                <a:gd name="connsiteX106" fmla="*/ 1340789 w 1573156"/>
                <a:gd name="connsiteY106" fmla="*/ 591288 h 3663560"/>
                <a:gd name="connsiteX107" fmla="*/ 1260263 w 1573156"/>
                <a:gd name="connsiteY107" fmla="*/ 545048 h 3663560"/>
                <a:gd name="connsiteX108" fmla="*/ 1246408 w 1573156"/>
                <a:gd name="connsiteY108" fmla="*/ 472648 h 3663560"/>
                <a:gd name="connsiteX109" fmla="*/ 1246408 w 1573156"/>
                <a:gd name="connsiteY109" fmla="*/ 454548 h 3663560"/>
                <a:gd name="connsiteX110" fmla="*/ 1257491 w 1573156"/>
                <a:gd name="connsiteY110" fmla="*/ 431276 h 3663560"/>
                <a:gd name="connsiteX111" fmla="*/ 1260263 w 1573156"/>
                <a:gd name="connsiteY111" fmla="*/ 415762 h 3663560"/>
                <a:gd name="connsiteX112" fmla="*/ 1260262 w 1573156"/>
                <a:gd name="connsiteY112" fmla="*/ 358878 h 3663560"/>
                <a:gd name="connsiteX113" fmla="*/ 1238094 w 1573156"/>
                <a:gd name="connsiteY113" fmla="*/ 335607 h 3663560"/>
                <a:gd name="connsiteX114" fmla="*/ 1210384 w 1573156"/>
                <a:gd name="connsiteY114" fmla="*/ 304578 h 3663560"/>
                <a:gd name="connsiteX115" fmla="*/ 1206216 w 1573156"/>
                <a:gd name="connsiteY115" fmla="*/ 280325 h 3663560"/>
                <a:gd name="connsiteX116" fmla="*/ 1257492 w 1573156"/>
                <a:gd name="connsiteY116" fmla="*/ 258034 h 3663560"/>
                <a:gd name="connsiteX117" fmla="*/ 1311072 w 1573156"/>
                <a:gd name="connsiteY117" fmla="*/ 267906 h 3663560"/>
                <a:gd name="connsiteX118" fmla="*/ 1389856 w 1573156"/>
                <a:gd name="connsiteY118" fmla="*/ 279816 h 3663560"/>
                <a:gd name="connsiteX119" fmla="*/ 1474179 w 1573156"/>
                <a:gd name="connsiteY119" fmla="*/ 349175 h 3663560"/>
                <a:gd name="connsiteX120" fmla="*/ 1536314 w 1573156"/>
                <a:gd name="connsiteY120" fmla="*/ 425271 h 3663560"/>
                <a:gd name="connsiteX121" fmla="*/ 1435343 w 1573156"/>
                <a:gd name="connsiteY121" fmla="*/ 454265 h 3663560"/>
                <a:gd name="connsiteX122" fmla="*/ 1419809 w 1573156"/>
                <a:gd name="connsiteY122" fmla="*/ 501372 h 3663560"/>
                <a:gd name="connsiteX123" fmla="*/ 1477479 w 1573156"/>
                <a:gd name="connsiteY123" fmla="*/ 585862 h 3663560"/>
                <a:gd name="connsiteX124" fmla="*/ 1513013 w 1573156"/>
                <a:gd name="connsiteY124" fmla="*/ 591964 h 3663560"/>
                <a:gd name="connsiteX125" fmla="*/ 1565633 w 1573156"/>
                <a:gd name="connsiteY125" fmla="*/ 598304 h 3663560"/>
                <a:gd name="connsiteX126" fmla="*/ 1560670 w 1573156"/>
                <a:gd name="connsiteY126" fmla="*/ 709079 h 3663560"/>
                <a:gd name="connsiteX127" fmla="*/ 1571739 w 1573156"/>
                <a:gd name="connsiteY127" fmla="*/ 1040047 h 3663560"/>
                <a:gd name="connsiteX128" fmla="*/ 1562871 w 1573156"/>
                <a:gd name="connsiteY128" fmla="*/ 1842646 h 3663560"/>
                <a:gd name="connsiteX129" fmla="*/ 1571738 w 1573156"/>
                <a:gd name="connsiteY129" fmla="*/ 2297728 h 3663560"/>
                <a:gd name="connsiteX130" fmla="*/ 1545290 w 1573156"/>
                <a:gd name="connsiteY130" fmla="*/ 3607693 h 3663560"/>
                <a:gd name="connsiteX131" fmla="*/ 1209275 w 1573156"/>
                <a:gd name="connsiteY131" fmla="*/ 3595126 h 3663560"/>
                <a:gd name="connsiteX132" fmla="*/ 1013482 w 1573156"/>
                <a:gd name="connsiteY132" fmla="*/ 3592567 h 3663560"/>
                <a:gd name="connsiteX133" fmla="*/ 1123928 w 1573156"/>
                <a:gd name="connsiteY133" fmla="*/ 3663387 h 3663560"/>
                <a:gd name="connsiteX134" fmla="*/ 907787 w 1573156"/>
                <a:gd name="connsiteY134" fmla="*/ 3629257 h 3663560"/>
                <a:gd name="connsiteX135" fmla="*/ 776238 w 1573156"/>
                <a:gd name="connsiteY135" fmla="*/ 3504783 h 3663560"/>
                <a:gd name="connsiteX136" fmla="*/ 708669 w 1573156"/>
                <a:gd name="connsiteY136" fmla="*/ 3437426 h 3663560"/>
                <a:gd name="connsiteX137" fmla="*/ 739150 w 1573156"/>
                <a:gd name="connsiteY137" fmla="*/ 3437426 h 3663560"/>
                <a:gd name="connsiteX138" fmla="*/ 750233 w 1573156"/>
                <a:gd name="connsiteY138" fmla="*/ 3408982 h 3663560"/>
                <a:gd name="connsiteX139" fmla="*/ 783486 w 1573156"/>
                <a:gd name="connsiteY139" fmla="*/ 3354683 h 3663560"/>
                <a:gd name="connsiteX140" fmla="*/ 747462 w 1573156"/>
                <a:gd name="connsiteY140" fmla="*/ 3297798 h 3663560"/>
                <a:gd name="connsiteX141" fmla="*/ 836135 w 1573156"/>
                <a:gd name="connsiteY141" fmla="*/ 3225398 h 3663560"/>
                <a:gd name="connsiteX142" fmla="*/ 902641 w 1573156"/>
                <a:gd name="connsiteY142" fmla="*/ 3217642 h 3663560"/>
                <a:gd name="connsiteX143" fmla="*/ 955289 w 1573156"/>
                <a:gd name="connsiteY143" fmla="*/ 3160756 h 3663560"/>
                <a:gd name="connsiteX144" fmla="*/ 1024565 w 1573156"/>
                <a:gd name="connsiteY144" fmla="*/ 3114213 h 3663560"/>
                <a:gd name="connsiteX145" fmla="*/ 1019023 w 1573156"/>
                <a:gd name="connsiteY145" fmla="*/ 3067671 h 3663560"/>
                <a:gd name="connsiteX146" fmla="*/ 1043963 w 1573156"/>
                <a:gd name="connsiteY146" fmla="*/ 3028886 h 3663560"/>
                <a:gd name="connsiteX147" fmla="*/ 1016252 w 1573156"/>
                <a:gd name="connsiteY147" fmla="*/ 3026300 h 3663560"/>
                <a:gd name="connsiteX148" fmla="*/ 1031704 w 1573156"/>
                <a:gd name="connsiteY148" fmla="*/ 2992878 h 3663560"/>
                <a:gd name="connsiteX149" fmla="*/ 914211 w 1573156"/>
                <a:gd name="connsiteY149" fmla="*/ 2928233 h 3663560"/>
                <a:gd name="connsiteX150" fmla="*/ 858304 w 1573156"/>
                <a:gd name="connsiteY150" fmla="*/ 2909943 h 3663560"/>
                <a:gd name="connsiteX151" fmla="*/ 827823 w 1573156"/>
                <a:gd name="connsiteY151" fmla="*/ 2881501 h 3663560"/>
                <a:gd name="connsiteX152" fmla="*/ 761317 w 1573156"/>
                <a:gd name="connsiteY152" fmla="*/ 2897015 h 3663560"/>
                <a:gd name="connsiteX153" fmla="*/ 700355 w 1573156"/>
                <a:gd name="connsiteY153" fmla="*/ 2891844 h 3663560"/>
                <a:gd name="connsiteX154" fmla="*/ 658790 w 1573156"/>
                <a:gd name="connsiteY154" fmla="*/ 2827201 h 3663560"/>
                <a:gd name="connsiteX155" fmla="*/ 656019 w 1573156"/>
                <a:gd name="connsiteY155" fmla="*/ 2785830 h 3663560"/>
                <a:gd name="connsiteX156" fmla="*/ 631080 w 1573156"/>
                <a:gd name="connsiteY156" fmla="*/ 2772902 h 3663560"/>
                <a:gd name="connsiteX157" fmla="*/ 567346 w 1573156"/>
                <a:gd name="connsiteY157" fmla="*/ 2759974 h 3663560"/>
                <a:gd name="connsiteX158" fmla="*/ 586743 w 1573156"/>
                <a:gd name="connsiteY158" fmla="*/ 2721188 h 3663560"/>
                <a:gd name="connsiteX159" fmla="*/ 557777 w 1573156"/>
                <a:gd name="connsiteY159" fmla="*/ 2715007 h 3663560"/>
                <a:gd name="connsiteX160" fmla="*/ 531809 w 1573156"/>
                <a:gd name="connsiteY160" fmla="*/ 2672771 h 3663560"/>
                <a:gd name="connsiteX161" fmla="*/ 414939 w 1573156"/>
                <a:gd name="connsiteY161" fmla="*/ 2682402 h 3663560"/>
                <a:gd name="connsiteX162" fmla="*/ 390000 w 1573156"/>
                <a:gd name="connsiteY162" fmla="*/ 2672059 h 3663560"/>
                <a:gd name="connsiteX163" fmla="*/ 367832 w 1573156"/>
                <a:gd name="connsiteY163" fmla="*/ 2684989 h 3663560"/>
                <a:gd name="connsiteX164" fmla="*/ 351205 w 1573156"/>
                <a:gd name="connsiteY164" fmla="*/ 2622932 h 3663560"/>
                <a:gd name="connsiteX165" fmla="*/ 340121 w 1573156"/>
                <a:gd name="connsiteY165" fmla="*/ 2597075 h 3663560"/>
                <a:gd name="connsiteX166" fmla="*/ 353976 w 1573156"/>
                <a:gd name="connsiteY166" fmla="*/ 2578974 h 3663560"/>
                <a:gd name="connsiteX167" fmla="*/ 381687 w 1573156"/>
                <a:gd name="connsiteY167" fmla="*/ 2581561 h 3663560"/>
                <a:gd name="connsiteX168" fmla="*/ 414939 w 1573156"/>
                <a:gd name="connsiteY168" fmla="*/ 2563461 h 3663560"/>
                <a:gd name="connsiteX169" fmla="*/ 412168 w 1573156"/>
                <a:gd name="connsiteY169" fmla="*/ 2537603 h 3663560"/>
                <a:gd name="connsiteX170" fmla="*/ 362289 w 1573156"/>
                <a:gd name="connsiteY170" fmla="*/ 2501404 h 3663560"/>
                <a:gd name="connsiteX171" fmla="*/ 338946 w 1573156"/>
                <a:gd name="connsiteY171" fmla="*/ 2513491 h 3663560"/>
                <a:gd name="connsiteX172" fmla="*/ 340121 w 1573156"/>
                <a:gd name="connsiteY172" fmla="*/ 2467790 h 3663560"/>
                <a:gd name="connsiteX173" fmla="*/ 306869 w 1573156"/>
                <a:gd name="connsiteY173" fmla="*/ 2429005 h 3663560"/>
                <a:gd name="connsiteX174" fmla="*/ 309641 w 1573156"/>
                <a:gd name="connsiteY174" fmla="*/ 2351433 h 3663560"/>
                <a:gd name="connsiteX175" fmla="*/ 290243 w 1573156"/>
                <a:gd name="connsiteY175" fmla="*/ 2299720 h 3663560"/>
                <a:gd name="connsiteX176" fmla="*/ 256991 w 1573156"/>
                <a:gd name="connsiteY176" fmla="*/ 2266106 h 3663560"/>
                <a:gd name="connsiteX177" fmla="*/ 218196 w 1573156"/>
                <a:gd name="connsiteY177" fmla="*/ 2242835 h 3663560"/>
                <a:gd name="connsiteX178" fmla="*/ 176631 w 1573156"/>
                <a:gd name="connsiteY178" fmla="*/ 2250592 h 3663560"/>
                <a:gd name="connsiteX179" fmla="*/ 122255 w 1573156"/>
                <a:gd name="connsiteY179" fmla="*/ 2214066 h 3663560"/>
                <a:gd name="connsiteX0" fmla="*/ 122255 w 1573156"/>
                <a:gd name="connsiteY0" fmla="*/ 2214066 h 3663560"/>
                <a:gd name="connsiteX1" fmla="*/ 63018 w 1573156"/>
                <a:gd name="connsiteY1" fmla="*/ 2216977 h 3663560"/>
                <a:gd name="connsiteX2" fmla="*/ 60248 w 1573156"/>
                <a:gd name="connsiteY2" fmla="*/ 2118721 h 3663560"/>
                <a:gd name="connsiteX3" fmla="*/ 71333 w 1573156"/>
                <a:gd name="connsiteY3" fmla="*/ 2077350 h 3663560"/>
                <a:gd name="connsiteX4" fmla="*/ 74102 w 1573156"/>
                <a:gd name="connsiteY4" fmla="*/ 2030807 h 3663560"/>
                <a:gd name="connsiteX5" fmla="*/ 76875 w 1573156"/>
                <a:gd name="connsiteY5" fmla="*/ 2020467 h 3663560"/>
                <a:gd name="connsiteX6" fmla="*/ 118439 w 1573156"/>
                <a:gd name="connsiteY6" fmla="*/ 1992023 h 3663560"/>
                <a:gd name="connsiteX7" fmla="*/ 82416 w 1573156"/>
                <a:gd name="connsiteY7" fmla="*/ 1963580 h 3663560"/>
                <a:gd name="connsiteX8" fmla="*/ 51935 w 1573156"/>
                <a:gd name="connsiteY8" fmla="*/ 1927380 h 3663560"/>
                <a:gd name="connsiteX9" fmla="*/ 40850 w 1573156"/>
                <a:gd name="connsiteY9" fmla="*/ 1893766 h 3663560"/>
                <a:gd name="connsiteX10" fmla="*/ 43621 w 1573156"/>
                <a:gd name="connsiteY10" fmla="*/ 1844639 h 3663560"/>
                <a:gd name="connsiteX11" fmla="*/ 82416 w 1573156"/>
                <a:gd name="connsiteY11" fmla="*/ 1826538 h 3663560"/>
                <a:gd name="connsiteX12" fmla="*/ 112899 w 1573156"/>
                <a:gd name="connsiteY12" fmla="*/ 1782581 h 3663560"/>
                <a:gd name="connsiteX13" fmla="*/ 96271 w 1573156"/>
                <a:gd name="connsiteY13" fmla="*/ 1754138 h 3663560"/>
                <a:gd name="connsiteX14" fmla="*/ 40851 w 1573156"/>
                <a:gd name="connsiteY14" fmla="*/ 1746381 h 3663560"/>
                <a:gd name="connsiteX15" fmla="*/ 2057 w 1573156"/>
                <a:gd name="connsiteY15" fmla="*/ 1730867 h 3663560"/>
                <a:gd name="connsiteX16" fmla="*/ 38079 w 1573156"/>
                <a:gd name="connsiteY16" fmla="*/ 1689496 h 3663560"/>
                <a:gd name="connsiteX17" fmla="*/ 18683 w 1573156"/>
                <a:gd name="connsiteY17" fmla="*/ 1679153 h 3663560"/>
                <a:gd name="connsiteX18" fmla="*/ 2055 w 1573156"/>
                <a:gd name="connsiteY18" fmla="*/ 1640367 h 3663560"/>
                <a:gd name="connsiteX19" fmla="*/ 65790 w 1573156"/>
                <a:gd name="connsiteY19" fmla="*/ 1650711 h 3663560"/>
                <a:gd name="connsiteX20" fmla="*/ 93501 w 1573156"/>
                <a:gd name="connsiteY20" fmla="*/ 1627440 h 3663560"/>
                <a:gd name="connsiteX21" fmla="*/ 187716 w 1573156"/>
                <a:gd name="connsiteY21" fmla="*/ 1536941 h 3663560"/>
                <a:gd name="connsiteX22" fmla="*/ 212655 w 1573156"/>
                <a:gd name="connsiteY22" fmla="*/ 1505912 h 3663560"/>
                <a:gd name="connsiteX23" fmla="*/ 198801 w 1573156"/>
                <a:gd name="connsiteY23" fmla="*/ 1555040 h 3663560"/>
                <a:gd name="connsiteX24" fmla="*/ 218197 w 1573156"/>
                <a:gd name="connsiteY24" fmla="*/ 1588655 h 3663560"/>
                <a:gd name="connsiteX25" fmla="*/ 262534 w 1573156"/>
                <a:gd name="connsiteY25" fmla="*/ 1666225 h 3663560"/>
                <a:gd name="connsiteX26" fmla="*/ 331810 w 1573156"/>
                <a:gd name="connsiteY26" fmla="*/ 1653297 h 3663560"/>
                <a:gd name="connsiteX27" fmla="*/ 351206 w 1573156"/>
                <a:gd name="connsiteY27" fmla="*/ 1622268 h 3663560"/>
                <a:gd name="connsiteX28" fmla="*/ 365062 w 1573156"/>
                <a:gd name="connsiteY28" fmla="*/ 1557627 h 3663560"/>
                <a:gd name="connsiteX29" fmla="*/ 304099 w 1573156"/>
                <a:gd name="connsiteY29" fmla="*/ 1511084 h 3663560"/>
                <a:gd name="connsiteX30" fmla="*/ 259763 w 1573156"/>
                <a:gd name="connsiteY30" fmla="*/ 1485227 h 3663560"/>
                <a:gd name="connsiteX31" fmla="*/ 198801 w 1573156"/>
                <a:gd name="connsiteY31" fmla="*/ 1495570 h 3663560"/>
                <a:gd name="connsiteX32" fmla="*/ 376147 w 1573156"/>
                <a:gd name="connsiteY32" fmla="*/ 1299057 h 3663560"/>
                <a:gd name="connsiteX33" fmla="*/ 223740 w 1573156"/>
                <a:gd name="connsiteY33" fmla="*/ 1151672 h 3663560"/>
                <a:gd name="connsiteX34" fmla="*/ 284703 w 1573156"/>
                <a:gd name="connsiteY34" fmla="*/ 1089617 h 3663560"/>
                <a:gd name="connsiteX35" fmla="*/ 218198 w 1573156"/>
                <a:gd name="connsiteY35" fmla="*/ 1050829 h 3663560"/>
                <a:gd name="connsiteX36" fmla="*/ 259763 w 1573156"/>
                <a:gd name="connsiteY36" fmla="*/ 1019802 h 3663560"/>
                <a:gd name="connsiteX37" fmla="*/ 212657 w 1573156"/>
                <a:gd name="connsiteY37" fmla="*/ 993947 h 3663560"/>
                <a:gd name="connsiteX38" fmla="*/ 212656 w 1573156"/>
                <a:gd name="connsiteY38" fmla="*/ 794845 h 3663560"/>
                <a:gd name="connsiteX39" fmla="*/ 251451 w 1573156"/>
                <a:gd name="connsiteY39" fmla="*/ 779332 h 3663560"/>
                <a:gd name="connsiteX40" fmla="*/ 137838 w 1573156"/>
                <a:gd name="connsiteY40" fmla="*/ 551792 h 3663560"/>
                <a:gd name="connsiteX41" fmla="*/ 135067 w 1573156"/>
                <a:gd name="connsiteY41" fmla="*/ 551792 h 3663560"/>
                <a:gd name="connsiteX42" fmla="*/ 184945 w 1573156"/>
                <a:gd name="connsiteY42" fmla="*/ 469048 h 3663560"/>
                <a:gd name="connsiteX43" fmla="*/ 201571 w 1573156"/>
                <a:gd name="connsiteY43" fmla="*/ 378550 h 3663560"/>
                <a:gd name="connsiteX44" fmla="*/ 126752 w 1573156"/>
                <a:gd name="connsiteY44" fmla="*/ 319079 h 3663560"/>
                <a:gd name="connsiteX45" fmla="*/ 118440 w 1573156"/>
                <a:gd name="connsiteY45" fmla="*/ 251851 h 3663560"/>
                <a:gd name="connsiteX46" fmla="*/ 173860 w 1573156"/>
                <a:gd name="connsiteY46" fmla="*/ 158764 h 3663560"/>
                <a:gd name="connsiteX47" fmla="*/ 193258 w 1573156"/>
                <a:gd name="connsiteY47" fmla="*/ 135494 h 3663560"/>
                <a:gd name="connsiteX48" fmla="*/ 207113 w 1573156"/>
                <a:gd name="connsiteY48" fmla="*/ 117394 h 3663560"/>
                <a:gd name="connsiteX49" fmla="*/ 215426 w 1573156"/>
                <a:gd name="connsiteY49" fmla="*/ 73438 h 3663560"/>
                <a:gd name="connsiteX50" fmla="*/ 240365 w 1573156"/>
                <a:gd name="connsiteY50" fmla="*/ 101880 h 3663560"/>
                <a:gd name="connsiteX51" fmla="*/ 270847 w 1573156"/>
                <a:gd name="connsiteY51" fmla="*/ 88952 h 3663560"/>
                <a:gd name="connsiteX52" fmla="*/ 273617 w 1573156"/>
                <a:gd name="connsiteY52" fmla="*/ 63095 h 3663560"/>
                <a:gd name="connsiteX53" fmla="*/ 281931 w 1573156"/>
                <a:gd name="connsiteY53" fmla="*/ 34652 h 3663560"/>
                <a:gd name="connsiteX54" fmla="*/ 284703 w 1573156"/>
                <a:gd name="connsiteY54" fmla="*/ 3624 h 3663560"/>
                <a:gd name="connsiteX55" fmla="*/ 420483 w 1573156"/>
                <a:gd name="connsiteY55" fmla="*/ 57924 h 3663560"/>
                <a:gd name="connsiteX56" fmla="*/ 450963 w 1573156"/>
                <a:gd name="connsiteY56" fmla="*/ 161352 h 3663560"/>
                <a:gd name="connsiteX57" fmla="*/ 464819 w 1573156"/>
                <a:gd name="connsiteY57" fmla="*/ 184622 h 3663560"/>
                <a:gd name="connsiteX58" fmla="*/ 475903 w 1573156"/>
                <a:gd name="connsiteY58" fmla="*/ 187208 h 3663560"/>
                <a:gd name="connsiteX59" fmla="*/ 589515 w 1573156"/>
                <a:gd name="connsiteY59" fmla="*/ 156181 h 3663560"/>
                <a:gd name="connsiteX60" fmla="*/ 656020 w 1573156"/>
                <a:gd name="connsiteY60" fmla="*/ 166522 h 3663560"/>
                <a:gd name="connsiteX61" fmla="*/ 719754 w 1573156"/>
                <a:gd name="connsiteY61" fmla="*/ 213065 h 3663560"/>
                <a:gd name="connsiteX62" fmla="*/ 733781 w 1573156"/>
                <a:gd name="connsiteY62" fmla="*/ 242621 h 3663560"/>
                <a:gd name="connsiteX63" fmla="*/ 789028 w 1573156"/>
                <a:gd name="connsiteY63" fmla="*/ 277708 h 3663560"/>
                <a:gd name="connsiteX64" fmla="*/ 877702 w 1573156"/>
                <a:gd name="connsiteY64" fmla="*/ 303563 h 3663560"/>
                <a:gd name="connsiteX65" fmla="*/ 949748 w 1573156"/>
                <a:gd name="connsiteY65" fmla="*/ 350106 h 3663560"/>
                <a:gd name="connsiteX66" fmla="*/ 999627 w 1573156"/>
                <a:gd name="connsiteY66" fmla="*/ 401820 h 3663560"/>
                <a:gd name="connsiteX67" fmla="*/ 1024566 w 1573156"/>
                <a:gd name="connsiteY67" fmla="*/ 440606 h 3663560"/>
                <a:gd name="connsiteX68" fmla="*/ 1057819 w 1573156"/>
                <a:gd name="connsiteY68" fmla="*/ 466462 h 3663560"/>
                <a:gd name="connsiteX69" fmla="*/ 1041191 w 1573156"/>
                <a:gd name="connsiteY69" fmla="*/ 691417 h 3663560"/>
                <a:gd name="connsiteX70" fmla="*/ 913725 w 1573156"/>
                <a:gd name="connsiteY70" fmla="*/ 771575 h 3663560"/>
                <a:gd name="connsiteX71" fmla="*/ 800113 w 1573156"/>
                <a:gd name="connsiteY71" fmla="*/ 779331 h 3663560"/>
                <a:gd name="connsiteX72" fmla="*/ 661560 w 1573156"/>
                <a:gd name="connsiteY72" fmla="*/ 758645 h 3663560"/>
                <a:gd name="connsiteX73" fmla="*/ 570116 w 1573156"/>
                <a:gd name="connsiteY73" fmla="*/ 722445 h 3663560"/>
                <a:gd name="connsiteX74" fmla="*/ 550719 w 1573156"/>
                <a:gd name="connsiteY74" fmla="*/ 750888 h 3663560"/>
                <a:gd name="connsiteX75" fmla="*/ 581361 w 1573156"/>
                <a:gd name="connsiteY75" fmla="*/ 824301 h 3663560"/>
                <a:gd name="connsiteX76" fmla="*/ 586902 w 1573156"/>
                <a:gd name="connsiteY76" fmla="*/ 951000 h 3663560"/>
                <a:gd name="connsiteX77" fmla="*/ 559032 w 1573156"/>
                <a:gd name="connsiteY77" fmla="*/ 1012043 h 3663560"/>
                <a:gd name="connsiteX78" fmla="*/ 614451 w 1573156"/>
                <a:gd name="connsiteY78" fmla="*/ 1032728 h 3663560"/>
                <a:gd name="connsiteX79" fmla="*/ 631079 w 1573156"/>
                <a:gd name="connsiteY79" fmla="*/ 1048242 h 3663560"/>
                <a:gd name="connsiteX80" fmla="*/ 656019 w 1573156"/>
                <a:gd name="connsiteY80" fmla="*/ 1074099 h 3663560"/>
                <a:gd name="connsiteX81" fmla="*/ 653248 w 1573156"/>
                <a:gd name="connsiteY81" fmla="*/ 1076685 h 3663560"/>
                <a:gd name="connsiteX82" fmla="*/ 692041 w 1573156"/>
                <a:gd name="connsiteY82" fmla="*/ 1071514 h 3663560"/>
                <a:gd name="connsiteX83" fmla="*/ 700355 w 1573156"/>
                <a:gd name="connsiteY83" fmla="*/ 1035314 h 3663560"/>
                <a:gd name="connsiteX84" fmla="*/ 661560 w 1573156"/>
                <a:gd name="connsiteY84" fmla="*/ 957743 h 3663560"/>
                <a:gd name="connsiteX85" fmla="*/ 730836 w 1573156"/>
                <a:gd name="connsiteY85" fmla="*/ 911200 h 3663560"/>
                <a:gd name="connsiteX86" fmla="*/ 798608 w 1573156"/>
                <a:gd name="connsiteY86" fmla="*/ 918934 h 3663560"/>
                <a:gd name="connsiteX87" fmla="*/ 822441 w 1573156"/>
                <a:gd name="connsiteY87" fmla="*/ 951001 h 3663560"/>
                <a:gd name="connsiteX88" fmla="*/ 978170 w 1573156"/>
                <a:gd name="connsiteY88" fmla="*/ 1007364 h 3663560"/>
                <a:gd name="connsiteX89" fmla="*/ 963762 w 1573156"/>
                <a:gd name="connsiteY89" fmla="*/ 971687 h 3663560"/>
                <a:gd name="connsiteX90" fmla="*/ 930510 w 1573156"/>
                <a:gd name="connsiteY90" fmla="*/ 932901 h 3663560"/>
                <a:gd name="connsiteX91" fmla="*/ 919426 w 1573156"/>
                <a:gd name="connsiteY91" fmla="*/ 881187 h 3663560"/>
                <a:gd name="connsiteX92" fmla="*/ 958221 w 1573156"/>
                <a:gd name="connsiteY92" fmla="*/ 832060 h 3663560"/>
                <a:gd name="connsiteX93" fmla="*/ 985931 w 1573156"/>
                <a:gd name="connsiteY93" fmla="*/ 803617 h 3663560"/>
                <a:gd name="connsiteX94" fmla="*/ 1010871 w 1573156"/>
                <a:gd name="connsiteY94" fmla="*/ 767417 h 3663560"/>
                <a:gd name="connsiteX95" fmla="*/ 1091231 w 1573156"/>
                <a:gd name="connsiteY95" fmla="*/ 762245 h 3663560"/>
                <a:gd name="connsiteX96" fmla="*/ 1096772 w 1573156"/>
                <a:gd name="connsiteY96" fmla="*/ 741560 h 3663560"/>
                <a:gd name="connsiteX97" fmla="*/ 1121712 w 1573156"/>
                <a:gd name="connsiteY97" fmla="*/ 705360 h 3663560"/>
                <a:gd name="connsiteX98" fmla="*/ 1155516 w 1573156"/>
                <a:gd name="connsiteY98" fmla="*/ 687772 h 3663560"/>
                <a:gd name="connsiteX99" fmla="*/ 1213156 w 1573156"/>
                <a:gd name="connsiteY99" fmla="*/ 700189 h 3663560"/>
                <a:gd name="connsiteX100" fmla="*/ 1251949 w 1573156"/>
                <a:gd name="connsiteY100" fmla="*/ 720875 h 3663560"/>
                <a:gd name="connsiteX101" fmla="*/ 1299057 w 1573156"/>
                <a:gd name="connsiteY101" fmla="*/ 728632 h 3663560"/>
                <a:gd name="connsiteX102" fmla="*/ 1299057 w 1573156"/>
                <a:gd name="connsiteY102" fmla="*/ 733803 h 3663560"/>
                <a:gd name="connsiteX103" fmla="*/ 1321226 w 1573156"/>
                <a:gd name="connsiteY103" fmla="*/ 674332 h 3663560"/>
                <a:gd name="connsiteX104" fmla="*/ 1331201 w 1573156"/>
                <a:gd name="connsiteY104" fmla="*/ 640714 h 3663560"/>
                <a:gd name="connsiteX105" fmla="*/ 1337852 w 1573156"/>
                <a:gd name="connsiteY105" fmla="*/ 622618 h 3663560"/>
                <a:gd name="connsiteX106" fmla="*/ 1340789 w 1573156"/>
                <a:gd name="connsiteY106" fmla="*/ 591288 h 3663560"/>
                <a:gd name="connsiteX107" fmla="*/ 1260263 w 1573156"/>
                <a:gd name="connsiteY107" fmla="*/ 545048 h 3663560"/>
                <a:gd name="connsiteX108" fmla="*/ 1246408 w 1573156"/>
                <a:gd name="connsiteY108" fmla="*/ 472648 h 3663560"/>
                <a:gd name="connsiteX109" fmla="*/ 1246408 w 1573156"/>
                <a:gd name="connsiteY109" fmla="*/ 454548 h 3663560"/>
                <a:gd name="connsiteX110" fmla="*/ 1257491 w 1573156"/>
                <a:gd name="connsiteY110" fmla="*/ 431276 h 3663560"/>
                <a:gd name="connsiteX111" fmla="*/ 1260263 w 1573156"/>
                <a:gd name="connsiteY111" fmla="*/ 415762 h 3663560"/>
                <a:gd name="connsiteX112" fmla="*/ 1260262 w 1573156"/>
                <a:gd name="connsiteY112" fmla="*/ 358878 h 3663560"/>
                <a:gd name="connsiteX113" fmla="*/ 1238094 w 1573156"/>
                <a:gd name="connsiteY113" fmla="*/ 335607 h 3663560"/>
                <a:gd name="connsiteX114" fmla="*/ 1210384 w 1573156"/>
                <a:gd name="connsiteY114" fmla="*/ 304578 h 3663560"/>
                <a:gd name="connsiteX115" fmla="*/ 1206216 w 1573156"/>
                <a:gd name="connsiteY115" fmla="*/ 280325 h 3663560"/>
                <a:gd name="connsiteX116" fmla="*/ 1257492 w 1573156"/>
                <a:gd name="connsiteY116" fmla="*/ 258034 h 3663560"/>
                <a:gd name="connsiteX117" fmla="*/ 1311072 w 1573156"/>
                <a:gd name="connsiteY117" fmla="*/ 267906 h 3663560"/>
                <a:gd name="connsiteX118" fmla="*/ 1389856 w 1573156"/>
                <a:gd name="connsiteY118" fmla="*/ 279816 h 3663560"/>
                <a:gd name="connsiteX119" fmla="*/ 1474179 w 1573156"/>
                <a:gd name="connsiteY119" fmla="*/ 349175 h 3663560"/>
                <a:gd name="connsiteX120" fmla="*/ 1536314 w 1573156"/>
                <a:gd name="connsiteY120" fmla="*/ 425271 h 3663560"/>
                <a:gd name="connsiteX121" fmla="*/ 1435343 w 1573156"/>
                <a:gd name="connsiteY121" fmla="*/ 454265 h 3663560"/>
                <a:gd name="connsiteX122" fmla="*/ 1419809 w 1573156"/>
                <a:gd name="connsiteY122" fmla="*/ 501372 h 3663560"/>
                <a:gd name="connsiteX123" fmla="*/ 1477479 w 1573156"/>
                <a:gd name="connsiteY123" fmla="*/ 585862 h 3663560"/>
                <a:gd name="connsiteX124" fmla="*/ 1513013 w 1573156"/>
                <a:gd name="connsiteY124" fmla="*/ 591964 h 3663560"/>
                <a:gd name="connsiteX125" fmla="*/ 1565633 w 1573156"/>
                <a:gd name="connsiteY125" fmla="*/ 598304 h 3663560"/>
                <a:gd name="connsiteX126" fmla="*/ 1560670 w 1573156"/>
                <a:gd name="connsiteY126" fmla="*/ 709079 h 3663560"/>
                <a:gd name="connsiteX127" fmla="*/ 1571739 w 1573156"/>
                <a:gd name="connsiteY127" fmla="*/ 1040047 h 3663560"/>
                <a:gd name="connsiteX128" fmla="*/ 1562871 w 1573156"/>
                <a:gd name="connsiteY128" fmla="*/ 1842646 h 3663560"/>
                <a:gd name="connsiteX129" fmla="*/ 1571738 w 1573156"/>
                <a:gd name="connsiteY129" fmla="*/ 2297728 h 3663560"/>
                <a:gd name="connsiteX130" fmla="*/ 1545290 w 1573156"/>
                <a:gd name="connsiteY130" fmla="*/ 3607693 h 3663560"/>
                <a:gd name="connsiteX131" fmla="*/ 1209275 w 1573156"/>
                <a:gd name="connsiteY131" fmla="*/ 3595126 h 3663560"/>
                <a:gd name="connsiteX132" fmla="*/ 1013482 w 1573156"/>
                <a:gd name="connsiteY132" fmla="*/ 3592567 h 3663560"/>
                <a:gd name="connsiteX133" fmla="*/ 1123928 w 1573156"/>
                <a:gd name="connsiteY133" fmla="*/ 3663387 h 3663560"/>
                <a:gd name="connsiteX134" fmla="*/ 907787 w 1573156"/>
                <a:gd name="connsiteY134" fmla="*/ 3629257 h 3663560"/>
                <a:gd name="connsiteX135" fmla="*/ 776238 w 1573156"/>
                <a:gd name="connsiteY135" fmla="*/ 3504783 h 3663560"/>
                <a:gd name="connsiteX136" fmla="*/ 708669 w 1573156"/>
                <a:gd name="connsiteY136" fmla="*/ 3437426 h 3663560"/>
                <a:gd name="connsiteX137" fmla="*/ 739150 w 1573156"/>
                <a:gd name="connsiteY137" fmla="*/ 3437426 h 3663560"/>
                <a:gd name="connsiteX138" fmla="*/ 750233 w 1573156"/>
                <a:gd name="connsiteY138" fmla="*/ 3408982 h 3663560"/>
                <a:gd name="connsiteX139" fmla="*/ 783486 w 1573156"/>
                <a:gd name="connsiteY139" fmla="*/ 3354683 h 3663560"/>
                <a:gd name="connsiteX140" fmla="*/ 747462 w 1573156"/>
                <a:gd name="connsiteY140" fmla="*/ 3297798 h 3663560"/>
                <a:gd name="connsiteX141" fmla="*/ 836135 w 1573156"/>
                <a:gd name="connsiteY141" fmla="*/ 3225398 h 3663560"/>
                <a:gd name="connsiteX142" fmla="*/ 902641 w 1573156"/>
                <a:gd name="connsiteY142" fmla="*/ 3217642 h 3663560"/>
                <a:gd name="connsiteX143" fmla="*/ 955289 w 1573156"/>
                <a:gd name="connsiteY143" fmla="*/ 3160756 h 3663560"/>
                <a:gd name="connsiteX144" fmla="*/ 1024565 w 1573156"/>
                <a:gd name="connsiteY144" fmla="*/ 3114213 h 3663560"/>
                <a:gd name="connsiteX145" fmla="*/ 1019023 w 1573156"/>
                <a:gd name="connsiteY145" fmla="*/ 3067671 h 3663560"/>
                <a:gd name="connsiteX146" fmla="*/ 1043963 w 1573156"/>
                <a:gd name="connsiteY146" fmla="*/ 3028886 h 3663560"/>
                <a:gd name="connsiteX147" fmla="*/ 1016252 w 1573156"/>
                <a:gd name="connsiteY147" fmla="*/ 3026300 h 3663560"/>
                <a:gd name="connsiteX148" fmla="*/ 1031704 w 1573156"/>
                <a:gd name="connsiteY148" fmla="*/ 2992878 h 3663560"/>
                <a:gd name="connsiteX149" fmla="*/ 914211 w 1573156"/>
                <a:gd name="connsiteY149" fmla="*/ 2928233 h 3663560"/>
                <a:gd name="connsiteX150" fmla="*/ 858304 w 1573156"/>
                <a:gd name="connsiteY150" fmla="*/ 2909943 h 3663560"/>
                <a:gd name="connsiteX151" fmla="*/ 827823 w 1573156"/>
                <a:gd name="connsiteY151" fmla="*/ 2881501 h 3663560"/>
                <a:gd name="connsiteX152" fmla="*/ 761317 w 1573156"/>
                <a:gd name="connsiteY152" fmla="*/ 2897015 h 3663560"/>
                <a:gd name="connsiteX153" fmla="*/ 700355 w 1573156"/>
                <a:gd name="connsiteY153" fmla="*/ 2891844 h 3663560"/>
                <a:gd name="connsiteX154" fmla="*/ 658790 w 1573156"/>
                <a:gd name="connsiteY154" fmla="*/ 2827201 h 3663560"/>
                <a:gd name="connsiteX155" fmla="*/ 656019 w 1573156"/>
                <a:gd name="connsiteY155" fmla="*/ 2785830 h 3663560"/>
                <a:gd name="connsiteX156" fmla="*/ 631080 w 1573156"/>
                <a:gd name="connsiteY156" fmla="*/ 2772902 h 3663560"/>
                <a:gd name="connsiteX157" fmla="*/ 567346 w 1573156"/>
                <a:gd name="connsiteY157" fmla="*/ 2759974 h 3663560"/>
                <a:gd name="connsiteX158" fmla="*/ 586743 w 1573156"/>
                <a:gd name="connsiteY158" fmla="*/ 2721188 h 3663560"/>
                <a:gd name="connsiteX159" fmla="*/ 557777 w 1573156"/>
                <a:gd name="connsiteY159" fmla="*/ 2715007 h 3663560"/>
                <a:gd name="connsiteX160" fmla="*/ 531809 w 1573156"/>
                <a:gd name="connsiteY160" fmla="*/ 2672771 h 3663560"/>
                <a:gd name="connsiteX161" fmla="*/ 414939 w 1573156"/>
                <a:gd name="connsiteY161" fmla="*/ 2682402 h 3663560"/>
                <a:gd name="connsiteX162" fmla="*/ 390000 w 1573156"/>
                <a:gd name="connsiteY162" fmla="*/ 2672059 h 3663560"/>
                <a:gd name="connsiteX163" fmla="*/ 367832 w 1573156"/>
                <a:gd name="connsiteY163" fmla="*/ 2684989 h 3663560"/>
                <a:gd name="connsiteX164" fmla="*/ 351205 w 1573156"/>
                <a:gd name="connsiteY164" fmla="*/ 2622932 h 3663560"/>
                <a:gd name="connsiteX165" fmla="*/ 340121 w 1573156"/>
                <a:gd name="connsiteY165" fmla="*/ 2597075 h 3663560"/>
                <a:gd name="connsiteX166" fmla="*/ 353976 w 1573156"/>
                <a:gd name="connsiteY166" fmla="*/ 2578974 h 3663560"/>
                <a:gd name="connsiteX167" fmla="*/ 381687 w 1573156"/>
                <a:gd name="connsiteY167" fmla="*/ 2581561 h 3663560"/>
                <a:gd name="connsiteX168" fmla="*/ 414939 w 1573156"/>
                <a:gd name="connsiteY168" fmla="*/ 2563461 h 3663560"/>
                <a:gd name="connsiteX169" fmla="*/ 412168 w 1573156"/>
                <a:gd name="connsiteY169" fmla="*/ 2537603 h 3663560"/>
                <a:gd name="connsiteX170" fmla="*/ 362289 w 1573156"/>
                <a:gd name="connsiteY170" fmla="*/ 2501404 h 3663560"/>
                <a:gd name="connsiteX171" fmla="*/ 338946 w 1573156"/>
                <a:gd name="connsiteY171" fmla="*/ 2513491 h 3663560"/>
                <a:gd name="connsiteX172" fmla="*/ 340121 w 1573156"/>
                <a:gd name="connsiteY172" fmla="*/ 2467790 h 3663560"/>
                <a:gd name="connsiteX173" fmla="*/ 306869 w 1573156"/>
                <a:gd name="connsiteY173" fmla="*/ 2429005 h 3663560"/>
                <a:gd name="connsiteX174" fmla="*/ 309641 w 1573156"/>
                <a:gd name="connsiteY174" fmla="*/ 2351433 h 3663560"/>
                <a:gd name="connsiteX175" fmla="*/ 290243 w 1573156"/>
                <a:gd name="connsiteY175" fmla="*/ 2299720 h 3663560"/>
                <a:gd name="connsiteX176" fmla="*/ 256991 w 1573156"/>
                <a:gd name="connsiteY176" fmla="*/ 2266106 h 3663560"/>
                <a:gd name="connsiteX177" fmla="*/ 218196 w 1573156"/>
                <a:gd name="connsiteY177" fmla="*/ 2242835 h 3663560"/>
                <a:gd name="connsiteX178" fmla="*/ 176631 w 1573156"/>
                <a:gd name="connsiteY178" fmla="*/ 2250592 h 3663560"/>
                <a:gd name="connsiteX179" fmla="*/ 122255 w 1573156"/>
                <a:gd name="connsiteY179" fmla="*/ 2214066 h 3663560"/>
                <a:gd name="connsiteX0" fmla="*/ 122255 w 1573156"/>
                <a:gd name="connsiteY0" fmla="*/ 2214066 h 3663560"/>
                <a:gd name="connsiteX1" fmla="*/ 63018 w 1573156"/>
                <a:gd name="connsiteY1" fmla="*/ 2216977 h 3663560"/>
                <a:gd name="connsiteX2" fmla="*/ 60248 w 1573156"/>
                <a:gd name="connsiteY2" fmla="*/ 2118721 h 3663560"/>
                <a:gd name="connsiteX3" fmla="*/ 71333 w 1573156"/>
                <a:gd name="connsiteY3" fmla="*/ 2077350 h 3663560"/>
                <a:gd name="connsiteX4" fmla="*/ 74102 w 1573156"/>
                <a:gd name="connsiteY4" fmla="*/ 2030807 h 3663560"/>
                <a:gd name="connsiteX5" fmla="*/ 76875 w 1573156"/>
                <a:gd name="connsiteY5" fmla="*/ 2020467 h 3663560"/>
                <a:gd name="connsiteX6" fmla="*/ 118439 w 1573156"/>
                <a:gd name="connsiteY6" fmla="*/ 1992023 h 3663560"/>
                <a:gd name="connsiteX7" fmla="*/ 82416 w 1573156"/>
                <a:gd name="connsiteY7" fmla="*/ 1963580 h 3663560"/>
                <a:gd name="connsiteX8" fmla="*/ 51935 w 1573156"/>
                <a:gd name="connsiteY8" fmla="*/ 1927380 h 3663560"/>
                <a:gd name="connsiteX9" fmla="*/ 40850 w 1573156"/>
                <a:gd name="connsiteY9" fmla="*/ 1893766 h 3663560"/>
                <a:gd name="connsiteX10" fmla="*/ 43621 w 1573156"/>
                <a:gd name="connsiteY10" fmla="*/ 1844639 h 3663560"/>
                <a:gd name="connsiteX11" fmla="*/ 82416 w 1573156"/>
                <a:gd name="connsiteY11" fmla="*/ 1826538 h 3663560"/>
                <a:gd name="connsiteX12" fmla="*/ 112899 w 1573156"/>
                <a:gd name="connsiteY12" fmla="*/ 1782581 h 3663560"/>
                <a:gd name="connsiteX13" fmla="*/ 96271 w 1573156"/>
                <a:gd name="connsiteY13" fmla="*/ 1754138 h 3663560"/>
                <a:gd name="connsiteX14" fmla="*/ 40851 w 1573156"/>
                <a:gd name="connsiteY14" fmla="*/ 1746381 h 3663560"/>
                <a:gd name="connsiteX15" fmla="*/ 2057 w 1573156"/>
                <a:gd name="connsiteY15" fmla="*/ 1730867 h 3663560"/>
                <a:gd name="connsiteX16" fmla="*/ 38079 w 1573156"/>
                <a:gd name="connsiteY16" fmla="*/ 1689496 h 3663560"/>
                <a:gd name="connsiteX17" fmla="*/ 18683 w 1573156"/>
                <a:gd name="connsiteY17" fmla="*/ 1679153 h 3663560"/>
                <a:gd name="connsiteX18" fmla="*/ 2055 w 1573156"/>
                <a:gd name="connsiteY18" fmla="*/ 1640367 h 3663560"/>
                <a:gd name="connsiteX19" fmla="*/ 65790 w 1573156"/>
                <a:gd name="connsiteY19" fmla="*/ 1650711 h 3663560"/>
                <a:gd name="connsiteX20" fmla="*/ 93501 w 1573156"/>
                <a:gd name="connsiteY20" fmla="*/ 1627440 h 3663560"/>
                <a:gd name="connsiteX21" fmla="*/ 187716 w 1573156"/>
                <a:gd name="connsiteY21" fmla="*/ 1536941 h 3663560"/>
                <a:gd name="connsiteX22" fmla="*/ 212655 w 1573156"/>
                <a:gd name="connsiteY22" fmla="*/ 1505912 h 3663560"/>
                <a:gd name="connsiteX23" fmla="*/ 198801 w 1573156"/>
                <a:gd name="connsiteY23" fmla="*/ 1555040 h 3663560"/>
                <a:gd name="connsiteX24" fmla="*/ 218197 w 1573156"/>
                <a:gd name="connsiteY24" fmla="*/ 1588655 h 3663560"/>
                <a:gd name="connsiteX25" fmla="*/ 262534 w 1573156"/>
                <a:gd name="connsiteY25" fmla="*/ 1666225 h 3663560"/>
                <a:gd name="connsiteX26" fmla="*/ 331810 w 1573156"/>
                <a:gd name="connsiteY26" fmla="*/ 1653297 h 3663560"/>
                <a:gd name="connsiteX27" fmla="*/ 351206 w 1573156"/>
                <a:gd name="connsiteY27" fmla="*/ 1622268 h 3663560"/>
                <a:gd name="connsiteX28" fmla="*/ 365062 w 1573156"/>
                <a:gd name="connsiteY28" fmla="*/ 1557627 h 3663560"/>
                <a:gd name="connsiteX29" fmla="*/ 304099 w 1573156"/>
                <a:gd name="connsiteY29" fmla="*/ 1511084 h 3663560"/>
                <a:gd name="connsiteX30" fmla="*/ 259763 w 1573156"/>
                <a:gd name="connsiteY30" fmla="*/ 1485227 h 3663560"/>
                <a:gd name="connsiteX31" fmla="*/ 198801 w 1573156"/>
                <a:gd name="connsiteY31" fmla="*/ 1495570 h 3663560"/>
                <a:gd name="connsiteX32" fmla="*/ 376147 w 1573156"/>
                <a:gd name="connsiteY32" fmla="*/ 1299057 h 3663560"/>
                <a:gd name="connsiteX33" fmla="*/ 223740 w 1573156"/>
                <a:gd name="connsiteY33" fmla="*/ 1151672 h 3663560"/>
                <a:gd name="connsiteX34" fmla="*/ 284703 w 1573156"/>
                <a:gd name="connsiteY34" fmla="*/ 1089617 h 3663560"/>
                <a:gd name="connsiteX35" fmla="*/ 218198 w 1573156"/>
                <a:gd name="connsiteY35" fmla="*/ 1050829 h 3663560"/>
                <a:gd name="connsiteX36" fmla="*/ 259763 w 1573156"/>
                <a:gd name="connsiteY36" fmla="*/ 1019802 h 3663560"/>
                <a:gd name="connsiteX37" fmla="*/ 212657 w 1573156"/>
                <a:gd name="connsiteY37" fmla="*/ 993947 h 3663560"/>
                <a:gd name="connsiteX38" fmla="*/ 212656 w 1573156"/>
                <a:gd name="connsiteY38" fmla="*/ 794845 h 3663560"/>
                <a:gd name="connsiteX39" fmla="*/ 251451 w 1573156"/>
                <a:gd name="connsiteY39" fmla="*/ 779332 h 3663560"/>
                <a:gd name="connsiteX40" fmla="*/ 137838 w 1573156"/>
                <a:gd name="connsiteY40" fmla="*/ 551792 h 3663560"/>
                <a:gd name="connsiteX41" fmla="*/ 135067 w 1573156"/>
                <a:gd name="connsiteY41" fmla="*/ 551792 h 3663560"/>
                <a:gd name="connsiteX42" fmla="*/ 184945 w 1573156"/>
                <a:gd name="connsiteY42" fmla="*/ 469048 h 3663560"/>
                <a:gd name="connsiteX43" fmla="*/ 201571 w 1573156"/>
                <a:gd name="connsiteY43" fmla="*/ 378550 h 3663560"/>
                <a:gd name="connsiteX44" fmla="*/ 126752 w 1573156"/>
                <a:gd name="connsiteY44" fmla="*/ 319079 h 3663560"/>
                <a:gd name="connsiteX45" fmla="*/ 118440 w 1573156"/>
                <a:gd name="connsiteY45" fmla="*/ 251851 h 3663560"/>
                <a:gd name="connsiteX46" fmla="*/ 173860 w 1573156"/>
                <a:gd name="connsiteY46" fmla="*/ 158764 h 3663560"/>
                <a:gd name="connsiteX47" fmla="*/ 193258 w 1573156"/>
                <a:gd name="connsiteY47" fmla="*/ 135494 h 3663560"/>
                <a:gd name="connsiteX48" fmla="*/ 207113 w 1573156"/>
                <a:gd name="connsiteY48" fmla="*/ 117394 h 3663560"/>
                <a:gd name="connsiteX49" fmla="*/ 215426 w 1573156"/>
                <a:gd name="connsiteY49" fmla="*/ 73438 h 3663560"/>
                <a:gd name="connsiteX50" fmla="*/ 240365 w 1573156"/>
                <a:gd name="connsiteY50" fmla="*/ 101880 h 3663560"/>
                <a:gd name="connsiteX51" fmla="*/ 270847 w 1573156"/>
                <a:gd name="connsiteY51" fmla="*/ 88952 h 3663560"/>
                <a:gd name="connsiteX52" fmla="*/ 273617 w 1573156"/>
                <a:gd name="connsiteY52" fmla="*/ 63095 h 3663560"/>
                <a:gd name="connsiteX53" fmla="*/ 281931 w 1573156"/>
                <a:gd name="connsiteY53" fmla="*/ 34652 h 3663560"/>
                <a:gd name="connsiteX54" fmla="*/ 284703 w 1573156"/>
                <a:gd name="connsiteY54" fmla="*/ 3624 h 3663560"/>
                <a:gd name="connsiteX55" fmla="*/ 420483 w 1573156"/>
                <a:gd name="connsiteY55" fmla="*/ 57924 h 3663560"/>
                <a:gd name="connsiteX56" fmla="*/ 450963 w 1573156"/>
                <a:gd name="connsiteY56" fmla="*/ 161352 h 3663560"/>
                <a:gd name="connsiteX57" fmla="*/ 464819 w 1573156"/>
                <a:gd name="connsiteY57" fmla="*/ 184622 h 3663560"/>
                <a:gd name="connsiteX58" fmla="*/ 475903 w 1573156"/>
                <a:gd name="connsiteY58" fmla="*/ 187208 h 3663560"/>
                <a:gd name="connsiteX59" fmla="*/ 589515 w 1573156"/>
                <a:gd name="connsiteY59" fmla="*/ 156181 h 3663560"/>
                <a:gd name="connsiteX60" fmla="*/ 656020 w 1573156"/>
                <a:gd name="connsiteY60" fmla="*/ 166522 h 3663560"/>
                <a:gd name="connsiteX61" fmla="*/ 719754 w 1573156"/>
                <a:gd name="connsiteY61" fmla="*/ 213065 h 3663560"/>
                <a:gd name="connsiteX62" fmla="*/ 733781 w 1573156"/>
                <a:gd name="connsiteY62" fmla="*/ 242621 h 3663560"/>
                <a:gd name="connsiteX63" fmla="*/ 789028 w 1573156"/>
                <a:gd name="connsiteY63" fmla="*/ 277708 h 3663560"/>
                <a:gd name="connsiteX64" fmla="*/ 877702 w 1573156"/>
                <a:gd name="connsiteY64" fmla="*/ 303563 h 3663560"/>
                <a:gd name="connsiteX65" fmla="*/ 949748 w 1573156"/>
                <a:gd name="connsiteY65" fmla="*/ 350106 h 3663560"/>
                <a:gd name="connsiteX66" fmla="*/ 999627 w 1573156"/>
                <a:gd name="connsiteY66" fmla="*/ 401820 h 3663560"/>
                <a:gd name="connsiteX67" fmla="*/ 1024566 w 1573156"/>
                <a:gd name="connsiteY67" fmla="*/ 440606 h 3663560"/>
                <a:gd name="connsiteX68" fmla="*/ 1057819 w 1573156"/>
                <a:gd name="connsiteY68" fmla="*/ 466462 h 3663560"/>
                <a:gd name="connsiteX69" fmla="*/ 1041191 w 1573156"/>
                <a:gd name="connsiteY69" fmla="*/ 691417 h 3663560"/>
                <a:gd name="connsiteX70" fmla="*/ 913725 w 1573156"/>
                <a:gd name="connsiteY70" fmla="*/ 771575 h 3663560"/>
                <a:gd name="connsiteX71" fmla="*/ 800113 w 1573156"/>
                <a:gd name="connsiteY71" fmla="*/ 779331 h 3663560"/>
                <a:gd name="connsiteX72" fmla="*/ 661560 w 1573156"/>
                <a:gd name="connsiteY72" fmla="*/ 758645 h 3663560"/>
                <a:gd name="connsiteX73" fmla="*/ 570116 w 1573156"/>
                <a:gd name="connsiteY73" fmla="*/ 722445 h 3663560"/>
                <a:gd name="connsiteX74" fmla="*/ 550719 w 1573156"/>
                <a:gd name="connsiteY74" fmla="*/ 750888 h 3663560"/>
                <a:gd name="connsiteX75" fmla="*/ 581361 w 1573156"/>
                <a:gd name="connsiteY75" fmla="*/ 824301 h 3663560"/>
                <a:gd name="connsiteX76" fmla="*/ 586902 w 1573156"/>
                <a:gd name="connsiteY76" fmla="*/ 951000 h 3663560"/>
                <a:gd name="connsiteX77" fmla="*/ 559032 w 1573156"/>
                <a:gd name="connsiteY77" fmla="*/ 1012043 h 3663560"/>
                <a:gd name="connsiteX78" fmla="*/ 614451 w 1573156"/>
                <a:gd name="connsiteY78" fmla="*/ 1032728 h 3663560"/>
                <a:gd name="connsiteX79" fmla="*/ 631079 w 1573156"/>
                <a:gd name="connsiteY79" fmla="*/ 1048242 h 3663560"/>
                <a:gd name="connsiteX80" fmla="*/ 656019 w 1573156"/>
                <a:gd name="connsiteY80" fmla="*/ 1074099 h 3663560"/>
                <a:gd name="connsiteX81" fmla="*/ 653248 w 1573156"/>
                <a:gd name="connsiteY81" fmla="*/ 1076685 h 3663560"/>
                <a:gd name="connsiteX82" fmla="*/ 692041 w 1573156"/>
                <a:gd name="connsiteY82" fmla="*/ 1071514 h 3663560"/>
                <a:gd name="connsiteX83" fmla="*/ 700355 w 1573156"/>
                <a:gd name="connsiteY83" fmla="*/ 1035314 h 3663560"/>
                <a:gd name="connsiteX84" fmla="*/ 661560 w 1573156"/>
                <a:gd name="connsiteY84" fmla="*/ 957743 h 3663560"/>
                <a:gd name="connsiteX85" fmla="*/ 730836 w 1573156"/>
                <a:gd name="connsiteY85" fmla="*/ 911200 h 3663560"/>
                <a:gd name="connsiteX86" fmla="*/ 798608 w 1573156"/>
                <a:gd name="connsiteY86" fmla="*/ 918934 h 3663560"/>
                <a:gd name="connsiteX87" fmla="*/ 822441 w 1573156"/>
                <a:gd name="connsiteY87" fmla="*/ 951001 h 3663560"/>
                <a:gd name="connsiteX88" fmla="*/ 978170 w 1573156"/>
                <a:gd name="connsiteY88" fmla="*/ 1007364 h 3663560"/>
                <a:gd name="connsiteX89" fmla="*/ 963762 w 1573156"/>
                <a:gd name="connsiteY89" fmla="*/ 971687 h 3663560"/>
                <a:gd name="connsiteX90" fmla="*/ 930510 w 1573156"/>
                <a:gd name="connsiteY90" fmla="*/ 932901 h 3663560"/>
                <a:gd name="connsiteX91" fmla="*/ 919426 w 1573156"/>
                <a:gd name="connsiteY91" fmla="*/ 881187 h 3663560"/>
                <a:gd name="connsiteX92" fmla="*/ 958221 w 1573156"/>
                <a:gd name="connsiteY92" fmla="*/ 832060 h 3663560"/>
                <a:gd name="connsiteX93" fmla="*/ 985931 w 1573156"/>
                <a:gd name="connsiteY93" fmla="*/ 803617 h 3663560"/>
                <a:gd name="connsiteX94" fmla="*/ 1010871 w 1573156"/>
                <a:gd name="connsiteY94" fmla="*/ 767417 h 3663560"/>
                <a:gd name="connsiteX95" fmla="*/ 1091231 w 1573156"/>
                <a:gd name="connsiteY95" fmla="*/ 762245 h 3663560"/>
                <a:gd name="connsiteX96" fmla="*/ 1096772 w 1573156"/>
                <a:gd name="connsiteY96" fmla="*/ 741560 h 3663560"/>
                <a:gd name="connsiteX97" fmla="*/ 1121712 w 1573156"/>
                <a:gd name="connsiteY97" fmla="*/ 705360 h 3663560"/>
                <a:gd name="connsiteX98" fmla="*/ 1155516 w 1573156"/>
                <a:gd name="connsiteY98" fmla="*/ 687772 h 3663560"/>
                <a:gd name="connsiteX99" fmla="*/ 1213156 w 1573156"/>
                <a:gd name="connsiteY99" fmla="*/ 700189 h 3663560"/>
                <a:gd name="connsiteX100" fmla="*/ 1251949 w 1573156"/>
                <a:gd name="connsiteY100" fmla="*/ 720875 h 3663560"/>
                <a:gd name="connsiteX101" fmla="*/ 1299057 w 1573156"/>
                <a:gd name="connsiteY101" fmla="*/ 728632 h 3663560"/>
                <a:gd name="connsiteX102" fmla="*/ 1299057 w 1573156"/>
                <a:gd name="connsiteY102" fmla="*/ 733803 h 3663560"/>
                <a:gd name="connsiteX103" fmla="*/ 1321226 w 1573156"/>
                <a:gd name="connsiteY103" fmla="*/ 674332 h 3663560"/>
                <a:gd name="connsiteX104" fmla="*/ 1331201 w 1573156"/>
                <a:gd name="connsiteY104" fmla="*/ 640714 h 3663560"/>
                <a:gd name="connsiteX105" fmla="*/ 1337852 w 1573156"/>
                <a:gd name="connsiteY105" fmla="*/ 622618 h 3663560"/>
                <a:gd name="connsiteX106" fmla="*/ 1340789 w 1573156"/>
                <a:gd name="connsiteY106" fmla="*/ 591288 h 3663560"/>
                <a:gd name="connsiteX107" fmla="*/ 1260263 w 1573156"/>
                <a:gd name="connsiteY107" fmla="*/ 545048 h 3663560"/>
                <a:gd name="connsiteX108" fmla="*/ 1246408 w 1573156"/>
                <a:gd name="connsiteY108" fmla="*/ 472648 h 3663560"/>
                <a:gd name="connsiteX109" fmla="*/ 1246408 w 1573156"/>
                <a:gd name="connsiteY109" fmla="*/ 454548 h 3663560"/>
                <a:gd name="connsiteX110" fmla="*/ 1257491 w 1573156"/>
                <a:gd name="connsiteY110" fmla="*/ 431276 h 3663560"/>
                <a:gd name="connsiteX111" fmla="*/ 1260263 w 1573156"/>
                <a:gd name="connsiteY111" fmla="*/ 415762 h 3663560"/>
                <a:gd name="connsiteX112" fmla="*/ 1260262 w 1573156"/>
                <a:gd name="connsiteY112" fmla="*/ 358878 h 3663560"/>
                <a:gd name="connsiteX113" fmla="*/ 1238094 w 1573156"/>
                <a:gd name="connsiteY113" fmla="*/ 335607 h 3663560"/>
                <a:gd name="connsiteX114" fmla="*/ 1210384 w 1573156"/>
                <a:gd name="connsiteY114" fmla="*/ 304578 h 3663560"/>
                <a:gd name="connsiteX115" fmla="*/ 1206216 w 1573156"/>
                <a:gd name="connsiteY115" fmla="*/ 280325 h 3663560"/>
                <a:gd name="connsiteX116" fmla="*/ 1257492 w 1573156"/>
                <a:gd name="connsiteY116" fmla="*/ 258034 h 3663560"/>
                <a:gd name="connsiteX117" fmla="*/ 1311072 w 1573156"/>
                <a:gd name="connsiteY117" fmla="*/ 267906 h 3663560"/>
                <a:gd name="connsiteX118" fmla="*/ 1389856 w 1573156"/>
                <a:gd name="connsiteY118" fmla="*/ 279816 h 3663560"/>
                <a:gd name="connsiteX119" fmla="*/ 1474179 w 1573156"/>
                <a:gd name="connsiteY119" fmla="*/ 349175 h 3663560"/>
                <a:gd name="connsiteX120" fmla="*/ 1536314 w 1573156"/>
                <a:gd name="connsiteY120" fmla="*/ 425271 h 3663560"/>
                <a:gd name="connsiteX121" fmla="*/ 1435343 w 1573156"/>
                <a:gd name="connsiteY121" fmla="*/ 454265 h 3663560"/>
                <a:gd name="connsiteX122" fmla="*/ 1419809 w 1573156"/>
                <a:gd name="connsiteY122" fmla="*/ 501372 h 3663560"/>
                <a:gd name="connsiteX123" fmla="*/ 1477479 w 1573156"/>
                <a:gd name="connsiteY123" fmla="*/ 585862 h 3663560"/>
                <a:gd name="connsiteX124" fmla="*/ 1513013 w 1573156"/>
                <a:gd name="connsiteY124" fmla="*/ 591964 h 3663560"/>
                <a:gd name="connsiteX125" fmla="*/ 1565633 w 1573156"/>
                <a:gd name="connsiteY125" fmla="*/ 598304 h 3663560"/>
                <a:gd name="connsiteX126" fmla="*/ 1560670 w 1573156"/>
                <a:gd name="connsiteY126" fmla="*/ 709079 h 3663560"/>
                <a:gd name="connsiteX127" fmla="*/ 1571739 w 1573156"/>
                <a:gd name="connsiteY127" fmla="*/ 1040047 h 3663560"/>
                <a:gd name="connsiteX128" fmla="*/ 1562871 w 1573156"/>
                <a:gd name="connsiteY128" fmla="*/ 1842646 h 3663560"/>
                <a:gd name="connsiteX129" fmla="*/ 1571738 w 1573156"/>
                <a:gd name="connsiteY129" fmla="*/ 2297728 h 3663560"/>
                <a:gd name="connsiteX130" fmla="*/ 1545290 w 1573156"/>
                <a:gd name="connsiteY130" fmla="*/ 3607693 h 3663560"/>
                <a:gd name="connsiteX131" fmla="*/ 1209275 w 1573156"/>
                <a:gd name="connsiteY131" fmla="*/ 3595126 h 3663560"/>
                <a:gd name="connsiteX132" fmla="*/ 1013482 w 1573156"/>
                <a:gd name="connsiteY132" fmla="*/ 3592567 h 3663560"/>
                <a:gd name="connsiteX133" fmla="*/ 1123928 w 1573156"/>
                <a:gd name="connsiteY133" fmla="*/ 3663387 h 3663560"/>
                <a:gd name="connsiteX134" fmla="*/ 907787 w 1573156"/>
                <a:gd name="connsiteY134" fmla="*/ 3629257 h 3663560"/>
                <a:gd name="connsiteX135" fmla="*/ 776238 w 1573156"/>
                <a:gd name="connsiteY135" fmla="*/ 3504783 h 3663560"/>
                <a:gd name="connsiteX136" fmla="*/ 708669 w 1573156"/>
                <a:gd name="connsiteY136" fmla="*/ 3437426 h 3663560"/>
                <a:gd name="connsiteX137" fmla="*/ 739150 w 1573156"/>
                <a:gd name="connsiteY137" fmla="*/ 3437426 h 3663560"/>
                <a:gd name="connsiteX138" fmla="*/ 750233 w 1573156"/>
                <a:gd name="connsiteY138" fmla="*/ 3408982 h 3663560"/>
                <a:gd name="connsiteX139" fmla="*/ 783486 w 1573156"/>
                <a:gd name="connsiteY139" fmla="*/ 3354683 h 3663560"/>
                <a:gd name="connsiteX140" fmla="*/ 747462 w 1573156"/>
                <a:gd name="connsiteY140" fmla="*/ 3297798 h 3663560"/>
                <a:gd name="connsiteX141" fmla="*/ 836135 w 1573156"/>
                <a:gd name="connsiteY141" fmla="*/ 3225398 h 3663560"/>
                <a:gd name="connsiteX142" fmla="*/ 902641 w 1573156"/>
                <a:gd name="connsiteY142" fmla="*/ 3217642 h 3663560"/>
                <a:gd name="connsiteX143" fmla="*/ 955289 w 1573156"/>
                <a:gd name="connsiteY143" fmla="*/ 3160756 h 3663560"/>
                <a:gd name="connsiteX144" fmla="*/ 1024565 w 1573156"/>
                <a:gd name="connsiteY144" fmla="*/ 3114213 h 3663560"/>
                <a:gd name="connsiteX145" fmla="*/ 1019023 w 1573156"/>
                <a:gd name="connsiteY145" fmla="*/ 3067671 h 3663560"/>
                <a:gd name="connsiteX146" fmla="*/ 1043963 w 1573156"/>
                <a:gd name="connsiteY146" fmla="*/ 3028886 h 3663560"/>
                <a:gd name="connsiteX147" fmla="*/ 1016252 w 1573156"/>
                <a:gd name="connsiteY147" fmla="*/ 3026300 h 3663560"/>
                <a:gd name="connsiteX148" fmla="*/ 1031704 w 1573156"/>
                <a:gd name="connsiteY148" fmla="*/ 2992878 h 3663560"/>
                <a:gd name="connsiteX149" fmla="*/ 914211 w 1573156"/>
                <a:gd name="connsiteY149" fmla="*/ 2928233 h 3663560"/>
                <a:gd name="connsiteX150" fmla="*/ 858304 w 1573156"/>
                <a:gd name="connsiteY150" fmla="*/ 2909943 h 3663560"/>
                <a:gd name="connsiteX151" fmla="*/ 827823 w 1573156"/>
                <a:gd name="connsiteY151" fmla="*/ 2881501 h 3663560"/>
                <a:gd name="connsiteX152" fmla="*/ 761317 w 1573156"/>
                <a:gd name="connsiteY152" fmla="*/ 2897015 h 3663560"/>
                <a:gd name="connsiteX153" fmla="*/ 700355 w 1573156"/>
                <a:gd name="connsiteY153" fmla="*/ 2891844 h 3663560"/>
                <a:gd name="connsiteX154" fmla="*/ 658790 w 1573156"/>
                <a:gd name="connsiteY154" fmla="*/ 2827201 h 3663560"/>
                <a:gd name="connsiteX155" fmla="*/ 656019 w 1573156"/>
                <a:gd name="connsiteY155" fmla="*/ 2785830 h 3663560"/>
                <a:gd name="connsiteX156" fmla="*/ 631080 w 1573156"/>
                <a:gd name="connsiteY156" fmla="*/ 2772902 h 3663560"/>
                <a:gd name="connsiteX157" fmla="*/ 567346 w 1573156"/>
                <a:gd name="connsiteY157" fmla="*/ 2759974 h 3663560"/>
                <a:gd name="connsiteX158" fmla="*/ 586743 w 1573156"/>
                <a:gd name="connsiteY158" fmla="*/ 2721188 h 3663560"/>
                <a:gd name="connsiteX159" fmla="*/ 557777 w 1573156"/>
                <a:gd name="connsiteY159" fmla="*/ 2715007 h 3663560"/>
                <a:gd name="connsiteX160" fmla="*/ 531809 w 1573156"/>
                <a:gd name="connsiteY160" fmla="*/ 2672771 h 3663560"/>
                <a:gd name="connsiteX161" fmla="*/ 414939 w 1573156"/>
                <a:gd name="connsiteY161" fmla="*/ 2682402 h 3663560"/>
                <a:gd name="connsiteX162" fmla="*/ 390000 w 1573156"/>
                <a:gd name="connsiteY162" fmla="*/ 2672059 h 3663560"/>
                <a:gd name="connsiteX163" fmla="*/ 367832 w 1573156"/>
                <a:gd name="connsiteY163" fmla="*/ 2684989 h 3663560"/>
                <a:gd name="connsiteX164" fmla="*/ 351205 w 1573156"/>
                <a:gd name="connsiteY164" fmla="*/ 2622932 h 3663560"/>
                <a:gd name="connsiteX165" fmla="*/ 340121 w 1573156"/>
                <a:gd name="connsiteY165" fmla="*/ 2597075 h 3663560"/>
                <a:gd name="connsiteX166" fmla="*/ 353976 w 1573156"/>
                <a:gd name="connsiteY166" fmla="*/ 2578974 h 3663560"/>
                <a:gd name="connsiteX167" fmla="*/ 381687 w 1573156"/>
                <a:gd name="connsiteY167" fmla="*/ 2581561 h 3663560"/>
                <a:gd name="connsiteX168" fmla="*/ 414939 w 1573156"/>
                <a:gd name="connsiteY168" fmla="*/ 2563461 h 3663560"/>
                <a:gd name="connsiteX169" fmla="*/ 412168 w 1573156"/>
                <a:gd name="connsiteY169" fmla="*/ 2537603 h 3663560"/>
                <a:gd name="connsiteX170" fmla="*/ 362289 w 1573156"/>
                <a:gd name="connsiteY170" fmla="*/ 2501404 h 3663560"/>
                <a:gd name="connsiteX171" fmla="*/ 338946 w 1573156"/>
                <a:gd name="connsiteY171" fmla="*/ 2513491 h 3663560"/>
                <a:gd name="connsiteX172" fmla="*/ 340121 w 1573156"/>
                <a:gd name="connsiteY172" fmla="*/ 2467790 h 3663560"/>
                <a:gd name="connsiteX173" fmla="*/ 306869 w 1573156"/>
                <a:gd name="connsiteY173" fmla="*/ 2429005 h 3663560"/>
                <a:gd name="connsiteX174" fmla="*/ 309641 w 1573156"/>
                <a:gd name="connsiteY174" fmla="*/ 2351433 h 3663560"/>
                <a:gd name="connsiteX175" fmla="*/ 290243 w 1573156"/>
                <a:gd name="connsiteY175" fmla="*/ 2299720 h 3663560"/>
                <a:gd name="connsiteX176" fmla="*/ 256991 w 1573156"/>
                <a:gd name="connsiteY176" fmla="*/ 2266106 h 3663560"/>
                <a:gd name="connsiteX177" fmla="*/ 218196 w 1573156"/>
                <a:gd name="connsiteY177" fmla="*/ 2242835 h 3663560"/>
                <a:gd name="connsiteX178" fmla="*/ 176631 w 1573156"/>
                <a:gd name="connsiteY178" fmla="*/ 2250592 h 3663560"/>
                <a:gd name="connsiteX179" fmla="*/ 122255 w 1573156"/>
                <a:gd name="connsiteY179" fmla="*/ 2214066 h 3663560"/>
                <a:gd name="connsiteX0" fmla="*/ 122255 w 1573156"/>
                <a:gd name="connsiteY0" fmla="*/ 2214066 h 3728408"/>
                <a:gd name="connsiteX1" fmla="*/ 63018 w 1573156"/>
                <a:gd name="connsiteY1" fmla="*/ 2216977 h 3728408"/>
                <a:gd name="connsiteX2" fmla="*/ 60248 w 1573156"/>
                <a:gd name="connsiteY2" fmla="*/ 2118721 h 3728408"/>
                <a:gd name="connsiteX3" fmla="*/ 71333 w 1573156"/>
                <a:gd name="connsiteY3" fmla="*/ 2077350 h 3728408"/>
                <a:gd name="connsiteX4" fmla="*/ 74102 w 1573156"/>
                <a:gd name="connsiteY4" fmla="*/ 2030807 h 3728408"/>
                <a:gd name="connsiteX5" fmla="*/ 76875 w 1573156"/>
                <a:gd name="connsiteY5" fmla="*/ 2020467 h 3728408"/>
                <a:gd name="connsiteX6" fmla="*/ 118439 w 1573156"/>
                <a:gd name="connsiteY6" fmla="*/ 1992023 h 3728408"/>
                <a:gd name="connsiteX7" fmla="*/ 82416 w 1573156"/>
                <a:gd name="connsiteY7" fmla="*/ 1963580 h 3728408"/>
                <a:gd name="connsiteX8" fmla="*/ 51935 w 1573156"/>
                <a:gd name="connsiteY8" fmla="*/ 1927380 h 3728408"/>
                <a:gd name="connsiteX9" fmla="*/ 40850 w 1573156"/>
                <a:gd name="connsiteY9" fmla="*/ 1893766 h 3728408"/>
                <a:gd name="connsiteX10" fmla="*/ 43621 w 1573156"/>
                <a:gd name="connsiteY10" fmla="*/ 1844639 h 3728408"/>
                <a:gd name="connsiteX11" fmla="*/ 82416 w 1573156"/>
                <a:gd name="connsiteY11" fmla="*/ 1826538 h 3728408"/>
                <a:gd name="connsiteX12" fmla="*/ 112899 w 1573156"/>
                <a:gd name="connsiteY12" fmla="*/ 1782581 h 3728408"/>
                <a:gd name="connsiteX13" fmla="*/ 96271 w 1573156"/>
                <a:gd name="connsiteY13" fmla="*/ 1754138 h 3728408"/>
                <a:gd name="connsiteX14" fmla="*/ 40851 w 1573156"/>
                <a:gd name="connsiteY14" fmla="*/ 1746381 h 3728408"/>
                <a:gd name="connsiteX15" fmla="*/ 2057 w 1573156"/>
                <a:gd name="connsiteY15" fmla="*/ 1730867 h 3728408"/>
                <a:gd name="connsiteX16" fmla="*/ 38079 w 1573156"/>
                <a:gd name="connsiteY16" fmla="*/ 1689496 h 3728408"/>
                <a:gd name="connsiteX17" fmla="*/ 18683 w 1573156"/>
                <a:gd name="connsiteY17" fmla="*/ 1679153 h 3728408"/>
                <a:gd name="connsiteX18" fmla="*/ 2055 w 1573156"/>
                <a:gd name="connsiteY18" fmla="*/ 1640367 h 3728408"/>
                <a:gd name="connsiteX19" fmla="*/ 65790 w 1573156"/>
                <a:gd name="connsiteY19" fmla="*/ 1650711 h 3728408"/>
                <a:gd name="connsiteX20" fmla="*/ 93501 w 1573156"/>
                <a:gd name="connsiteY20" fmla="*/ 1627440 h 3728408"/>
                <a:gd name="connsiteX21" fmla="*/ 187716 w 1573156"/>
                <a:gd name="connsiteY21" fmla="*/ 1536941 h 3728408"/>
                <a:gd name="connsiteX22" fmla="*/ 212655 w 1573156"/>
                <a:gd name="connsiteY22" fmla="*/ 1505912 h 3728408"/>
                <a:gd name="connsiteX23" fmla="*/ 198801 w 1573156"/>
                <a:gd name="connsiteY23" fmla="*/ 1555040 h 3728408"/>
                <a:gd name="connsiteX24" fmla="*/ 218197 w 1573156"/>
                <a:gd name="connsiteY24" fmla="*/ 1588655 h 3728408"/>
                <a:gd name="connsiteX25" fmla="*/ 262534 w 1573156"/>
                <a:gd name="connsiteY25" fmla="*/ 1666225 h 3728408"/>
                <a:gd name="connsiteX26" fmla="*/ 331810 w 1573156"/>
                <a:gd name="connsiteY26" fmla="*/ 1653297 h 3728408"/>
                <a:gd name="connsiteX27" fmla="*/ 351206 w 1573156"/>
                <a:gd name="connsiteY27" fmla="*/ 1622268 h 3728408"/>
                <a:gd name="connsiteX28" fmla="*/ 365062 w 1573156"/>
                <a:gd name="connsiteY28" fmla="*/ 1557627 h 3728408"/>
                <a:gd name="connsiteX29" fmla="*/ 304099 w 1573156"/>
                <a:gd name="connsiteY29" fmla="*/ 1511084 h 3728408"/>
                <a:gd name="connsiteX30" fmla="*/ 259763 w 1573156"/>
                <a:gd name="connsiteY30" fmla="*/ 1485227 h 3728408"/>
                <a:gd name="connsiteX31" fmla="*/ 198801 w 1573156"/>
                <a:gd name="connsiteY31" fmla="*/ 1495570 h 3728408"/>
                <a:gd name="connsiteX32" fmla="*/ 376147 w 1573156"/>
                <a:gd name="connsiteY32" fmla="*/ 1299057 h 3728408"/>
                <a:gd name="connsiteX33" fmla="*/ 223740 w 1573156"/>
                <a:gd name="connsiteY33" fmla="*/ 1151672 h 3728408"/>
                <a:gd name="connsiteX34" fmla="*/ 284703 w 1573156"/>
                <a:gd name="connsiteY34" fmla="*/ 1089617 h 3728408"/>
                <a:gd name="connsiteX35" fmla="*/ 218198 w 1573156"/>
                <a:gd name="connsiteY35" fmla="*/ 1050829 h 3728408"/>
                <a:gd name="connsiteX36" fmla="*/ 259763 w 1573156"/>
                <a:gd name="connsiteY36" fmla="*/ 1019802 h 3728408"/>
                <a:gd name="connsiteX37" fmla="*/ 212657 w 1573156"/>
                <a:gd name="connsiteY37" fmla="*/ 993947 h 3728408"/>
                <a:gd name="connsiteX38" fmla="*/ 212656 w 1573156"/>
                <a:gd name="connsiteY38" fmla="*/ 794845 h 3728408"/>
                <a:gd name="connsiteX39" fmla="*/ 251451 w 1573156"/>
                <a:gd name="connsiteY39" fmla="*/ 779332 h 3728408"/>
                <a:gd name="connsiteX40" fmla="*/ 137838 w 1573156"/>
                <a:gd name="connsiteY40" fmla="*/ 551792 h 3728408"/>
                <a:gd name="connsiteX41" fmla="*/ 135067 w 1573156"/>
                <a:gd name="connsiteY41" fmla="*/ 551792 h 3728408"/>
                <a:gd name="connsiteX42" fmla="*/ 184945 w 1573156"/>
                <a:gd name="connsiteY42" fmla="*/ 469048 h 3728408"/>
                <a:gd name="connsiteX43" fmla="*/ 201571 w 1573156"/>
                <a:gd name="connsiteY43" fmla="*/ 378550 h 3728408"/>
                <a:gd name="connsiteX44" fmla="*/ 126752 w 1573156"/>
                <a:gd name="connsiteY44" fmla="*/ 319079 h 3728408"/>
                <a:gd name="connsiteX45" fmla="*/ 118440 w 1573156"/>
                <a:gd name="connsiteY45" fmla="*/ 251851 h 3728408"/>
                <a:gd name="connsiteX46" fmla="*/ 173860 w 1573156"/>
                <a:gd name="connsiteY46" fmla="*/ 158764 h 3728408"/>
                <a:gd name="connsiteX47" fmla="*/ 193258 w 1573156"/>
                <a:gd name="connsiteY47" fmla="*/ 135494 h 3728408"/>
                <a:gd name="connsiteX48" fmla="*/ 207113 w 1573156"/>
                <a:gd name="connsiteY48" fmla="*/ 117394 h 3728408"/>
                <a:gd name="connsiteX49" fmla="*/ 215426 w 1573156"/>
                <a:gd name="connsiteY49" fmla="*/ 73438 h 3728408"/>
                <a:gd name="connsiteX50" fmla="*/ 240365 w 1573156"/>
                <a:gd name="connsiteY50" fmla="*/ 101880 h 3728408"/>
                <a:gd name="connsiteX51" fmla="*/ 270847 w 1573156"/>
                <a:gd name="connsiteY51" fmla="*/ 88952 h 3728408"/>
                <a:gd name="connsiteX52" fmla="*/ 273617 w 1573156"/>
                <a:gd name="connsiteY52" fmla="*/ 63095 h 3728408"/>
                <a:gd name="connsiteX53" fmla="*/ 281931 w 1573156"/>
                <a:gd name="connsiteY53" fmla="*/ 34652 h 3728408"/>
                <a:gd name="connsiteX54" fmla="*/ 284703 w 1573156"/>
                <a:gd name="connsiteY54" fmla="*/ 3624 h 3728408"/>
                <a:gd name="connsiteX55" fmla="*/ 420483 w 1573156"/>
                <a:gd name="connsiteY55" fmla="*/ 57924 h 3728408"/>
                <a:gd name="connsiteX56" fmla="*/ 450963 w 1573156"/>
                <a:gd name="connsiteY56" fmla="*/ 161352 h 3728408"/>
                <a:gd name="connsiteX57" fmla="*/ 464819 w 1573156"/>
                <a:gd name="connsiteY57" fmla="*/ 184622 h 3728408"/>
                <a:gd name="connsiteX58" fmla="*/ 475903 w 1573156"/>
                <a:gd name="connsiteY58" fmla="*/ 187208 h 3728408"/>
                <a:gd name="connsiteX59" fmla="*/ 589515 w 1573156"/>
                <a:gd name="connsiteY59" fmla="*/ 156181 h 3728408"/>
                <a:gd name="connsiteX60" fmla="*/ 656020 w 1573156"/>
                <a:gd name="connsiteY60" fmla="*/ 166522 h 3728408"/>
                <a:gd name="connsiteX61" fmla="*/ 719754 w 1573156"/>
                <a:gd name="connsiteY61" fmla="*/ 213065 h 3728408"/>
                <a:gd name="connsiteX62" fmla="*/ 733781 w 1573156"/>
                <a:gd name="connsiteY62" fmla="*/ 242621 h 3728408"/>
                <a:gd name="connsiteX63" fmla="*/ 789028 w 1573156"/>
                <a:gd name="connsiteY63" fmla="*/ 277708 h 3728408"/>
                <a:gd name="connsiteX64" fmla="*/ 877702 w 1573156"/>
                <a:gd name="connsiteY64" fmla="*/ 303563 h 3728408"/>
                <a:gd name="connsiteX65" fmla="*/ 949748 w 1573156"/>
                <a:gd name="connsiteY65" fmla="*/ 350106 h 3728408"/>
                <a:gd name="connsiteX66" fmla="*/ 999627 w 1573156"/>
                <a:gd name="connsiteY66" fmla="*/ 401820 h 3728408"/>
                <a:gd name="connsiteX67" fmla="*/ 1024566 w 1573156"/>
                <a:gd name="connsiteY67" fmla="*/ 440606 h 3728408"/>
                <a:gd name="connsiteX68" fmla="*/ 1057819 w 1573156"/>
                <a:gd name="connsiteY68" fmla="*/ 466462 h 3728408"/>
                <a:gd name="connsiteX69" fmla="*/ 1041191 w 1573156"/>
                <a:gd name="connsiteY69" fmla="*/ 691417 h 3728408"/>
                <a:gd name="connsiteX70" fmla="*/ 913725 w 1573156"/>
                <a:gd name="connsiteY70" fmla="*/ 771575 h 3728408"/>
                <a:gd name="connsiteX71" fmla="*/ 800113 w 1573156"/>
                <a:gd name="connsiteY71" fmla="*/ 779331 h 3728408"/>
                <a:gd name="connsiteX72" fmla="*/ 661560 w 1573156"/>
                <a:gd name="connsiteY72" fmla="*/ 758645 h 3728408"/>
                <a:gd name="connsiteX73" fmla="*/ 570116 w 1573156"/>
                <a:gd name="connsiteY73" fmla="*/ 722445 h 3728408"/>
                <a:gd name="connsiteX74" fmla="*/ 550719 w 1573156"/>
                <a:gd name="connsiteY74" fmla="*/ 750888 h 3728408"/>
                <a:gd name="connsiteX75" fmla="*/ 581361 w 1573156"/>
                <a:gd name="connsiteY75" fmla="*/ 824301 h 3728408"/>
                <a:gd name="connsiteX76" fmla="*/ 586902 w 1573156"/>
                <a:gd name="connsiteY76" fmla="*/ 951000 h 3728408"/>
                <a:gd name="connsiteX77" fmla="*/ 559032 w 1573156"/>
                <a:gd name="connsiteY77" fmla="*/ 1012043 h 3728408"/>
                <a:gd name="connsiteX78" fmla="*/ 614451 w 1573156"/>
                <a:gd name="connsiteY78" fmla="*/ 1032728 h 3728408"/>
                <a:gd name="connsiteX79" fmla="*/ 631079 w 1573156"/>
                <a:gd name="connsiteY79" fmla="*/ 1048242 h 3728408"/>
                <a:gd name="connsiteX80" fmla="*/ 656019 w 1573156"/>
                <a:gd name="connsiteY80" fmla="*/ 1074099 h 3728408"/>
                <a:gd name="connsiteX81" fmla="*/ 653248 w 1573156"/>
                <a:gd name="connsiteY81" fmla="*/ 1076685 h 3728408"/>
                <a:gd name="connsiteX82" fmla="*/ 692041 w 1573156"/>
                <a:gd name="connsiteY82" fmla="*/ 1071514 h 3728408"/>
                <a:gd name="connsiteX83" fmla="*/ 700355 w 1573156"/>
                <a:gd name="connsiteY83" fmla="*/ 1035314 h 3728408"/>
                <a:gd name="connsiteX84" fmla="*/ 661560 w 1573156"/>
                <a:gd name="connsiteY84" fmla="*/ 957743 h 3728408"/>
                <a:gd name="connsiteX85" fmla="*/ 730836 w 1573156"/>
                <a:gd name="connsiteY85" fmla="*/ 911200 h 3728408"/>
                <a:gd name="connsiteX86" fmla="*/ 798608 w 1573156"/>
                <a:gd name="connsiteY86" fmla="*/ 918934 h 3728408"/>
                <a:gd name="connsiteX87" fmla="*/ 822441 w 1573156"/>
                <a:gd name="connsiteY87" fmla="*/ 951001 h 3728408"/>
                <a:gd name="connsiteX88" fmla="*/ 978170 w 1573156"/>
                <a:gd name="connsiteY88" fmla="*/ 1007364 h 3728408"/>
                <a:gd name="connsiteX89" fmla="*/ 963762 w 1573156"/>
                <a:gd name="connsiteY89" fmla="*/ 971687 h 3728408"/>
                <a:gd name="connsiteX90" fmla="*/ 930510 w 1573156"/>
                <a:gd name="connsiteY90" fmla="*/ 932901 h 3728408"/>
                <a:gd name="connsiteX91" fmla="*/ 919426 w 1573156"/>
                <a:gd name="connsiteY91" fmla="*/ 881187 h 3728408"/>
                <a:gd name="connsiteX92" fmla="*/ 958221 w 1573156"/>
                <a:gd name="connsiteY92" fmla="*/ 832060 h 3728408"/>
                <a:gd name="connsiteX93" fmla="*/ 985931 w 1573156"/>
                <a:gd name="connsiteY93" fmla="*/ 803617 h 3728408"/>
                <a:gd name="connsiteX94" fmla="*/ 1010871 w 1573156"/>
                <a:gd name="connsiteY94" fmla="*/ 767417 h 3728408"/>
                <a:gd name="connsiteX95" fmla="*/ 1091231 w 1573156"/>
                <a:gd name="connsiteY95" fmla="*/ 762245 h 3728408"/>
                <a:gd name="connsiteX96" fmla="*/ 1096772 w 1573156"/>
                <a:gd name="connsiteY96" fmla="*/ 741560 h 3728408"/>
                <a:gd name="connsiteX97" fmla="*/ 1121712 w 1573156"/>
                <a:gd name="connsiteY97" fmla="*/ 705360 h 3728408"/>
                <a:gd name="connsiteX98" fmla="*/ 1155516 w 1573156"/>
                <a:gd name="connsiteY98" fmla="*/ 687772 h 3728408"/>
                <a:gd name="connsiteX99" fmla="*/ 1213156 w 1573156"/>
                <a:gd name="connsiteY99" fmla="*/ 700189 h 3728408"/>
                <a:gd name="connsiteX100" fmla="*/ 1251949 w 1573156"/>
                <a:gd name="connsiteY100" fmla="*/ 720875 h 3728408"/>
                <a:gd name="connsiteX101" fmla="*/ 1299057 w 1573156"/>
                <a:gd name="connsiteY101" fmla="*/ 728632 h 3728408"/>
                <a:gd name="connsiteX102" fmla="*/ 1299057 w 1573156"/>
                <a:gd name="connsiteY102" fmla="*/ 733803 h 3728408"/>
                <a:gd name="connsiteX103" fmla="*/ 1321226 w 1573156"/>
                <a:gd name="connsiteY103" fmla="*/ 674332 h 3728408"/>
                <a:gd name="connsiteX104" fmla="*/ 1331201 w 1573156"/>
                <a:gd name="connsiteY104" fmla="*/ 640714 h 3728408"/>
                <a:gd name="connsiteX105" fmla="*/ 1337852 w 1573156"/>
                <a:gd name="connsiteY105" fmla="*/ 622618 h 3728408"/>
                <a:gd name="connsiteX106" fmla="*/ 1340789 w 1573156"/>
                <a:gd name="connsiteY106" fmla="*/ 591288 h 3728408"/>
                <a:gd name="connsiteX107" fmla="*/ 1260263 w 1573156"/>
                <a:gd name="connsiteY107" fmla="*/ 545048 h 3728408"/>
                <a:gd name="connsiteX108" fmla="*/ 1246408 w 1573156"/>
                <a:gd name="connsiteY108" fmla="*/ 472648 h 3728408"/>
                <a:gd name="connsiteX109" fmla="*/ 1246408 w 1573156"/>
                <a:gd name="connsiteY109" fmla="*/ 454548 h 3728408"/>
                <a:gd name="connsiteX110" fmla="*/ 1257491 w 1573156"/>
                <a:gd name="connsiteY110" fmla="*/ 431276 h 3728408"/>
                <a:gd name="connsiteX111" fmla="*/ 1260263 w 1573156"/>
                <a:gd name="connsiteY111" fmla="*/ 415762 h 3728408"/>
                <a:gd name="connsiteX112" fmla="*/ 1260262 w 1573156"/>
                <a:gd name="connsiteY112" fmla="*/ 358878 h 3728408"/>
                <a:gd name="connsiteX113" fmla="*/ 1238094 w 1573156"/>
                <a:gd name="connsiteY113" fmla="*/ 335607 h 3728408"/>
                <a:gd name="connsiteX114" fmla="*/ 1210384 w 1573156"/>
                <a:gd name="connsiteY114" fmla="*/ 304578 h 3728408"/>
                <a:gd name="connsiteX115" fmla="*/ 1206216 w 1573156"/>
                <a:gd name="connsiteY115" fmla="*/ 280325 h 3728408"/>
                <a:gd name="connsiteX116" fmla="*/ 1257492 w 1573156"/>
                <a:gd name="connsiteY116" fmla="*/ 258034 h 3728408"/>
                <a:gd name="connsiteX117" fmla="*/ 1311072 w 1573156"/>
                <a:gd name="connsiteY117" fmla="*/ 267906 h 3728408"/>
                <a:gd name="connsiteX118" fmla="*/ 1389856 w 1573156"/>
                <a:gd name="connsiteY118" fmla="*/ 279816 h 3728408"/>
                <a:gd name="connsiteX119" fmla="*/ 1474179 w 1573156"/>
                <a:gd name="connsiteY119" fmla="*/ 349175 h 3728408"/>
                <a:gd name="connsiteX120" fmla="*/ 1536314 w 1573156"/>
                <a:gd name="connsiteY120" fmla="*/ 425271 h 3728408"/>
                <a:gd name="connsiteX121" fmla="*/ 1435343 w 1573156"/>
                <a:gd name="connsiteY121" fmla="*/ 454265 h 3728408"/>
                <a:gd name="connsiteX122" fmla="*/ 1419809 w 1573156"/>
                <a:gd name="connsiteY122" fmla="*/ 501372 h 3728408"/>
                <a:gd name="connsiteX123" fmla="*/ 1477479 w 1573156"/>
                <a:gd name="connsiteY123" fmla="*/ 585862 h 3728408"/>
                <a:gd name="connsiteX124" fmla="*/ 1513013 w 1573156"/>
                <a:gd name="connsiteY124" fmla="*/ 591964 h 3728408"/>
                <a:gd name="connsiteX125" fmla="*/ 1565633 w 1573156"/>
                <a:gd name="connsiteY125" fmla="*/ 598304 h 3728408"/>
                <a:gd name="connsiteX126" fmla="*/ 1560670 w 1573156"/>
                <a:gd name="connsiteY126" fmla="*/ 709079 h 3728408"/>
                <a:gd name="connsiteX127" fmla="*/ 1571739 w 1573156"/>
                <a:gd name="connsiteY127" fmla="*/ 1040047 h 3728408"/>
                <a:gd name="connsiteX128" fmla="*/ 1562871 w 1573156"/>
                <a:gd name="connsiteY128" fmla="*/ 1842646 h 3728408"/>
                <a:gd name="connsiteX129" fmla="*/ 1571738 w 1573156"/>
                <a:gd name="connsiteY129" fmla="*/ 2297728 h 3728408"/>
                <a:gd name="connsiteX130" fmla="*/ 1559146 w 1573156"/>
                <a:gd name="connsiteY130" fmla="*/ 3716291 h 3728408"/>
                <a:gd name="connsiteX131" fmla="*/ 1209275 w 1573156"/>
                <a:gd name="connsiteY131" fmla="*/ 3595126 h 3728408"/>
                <a:gd name="connsiteX132" fmla="*/ 1013482 w 1573156"/>
                <a:gd name="connsiteY132" fmla="*/ 3592567 h 3728408"/>
                <a:gd name="connsiteX133" fmla="*/ 1123928 w 1573156"/>
                <a:gd name="connsiteY133" fmla="*/ 3663387 h 3728408"/>
                <a:gd name="connsiteX134" fmla="*/ 907787 w 1573156"/>
                <a:gd name="connsiteY134" fmla="*/ 3629257 h 3728408"/>
                <a:gd name="connsiteX135" fmla="*/ 776238 w 1573156"/>
                <a:gd name="connsiteY135" fmla="*/ 3504783 h 3728408"/>
                <a:gd name="connsiteX136" fmla="*/ 708669 w 1573156"/>
                <a:gd name="connsiteY136" fmla="*/ 3437426 h 3728408"/>
                <a:gd name="connsiteX137" fmla="*/ 739150 w 1573156"/>
                <a:gd name="connsiteY137" fmla="*/ 3437426 h 3728408"/>
                <a:gd name="connsiteX138" fmla="*/ 750233 w 1573156"/>
                <a:gd name="connsiteY138" fmla="*/ 3408982 h 3728408"/>
                <a:gd name="connsiteX139" fmla="*/ 783486 w 1573156"/>
                <a:gd name="connsiteY139" fmla="*/ 3354683 h 3728408"/>
                <a:gd name="connsiteX140" fmla="*/ 747462 w 1573156"/>
                <a:gd name="connsiteY140" fmla="*/ 3297798 h 3728408"/>
                <a:gd name="connsiteX141" fmla="*/ 836135 w 1573156"/>
                <a:gd name="connsiteY141" fmla="*/ 3225398 h 3728408"/>
                <a:gd name="connsiteX142" fmla="*/ 902641 w 1573156"/>
                <a:gd name="connsiteY142" fmla="*/ 3217642 h 3728408"/>
                <a:gd name="connsiteX143" fmla="*/ 955289 w 1573156"/>
                <a:gd name="connsiteY143" fmla="*/ 3160756 h 3728408"/>
                <a:gd name="connsiteX144" fmla="*/ 1024565 w 1573156"/>
                <a:gd name="connsiteY144" fmla="*/ 3114213 h 3728408"/>
                <a:gd name="connsiteX145" fmla="*/ 1019023 w 1573156"/>
                <a:gd name="connsiteY145" fmla="*/ 3067671 h 3728408"/>
                <a:gd name="connsiteX146" fmla="*/ 1043963 w 1573156"/>
                <a:gd name="connsiteY146" fmla="*/ 3028886 h 3728408"/>
                <a:gd name="connsiteX147" fmla="*/ 1016252 w 1573156"/>
                <a:gd name="connsiteY147" fmla="*/ 3026300 h 3728408"/>
                <a:gd name="connsiteX148" fmla="*/ 1031704 w 1573156"/>
                <a:gd name="connsiteY148" fmla="*/ 2992878 h 3728408"/>
                <a:gd name="connsiteX149" fmla="*/ 914211 w 1573156"/>
                <a:gd name="connsiteY149" fmla="*/ 2928233 h 3728408"/>
                <a:gd name="connsiteX150" fmla="*/ 858304 w 1573156"/>
                <a:gd name="connsiteY150" fmla="*/ 2909943 h 3728408"/>
                <a:gd name="connsiteX151" fmla="*/ 827823 w 1573156"/>
                <a:gd name="connsiteY151" fmla="*/ 2881501 h 3728408"/>
                <a:gd name="connsiteX152" fmla="*/ 761317 w 1573156"/>
                <a:gd name="connsiteY152" fmla="*/ 2897015 h 3728408"/>
                <a:gd name="connsiteX153" fmla="*/ 700355 w 1573156"/>
                <a:gd name="connsiteY153" fmla="*/ 2891844 h 3728408"/>
                <a:gd name="connsiteX154" fmla="*/ 658790 w 1573156"/>
                <a:gd name="connsiteY154" fmla="*/ 2827201 h 3728408"/>
                <a:gd name="connsiteX155" fmla="*/ 656019 w 1573156"/>
                <a:gd name="connsiteY155" fmla="*/ 2785830 h 3728408"/>
                <a:gd name="connsiteX156" fmla="*/ 631080 w 1573156"/>
                <a:gd name="connsiteY156" fmla="*/ 2772902 h 3728408"/>
                <a:gd name="connsiteX157" fmla="*/ 567346 w 1573156"/>
                <a:gd name="connsiteY157" fmla="*/ 2759974 h 3728408"/>
                <a:gd name="connsiteX158" fmla="*/ 586743 w 1573156"/>
                <a:gd name="connsiteY158" fmla="*/ 2721188 h 3728408"/>
                <a:gd name="connsiteX159" fmla="*/ 557777 w 1573156"/>
                <a:gd name="connsiteY159" fmla="*/ 2715007 h 3728408"/>
                <a:gd name="connsiteX160" fmla="*/ 531809 w 1573156"/>
                <a:gd name="connsiteY160" fmla="*/ 2672771 h 3728408"/>
                <a:gd name="connsiteX161" fmla="*/ 414939 w 1573156"/>
                <a:gd name="connsiteY161" fmla="*/ 2682402 h 3728408"/>
                <a:gd name="connsiteX162" fmla="*/ 390000 w 1573156"/>
                <a:gd name="connsiteY162" fmla="*/ 2672059 h 3728408"/>
                <a:gd name="connsiteX163" fmla="*/ 367832 w 1573156"/>
                <a:gd name="connsiteY163" fmla="*/ 2684989 h 3728408"/>
                <a:gd name="connsiteX164" fmla="*/ 351205 w 1573156"/>
                <a:gd name="connsiteY164" fmla="*/ 2622932 h 3728408"/>
                <a:gd name="connsiteX165" fmla="*/ 340121 w 1573156"/>
                <a:gd name="connsiteY165" fmla="*/ 2597075 h 3728408"/>
                <a:gd name="connsiteX166" fmla="*/ 353976 w 1573156"/>
                <a:gd name="connsiteY166" fmla="*/ 2578974 h 3728408"/>
                <a:gd name="connsiteX167" fmla="*/ 381687 w 1573156"/>
                <a:gd name="connsiteY167" fmla="*/ 2581561 h 3728408"/>
                <a:gd name="connsiteX168" fmla="*/ 414939 w 1573156"/>
                <a:gd name="connsiteY168" fmla="*/ 2563461 h 3728408"/>
                <a:gd name="connsiteX169" fmla="*/ 412168 w 1573156"/>
                <a:gd name="connsiteY169" fmla="*/ 2537603 h 3728408"/>
                <a:gd name="connsiteX170" fmla="*/ 362289 w 1573156"/>
                <a:gd name="connsiteY170" fmla="*/ 2501404 h 3728408"/>
                <a:gd name="connsiteX171" fmla="*/ 338946 w 1573156"/>
                <a:gd name="connsiteY171" fmla="*/ 2513491 h 3728408"/>
                <a:gd name="connsiteX172" fmla="*/ 340121 w 1573156"/>
                <a:gd name="connsiteY172" fmla="*/ 2467790 h 3728408"/>
                <a:gd name="connsiteX173" fmla="*/ 306869 w 1573156"/>
                <a:gd name="connsiteY173" fmla="*/ 2429005 h 3728408"/>
                <a:gd name="connsiteX174" fmla="*/ 309641 w 1573156"/>
                <a:gd name="connsiteY174" fmla="*/ 2351433 h 3728408"/>
                <a:gd name="connsiteX175" fmla="*/ 290243 w 1573156"/>
                <a:gd name="connsiteY175" fmla="*/ 2299720 h 3728408"/>
                <a:gd name="connsiteX176" fmla="*/ 256991 w 1573156"/>
                <a:gd name="connsiteY176" fmla="*/ 2266106 h 3728408"/>
                <a:gd name="connsiteX177" fmla="*/ 218196 w 1573156"/>
                <a:gd name="connsiteY177" fmla="*/ 2242835 h 3728408"/>
                <a:gd name="connsiteX178" fmla="*/ 176631 w 1573156"/>
                <a:gd name="connsiteY178" fmla="*/ 2250592 h 3728408"/>
                <a:gd name="connsiteX179" fmla="*/ 122255 w 1573156"/>
                <a:gd name="connsiteY179" fmla="*/ 2214066 h 3728408"/>
                <a:gd name="connsiteX0" fmla="*/ 122255 w 1573156"/>
                <a:gd name="connsiteY0" fmla="*/ 2214066 h 3816508"/>
                <a:gd name="connsiteX1" fmla="*/ 63018 w 1573156"/>
                <a:gd name="connsiteY1" fmla="*/ 2216977 h 3816508"/>
                <a:gd name="connsiteX2" fmla="*/ 60248 w 1573156"/>
                <a:gd name="connsiteY2" fmla="*/ 2118721 h 3816508"/>
                <a:gd name="connsiteX3" fmla="*/ 71333 w 1573156"/>
                <a:gd name="connsiteY3" fmla="*/ 2077350 h 3816508"/>
                <a:gd name="connsiteX4" fmla="*/ 74102 w 1573156"/>
                <a:gd name="connsiteY4" fmla="*/ 2030807 h 3816508"/>
                <a:gd name="connsiteX5" fmla="*/ 76875 w 1573156"/>
                <a:gd name="connsiteY5" fmla="*/ 2020467 h 3816508"/>
                <a:gd name="connsiteX6" fmla="*/ 118439 w 1573156"/>
                <a:gd name="connsiteY6" fmla="*/ 1992023 h 3816508"/>
                <a:gd name="connsiteX7" fmla="*/ 82416 w 1573156"/>
                <a:gd name="connsiteY7" fmla="*/ 1963580 h 3816508"/>
                <a:gd name="connsiteX8" fmla="*/ 51935 w 1573156"/>
                <a:gd name="connsiteY8" fmla="*/ 1927380 h 3816508"/>
                <a:gd name="connsiteX9" fmla="*/ 40850 w 1573156"/>
                <a:gd name="connsiteY9" fmla="*/ 1893766 h 3816508"/>
                <a:gd name="connsiteX10" fmla="*/ 43621 w 1573156"/>
                <a:gd name="connsiteY10" fmla="*/ 1844639 h 3816508"/>
                <a:gd name="connsiteX11" fmla="*/ 82416 w 1573156"/>
                <a:gd name="connsiteY11" fmla="*/ 1826538 h 3816508"/>
                <a:gd name="connsiteX12" fmla="*/ 112899 w 1573156"/>
                <a:gd name="connsiteY12" fmla="*/ 1782581 h 3816508"/>
                <a:gd name="connsiteX13" fmla="*/ 96271 w 1573156"/>
                <a:gd name="connsiteY13" fmla="*/ 1754138 h 3816508"/>
                <a:gd name="connsiteX14" fmla="*/ 40851 w 1573156"/>
                <a:gd name="connsiteY14" fmla="*/ 1746381 h 3816508"/>
                <a:gd name="connsiteX15" fmla="*/ 2057 w 1573156"/>
                <a:gd name="connsiteY15" fmla="*/ 1730867 h 3816508"/>
                <a:gd name="connsiteX16" fmla="*/ 38079 w 1573156"/>
                <a:gd name="connsiteY16" fmla="*/ 1689496 h 3816508"/>
                <a:gd name="connsiteX17" fmla="*/ 18683 w 1573156"/>
                <a:gd name="connsiteY17" fmla="*/ 1679153 h 3816508"/>
                <a:gd name="connsiteX18" fmla="*/ 2055 w 1573156"/>
                <a:gd name="connsiteY18" fmla="*/ 1640367 h 3816508"/>
                <a:gd name="connsiteX19" fmla="*/ 65790 w 1573156"/>
                <a:gd name="connsiteY19" fmla="*/ 1650711 h 3816508"/>
                <a:gd name="connsiteX20" fmla="*/ 93501 w 1573156"/>
                <a:gd name="connsiteY20" fmla="*/ 1627440 h 3816508"/>
                <a:gd name="connsiteX21" fmla="*/ 187716 w 1573156"/>
                <a:gd name="connsiteY21" fmla="*/ 1536941 h 3816508"/>
                <a:gd name="connsiteX22" fmla="*/ 212655 w 1573156"/>
                <a:gd name="connsiteY22" fmla="*/ 1505912 h 3816508"/>
                <a:gd name="connsiteX23" fmla="*/ 198801 w 1573156"/>
                <a:gd name="connsiteY23" fmla="*/ 1555040 h 3816508"/>
                <a:gd name="connsiteX24" fmla="*/ 218197 w 1573156"/>
                <a:gd name="connsiteY24" fmla="*/ 1588655 h 3816508"/>
                <a:gd name="connsiteX25" fmla="*/ 262534 w 1573156"/>
                <a:gd name="connsiteY25" fmla="*/ 1666225 h 3816508"/>
                <a:gd name="connsiteX26" fmla="*/ 331810 w 1573156"/>
                <a:gd name="connsiteY26" fmla="*/ 1653297 h 3816508"/>
                <a:gd name="connsiteX27" fmla="*/ 351206 w 1573156"/>
                <a:gd name="connsiteY27" fmla="*/ 1622268 h 3816508"/>
                <a:gd name="connsiteX28" fmla="*/ 365062 w 1573156"/>
                <a:gd name="connsiteY28" fmla="*/ 1557627 h 3816508"/>
                <a:gd name="connsiteX29" fmla="*/ 304099 w 1573156"/>
                <a:gd name="connsiteY29" fmla="*/ 1511084 h 3816508"/>
                <a:gd name="connsiteX30" fmla="*/ 259763 w 1573156"/>
                <a:gd name="connsiteY30" fmla="*/ 1485227 h 3816508"/>
                <a:gd name="connsiteX31" fmla="*/ 198801 w 1573156"/>
                <a:gd name="connsiteY31" fmla="*/ 1495570 h 3816508"/>
                <a:gd name="connsiteX32" fmla="*/ 376147 w 1573156"/>
                <a:gd name="connsiteY32" fmla="*/ 1299057 h 3816508"/>
                <a:gd name="connsiteX33" fmla="*/ 223740 w 1573156"/>
                <a:gd name="connsiteY33" fmla="*/ 1151672 h 3816508"/>
                <a:gd name="connsiteX34" fmla="*/ 284703 w 1573156"/>
                <a:gd name="connsiteY34" fmla="*/ 1089617 h 3816508"/>
                <a:gd name="connsiteX35" fmla="*/ 218198 w 1573156"/>
                <a:gd name="connsiteY35" fmla="*/ 1050829 h 3816508"/>
                <a:gd name="connsiteX36" fmla="*/ 259763 w 1573156"/>
                <a:gd name="connsiteY36" fmla="*/ 1019802 h 3816508"/>
                <a:gd name="connsiteX37" fmla="*/ 212657 w 1573156"/>
                <a:gd name="connsiteY37" fmla="*/ 993947 h 3816508"/>
                <a:gd name="connsiteX38" fmla="*/ 212656 w 1573156"/>
                <a:gd name="connsiteY38" fmla="*/ 794845 h 3816508"/>
                <a:gd name="connsiteX39" fmla="*/ 251451 w 1573156"/>
                <a:gd name="connsiteY39" fmla="*/ 779332 h 3816508"/>
                <a:gd name="connsiteX40" fmla="*/ 137838 w 1573156"/>
                <a:gd name="connsiteY40" fmla="*/ 551792 h 3816508"/>
                <a:gd name="connsiteX41" fmla="*/ 135067 w 1573156"/>
                <a:gd name="connsiteY41" fmla="*/ 551792 h 3816508"/>
                <a:gd name="connsiteX42" fmla="*/ 184945 w 1573156"/>
                <a:gd name="connsiteY42" fmla="*/ 469048 h 3816508"/>
                <a:gd name="connsiteX43" fmla="*/ 201571 w 1573156"/>
                <a:gd name="connsiteY43" fmla="*/ 378550 h 3816508"/>
                <a:gd name="connsiteX44" fmla="*/ 126752 w 1573156"/>
                <a:gd name="connsiteY44" fmla="*/ 319079 h 3816508"/>
                <a:gd name="connsiteX45" fmla="*/ 118440 w 1573156"/>
                <a:gd name="connsiteY45" fmla="*/ 251851 h 3816508"/>
                <a:gd name="connsiteX46" fmla="*/ 173860 w 1573156"/>
                <a:gd name="connsiteY46" fmla="*/ 158764 h 3816508"/>
                <a:gd name="connsiteX47" fmla="*/ 193258 w 1573156"/>
                <a:gd name="connsiteY47" fmla="*/ 135494 h 3816508"/>
                <a:gd name="connsiteX48" fmla="*/ 207113 w 1573156"/>
                <a:gd name="connsiteY48" fmla="*/ 117394 h 3816508"/>
                <a:gd name="connsiteX49" fmla="*/ 215426 w 1573156"/>
                <a:gd name="connsiteY49" fmla="*/ 73438 h 3816508"/>
                <a:gd name="connsiteX50" fmla="*/ 240365 w 1573156"/>
                <a:gd name="connsiteY50" fmla="*/ 101880 h 3816508"/>
                <a:gd name="connsiteX51" fmla="*/ 270847 w 1573156"/>
                <a:gd name="connsiteY51" fmla="*/ 88952 h 3816508"/>
                <a:gd name="connsiteX52" fmla="*/ 273617 w 1573156"/>
                <a:gd name="connsiteY52" fmla="*/ 63095 h 3816508"/>
                <a:gd name="connsiteX53" fmla="*/ 281931 w 1573156"/>
                <a:gd name="connsiteY53" fmla="*/ 34652 h 3816508"/>
                <a:gd name="connsiteX54" fmla="*/ 284703 w 1573156"/>
                <a:gd name="connsiteY54" fmla="*/ 3624 h 3816508"/>
                <a:gd name="connsiteX55" fmla="*/ 420483 w 1573156"/>
                <a:gd name="connsiteY55" fmla="*/ 57924 h 3816508"/>
                <a:gd name="connsiteX56" fmla="*/ 450963 w 1573156"/>
                <a:gd name="connsiteY56" fmla="*/ 161352 h 3816508"/>
                <a:gd name="connsiteX57" fmla="*/ 464819 w 1573156"/>
                <a:gd name="connsiteY57" fmla="*/ 184622 h 3816508"/>
                <a:gd name="connsiteX58" fmla="*/ 475903 w 1573156"/>
                <a:gd name="connsiteY58" fmla="*/ 187208 h 3816508"/>
                <a:gd name="connsiteX59" fmla="*/ 589515 w 1573156"/>
                <a:gd name="connsiteY59" fmla="*/ 156181 h 3816508"/>
                <a:gd name="connsiteX60" fmla="*/ 656020 w 1573156"/>
                <a:gd name="connsiteY60" fmla="*/ 166522 h 3816508"/>
                <a:gd name="connsiteX61" fmla="*/ 719754 w 1573156"/>
                <a:gd name="connsiteY61" fmla="*/ 213065 h 3816508"/>
                <a:gd name="connsiteX62" fmla="*/ 733781 w 1573156"/>
                <a:gd name="connsiteY62" fmla="*/ 242621 h 3816508"/>
                <a:gd name="connsiteX63" fmla="*/ 789028 w 1573156"/>
                <a:gd name="connsiteY63" fmla="*/ 277708 h 3816508"/>
                <a:gd name="connsiteX64" fmla="*/ 877702 w 1573156"/>
                <a:gd name="connsiteY64" fmla="*/ 303563 h 3816508"/>
                <a:gd name="connsiteX65" fmla="*/ 949748 w 1573156"/>
                <a:gd name="connsiteY65" fmla="*/ 350106 h 3816508"/>
                <a:gd name="connsiteX66" fmla="*/ 999627 w 1573156"/>
                <a:gd name="connsiteY66" fmla="*/ 401820 h 3816508"/>
                <a:gd name="connsiteX67" fmla="*/ 1024566 w 1573156"/>
                <a:gd name="connsiteY67" fmla="*/ 440606 h 3816508"/>
                <a:gd name="connsiteX68" fmla="*/ 1057819 w 1573156"/>
                <a:gd name="connsiteY68" fmla="*/ 466462 h 3816508"/>
                <a:gd name="connsiteX69" fmla="*/ 1041191 w 1573156"/>
                <a:gd name="connsiteY69" fmla="*/ 691417 h 3816508"/>
                <a:gd name="connsiteX70" fmla="*/ 913725 w 1573156"/>
                <a:gd name="connsiteY70" fmla="*/ 771575 h 3816508"/>
                <a:gd name="connsiteX71" fmla="*/ 800113 w 1573156"/>
                <a:gd name="connsiteY71" fmla="*/ 779331 h 3816508"/>
                <a:gd name="connsiteX72" fmla="*/ 661560 w 1573156"/>
                <a:gd name="connsiteY72" fmla="*/ 758645 h 3816508"/>
                <a:gd name="connsiteX73" fmla="*/ 570116 w 1573156"/>
                <a:gd name="connsiteY73" fmla="*/ 722445 h 3816508"/>
                <a:gd name="connsiteX74" fmla="*/ 550719 w 1573156"/>
                <a:gd name="connsiteY74" fmla="*/ 750888 h 3816508"/>
                <a:gd name="connsiteX75" fmla="*/ 581361 w 1573156"/>
                <a:gd name="connsiteY75" fmla="*/ 824301 h 3816508"/>
                <a:gd name="connsiteX76" fmla="*/ 586902 w 1573156"/>
                <a:gd name="connsiteY76" fmla="*/ 951000 h 3816508"/>
                <a:gd name="connsiteX77" fmla="*/ 559032 w 1573156"/>
                <a:gd name="connsiteY77" fmla="*/ 1012043 h 3816508"/>
                <a:gd name="connsiteX78" fmla="*/ 614451 w 1573156"/>
                <a:gd name="connsiteY78" fmla="*/ 1032728 h 3816508"/>
                <a:gd name="connsiteX79" fmla="*/ 631079 w 1573156"/>
                <a:gd name="connsiteY79" fmla="*/ 1048242 h 3816508"/>
                <a:gd name="connsiteX80" fmla="*/ 656019 w 1573156"/>
                <a:gd name="connsiteY80" fmla="*/ 1074099 h 3816508"/>
                <a:gd name="connsiteX81" fmla="*/ 653248 w 1573156"/>
                <a:gd name="connsiteY81" fmla="*/ 1076685 h 3816508"/>
                <a:gd name="connsiteX82" fmla="*/ 692041 w 1573156"/>
                <a:gd name="connsiteY82" fmla="*/ 1071514 h 3816508"/>
                <a:gd name="connsiteX83" fmla="*/ 700355 w 1573156"/>
                <a:gd name="connsiteY83" fmla="*/ 1035314 h 3816508"/>
                <a:gd name="connsiteX84" fmla="*/ 661560 w 1573156"/>
                <a:gd name="connsiteY84" fmla="*/ 957743 h 3816508"/>
                <a:gd name="connsiteX85" fmla="*/ 730836 w 1573156"/>
                <a:gd name="connsiteY85" fmla="*/ 911200 h 3816508"/>
                <a:gd name="connsiteX86" fmla="*/ 798608 w 1573156"/>
                <a:gd name="connsiteY86" fmla="*/ 918934 h 3816508"/>
                <a:gd name="connsiteX87" fmla="*/ 822441 w 1573156"/>
                <a:gd name="connsiteY87" fmla="*/ 951001 h 3816508"/>
                <a:gd name="connsiteX88" fmla="*/ 978170 w 1573156"/>
                <a:gd name="connsiteY88" fmla="*/ 1007364 h 3816508"/>
                <a:gd name="connsiteX89" fmla="*/ 963762 w 1573156"/>
                <a:gd name="connsiteY89" fmla="*/ 971687 h 3816508"/>
                <a:gd name="connsiteX90" fmla="*/ 930510 w 1573156"/>
                <a:gd name="connsiteY90" fmla="*/ 932901 h 3816508"/>
                <a:gd name="connsiteX91" fmla="*/ 919426 w 1573156"/>
                <a:gd name="connsiteY91" fmla="*/ 881187 h 3816508"/>
                <a:gd name="connsiteX92" fmla="*/ 958221 w 1573156"/>
                <a:gd name="connsiteY92" fmla="*/ 832060 h 3816508"/>
                <a:gd name="connsiteX93" fmla="*/ 985931 w 1573156"/>
                <a:gd name="connsiteY93" fmla="*/ 803617 h 3816508"/>
                <a:gd name="connsiteX94" fmla="*/ 1010871 w 1573156"/>
                <a:gd name="connsiteY94" fmla="*/ 767417 h 3816508"/>
                <a:gd name="connsiteX95" fmla="*/ 1091231 w 1573156"/>
                <a:gd name="connsiteY95" fmla="*/ 762245 h 3816508"/>
                <a:gd name="connsiteX96" fmla="*/ 1096772 w 1573156"/>
                <a:gd name="connsiteY96" fmla="*/ 741560 h 3816508"/>
                <a:gd name="connsiteX97" fmla="*/ 1121712 w 1573156"/>
                <a:gd name="connsiteY97" fmla="*/ 705360 h 3816508"/>
                <a:gd name="connsiteX98" fmla="*/ 1155516 w 1573156"/>
                <a:gd name="connsiteY98" fmla="*/ 687772 h 3816508"/>
                <a:gd name="connsiteX99" fmla="*/ 1213156 w 1573156"/>
                <a:gd name="connsiteY99" fmla="*/ 700189 h 3816508"/>
                <a:gd name="connsiteX100" fmla="*/ 1251949 w 1573156"/>
                <a:gd name="connsiteY100" fmla="*/ 720875 h 3816508"/>
                <a:gd name="connsiteX101" fmla="*/ 1299057 w 1573156"/>
                <a:gd name="connsiteY101" fmla="*/ 728632 h 3816508"/>
                <a:gd name="connsiteX102" fmla="*/ 1299057 w 1573156"/>
                <a:gd name="connsiteY102" fmla="*/ 733803 h 3816508"/>
                <a:gd name="connsiteX103" fmla="*/ 1321226 w 1573156"/>
                <a:gd name="connsiteY103" fmla="*/ 674332 h 3816508"/>
                <a:gd name="connsiteX104" fmla="*/ 1331201 w 1573156"/>
                <a:gd name="connsiteY104" fmla="*/ 640714 h 3816508"/>
                <a:gd name="connsiteX105" fmla="*/ 1337852 w 1573156"/>
                <a:gd name="connsiteY105" fmla="*/ 622618 h 3816508"/>
                <a:gd name="connsiteX106" fmla="*/ 1340789 w 1573156"/>
                <a:gd name="connsiteY106" fmla="*/ 591288 h 3816508"/>
                <a:gd name="connsiteX107" fmla="*/ 1260263 w 1573156"/>
                <a:gd name="connsiteY107" fmla="*/ 545048 h 3816508"/>
                <a:gd name="connsiteX108" fmla="*/ 1246408 w 1573156"/>
                <a:gd name="connsiteY108" fmla="*/ 472648 h 3816508"/>
                <a:gd name="connsiteX109" fmla="*/ 1246408 w 1573156"/>
                <a:gd name="connsiteY109" fmla="*/ 454548 h 3816508"/>
                <a:gd name="connsiteX110" fmla="*/ 1257491 w 1573156"/>
                <a:gd name="connsiteY110" fmla="*/ 431276 h 3816508"/>
                <a:gd name="connsiteX111" fmla="*/ 1260263 w 1573156"/>
                <a:gd name="connsiteY111" fmla="*/ 415762 h 3816508"/>
                <a:gd name="connsiteX112" fmla="*/ 1260262 w 1573156"/>
                <a:gd name="connsiteY112" fmla="*/ 358878 h 3816508"/>
                <a:gd name="connsiteX113" fmla="*/ 1238094 w 1573156"/>
                <a:gd name="connsiteY113" fmla="*/ 335607 h 3816508"/>
                <a:gd name="connsiteX114" fmla="*/ 1210384 w 1573156"/>
                <a:gd name="connsiteY114" fmla="*/ 304578 h 3816508"/>
                <a:gd name="connsiteX115" fmla="*/ 1206216 w 1573156"/>
                <a:gd name="connsiteY115" fmla="*/ 280325 h 3816508"/>
                <a:gd name="connsiteX116" fmla="*/ 1257492 w 1573156"/>
                <a:gd name="connsiteY116" fmla="*/ 258034 h 3816508"/>
                <a:gd name="connsiteX117" fmla="*/ 1311072 w 1573156"/>
                <a:gd name="connsiteY117" fmla="*/ 267906 h 3816508"/>
                <a:gd name="connsiteX118" fmla="*/ 1389856 w 1573156"/>
                <a:gd name="connsiteY118" fmla="*/ 279816 h 3816508"/>
                <a:gd name="connsiteX119" fmla="*/ 1474179 w 1573156"/>
                <a:gd name="connsiteY119" fmla="*/ 349175 h 3816508"/>
                <a:gd name="connsiteX120" fmla="*/ 1536314 w 1573156"/>
                <a:gd name="connsiteY120" fmla="*/ 425271 h 3816508"/>
                <a:gd name="connsiteX121" fmla="*/ 1435343 w 1573156"/>
                <a:gd name="connsiteY121" fmla="*/ 454265 h 3816508"/>
                <a:gd name="connsiteX122" fmla="*/ 1419809 w 1573156"/>
                <a:gd name="connsiteY122" fmla="*/ 501372 h 3816508"/>
                <a:gd name="connsiteX123" fmla="*/ 1477479 w 1573156"/>
                <a:gd name="connsiteY123" fmla="*/ 585862 h 3816508"/>
                <a:gd name="connsiteX124" fmla="*/ 1513013 w 1573156"/>
                <a:gd name="connsiteY124" fmla="*/ 591964 h 3816508"/>
                <a:gd name="connsiteX125" fmla="*/ 1565633 w 1573156"/>
                <a:gd name="connsiteY125" fmla="*/ 598304 h 3816508"/>
                <a:gd name="connsiteX126" fmla="*/ 1560670 w 1573156"/>
                <a:gd name="connsiteY126" fmla="*/ 709079 h 3816508"/>
                <a:gd name="connsiteX127" fmla="*/ 1571739 w 1573156"/>
                <a:gd name="connsiteY127" fmla="*/ 1040047 h 3816508"/>
                <a:gd name="connsiteX128" fmla="*/ 1562871 w 1573156"/>
                <a:gd name="connsiteY128" fmla="*/ 1842646 h 3816508"/>
                <a:gd name="connsiteX129" fmla="*/ 1571738 w 1573156"/>
                <a:gd name="connsiteY129" fmla="*/ 2297728 h 3816508"/>
                <a:gd name="connsiteX130" fmla="*/ 1559146 w 1573156"/>
                <a:gd name="connsiteY130" fmla="*/ 3716291 h 3816508"/>
                <a:gd name="connsiteX131" fmla="*/ 1487327 w 1573156"/>
                <a:gd name="connsiteY131" fmla="*/ 3683065 h 3816508"/>
                <a:gd name="connsiteX132" fmla="*/ 1209275 w 1573156"/>
                <a:gd name="connsiteY132" fmla="*/ 3595126 h 3816508"/>
                <a:gd name="connsiteX133" fmla="*/ 1013482 w 1573156"/>
                <a:gd name="connsiteY133" fmla="*/ 3592567 h 3816508"/>
                <a:gd name="connsiteX134" fmla="*/ 1123928 w 1573156"/>
                <a:gd name="connsiteY134" fmla="*/ 3663387 h 3816508"/>
                <a:gd name="connsiteX135" fmla="*/ 907787 w 1573156"/>
                <a:gd name="connsiteY135" fmla="*/ 3629257 h 3816508"/>
                <a:gd name="connsiteX136" fmla="*/ 776238 w 1573156"/>
                <a:gd name="connsiteY136" fmla="*/ 3504783 h 3816508"/>
                <a:gd name="connsiteX137" fmla="*/ 708669 w 1573156"/>
                <a:gd name="connsiteY137" fmla="*/ 3437426 h 3816508"/>
                <a:gd name="connsiteX138" fmla="*/ 739150 w 1573156"/>
                <a:gd name="connsiteY138" fmla="*/ 3437426 h 3816508"/>
                <a:gd name="connsiteX139" fmla="*/ 750233 w 1573156"/>
                <a:gd name="connsiteY139" fmla="*/ 3408982 h 3816508"/>
                <a:gd name="connsiteX140" fmla="*/ 783486 w 1573156"/>
                <a:gd name="connsiteY140" fmla="*/ 3354683 h 3816508"/>
                <a:gd name="connsiteX141" fmla="*/ 747462 w 1573156"/>
                <a:gd name="connsiteY141" fmla="*/ 3297798 h 3816508"/>
                <a:gd name="connsiteX142" fmla="*/ 836135 w 1573156"/>
                <a:gd name="connsiteY142" fmla="*/ 3225398 h 3816508"/>
                <a:gd name="connsiteX143" fmla="*/ 902641 w 1573156"/>
                <a:gd name="connsiteY143" fmla="*/ 3217642 h 3816508"/>
                <a:gd name="connsiteX144" fmla="*/ 955289 w 1573156"/>
                <a:gd name="connsiteY144" fmla="*/ 3160756 h 3816508"/>
                <a:gd name="connsiteX145" fmla="*/ 1024565 w 1573156"/>
                <a:gd name="connsiteY145" fmla="*/ 3114213 h 3816508"/>
                <a:gd name="connsiteX146" fmla="*/ 1019023 w 1573156"/>
                <a:gd name="connsiteY146" fmla="*/ 3067671 h 3816508"/>
                <a:gd name="connsiteX147" fmla="*/ 1043963 w 1573156"/>
                <a:gd name="connsiteY147" fmla="*/ 3028886 h 3816508"/>
                <a:gd name="connsiteX148" fmla="*/ 1016252 w 1573156"/>
                <a:gd name="connsiteY148" fmla="*/ 3026300 h 3816508"/>
                <a:gd name="connsiteX149" fmla="*/ 1031704 w 1573156"/>
                <a:gd name="connsiteY149" fmla="*/ 2992878 h 3816508"/>
                <a:gd name="connsiteX150" fmla="*/ 914211 w 1573156"/>
                <a:gd name="connsiteY150" fmla="*/ 2928233 h 3816508"/>
                <a:gd name="connsiteX151" fmla="*/ 858304 w 1573156"/>
                <a:gd name="connsiteY151" fmla="*/ 2909943 h 3816508"/>
                <a:gd name="connsiteX152" fmla="*/ 827823 w 1573156"/>
                <a:gd name="connsiteY152" fmla="*/ 2881501 h 3816508"/>
                <a:gd name="connsiteX153" fmla="*/ 761317 w 1573156"/>
                <a:gd name="connsiteY153" fmla="*/ 2897015 h 3816508"/>
                <a:gd name="connsiteX154" fmla="*/ 700355 w 1573156"/>
                <a:gd name="connsiteY154" fmla="*/ 2891844 h 3816508"/>
                <a:gd name="connsiteX155" fmla="*/ 658790 w 1573156"/>
                <a:gd name="connsiteY155" fmla="*/ 2827201 h 3816508"/>
                <a:gd name="connsiteX156" fmla="*/ 656019 w 1573156"/>
                <a:gd name="connsiteY156" fmla="*/ 2785830 h 3816508"/>
                <a:gd name="connsiteX157" fmla="*/ 631080 w 1573156"/>
                <a:gd name="connsiteY157" fmla="*/ 2772902 h 3816508"/>
                <a:gd name="connsiteX158" fmla="*/ 567346 w 1573156"/>
                <a:gd name="connsiteY158" fmla="*/ 2759974 h 3816508"/>
                <a:gd name="connsiteX159" fmla="*/ 586743 w 1573156"/>
                <a:gd name="connsiteY159" fmla="*/ 2721188 h 3816508"/>
                <a:gd name="connsiteX160" fmla="*/ 557777 w 1573156"/>
                <a:gd name="connsiteY160" fmla="*/ 2715007 h 3816508"/>
                <a:gd name="connsiteX161" fmla="*/ 531809 w 1573156"/>
                <a:gd name="connsiteY161" fmla="*/ 2672771 h 3816508"/>
                <a:gd name="connsiteX162" fmla="*/ 414939 w 1573156"/>
                <a:gd name="connsiteY162" fmla="*/ 2682402 h 3816508"/>
                <a:gd name="connsiteX163" fmla="*/ 390000 w 1573156"/>
                <a:gd name="connsiteY163" fmla="*/ 2672059 h 3816508"/>
                <a:gd name="connsiteX164" fmla="*/ 367832 w 1573156"/>
                <a:gd name="connsiteY164" fmla="*/ 2684989 h 3816508"/>
                <a:gd name="connsiteX165" fmla="*/ 351205 w 1573156"/>
                <a:gd name="connsiteY165" fmla="*/ 2622932 h 3816508"/>
                <a:gd name="connsiteX166" fmla="*/ 340121 w 1573156"/>
                <a:gd name="connsiteY166" fmla="*/ 2597075 h 3816508"/>
                <a:gd name="connsiteX167" fmla="*/ 353976 w 1573156"/>
                <a:gd name="connsiteY167" fmla="*/ 2578974 h 3816508"/>
                <a:gd name="connsiteX168" fmla="*/ 381687 w 1573156"/>
                <a:gd name="connsiteY168" fmla="*/ 2581561 h 3816508"/>
                <a:gd name="connsiteX169" fmla="*/ 414939 w 1573156"/>
                <a:gd name="connsiteY169" fmla="*/ 2563461 h 3816508"/>
                <a:gd name="connsiteX170" fmla="*/ 412168 w 1573156"/>
                <a:gd name="connsiteY170" fmla="*/ 2537603 h 3816508"/>
                <a:gd name="connsiteX171" fmla="*/ 362289 w 1573156"/>
                <a:gd name="connsiteY171" fmla="*/ 2501404 h 3816508"/>
                <a:gd name="connsiteX172" fmla="*/ 338946 w 1573156"/>
                <a:gd name="connsiteY172" fmla="*/ 2513491 h 3816508"/>
                <a:gd name="connsiteX173" fmla="*/ 340121 w 1573156"/>
                <a:gd name="connsiteY173" fmla="*/ 2467790 h 3816508"/>
                <a:gd name="connsiteX174" fmla="*/ 306869 w 1573156"/>
                <a:gd name="connsiteY174" fmla="*/ 2429005 h 3816508"/>
                <a:gd name="connsiteX175" fmla="*/ 309641 w 1573156"/>
                <a:gd name="connsiteY175" fmla="*/ 2351433 h 3816508"/>
                <a:gd name="connsiteX176" fmla="*/ 290243 w 1573156"/>
                <a:gd name="connsiteY176" fmla="*/ 2299720 h 3816508"/>
                <a:gd name="connsiteX177" fmla="*/ 256991 w 1573156"/>
                <a:gd name="connsiteY177" fmla="*/ 2266106 h 3816508"/>
                <a:gd name="connsiteX178" fmla="*/ 218196 w 1573156"/>
                <a:gd name="connsiteY178" fmla="*/ 2242835 h 3816508"/>
                <a:gd name="connsiteX179" fmla="*/ 176631 w 1573156"/>
                <a:gd name="connsiteY179" fmla="*/ 2250592 h 3816508"/>
                <a:gd name="connsiteX180" fmla="*/ 122255 w 1573156"/>
                <a:gd name="connsiteY180" fmla="*/ 2214066 h 3816508"/>
                <a:gd name="connsiteX0" fmla="*/ 122255 w 1573156"/>
                <a:gd name="connsiteY0" fmla="*/ 2214066 h 3810697"/>
                <a:gd name="connsiteX1" fmla="*/ 63018 w 1573156"/>
                <a:gd name="connsiteY1" fmla="*/ 2216977 h 3810697"/>
                <a:gd name="connsiteX2" fmla="*/ 60248 w 1573156"/>
                <a:gd name="connsiteY2" fmla="*/ 2118721 h 3810697"/>
                <a:gd name="connsiteX3" fmla="*/ 71333 w 1573156"/>
                <a:gd name="connsiteY3" fmla="*/ 2077350 h 3810697"/>
                <a:gd name="connsiteX4" fmla="*/ 74102 w 1573156"/>
                <a:gd name="connsiteY4" fmla="*/ 2030807 h 3810697"/>
                <a:gd name="connsiteX5" fmla="*/ 76875 w 1573156"/>
                <a:gd name="connsiteY5" fmla="*/ 2020467 h 3810697"/>
                <a:gd name="connsiteX6" fmla="*/ 118439 w 1573156"/>
                <a:gd name="connsiteY6" fmla="*/ 1992023 h 3810697"/>
                <a:gd name="connsiteX7" fmla="*/ 82416 w 1573156"/>
                <a:gd name="connsiteY7" fmla="*/ 1963580 h 3810697"/>
                <a:gd name="connsiteX8" fmla="*/ 51935 w 1573156"/>
                <a:gd name="connsiteY8" fmla="*/ 1927380 h 3810697"/>
                <a:gd name="connsiteX9" fmla="*/ 40850 w 1573156"/>
                <a:gd name="connsiteY9" fmla="*/ 1893766 h 3810697"/>
                <a:gd name="connsiteX10" fmla="*/ 43621 w 1573156"/>
                <a:gd name="connsiteY10" fmla="*/ 1844639 h 3810697"/>
                <a:gd name="connsiteX11" fmla="*/ 82416 w 1573156"/>
                <a:gd name="connsiteY11" fmla="*/ 1826538 h 3810697"/>
                <a:gd name="connsiteX12" fmla="*/ 112899 w 1573156"/>
                <a:gd name="connsiteY12" fmla="*/ 1782581 h 3810697"/>
                <a:gd name="connsiteX13" fmla="*/ 96271 w 1573156"/>
                <a:gd name="connsiteY13" fmla="*/ 1754138 h 3810697"/>
                <a:gd name="connsiteX14" fmla="*/ 40851 w 1573156"/>
                <a:gd name="connsiteY14" fmla="*/ 1746381 h 3810697"/>
                <a:gd name="connsiteX15" fmla="*/ 2057 w 1573156"/>
                <a:gd name="connsiteY15" fmla="*/ 1730867 h 3810697"/>
                <a:gd name="connsiteX16" fmla="*/ 38079 w 1573156"/>
                <a:gd name="connsiteY16" fmla="*/ 1689496 h 3810697"/>
                <a:gd name="connsiteX17" fmla="*/ 18683 w 1573156"/>
                <a:gd name="connsiteY17" fmla="*/ 1679153 h 3810697"/>
                <a:gd name="connsiteX18" fmla="*/ 2055 w 1573156"/>
                <a:gd name="connsiteY18" fmla="*/ 1640367 h 3810697"/>
                <a:gd name="connsiteX19" fmla="*/ 65790 w 1573156"/>
                <a:gd name="connsiteY19" fmla="*/ 1650711 h 3810697"/>
                <a:gd name="connsiteX20" fmla="*/ 93501 w 1573156"/>
                <a:gd name="connsiteY20" fmla="*/ 1627440 h 3810697"/>
                <a:gd name="connsiteX21" fmla="*/ 187716 w 1573156"/>
                <a:gd name="connsiteY21" fmla="*/ 1536941 h 3810697"/>
                <a:gd name="connsiteX22" fmla="*/ 212655 w 1573156"/>
                <a:gd name="connsiteY22" fmla="*/ 1505912 h 3810697"/>
                <a:gd name="connsiteX23" fmla="*/ 198801 w 1573156"/>
                <a:gd name="connsiteY23" fmla="*/ 1555040 h 3810697"/>
                <a:gd name="connsiteX24" fmla="*/ 218197 w 1573156"/>
                <a:gd name="connsiteY24" fmla="*/ 1588655 h 3810697"/>
                <a:gd name="connsiteX25" fmla="*/ 262534 w 1573156"/>
                <a:gd name="connsiteY25" fmla="*/ 1666225 h 3810697"/>
                <a:gd name="connsiteX26" fmla="*/ 331810 w 1573156"/>
                <a:gd name="connsiteY26" fmla="*/ 1653297 h 3810697"/>
                <a:gd name="connsiteX27" fmla="*/ 351206 w 1573156"/>
                <a:gd name="connsiteY27" fmla="*/ 1622268 h 3810697"/>
                <a:gd name="connsiteX28" fmla="*/ 365062 w 1573156"/>
                <a:gd name="connsiteY28" fmla="*/ 1557627 h 3810697"/>
                <a:gd name="connsiteX29" fmla="*/ 304099 w 1573156"/>
                <a:gd name="connsiteY29" fmla="*/ 1511084 h 3810697"/>
                <a:gd name="connsiteX30" fmla="*/ 259763 w 1573156"/>
                <a:gd name="connsiteY30" fmla="*/ 1485227 h 3810697"/>
                <a:gd name="connsiteX31" fmla="*/ 198801 w 1573156"/>
                <a:gd name="connsiteY31" fmla="*/ 1495570 h 3810697"/>
                <a:gd name="connsiteX32" fmla="*/ 376147 w 1573156"/>
                <a:gd name="connsiteY32" fmla="*/ 1299057 h 3810697"/>
                <a:gd name="connsiteX33" fmla="*/ 223740 w 1573156"/>
                <a:gd name="connsiteY33" fmla="*/ 1151672 h 3810697"/>
                <a:gd name="connsiteX34" fmla="*/ 284703 w 1573156"/>
                <a:gd name="connsiteY34" fmla="*/ 1089617 h 3810697"/>
                <a:gd name="connsiteX35" fmla="*/ 218198 w 1573156"/>
                <a:gd name="connsiteY35" fmla="*/ 1050829 h 3810697"/>
                <a:gd name="connsiteX36" fmla="*/ 259763 w 1573156"/>
                <a:gd name="connsiteY36" fmla="*/ 1019802 h 3810697"/>
                <a:gd name="connsiteX37" fmla="*/ 212657 w 1573156"/>
                <a:gd name="connsiteY37" fmla="*/ 993947 h 3810697"/>
                <a:gd name="connsiteX38" fmla="*/ 212656 w 1573156"/>
                <a:gd name="connsiteY38" fmla="*/ 794845 h 3810697"/>
                <a:gd name="connsiteX39" fmla="*/ 251451 w 1573156"/>
                <a:gd name="connsiteY39" fmla="*/ 779332 h 3810697"/>
                <a:gd name="connsiteX40" fmla="*/ 137838 w 1573156"/>
                <a:gd name="connsiteY40" fmla="*/ 551792 h 3810697"/>
                <a:gd name="connsiteX41" fmla="*/ 135067 w 1573156"/>
                <a:gd name="connsiteY41" fmla="*/ 551792 h 3810697"/>
                <a:gd name="connsiteX42" fmla="*/ 184945 w 1573156"/>
                <a:gd name="connsiteY42" fmla="*/ 469048 h 3810697"/>
                <a:gd name="connsiteX43" fmla="*/ 201571 w 1573156"/>
                <a:gd name="connsiteY43" fmla="*/ 378550 h 3810697"/>
                <a:gd name="connsiteX44" fmla="*/ 126752 w 1573156"/>
                <a:gd name="connsiteY44" fmla="*/ 319079 h 3810697"/>
                <a:gd name="connsiteX45" fmla="*/ 118440 w 1573156"/>
                <a:gd name="connsiteY45" fmla="*/ 251851 h 3810697"/>
                <a:gd name="connsiteX46" fmla="*/ 173860 w 1573156"/>
                <a:gd name="connsiteY46" fmla="*/ 158764 h 3810697"/>
                <a:gd name="connsiteX47" fmla="*/ 193258 w 1573156"/>
                <a:gd name="connsiteY47" fmla="*/ 135494 h 3810697"/>
                <a:gd name="connsiteX48" fmla="*/ 207113 w 1573156"/>
                <a:gd name="connsiteY48" fmla="*/ 117394 h 3810697"/>
                <a:gd name="connsiteX49" fmla="*/ 215426 w 1573156"/>
                <a:gd name="connsiteY49" fmla="*/ 73438 h 3810697"/>
                <a:gd name="connsiteX50" fmla="*/ 240365 w 1573156"/>
                <a:gd name="connsiteY50" fmla="*/ 101880 h 3810697"/>
                <a:gd name="connsiteX51" fmla="*/ 270847 w 1573156"/>
                <a:gd name="connsiteY51" fmla="*/ 88952 h 3810697"/>
                <a:gd name="connsiteX52" fmla="*/ 273617 w 1573156"/>
                <a:gd name="connsiteY52" fmla="*/ 63095 h 3810697"/>
                <a:gd name="connsiteX53" fmla="*/ 281931 w 1573156"/>
                <a:gd name="connsiteY53" fmla="*/ 34652 h 3810697"/>
                <a:gd name="connsiteX54" fmla="*/ 284703 w 1573156"/>
                <a:gd name="connsiteY54" fmla="*/ 3624 h 3810697"/>
                <a:gd name="connsiteX55" fmla="*/ 420483 w 1573156"/>
                <a:gd name="connsiteY55" fmla="*/ 57924 h 3810697"/>
                <a:gd name="connsiteX56" fmla="*/ 450963 w 1573156"/>
                <a:gd name="connsiteY56" fmla="*/ 161352 h 3810697"/>
                <a:gd name="connsiteX57" fmla="*/ 464819 w 1573156"/>
                <a:gd name="connsiteY57" fmla="*/ 184622 h 3810697"/>
                <a:gd name="connsiteX58" fmla="*/ 475903 w 1573156"/>
                <a:gd name="connsiteY58" fmla="*/ 187208 h 3810697"/>
                <a:gd name="connsiteX59" fmla="*/ 589515 w 1573156"/>
                <a:gd name="connsiteY59" fmla="*/ 156181 h 3810697"/>
                <a:gd name="connsiteX60" fmla="*/ 656020 w 1573156"/>
                <a:gd name="connsiteY60" fmla="*/ 166522 h 3810697"/>
                <a:gd name="connsiteX61" fmla="*/ 719754 w 1573156"/>
                <a:gd name="connsiteY61" fmla="*/ 213065 h 3810697"/>
                <a:gd name="connsiteX62" fmla="*/ 733781 w 1573156"/>
                <a:gd name="connsiteY62" fmla="*/ 242621 h 3810697"/>
                <a:gd name="connsiteX63" fmla="*/ 789028 w 1573156"/>
                <a:gd name="connsiteY63" fmla="*/ 277708 h 3810697"/>
                <a:gd name="connsiteX64" fmla="*/ 877702 w 1573156"/>
                <a:gd name="connsiteY64" fmla="*/ 303563 h 3810697"/>
                <a:gd name="connsiteX65" fmla="*/ 949748 w 1573156"/>
                <a:gd name="connsiteY65" fmla="*/ 350106 h 3810697"/>
                <a:gd name="connsiteX66" fmla="*/ 999627 w 1573156"/>
                <a:gd name="connsiteY66" fmla="*/ 401820 h 3810697"/>
                <a:gd name="connsiteX67" fmla="*/ 1024566 w 1573156"/>
                <a:gd name="connsiteY67" fmla="*/ 440606 h 3810697"/>
                <a:gd name="connsiteX68" fmla="*/ 1057819 w 1573156"/>
                <a:gd name="connsiteY68" fmla="*/ 466462 h 3810697"/>
                <a:gd name="connsiteX69" fmla="*/ 1041191 w 1573156"/>
                <a:gd name="connsiteY69" fmla="*/ 691417 h 3810697"/>
                <a:gd name="connsiteX70" fmla="*/ 913725 w 1573156"/>
                <a:gd name="connsiteY70" fmla="*/ 771575 h 3810697"/>
                <a:gd name="connsiteX71" fmla="*/ 800113 w 1573156"/>
                <a:gd name="connsiteY71" fmla="*/ 779331 h 3810697"/>
                <a:gd name="connsiteX72" fmla="*/ 661560 w 1573156"/>
                <a:gd name="connsiteY72" fmla="*/ 758645 h 3810697"/>
                <a:gd name="connsiteX73" fmla="*/ 570116 w 1573156"/>
                <a:gd name="connsiteY73" fmla="*/ 722445 h 3810697"/>
                <a:gd name="connsiteX74" fmla="*/ 550719 w 1573156"/>
                <a:gd name="connsiteY74" fmla="*/ 750888 h 3810697"/>
                <a:gd name="connsiteX75" fmla="*/ 581361 w 1573156"/>
                <a:gd name="connsiteY75" fmla="*/ 824301 h 3810697"/>
                <a:gd name="connsiteX76" fmla="*/ 586902 w 1573156"/>
                <a:gd name="connsiteY76" fmla="*/ 951000 h 3810697"/>
                <a:gd name="connsiteX77" fmla="*/ 559032 w 1573156"/>
                <a:gd name="connsiteY77" fmla="*/ 1012043 h 3810697"/>
                <a:gd name="connsiteX78" fmla="*/ 614451 w 1573156"/>
                <a:gd name="connsiteY78" fmla="*/ 1032728 h 3810697"/>
                <a:gd name="connsiteX79" fmla="*/ 631079 w 1573156"/>
                <a:gd name="connsiteY79" fmla="*/ 1048242 h 3810697"/>
                <a:gd name="connsiteX80" fmla="*/ 656019 w 1573156"/>
                <a:gd name="connsiteY80" fmla="*/ 1074099 h 3810697"/>
                <a:gd name="connsiteX81" fmla="*/ 653248 w 1573156"/>
                <a:gd name="connsiteY81" fmla="*/ 1076685 h 3810697"/>
                <a:gd name="connsiteX82" fmla="*/ 692041 w 1573156"/>
                <a:gd name="connsiteY82" fmla="*/ 1071514 h 3810697"/>
                <a:gd name="connsiteX83" fmla="*/ 700355 w 1573156"/>
                <a:gd name="connsiteY83" fmla="*/ 1035314 h 3810697"/>
                <a:gd name="connsiteX84" fmla="*/ 661560 w 1573156"/>
                <a:gd name="connsiteY84" fmla="*/ 957743 h 3810697"/>
                <a:gd name="connsiteX85" fmla="*/ 730836 w 1573156"/>
                <a:gd name="connsiteY85" fmla="*/ 911200 h 3810697"/>
                <a:gd name="connsiteX86" fmla="*/ 798608 w 1573156"/>
                <a:gd name="connsiteY86" fmla="*/ 918934 h 3810697"/>
                <a:gd name="connsiteX87" fmla="*/ 822441 w 1573156"/>
                <a:gd name="connsiteY87" fmla="*/ 951001 h 3810697"/>
                <a:gd name="connsiteX88" fmla="*/ 978170 w 1573156"/>
                <a:gd name="connsiteY88" fmla="*/ 1007364 h 3810697"/>
                <a:gd name="connsiteX89" fmla="*/ 963762 w 1573156"/>
                <a:gd name="connsiteY89" fmla="*/ 971687 h 3810697"/>
                <a:gd name="connsiteX90" fmla="*/ 930510 w 1573156"/>
                <a:gd name="connsiteY90" fmla="*/ 932901 h 3810697"/>
                <a:gd name="connsiteX91" fmla="*/ 919426 w 1573156"/>
                <a:gd name="connsiteY91" fmla="*/ 881187 h 3810697"/>
                <a:gd name="connsiteX92" fmla="*/ 958221 w 1573156"/>
                <a:gd name="connsiteY92" fmla="*/ 832060 h 3810697"/>
                <a:gd name="connsiteX93" fmla="*/ 985931 w 1573156"/>
                <a:gd name="connsiteY93" fmla="*/ 803617 h 3810697"/>
                <a:gd name="connsiteX94" fmla="*/ 1010871 w 1573156"/>
                <a:gd name="connsiteY94" fmla="*/ 767417 h 3810697"/>
                <a:gd name="connsiteX95" fmla="*/ 1091231 w 1573156"/>
                <a:gd name="connsiteY95" fmla="*/ 762245 h 3810697"/>
                <a:gd name="connsiteX96" fmla="*/ 1096772 w 1573156"/>
                <a:gd name="connsiteY96" fmla="*/ 741560 h 3810697"/>
                <a:gd name="connsiteX97" fmla="*/ 1121712 w 1573156"/>
                <a:gd name="connsiteY97" fmla="*/ 705360 h 3810697"/>
                <a:gd name="connsiteX98" fmla="*/ 1155516 w 1573156"/>
                <a:gd name="connsiteY98" fmla="*/ 687772 h 3810697"/>
                <a:gd name="connsiteX99" fmla="*/ 1213156 w 1573156"/>
                <a:gd name="connsiteY99" fmla="*/ 700189 h 3810697"/>
                <a:gd name="connsiteX100" fmla="*/ 1251949 w 1573156"/>
                <a:gd name="connsiteY100" fmla="*/ 720875 h 3810697"/>
                <a:gd name="connsiteX101" fmla="*/ 1299057 w 1573156"/>
                <a:gd name="connsiteY101" fmla="*/ 728632 h 3810697"/>
                <a:gd name="connsiteX102" fmla="*/ 1299057 w 1573156"/>
                <a:gd name="connsiteY102" fmla="*/ 733803 h 3810697"/>
                <a:gd name="connsiteX103" fmla="*/ 1321226 w 1573156"/>
                <a:gd name="connsiteY103" fmla="*/ 674332 h 3810697"/>
                <a:gd name="connsiteX104" fmla="*/ 1331201 w 1573156"/>
                <a:gd name="connsiteY104" fmla="*/ 640714 h 3810697"/>
                <a:gd name="connsiteX105" fmla="*/ 1337852 w 1573156"/>
                <a:gd name="connsiteY105" fmla="*/ 622618 h 3810697"/>
                <a:gd name="connsiteX106" fmla="*/ 1340789 w 1573156"/>
                <a:gd name="connsiteY106" fmla="*/ 591288 h 3810697"/>
                <a:gd name="connsiteX107" fmla="*/ 1260263 w 1573156"/>
                <a:gd name="connsiteY107" fmla="*/ 545048 h 3810697"/>
                <a:gd name="connsiteX108" fmla="*/ 1246408 w 1573156"/>
                <a:gd name="connsiteY108" fmla="*/ 472648 h 3810697"/>
                <a:gd name="connsiteX109" fmla="*/ 1246408 w 1573156"/>
                <a:gd name="connsiteY109" fmla="*/ 454548 h 3810697"/>
                <a:gd name="connsiteX110" fmla="*/ 1257491 w 1573156"/>
                <a:gd name="connsiteY110" fmla="*/ 431276 h 3810697"/>
                <a:gd name="connsiteX111" fmla="*/ 1260263 w 1573156"/>
                <a:gd name="connsiteY111" fmla="*/ 415762 h 3810697"/>
                <a:gd name="connsiteX112" fmla="*/ 1260262 w 1573156"/>
                <a:gd name="connsiteY112" fmla="*/ 358878 h 3810697"/>
                <a:gd name="connsiteX113" fmla="*/ 1238094 w 1573156"/>
                <a:gd name="connsiteY113" fmla="*/ 335607 h 3810697"/>
                <a:gd name="connsiteX114" fmla="*/ 1210384 w 1573156"/>
                <a:gd name="connsiteY114" fmla="*/ 304578 h 3810697"/>
                <a:gd name="connsiteX115" fmla="*/ 1206216 w 1573156"/>
                <a:gd name="connsiteY115" fmla="*/ 280325 h 3810697"/>
                <a:gd name="connsiteX116" fmla="*/ 1257492 w 1573156"/>
                <a:gd name="connsiteY116" fmla="*/ 258034 h 3810697"/>
                <a:gd name="connsiteX117" fmla="*/ 1311072 w 1573156"/>
                <a:gd name="connsiteY117" fmla="*/ 267906 h 3810697"/>
                <a:gd name="connsiteX118" fmla="*/ 1389856 w 1573156"/>
                <a:gd name="connsiteY118" fmla="*/ 279816 h 3810697"/>
                <a:gd name="connsiteX119" fmla="*/ 1474179 w 1573156"/>
                <a:gd name="connsiteY119" fmla="*/ 349175 h 3810697"/>
                <a:gd name="connsiteX120" fmla="*/ 1536314 w 1573156"/>
                <a:gd name="connsiteY120" fmla="*/ 425271 h 3810697"/>
                <a:gd name="connsiteX121" fmla="*/ 1435343 w 1573156"/>
                <a:gd name="connsiteY121" fmla="*/ 454265 h 3810697"/>
                <a:gd name="connsiteX122" fmla="*/ 1419809 w 1573156"/>
                <a:gd name="connsiteY122" fmla="*/ 501372 h 3810697"/>
                <a:gd name="connsiteX123" fmla="*/ 1477479 w 1573156"/>
                <a:gd name="connsiteY123" fmla="*/ 585862 h 3810697"/>
                <a:gd name="connsiteX124" fmla="*/ 1513013 w 1573156"/>
                <a:gd name="connsiteY124" fmla="*/ 591964 h 3810697"/>
                <a:gd name="connsiteX125" fmla="*/ 1565633 w 1573156"/>
                <a:gd name="connsiteY125" fmla="*/ 598304 h 3810697"/>
                <a:gd name="connsiteX126" fmla="*/ 1560670 w 1573156"/>
                <a:gd name="connsiteY126" fmla="*/ 709079 h 3810697"/>
                <a:gd name="connsiteX127" fmla="*/ 1571739 w 1573156"/>
                <a:gd name="connsiteY127" fmla="*/ 1040047 h 3810697"/>
                <a:gd name="connsiteX128" fmla="*/ 1562871 w 1573156"/>
                <a:gd name="connsiteY128" fmla="*/ 1842646 h 3810697"/>
                <a:gd name="connsiteX129" fmla="*/ 1571738 w 1573156"/>
                <a:gd name="connsiteY129" fmla="*/ 2297728 h 3810697"/>
                <a:gd name="connsiteX130" fmla="*/ 1559146 w 1573156"/>
                <a:gd name="connsiteY130" fmla="*/ 3716291 h 3810697"/>
                <a:gd name="connsiteX131" fmla="*/ 1495641 w 1573156"/>
                <a:gd name="connsiteY131" fmla="*/ 3657208 h 3810697"/>
                <a:gd name="connsiteX132" fmla="*/ 1209275 w 1573156"/>
                <a:gd name="connsiteY132" fmla="*/ 3595126 h 3810697"/>
                <a:gd name="connsiteX133" fmla="*/ 1013482 w 1573156"/>
                <a:gd name="connsiteY133" fmla="*/ 3592567 h 3810697"/>
                <a:gd name="connsiteX134" fmla="*/ 1123928 w 1573156"/>
                <a:gd name="connsiteY134" fmla="*/ 3663387 h 3810697"/>
                <a:gd name="connsiteX135" fmla="*/ 907787 w 1573156"/>
                <a:gd name="connsiteY135" fmla="*/ 3629257 h 3810697"/>
                <a:gd name="connsiteX136" fmla="*/ 776238 w 1573156"/>
                <a:gd name="connsiteY136" fmla="*/ 3504783 h 3810697"/>
                <a:gd name="connsiteX137" fmla="*/ 708669 w 1573156"/>
                <a:gd name="connsiteY137" fmla="*/ 3437426 h 3810697"/>
                <a:gd name="connsiteX138" fmla="*/ 739150 w 1573156"/>
                <a:gd name="connsiteY138" fmla="*/ 3437426 h 3810697"/>
                <a:gd name="connsiteX139" fmla="*/ 750233 w 1573156"/>
                <a:gd name="connsiteY139" fmla="*/ 3408982 h 3810697"/>
                <a:gd name="connsiteX140" fmla="*/ 783486 w 1573156"/>
                <a:gd name="connsiteY140" fmla="*/ 3354683 h 3810697"/>
                <a:gd name="connsiteX141" fmla="*/ 747462 w 1573156"/>
                <a:gd name="connsiteY141" fmla="*/ 3297798 h 3810697"/>
                <a:gd name="connsiteX142" fmla="*/ 836135 w 1573156"/>
                <a:gd name="connsiteY142" fmla="*/ 3225398 h 3810697"/>
                <a:gd name="connsiteX143" fmla="*/ 902641 w 1573156"/>
                <a:gd name="connsiteY143" fmla="*/ 3217642 h 3810697"/>
                <a:gd name="connsiteX144" fmla="*/ 955289 w 1573156"/>
                <a:gd name="connsiteY144" fmla="*/ 3160756 h 3810697"/>
                <a:gd name="connsiteX145" fmla="*/ 1024565 w 1573156"/>
                <a:gd name="connsiteY145" fmla="*/ 3114213 h 3810697"/>
                <a:gd name="connsiteX146" fmla="*/ 1019023 w 1573156"/>
                <a:gd name="connsiteY146" fmla="*/ 3067671 h 3810697"/>
                <a:gd name="connsiteX147" fmla="*/ 1043963 w 1573156"/>
                <a:gd name="connsiteY147" fmla="*/ 3028886 h 3810697"/>
                <a:gd name="connsiteX148" fmla="*/ 1016252 w 1573156"/>
                <a:gd name="connsiteY148" fmla="*/ 3026300 h 3810697"/>
                <a:gd name="connsiteX149" fmla="*/ 1031704 w 1573156"/>
                <a:gd name="connsiteY149" fmla="*/ 2992878 h 3810697"/>
                <a:gd name="connsiteX150" fmla="*/ 914211 w 1573156"/>
                <a:gd name="connsiteY150" fmla="*/ 2928233 h 3810697"/>
                <a:gd name="connsiteX151" fmla="*/ 858304 w 1573156"/>
                <a:gd name="connsiteY151" fmla="*/ 2909943 h 3810697"/>
                <a:gd name="connsiteX152" fmla="*/ 827823 w 1573156"/>
                <a:gd name="connsiteY152" fmla="*/ 2881501 h 3810697"/>
                <a:gd name="connsiteX153" fmla="*/ 761317 w 1573156"/>
                <a:gd name="connsiteY153" fmla="*/ 2897015 h 3810697"/>
                <a:gd name="connsiteX154" fmla="*/ 700355 w 1573156"/>
                <a:gd name="connsiteY154" fmla="*/ 2891844 h 3810697"/>
                <a:gd name="connsiteX155" fmla="*/ 658790 w 1573156"/>
                <a:gd name="connsiteY155" fmla="*/ 2827201 h 3810697"/>
                <a:gd name="connsiteX156" fmla="*/ 656019 w 1573156"/>
                <a:gd name="connsiteY156" fmla="*/ 2785830 h 3810697"/>
                <a:gd name="connsiteX157" fmla="*/ 631080 w 1573156"/>
                <a:gd name="connsiteY157" fmla="*/ 2772902 h 3810697"/>
                <a:gd name="connsiteX158" fmla="*/ 567346 w 1573156"/>
                <a:gd name="connsiteY158" fmla="*/ 2759974 h 3810697"/>
                <a:gd name="connsiteX159" fmla="*/ 586743 w 1573156"/>
                <a:gd name="connsiteY159" fmla="*/ 2721188 h 3810697"/>
                <a:gd name="connsiteX160" fmla="*/ 557777 w 1573156"/>
                <a:gd name="connsiteY160" fmla="*/ 2715007 h 3810697"/>
                <a:gd name="connsiteX161" fmla="*/ 531809 w 1573156"/>
                <a:gd name="connsiteY161" fmla="*/ 2672771 h 3810697"/>
                <a:gd name="connsiteX162" fmla="*/ 414939 w 1573156"/>
                <a:gd name="connsiteY162" fmla="*/ 2682402 h 3810697"/>
                <a:gd name="connsiteX163" fmla="*/ 390000 w 1573156"/>
                <a:gd name="connsiteY163" fmla="*/ 2672059 h 3810697"/>
                <a:gd name="connsiteX164" fmla="*/ 367832 w 1573156"/>
                <a:gd name="connsiteY164" fmla="*/ 2684989 h 3810697"/>
                <a:gd name="connsiteX165" fmla="*/ 351205 w 1573156"/>
                <a:gd name="connsiteY165" fmla="*/ 2622932 h 3810697"/>
                <a:gd name="connsiteX166" fmla="*/ 340121 w 1573156"/>
                <a:gd name="connsiteY166" fmla="*/ 2597075 h 3810697"/>
                <a:gd name="connsiteX167" fmla="*/ 353976 w 1573156"/>
                <a:gd name="connsiteY167" fmla="*/ 2578974 h 3810697"/>
                <a:gd name="connsiteX168" fmla="*/ 381687 w 1573156"/>
                <a:gd name="connsiteY168" fmla="*/ 2581561 h 3810697"/>
                <a:gd name="connsiteX169" fmla="*/ 414939 w 1573156"/>
                <a:gd name="connsiteY169" fmla="*/ 2563461 h 3810697"/>
                <a:gd name="connsiteX170" fmla="*/ 412168 w 1573156"/>
                <a:gd name="connsiteY170" fmla="*/ 2537603 h 3810697"/>
                <a:gd name="connsiteX171" fmla="*/ 362289 w 1573156"/>
                <a:gd name="connsiteY171" fmla="*/ 2501404 h 3810697"/>
                <a:gd name="connsiteX172" fmla="*/ 338946 w 1573156"/>
                <a:gd name="connsiteY172" fmla="*/ 2513491 h 3810697"/>
                <a:gd name="connsiteX173" fmla="*/ 340121 w 1573156"/>
                <a:gd name="connsiteY173" fmla="*/ 2467790 h 3810697"/>
                <a:gd name="connsiteX174" fmla="*/ 306869 w 1573156"/>
                <a:gd name="connsiteY174" fmla="*/ 2429005 h 3810697"/>
                <a:gd name="connsiteX175" fmla="*/ 309641 w 1573156"/>
                <a:gd name="connsiteY175" fmla="*/ 2351433 h 3810697"/>
                <a:gd name="connsiteX176" fmla="*/ 290243 w 1573156"/>
                <a:gd name="connsiteY176" fmla="*/ 2299720 h 3810697"/>
                <a:gd name="connsiteX177" fmla="*/ 256991 w 1573156"/>
                <a:gd name="connsiteY177" fmla="*/ 2266106 h 3810697"/>
                <a:gd name="connsiteX178" fmla="*/ 218196 w 1573156"/>
                <a:gd name="connsiteY178" fmla="*/ 2242835 h 3810697"/>
                <a:gd name="connsiteX179" fmla="*/ 176631 w 1573156"/>
                <a:gd name="connsiteY179" fmla="*/ 2250592 h 3810697"/>
                <a:gd name="connsiteX180" fmla="*/ 122255 w 1573156"/>
                <a:gd name="connsiteY180" fmla="*/ 2214066 h 3810697"/>
                <a:gd name="connsiteX0" fmla="*/ 122255 w 1573156"/>
                <a:gd name="connsiteY0" fmla="*/ 2214066 h 3815457"/>
                <a:gd name="connsiteX1" fmla="*/ 63018 w 1573156"/>
                <a:gd name="connsiteY1" fmla="*/ 2216977 h 3815457"/>
                <a:gd name="connsiteX2" fmla="*/ 60248 w 1573156"/>
                <a:gd name="connsiteY2" fmla="*/ 2118721 h 3815457"/>
                <a:gd name="connsiteX3" fmla="*/ 71333 w 1573156"/>
                <a:gd name="connsiteY3" fmla="*/ 2077350 h 3815457"/>
                <a:gd name="connsiteX4" fmla="*/ 74102 w 1573156"/>
                <a:gd name="connsiteY4" fmla="*/ 2030807 h 3815457"/>
                <a:gd name="connsiteX5" fmla="*/ 76875 w 1573156"/>
                <a:gd name="connsiteY5" fmla="*/ 2020467 h 3815457"/>
                <a:gd name="connsiteX6" fmla="*/ 118439 w 1573156"/>
                <a:gd name="connsiteY6" fmla="*/ 1992023 h 3815457"/>
                <a:gd name="connsiteX7" fmla="*/ 82416 w 1573156"/>
                <a:gd name="connsiteY7" fmla="*/ 1963580 h 3815457"/>
                <a:gd name="connsiteX8" fmla="*/ 51935 w 1573156"/>
                <a:gd name="connsiteY8" fmla="*/ 1927380 h 3815457"/>
                <a:gd name="connsiteX9" fmla="*/ 40850 w 1573156"/>
                <a:gd name="connsiteY9" fmla="*/ 1893766 h 3815457"/>
                <a:gd name="connsiteX10" fmla="*/ 43621 w 1573156"/>
                <a:gd name="connsiteY10" fmla="*/ 1844639 h 3815457"/>
                <a:gd name="connsiteX11" fmla="*/ 82416 w 1573156"/>
                <a:gd name="connsiteY11" fmla="*/ 1826538 h 3815457"/>
                <a:gd name="connsiteX12" fmla="*/ 112899 w 1573156"/>
                <a:gd name="connsiteY12" fmla="*/ 1782581 h 3815457"/>
                <a:gd name="connsiteX13" fmla="*/ 96271 w 1573156"/>
                <a:gd name="connsiteY13" fmla="*/ 1754138 h 3815457"/>
                <a:gd name="connsiteX14" fmla="*/ 40851 w 1573156"/>
                <a:gd name="connsiteY14" fmla="*/ 1746381 h 3815457"/>
                <a:gd name="connsiteX15" fmla="*/ 2057 w 1573156"/>
                <a:gd name="connsiteY15" fmla="*/ 1730867 h 3815457"/>
                <a:gd name="connsiteX16" fmla="*/ 38079 w 1573156"/>
                <a:gd name="connsiteY16" fmla="*/ 1689496 h 3815457"/>
                <a:gd name="connsiteX17" fmla="*/ 18683 w 1573156"/>
                <a:gd name="connsiteY17" fmla="*/ 1679153 h 3815457"/>
                <a:gd name="connsiteX18" fmla="*/ 2055 w 1573156"/>
                <a:gd name="connsiteY18" fmla="*/ 1640367 h 3815457"/>
                <a:gd name="connsiteX19" fmla="*/ 65790 w 1573156"/>
                <a:gd name="connsiteY19" fmla="*/ 1650711 h 3815457"/>
                <a:gd name="connsiteX20" fmla="*/ 93501 w 1573156"/>
                <a:gd name="connsiteY20" fmla="*/ 1627440 h 3815457"/>
                <a:gd name="connsiteX21" fmla="*/ 187716 w 1573156"/>
                <a:gd name="connsiteY21" fmla="*/ 1536941 h 3815457"/>
                <a:gd name="connsiteX22" fmla="*/ 212655 w 1573156"/>
                <a:gd name="connsiteY22" fmla="*/ 1505912 h 3815457"/>
                <a:gd name="connsiteX23" fmla="*/ 198801 w 1573156"/>
                <a:gd name="connsiteY23" fmla="*/ 1555040 h 3815457"/>
                <a:gd name="connsiteX24" fmla="*/ 218197 w 1573156"/>
                <a:gd name="connsiteY24" fmla="*/ 1588655 h 3815457"/>
                <a:gd name="connsiteX25" fmla="*/ 262534 w 1573156"/>
                <a:gd name="connsiteY25" fmla="*/ 1666225 h 3815457"/>
                <a:gd name="connsiteX26" fmla="*/ 331810 w 1573156"/>
                <a:gd name="connsiteY26" fmla="*/ 1653297 h 3815457"/>
                <a:gd name="connsiteX27" fmla="*/ 351206 w 1573156"/>
                <a:gd name="connsiteY27" fmla="*/ 1622268 h 3815457"/>
                <a:gd name="connsiteX28" fmla="*/ 365062 w 1573156"/>
                <a:gd name="connsiteY28" fmla="*/ 1557627 h 3815457"/>
                <a:gd name="connsiteX29" fmla="*/ 304099 w 1573156"/>
                <a:gd name="connsiteY29" fmla="*/ 1511084 h 3815457"/>
                <a:gd name="connsiteX30" fmla="*/ 259763 w 1573156"/>
                <a:gd name="connsiteY30" fmla="*/ 1485227 h 3815457"/>
                <a:gd name="connsiteX31" fmla="*/ 198801 w 1573156"/>
                <a:gd name="connsiteY31" fmla="*/ 1495570 h 3815457"/>
                <a:gd name="connsiteX32" fmla="*/ 376147 w 1573156"/>
                <a:gd name="connsiteY32" fmla="*/ 1299057 h 3815457"/>
                <a:gd name="connsiteX33" fmla="*/ 223740 w 1573156"/>
                <a:gd name="connsiteY33" fmla="*/ 1151672 h 3815457"/>
                <a:gd name="connsiteX34" fmla="*/ 284703 w 1573156"/>
                <a:gd name="connsiteY34" fmla="*/ 1089617 h 3815457"/>
                <a:gd name="connsiteX35" fmla="*/ 218198 w 1573156"/>
                <a:gd name="connsiteY35" fmla="*/ 1050829 h 3815457"/>
                <a:gd name="connsiteX36" fmla="*/ 259763 w 1573156"/>
                <a:gd name="connsiteY36" fmla="*/ 1019802 h 3815457"/>
                <a:gd name="connsiteX37" fmla="*/ 212657 w 1573156"/>
                <a:gd name="connsiteY37" fmla="*/ 993947 h 3815457"/>
                <a:gd name="connsiteX38" fmla="*/ 212656 w 1573156"/>
                <a:gd name="connsiteY38" fmla="*/ 794845 h 3815457"/>
                <a:gd name="connsiteX39" fmla="*/ 251451 w 1573156"/>
                <a:gd name="connsiteY39" fmla="*/ 779332 h 3815457"/>
                <a:gd name="connsiteX40" fmla="*/ 137838 w 1573156"/>
                <a:gd name="connsiteY40" fmla="*/ 551792 h 3815457"/>
                <a:gd name="connsiteX41" fmla="*/ 135067 w 1573156"/>
                <a:gd name="connsiteY41" fmla="*/ 551792 h 3815457"/>
                <a:gd name="connsiteX42" fmla="*/ 184945 w 1573156"/>
                <a:gd name="connsiteY42" fmla="*/ 469048 h 3815457"/>
                <a:gd name="connsiteX43" fmla="*/ 201571 w 1573156"/>
                <a:gd name="connsiteY43" fmla="*/ 378550 h 3815457"/>
                <a:gd name="connsiteX44" fmla="*/ 126752 w 1573156"/>
                <a:gd name="connsiteY44" fmla="*/ 319079 h 3815457"/>
                <a:gd name="connsiteX45" fmla="*/ 118440 w 1573156"/>
                <a:gd name="connsiteY45" fmla="*/ 251851 h 3815457"/>
                <a:gd name="connsiteX46" fmla="*/ 173860 w 1573156"/>
                <a:gd name="connsiteY46" fmla="*/ 158764 h 3815457"/>
                <a:gd name="connsiteX47" fmla="*/ 193258 w 1573156"/>
                <a:gd name="connsiteY47" fmla="*/ 135494 h 3815457"/>
                <a:gd name="connsiteX48" fmla="*/ 207113 w 1573156"/>
                <a:gd name="connsiteY48" fmla="*/ 117394 h 3815457"/>
                <a:gd name="connsiteX49" fmla="*/ 215426 w 1573156"/>
                <a:gd name="connsiteY49" fmla="*/ 73438 h 3815457"/>
                <a:gd name="connsiteX50" fmla="*/ 240365 w 1573156"/>
                <a:gd name="connsiteY50" fmla="*/ 101880 h 3815457"/>
                <a:gd name="connsiteX51" fmla="*/ 270847 w 1573156"/>
                <a:gd name="connsiteY51" fmla="*/ 88952 h 3815457"/>
                <a:gd name="connsiteX52" fmla="*/ 273617 w 1573156"/>
                <a:gd name="connsiteY52" fmla="*/ 63095 h 3815457"/>
                <a:gd name="connsiteX53" fmla="*/ 281931 w 1573156"/>
                <a:gd name="connsiteY53" fmla="*/ 34652 h 3815457"/>
                <a:gd name="connsiteX54" fmla="*/ 284703 w 1573156"/>
                <a:gd name="connsiteY54" fmla="*/ 3624 h 3815457"/>
                <a:gd name="connsiteX55" fmla="*/ 420483 w 1573156"/>
                <a:gd name="connsiteY55" fmla="*/ 57924 h 3815457"/>
                <a:gd name="connsiteX56" fmla="*/ 450963 w 1573156"/>
                <a:gd name="connsiteY56" fmla="*/ 161352 h 3815457"/>
                <a:gd name="connsiteX57" fmla="*/ 464819 w 1573156"/>
                <a:gd name="connsiteY57" fmla="*/ 184622 h 3815457"/>
                <a:gd name="connsiteX58" fmla="*/ 475903 w 1573156"/>
                <a:gd name="connsiteY58" fmla="*/ 187208 h 3815457"/>
                <a:gd name="connsiteX59" fmla="*/ 589515 w 1573156"/>
                <a:gd name="connsiteY59" fmla="*/ 156181 h 3815457"/>
                <a:gd name="connsiteX60" fmla="*/ 656020 w 1573156"/>
                <a:gd name="connsiteY60" fmla="*/ 166522 h 3815457"/>
                <a:gd name="connsiteX61" fmla="*/ 719754 w 1573156"/>
                <a:gd name="connsiteY61" fmla="*/ 213065 h 3815457"/>
                <a:gd name="connsiteX62" fmla="*/ 733781 w 1573156"/>
                <a:gd name="connsiteY62" fmla="*/ 242621 h 3815457"/>
                <a:gd name="connsiteX63" fmla="*/ 789028 w 1573156"/>
                <a:gd name="connsiteY63" fmla="*/ 277708 h 3815457"/>
                <a:gd name="connsiteX64" fmla="*/ 877702 w 1573156"/>
                <a:gd name="connsiteY64" fmla="*/ 303563 h 3815457"/>
                <a:gd name="connsiteX65" fmla="*/ 949748 w 1573156"/>
                <a:gd name="connsiteY65" fmla="*/ 350106 h 3815457"/>
                <a:gd name="connsiteX66" fmla="*/ 999627 w 1573156"/>
                <a:gd name="connsiteY66" fmla="*/ 401820 h 3815457"/>
                <a:gd name="connsiteX67" fmla="*/ 1024566 w 1573156"/>
                <a:gd name="connsiteY67" fmla="*/ 440606 h 3815457"/>
                <a:gd name="connsiteX68" fmla="*/ 1057819 w 1573156"/>
                <a:gd name="connsiteY68" fmla="*/ 466462 h 3815457"/>
                <a:gd name="connsiteX69" fmla="*/ 1041191 w 1573156"/>
                <a:gd name="connsiteY69" fmla="*/ 691417 h 3815457"/>
                <a:gd name="connsiteX70" fmla="*/ 913725 w 1573156"/>
                <a:gd name="connsiteY70" fmla="*/ 771575 h 3815457"/>
                <a:gd name="connsiteX71" fmla="*/ 800113 w 1573156"/>
                <a:gd name="connsiteY71" fmla="*/ 779331 h 3815457"/>
                <a:gd name="connsiteX72" fmla="*/ 661560 w 1573156"/>
                <a:gd name="connsiteY72" fmla="*/ 758645 h 3815457"/>
                <a:gd name="connsiteX73" fmla="*/ 570116 w 1573156"/>
                <a:gd name="connsiteY73" fmla="*/ 722445 h 3815457"/>
                <a:gd name="connsiteX74" fmla="*/ 550719 w 1573156"/>
                <a:gd name="connsiteY74" fmla="*/ 750888 h 3815457"/>
                <a:gd name="connsiteX75" fmla="*/ 581361 w 1573156"/>
                <a:gd name="connsiteY75" fmla="*/ 824301 h 3815457"/>
                <a:gd name="connsiteX76" fmla="*/ 586902 w 1573156"/>
                <a:gd name="connsiteY76" fmla="*/ 951000 h 3815457"/>
                <a:gd name="connsiteX77" fmla="*/ 559032 w 1573156"/>
                <a:gd name="connsiteY77" fmla="*/ 1012043 h 3815457"/>
                <a:gd name="connsiteX78" fmla="*/ 614451 w 1573156"/>
                <a:gd name="connsiteY78" fmla="*/ 1032728 h 3815457"/>
                <a:gd name="connsiteX79" fmla="*/ 631079 w 1573156"/>
                <a:gd name="connsiteY79" fmla="*/ 1048242 h 3815457"/>
                <a:gd name="connsiteX80" fmla="*/ 656019 w 1573156"/>
                <a:gd name="connsiteY80" fmla="*/ 1074099 h 3815457"/>
                <a:gd name="connsiteX81" fmla="*/ 653248 w 1573156"/>
                <a:gd name="connsiteY81" fmla="*/ 1076685 h 3815457"/>
                <a:gd name="connsiteX82" fmla="*/ 692041 w 1573156"/>
                <a:gd name="connsiteY82" fmla="*/ 1071514 h 3815457"/>
                <a:gd name="connsiteX83" fmla="*/ 700355 w 1573156"/>
                <a:gd name="connsiteY83" fmla="*/ 1035314 h 3815457"/>
                <a:gd name="connsiteX84" fmla="*/ 661560 w 1573156"/>
                <a:gd name="connsiteY84" fmla="*/ 957743 h 3815457"/>
                <a:gd name="connsiteX85" fmla="*/ 730836 w 1573156"/>
                <a:gd name="connsiteY85" fmla="*/ 911200 h 3815457"/>
                <a:gd name="connsiteX86" fmla="*/ 798608 w 1573156"/>
                <a:gd name="connsiteY86" fmla="*/ 918934 h 3815457"/>
                <a:gd name="connsiteX87" fmla="*/ 822441 w 1573156"/>
                <a:gd name="connsiteY87" fmla="*/ 951001 h 3815457"/>
                <a:gd name="connsiteX88" fmla="*/ 978170 w 1573156"/>
                <a:gd name="connsiteY88" fmla="*/ 1007364 h 3815457"/>
                <a:gd name="connsiteX89" fmla="*/ 963762 w 1573156"/>
                <a:gd name="connsiteY89" fmla="*/ 971687 h 3815457"/>
                <a:gd name="connsiteX90" fmla="*/ 930510 w 1573156"/>
                <a:gd name="connsiteY90" fmla="*/ 932901 h 3815457"/>
                <a:gd name="connsiteX91" fmla="*/ 919426 w 1573156"/>
                <a:gd name="connsiteY91" fmla="*/ 881187 h 3815457"/>
                <a:gd name="connsiteX92" fmla="*/ 958221 w 1573156"/>
                <a:gd name="connsiteY92" fmla="*/ 832060 h 3815457"/>
                <a:gd name="connsiteX93" fmla="*/ 985931 w 1573156"/>
                <a:gd name="connsiteY93" fmla="*/ 803617 h 3815457"/>
                <a:gd name="connsiteX94" fmla="*/ 1010871 w 1573156"/>
                <a:gd name="connsiteY94" fmla="*/ 767417 h 3815457"/>
                <a:gd name="connsiteX95" fmla="*/ 1091231 w 1573156"/>
                <a:gd name="connsiteY95" fmla="*/ 762245 h 3815457"/>
                <a:gd name="connsiteX96" fmla="*/ 1096772 w 1573156"/>
                <a:gd name="connsiteY96" fmla="*/ 741560 h 3815457"/>
                <a:gd name="connsiteX97" fmla="*/ 1121712 w 1573156"/>
                <a:gd name="connsiteY97" fmla="*/ 705360 h 3815457"/>
                <a:gd name="connsiteX98" fmla="*/ 1155516 w 1573156"/>
                <a:gd name="connsiteY98" fmla="*/ 687772 h 3815457"/>
                <a:gd name="connsiteX99" fmla="*/ 1213156 w 1573156"/>
                <a:gd name="connsiteY99" fmla="*/ 700189 h 3815457"/>
                <a:gd name="connsiteX100" fmla="*/ 1251949 w 1573156"/>
                <a:gd name="connsiteY100" fmla="*/ 720875 h 3815457"/>
                <a:gd name="connsiteX101" fmla="*/ 1299057 w 1573156"/>
                <a:gd name="connsiteY101" fmla="*/ 728632 h 3815457"/>
                <a:gd name="connsiteX102" fmla="*/ 1299057 w 1573156"/>
                <a:gd name="connsiteY102" fmla="*/ 733803 h 3815457"/>
                <a:gd name="connsiteX103" fmla="*/ 1321226 w 1573156"/>
                <a:gd name="connsiteY103" fmla="*/ 674332 h 3815457"/>
                <a:gd name="connsiteX104" fmla="*/ 1331201 w 1573156"/>
                <a:gd name="connsiteY104" fmla="*/ 640714 h 3815457"/>
                <a:gd name="connsiteX105" fmla="*/ 1337852 w 1573156"/>
                <a:gd name="connsiteY105" fmla="*/ 622618 h 3815457"/>
                <a:gd name="connsiteX106" fmla="*/ 1340789 w 1573156"/>
                <a:gd name="connsiteY106" fmla="*/ 591288 h 3815457"/>
                <a:gd name="connsiteX107" fmla="*/ 1260263 w 1573156"/>
                <a:gd name="connsiteY107" fmla="*/ 545048 h 3815457"/>
                <a:gd name="connsiteX108" fmla="*/ 1246408 w 1573156"/>
                <a:gd name="connsiteY108" fmla="*/ 472648 h 3815457"/>
                <a:gd name="connsiteX109" fmla="*/ 1246408 w 1573156"/>
                <a:gd name="connsiteY109" fmla="*/ 454548 h 3815457"/>
                <a:gd name="connsiteX110" fmla="*/ 1257491 w 1573156"/>
                <a:gd name="connsiteY110" fmla="*/ 431276 h 3815457"/>
                <a:gd name="connsiteX111" fmla="*/ 1260263 w 1573156"/>
                <a:gd name="connsiteY111" fmla="*/ 415762 h 3815457"/>
                <a:gd name="connsiteX112" fmla="*/ 1260262 w 1573156"/>
                <a:gd name="connsiteY112" fmla="*/ 358878 h 3815457"/>
                <a:gd name="connsiteX113" fmla="*/ 1238094 w 1573156"/>
                <a:gd name="connsiteY113" fmla="*/ 335607 h 3815457"/>
                <a:gd name="connsiteX114" fmla="*/ 1210384 w 1573156"/>
                <a:gd name="connsiteY114" fmla="*/ 304578 h 3815457"/>
                <a:gd name="connsiteX115" fmla="*/ 1206216 w 1573156"/>
                <a:gd name="connsiteY115" fmla="*/ 280325 h 3815457"/>
                <a:gd name="connsiteX116" fmla="*/ 1257492 w 1573156"/>
                <a:gd name="connsiteY116" fmla="*/ 258034 h 3815457"/>
                <a:gd name="connsiteX117" fmla="*/ 1311072 w 1573156"/>
                <a:gd name="connsiteY117" fmla="*/ 267906 h 3815457"/>
                <a:gd name="connsiteX118" fmla="*/ 1389856 w 1573156"/>
                <a:gd name="connsiteY118" fmla="*/ 279816 h 3815457"/>
                <a:gd name="connsiteX119" fmla="*/ 1474179 w 1573156"/>
                <a:gd name="connsiteY119" fmla="*/ 349175 h 3815457"/>
                <a:gd name="connsiteX120" fmla="*/ 1536314 w 1573156"/>
                <a:gd name="connsiteY120" fmla="*/ 425271 h 3815457"/>
                <a:gd name="connsiteX121" fmla="*/ 1435343 w 1573156"/>
                <a:gd name="connsiteY121" fmla="*/ 454265 h 3815457"/>
                <a:gd name="connsiteX122" fmla="*/ 1419809 w 1573156"/>
                <a:gd name="connsiteY122" fmla="*/ 501372 h 3815457"/>
                <a:gd name="connsiteX123" fmla="*/ 1477479 w 1573156"/>
                <a:gd name="connsiteY123" fmla="*/ 585862 h 3815457"/>
                <a:gd name="connsiteX124" fmla="*/ 1513013 w 1573156"/>
                <a:gd name="connsiteY124" fmla="*/ 591964 h 3815457"/>
                <a:gd name="connsiteX125" fmla="*/ 1565633 w 1573156"/>
                <a:gd name="connsiteY125" fmla="*/ 598304 h 3815457"/>
                <a:gd name="connsiteX126" fmla="*/ 1560670 w 1573156"/>
                <a:gd name="connsiteY126" fmla="*/ 709079 h 3815457"/>
                <a:gd name="connsiteX127" fmla="*/ 1571739 w 1573156"/>
                <a:gd name="connsiteY127" fmla="*/ 1040047 h 3815457"/>
                <a:gd name="connsiteX128" fmla="*/ 1562871 w 1573156"/>
                <a:gd name="connsiteY128" fmla="*/ 1842646 h 3815457"/>
                <a:gd name="connsiteX129" fmla="*/ 1571738 w 1573156"/>
                <a:gd name="connsiteY129" fmla="*/ 2297728 h 3815457"/>
                <a:gd name="connsiteX130" fmla="*/ 1559146 w 1573156"/>
                <a:gd name="connsiteY130" fmla="*/ 3716291 h 3815457"/>
                <a:gd name="connsiteX131" fmla="*/ 1539977 w 1573156"/>
                <a:gd name="connsiteY131" fmla="*/ 3690823 h 3815457"/>
                <a:gd name="connsiteX132" fmla="*/ 1495641 w 1573156"/>
                <a:gd name="connsiteY132" fmla="*/ 3657208 h 3815457"/>
                <a:gd name="connsiteX133" fmla="*/ 1209275 w 1573156"/>
                <a:gd name="connsiteY133" fmla="*/ 3595126 h 3815457"/>
                <a:gd name="connsiteX134" fmla="*/ 1013482 w 1573156"/>
                <a:gd name="connsiteY134" fmla="*/ 3592567 h 3815457"/>
                <a:gd name="connsiteX135" fmla="*/ 1123928 w 1573156"/>
                <a:gd name="connsiteY135" fmla="*/ 3663387 h 3815457"/>
                <a:gd name="connsiteX136" fmla="*/ 907787 w 1573156"/>
                <a:gd name="connsiteY136" fmla="*/ 3629257 h 3815457"/>
                <a:gd name="connsiteX137" fmla="*/ 776238 w 1573156"/>
                <a:gd name="connsiteY137" fmla="*/ 3504783 h 3815457"/>
                <a:gd name="connsiteX138" fmla="*/ 708669 w 1573156"/>
                <a:gd name="connsiteY138" fmla="*/ 3437426 h 3815457"/>
                <a:gd name="connsiteX139" fmla="*/ 739150 w 1573156"/>
                <a:gd name="connsiteY139" fmla="*/ 3437426 h 3815457"/>
                <a:gd name="connsiteX140" fmla="*/ 750233 w 1573156"/>
                <a:gd name="connsiteY140" fmla="*/ 3408982 h 3815457"/>
                <a:gd name="connsiteX141" fmla="*/ 783486 w 1573156"/>
                <a:gd name="connsiteY141" fmla="*/ 3354683 h 3815457"/>
                <a:gd name="connsiteX142" fmla="*/ 747462 w 1573156"/>
                <a:gd name="connsiteY142" fmla="*/ 3297798 h 3815457"/>
                <a:gd name="connsiteX143" fmla="*/ 836135 w 1573156"/>
                <a:gd name="connsiteY143" fmla="*/ 3225398 h 3815457"/>
                <a:gd name="connsiteX144" fmla="*/ 902641 w 1573156"/>
                <a:gd name="connsiteY144" fmla="*/ 3217642 h 3815457"/>
                <a:gd name="connsiteX145" fmla="*/ 955289 w 1573156"/>
                <a:gd name="connsiteY145" fmla="*/ 3160756 h 3815457"/>
                <a:gd name="connsiteX146" fmla="*/ 1024565 w 1573156"/>
                <a:gd name="connsiteY146" fmla="*/ 3114213 h 3815457"/>
                <a:gd name="connsiteX147" fmla="*/ 1019023 w 1573156"/>
                <a:gd name="connsiteY147" fmla="*/ 3067671 h 3815457"/>
                <a:gd name="connsiteX148" fmla="*/ 1043963 w 1573156"/>
                <a:gd name="connsiteY148" fmla="*/ 3028886 h 3815457"/>
                <a:gd name="connsiteX149" fmla="*/ 1016252 w 1573156"/>
                <a:gd name="connsiteY149" fmla="*/ 3026300 h 3815457"/>
                <a:gd name="connsiteX150" fmla="*/ 1031704 w 1573156"/>
                <a:gd name="connsiteY150" fmla="*/ 2992878 h 3815457"/>
                <a:gd name="connsiteX151" fmla="*/ 914211 w 1573156"/>
                <a:gd name="connsiteY151" fmla="*/ 2928233 h 3815457"/>
                <a:gd name="connsiteX152" fmla="*/ 858304 w 1573156"/>
                <a:gd name="connsiteY152" fmla="*/ 2909943 h 3815457"/>
                <a:gd name="connsiteX153" fmla="*/ 827823 w 1573156"/>
                <a:gd name="connsiteY153" fmla="*/ 2881501 h 3815457"/>
                <a:gd name="connsiteX154" fmla="*/ 761317 w 1573156"/>
                <a:gd name="connsiteY154" fmla="*/ 2897015 h 3815457"/>
                <a:gd name="connsiteX155" fmla="*/ 700355 w 1573156"/>
                <a:gd name="connsiteY155" fmla="*/ 2891844 h 3815457"/>
                <a:gd name="connsiteX156" fmla="*/ 658790 w 1573156"/>
                <a:gd name="connsiteY156" fmla="*/ 2827201 h 3815457"/>
                <a:gd name="connsiteX157" fmla="*/ 656019 w 1573156"/>
                <a:gd name="connsiteY157" fmla="*/ 2785830 h 3815457"/>
                <a:gd name="connsiteX158" fmla="*/ 631080 w 1573156"/>
                <a:gd name="connsiteY158" fmla="*/ 2772902 h 3815457"/>
                <a:gd name="connsiteX159" fmla="*/ 567346 w 1573156"/>
                <a:gd name="connsiteY159" fmla="*/ 2759974 h 3815457"/>
                <a:gd name="connsiteX160" fmla="*/ 586743 w 1573156"/>
                <a:gd name="connsiteY160" fmla="*/ 2721188 h 3815457"/>
                <a:gd name="connsiteX161" fmla="*/ 557777 w 1573156"/>
                <a:gd name="connsiteY161" fmla="*/ 2715007 h 3815457"/>
                <a:gd name="connsiteX162" fmla="*/ 531809 w 1573156"/>
                <a:gd name="connsiteY162" fmla="*/ 2672771 h 3815457"/>
                <a:gd name="connsiteX163" fmla="*/ 414939 w 1573156"/>
                <a:gd name="connsiteY163" fmla="*/ 2682402 h 3815457"/>
                <a:gd name="connsiteX164" fmla="*/ 390000 w 1573156"/>
                <a:gd name="connsiteY164" fmla="*/ 2672059 h 3815457"/>
                <a:gd name="connsiteX165" fmla="*/ 367832 w 1573156"/>
                <a:gd name="connsiteY165" fmla="*/ 2684989 h 3815457"/>
                <a:gd name="connsiteX166" fmla="*/ 351205 w 1573156"/>
                <a:gd name="connsiteY166" fmla="*/ 2622932 h 3815457"/>
                <a:gd name="connsiteX167" fmla="*/ 340121 w 1573156"/>
                <a:gd name="connsiteY167" fmla="*/ 2597075 h 3815457"/>
                <a:gd name="connsiteX168" fmla="*/ 353976 w 1573156"/>
                <a:gd name="connsiteY168" fmla="*/ 2578974 h 3815457"/>
                <a:gd name="connsiteX169" fmla="*/ 381687 w 1573156"/>
                <a:gd name="connsiteY169" fmla="*/ 2581561 h 3815457"/>
                <a:gd name="connsiteX170" fmla="*/ 414939 w 1573156"/>
                <a:gd name="connsiteY170" fmla="*/ 2563461 h 3815457"/>
                <a:gd name="connsiteX171" fmla="*/ 412168 w 1573156"/>
                <a:gd name="connsiteY171" fmla="*/ 2537603 h 3815457"/>
                <a:gd name="connsiteX172" fmla="*/ 362289 w 1573156"/>
                <a:gd name="connsiteY172" fmla="*/ 2501404 h 3815457"/>
                <a:gd name="connsiteX173" fmla="*/ 338946 w 1573156"/>
                <a:gd name="connsiteY173" fmla="*/ 2513491 h 3815457"/>
                <a:gd name="connsiteX174" fmla="*/ 340121 w 1573156"/>
                <a:gd name="connsiteY174" fmla="*/ 2467790 h 3815457"/>
                <a:gd name="connsiteX175" fmla="*/ 306869 w 1573156"/>
                <a:gd name="connsiteY175" fmla="*/ 2429005 h 3815457"/>
                <a:gd name="connsiteX176" fmla="*/ 309641 w 1573156"/>
                <a:gd name="connsiteY176" fmla="*/ 2351433 h 3815457"/>
                <a:gd name="connsiteX177" fmla="*/ 290243 w 1573156"/>
                <a:gd name="connsiteY177" fmla="*/ 2299720 h 3815457"/>
                <a:gd name="connsiteX178" fmla="*/ 256991 w 1573156"/>
                <a:gd name="connsiteY178" fmla="*/ 2266106 h 3815457"/>
                <a:gd name="connsiteX179" fmla="*/ 218196 w 1573156"/>
                <a:gd name="connsiteY179" fmla="*/ 2242835 h 3815457"/>
                <a:gd name="connsiteX180" fmla="*/ 176631 w 1573156"/>
                <a:gd name="connsiteY180" fmla="*/ 2250592 h 3815457"/>
                <a:gd name="connsiteX181" fmla="*/ 122255 w 1573156"/>
                <a:gd name="connsiteY181" fmla="*/ 2214066 h 3815457"/>
                <a:gd name="connsiteX0" fmla="*/ 122255 w 1573156"/>
                <a:gd name="connsiteY0" fmla="*/ 2214066 h 3814846"/>
                <a:gd name="connsiteX1" fmla="*/ 63018 w 1573156"/>
                <a:gd name="connsiteY1" fmla="*/ 2216977 h 3814846"/>
                <a:gd name="connsiteX2" fmla="*/ 60248 w 1573156"/>
                <a:gd name="connsiteY2" fmla="*/ 2118721 h 3814846"/>
                <a:gd name="connsiteX3" fmla="*/ 71333 w 1573156"/>
                <a:gd name="connsiteY3" fmla="*/ 2077350 h 3814846"/>
                <a:gd name="connsiteX4" fmla="*/ 74102 w 1573156"/>
                <a:gd name="connsiteY4" fmla="*/ 2030807 h 3814846"/>
                <a:gd name="connsiteX5" fmla="*/ 76875 w 1573156"/>
                <a:gd name="connsiteY5" fmla="*/ 2020467 h 3814846"/>
                <a:gd name="connsiteX6" fmla="*/ 118439 w 1573156"/>
                <a:gd name="connsiteY6" fmla="*/ 1992023 h 3814846"/>
                <a:gd name="connsiteX7" fmla="*/ 82416 w 1573156"/>
                <a:gd name="connsiteY7" fmla="*/ 1963580 h 3814846"/>
                <a:gd name="connsiteX8" fmla="*/ 51935 w 1573156"/>
                <a:gd name="connsiteY8" fmla="*/ 1927380 h 3814846"/>
                <a:gd name="connsiteX9" fmla="*/ 40850 w 1573156"/>
                <a:gd name="connsiteY9" fmla="*/ 1893766 h 3814846"/>
                <a:gd name="connsiteX10" fmla="*/ 43621 w 1573156"/>
                <a:gd name="connsiteY10" fmla="*/ 1844639 h 3814846"/>
                <a:gd name="connsiteX11" fmla="*/ 82416 w 1573156"/>
                <a:gd name="connsiteY11" fmla="*/ 1826538 h 3814846"/>
                <a:gd name="connsiteX12" fmla="*/ 112899 w 1573156"/>
                <a:gd name="connsiteY12" fmla="*/ 1782581 h 3814846"/>
                <a:gd name="connsiteX13" fmla="*/ 96271 w 1573156"/>
                <a:gd name="connsiteY13" fmla="*/ 1754138 h 3814846"/>
                <a:gd name="connsiteX14" fmla="*/ 40851 w 1573156"/>
                <a:gd name="connsiteY14" fmla="*/ 1746381 h 3814846"/>
                <a:gd name="connsiteX15" fmla="*/ 2057 w 1573156"/>
                <a:gd name="connsiteY15" fmla="*/ 1730867 h 3814846"/>
                <a:gd name="connsiteX16" fmla="*/ 38079 w 1573156"/>
                <a:gd name="connsiteY16" fmla="*/ 1689496 h 3814846"/>
                <a:gd name="connsiteX17" fmla="*/ 18683 w 1573156"/>
                <a:gd name="connsiteY17" fmla="*/ 1679153 h 3814846"/>
                <a:gd name="connsiteX18" fmla="*/ 2055 w 1573156"/>
                <a:gd name="connsiteY18" fmla="*/ 1640367 h 3814846"/>
                <a:gd name="connsiteX19" fmla="*/ 65790 w 1573156"/>
                <a:gd name="connsiteY19" fmla="*/ 1650711 h 3814846"/>
                <a:gd name="connsiteX20" fmla="*/ 93501 w 1573156"/>
                <a:gd name="connsiteY20" fmla="*/ 1627440 h 3814846"/>
                <a:gd name="connsiteX21" fmla="*/ 187716 w 1573156"/>
                <a:gd name="connsiteY21" fmla="*/ 1536941 h 3814846"/>
                <a:gd name="connsiteX22" fmla="*/ 212655 w 1573156"/>
                <a:gd name="connsiteY22" fmla="*/ 1505912 h 3814846"/>
                <a:gd name="connsiteX23" fmla="*/ 198801 w 1573156"/>
                <a:gd name="connsiteY23" fmla="*/ 1555040 h 3814846"/>
                <a:gd name="connsiteX24" fmla="*/ 218197 w 1573156"/>
                <a:gd name="connsiteY24" fmla="*/ 1588655 h 3814846"/>
                <a:gd name="connsiteX25" fmla="*/ 262534 w 1573156"/>
                <a:gd name="connsiteY25" fmla="*/ 1666225 h 3814846"/>
                <a:gd name="connsiteX26" fmla="*/ 331810 w 1573156"/>
                <a:gd name="connsiteY26" fmla="*/ 1653297 h 3814846"/>
                <a:gd name="connsiteX27" fmla="*/ 351206 w 1573156"/>
                <a:gd name="connsiteY27" fmla="*/ 1622268 h 3814846"/>
                <a:gd name="connsiteX28" fmla="*/ 365062 w 1573156"/>
                <a:gd name="connsiteY28" fmla="*/ 1557627 h 3814846"/>
                <a:gd name="connsiteX29" fmla="*/ 304099 w 1573156"/>
                <a:gd name="connsiteY29" fmla="*/ 1511084 h 3814846"/>
                <a:gd name="connsiteX30" fmla="*/ 259763 w 1573156"/>
                <a:gd name="connsiteY30" fmla="*/ 1485227 h 3814846"/>
                <a:gd name="connsiteX31" fmla="*/ 198801 w 1573156"/>
                <a:gd name="connsiteY31" fmla="*/ 1495570 h 3814846"/>
                <a:gd name="connsiteX32" fmla="*/ 376147 w 1573156"/>
                <a:gd name="connsiteY32" fmla="*/ 1299057 h 3814846"/>
                <a:gd name="connsiteX33" fmla="*/ 223740 w 1573156"/>
                <a:gd name="connsiteY33" fmla="*/ 1151672 h 3814846"/>
                <a:gd name="connsiteX34" fmla="*/ 284703 w 1573156"/>
                <a:gd name="connsiteY34" fmla="*/ 1089617 h 3814846"/>
                <a:gd name="connsiteX35" fmla="*/ 218198 w 1573156"/>
                <a:gd name="connsiteY35" fmla="*/ 1050829 h 3814846"/>
                <a:gd name="connsiteX36" fmla="*/ 259763 w 1573156"/>
                <a:gd name="connsiteY36" fmla="*/ 1019802 h 3814846"/>
                <a:gd name="connsiteX37" fmla="*/ 212657 w 1573156"/>
                <a:gd name="connsiteY37" fmla="*/ 993947 h 3814846"/>
                <a:gd name="connsiteX38" fmla="*/ 212656 w 1573156"/>
                <a:gd name="connsiteY38" fmla="*/ 794845 h 3814846"/>
                <a:gd name="connsiteX39" fmla="*/ 251451 w 1573156"/>
                <a:gd name="connsiteY39" fmla="*/ 779332 h 3814846"/>
                <a:gd name="connsiteX40" fmla="*/ 137838 w 1573156"/>
                <a:gd name="connsiteY40" fmla="*/ 551792 h 3814846"/>
                <a:gd name="connsiteX41" fmla="*/ 135067 w 1573156"/>
                <a:gd name="connsiteY41" fmla="*/ 551792 h 3814846"/>
                <a:gd name="connsiteX42" fmla="*/ 184945 w 1573156"/>
                <a:gd name="connsiteY42" fmla="*/ 469048 h 3814846"/>
                <a:gd name="connsiteX43" fmla="*/ 201571 w 1573156"/>
                <a:gd name="connsiteY43" fmla="*/ 378550 h 3814846"/>
                <a:gd name="connsiteX44" fmla="*/ 126752 w 1573156"/>
                <a:gd name="connsiteY44" fmla="*/ 319079 h 3814846"/>
                <a:gd name="connsiteX45" fmla="*/ 118440 w 1573156"/>
                <a:gd name="connsiteY45" fmla="*/ 251851 h 3814846"/>
                <a:gd name="connsiteX46" fmla="*/ 173860 w 1573156"/>
                <a:gd name="connsiteY46" fmla="*/ 158764 h 3814846"/>
                <a:gd name="connsiteX47" fmla="*/ 193258 w 1573156"/>
                <a:gd name="connsiteY47" fmla="*/ 135494 h 3814846"/>
                <a:gd name="connsiteX48" fmla="*/ 207113 w 1573156"/>
                <a:gd name="connsiteY48" fmla="*/ 117394 h 3814846"/>
                <a:gd name="connsiteX49" fmla="*/ 215426 w 1573156"/>
                <a:gd name="connsiteY49" fmla="*/ 73438 h 3814846"/>
                <a:gd name="connsiteX50" fmla="*/ 240365 w 1573156"/>
                <a:gd name="connsiteY50" fmla="*/ 101880 h 3814846"/>
                <a:gd name="connsiteX51" fmla="*/ 270847 w 1573156"/>
                <a:gd name="connsiteY51" fmla="*/ 88952 h 3814846"/>
                <a:gd name="connsiteX52" fmla="*/ 273617 w 1573156"/>
                <a:gd name="connsiteY52" fmla="*/ 63095 h 3814846"/>
                <a:gd name="connsiteX53" fmla="*/ 281931 w 1573156"/>
                <a:gd name="connsiteY53" fmla="*/ 34652 h 3814846"/>
                <a:gd name="connsiteX54" fmla="*/ 284703 w 1573156"/>
                <a:gd name="connsiteY54" fmla="*/ 3624 h 3814846"/>
                <a:gd name="connsiteX55" fmla="*/ 420483 w 1573156"/>
                <a:gd name="connsiteY55" fmla="*/ 57924 h 3814846"/>
                <a:gd name="connsiteX56" fmla="*/ 450963 w 1573156"/>
                <a:gd name="connsiteY56" fmla="*/ 161352 h 3814846"/>
                <a:gd name="connsiteX57" fmla="*/ 464819 w 1573156"/>
                <a:gd name="connsiteY57" fmla="*/ 184622 h 3814846"/>
                <a:gd name="connsiteX58" fmla="*/ 475903 w 1573156"/>
                <a:gd name="connsiteY58" fmla="*/ 187208 h 3814846"/>
                <a:gd name="connsiteX59" fmla="*/ 589515 w 1573156"/>
                <a:gd name="connsiteY59" fmla="*/ 156181 h 3814846"/>
                <a:gd name="connsiteX60" fmla="*/ 656020 w 1573156"/>
                <a:gd name="connsiteY60" fmla="*/ 166522 h 3814846"/>
                <a:gd name="connsiteX61" fmla="*/ 719754 w 1573156"/>
                <a:gd name="connsiteY61" fmla="*/ 213065 h 3814846"/>
                <a:gd name="connsiteX62" fmla="*/ 733781 w 1573156"/>
                <a:gd name="connsiteY62" fmla="*/ 242621 h 3814846"/>
                <a:gd name="connsiteX63" fmla="*/ 789028 w 1573156"/>
                <a:gd name="connsiteY63" fmla="*/ 277708 h 3814846"/>
                <a:gd name="connsiteX64" fmla="*/ 877702 w 1573156"/>
                <a:gd name="connsiteY64" fmla="*/ 303563 h 3814846"/>
                <a:gd name="connsiteX65" fmla="*/ 949748 w 1573156"/>
                <a:gd name="connsiteY65" fmla="*/ 350106 h 3814846"/>
                <a:gd name="connsiteX66" fmla="*/ 999627 w 1573156"/>
                <a:gd name="connsiteY66" fmla="*/ 401820 h 3814846"/>
                <a:gd name="connsiteX67" fmla="*/ 1024566 w 1573156"/>
                <a:gd name="connsiteY67" fmla="*/ 440606 h 3814846"/>
                <a:gd name="connsiteX68" fmla="*/ 1057819 w 1573156"/>
                <a:gd name="connsiteY68" fmla="*/ 466462 h 3814846"/>
                <a:gd name="connsiteX69" fmla="*/ 1041191 w 1573156"/>
                <a:gd name="connsiteY69" fmla="*/ 691417 h 3814846"/>
                <a:gd name="connsiteX70" fmla="*/ 913725 w 1573156"/>
                <a:gd name="connsiteY70" fmla="*/ 771575 h 3814846"/>
                <a:gd name="connsiteX71" fmla="*/ 800113 w 1573156"/>
                <a:gd name="connsiteY71" fmla="*/ 779331 h 3814846"/>
                <a:gd name="connsiteX72" fmla="*/ 661560 w 1573156"/>
                <a:gd name="connsiteY72" fmla="*/ 758645 h 3814846"/>
                <a:gd name="connsiteX73" fmla="*/ 570116 w 1573156"/>
                <a:gd name="connsiteY73" fmla="*/ 722445 h 3814846"/>
                <a:gd name="connsiteX74" fmla="*/ 550719 w 1573156"/>
                <a:gd name="connsiteY74" fmla="*/ 750888 h 3814846"/>
                <a:gd name="connsiteX75" fmla="*/ 581361 w 1573156"/>
                <a:gd name="connsiteY75" fmla="*/ 824301 h 3814846"/>
                <a:gd name="connsiteX76" fmla="*/ 586902 w 1573156"/>
                <a:gd name="connsiteY76" fmla="*/ 951000 h 3814846"/>
                <a:gd name="connsiteX77" fmla="*/ 559032 w 1573156"/>
                <a:gd name="connsiteY77" fmla="*/ 1012043 h 3814846"/>
                <a:gd name="connsiteX78" fmla="*/ 614451 w 1573156"/>
                <a:gd name="connsiteY78" fmla="*/ 1032728 h 3814846"/>
                <a:gd name="connsiteX79" fmla="*/ 631079 w 1573156"/>
                <a:gd name="connsiteY79" fmla="*/ 1048242 h 3814846"/>
                <a:gd name="connsiteX80" fmla="*/ 656019 w 1573156"/>
                <a:gd name="connsiteY80" fmla="*/ 1074099 h 3814846"/>
                <a:gd name="connsiteX81" fmla="*/ 653248 w 1573156"/>
                <a:gd name="connsiteY81" fmla="*/ 1076685 h 3814846"/>
                <a:gd name="connsiteX82" fmla="*/ 692041 w 1573156"/>
                <a:gd name="connsiteY82" fmla="*/ 1071514 h 3814846"/>
                <a:gd name="connsiteX83" fmla="*/ 700355 w 1573156"/>
                <a:gd name="connsiteY83" fmla="*/ 1035314 h 3814846"/>
                <a:gd name="connsiteX84" fmla="*/ 661560 w 1573156"/>
                <a:gd name="connsiteY84" fmla="*/ 957743 h 3814846"/>
                <a:gd name="connsiteX85" fmla="*/ 730836 w 1573156"/>
                <a:gd name="connsiteY85" fmla="*/ 911200 h 3814846"/>
                <a:gd name="connsiteX86" fmla="*/ 798608 w 1573156"/>
                <a:gd name="connsiteY86" fmla="*/ 918934 h 3814846"/>
                <a:gd name="connsiteX87" fmla="*/ 822441 w 1573156"/>
                <a:gd name="connsiteY87" fmla="*/ 951001 h 3814846"/>
                <a:gd name="connsiteX88" fmla="*/ 978170 w 1573156"/>
                <a:gd name="connsiteY88" fmla="*/ 1007364 h 3814846"/>
                <a:gd name="connsiteX89" fmla="*/ 963762 w 1573156"/>
                <a:gd name="connsiteY89" fmla="*/ 971687 h 3814846"/>
                <a:gd name="connsiteX90" fmla="*/ 930510 w 1573156"/>
                <a:gd name="connsiteY90" fmla="*/ 932901 h 3814846"/>
                <a:gd name="connsiteX91" fmla="*/ 919426 w 1573156"/>
                <a:gd name="connsiteY91" fmla="*/ 881187 h 3814846"/>
                <a:gd name="connsiteX92" fmla="*/ 958221 w 1573156"/>
                <a:gd name="connsiteY92" fmla="*/ 832060 h 3814846"/>
                <a:gd name="connsiteX93" fmla="*/ 985931 w 1573156"/>
                <a:gd name="connsiteY93" fmla="*/ 803617 h 3814846"/>
                <a:gd name="connsiteX94" fmla="*/ 1010871 w 1573156"/>
                <a:gd name="connsiteY94" fmla="*/ 767417 h 3814846"/>
                <a:gd name="connsiteX95" fmla="*/ 1091231 w 1573156"/>
                <a:gd name="connsiteY95" fmla="*/ 762245 h 3814846"/>
                <a:gd name="connsiteX96" fmla="*/ 1096772 w 1573156"/>
                <a:gd name="connsiteY96" fmla="*/ 741560 h 3814846"/>
                <a:gd name="connsiteX97" fmla="*/ 1121712 w 1573156"/>
                <a:gd name="connsiteY97" fmla="*/ 705360 h 3814846"/>
                <a:gd name="connsiteX98" fmla="*/ 1155516 w 1573156"/>
                <a:gd name="connsiteY98" fmla="*/ 687772 h 3814846"/>
                <a:gd name="connsiteX99" fmla="*/ 1213156 w 1573156"/>
                <a:gd name="connsiteY99" fmla="*/ 700189 h 3814846"/>
                <a:gd name="connsiteX100" fmla="*/ 1251949 w 1573156"/>
                <a:gd name="connsiteY100" fmla="*/ 720875 h 3814846"/>
                <a:gd name="connsiteX101" fmla="*/ 1299057 w 1573156"/>
                <a:gd name="connsiteY101" fmla="*/ 728632 h 3814846"/>
                <a:gd name="connsiteX102" fmla="*/ 1299057 w 1573156"/>
                <a:gd name="connsiteY102" fmla="*/ 733803 h 3814846"/>
                <a:gd name="connsiteX103" fmla="*/ 1321226 w 1573156"/>
                <a:gd name="connsiteY103" fmla="*/ 674332 h 3814846"/>
                <a:gd name="connsiteX104" fmla="*/ 1331201 w 1573156"/>
                <a:gd name="connsiteY104" fmla="*/ 640714 h 3814846"/>
                <a:gd name="connsiteX105" fmla="*/ 1337852 w 1573156"/>
                <a:gd name="connsiteY105" fmla="*/ 622618 h 3814846"/>
                <a:gd name="connsiteX106" fmla="*/ 1340789 w 1573156"/>
                <a:gd name="connsiteY106" fmla="*/ 591288 h 3814846"/>
                <a:gd name="connsiteX107" fmla="*/ 1260263 w 1573156"/>
                <a:gd name="connsiteY107" fmla="*/ 545048 h 3814846"/>
                <a:gd name="connsiteX108" fmla="*/ 1246408 w 1573156"/>
                <a:gd name="connsiteY108" fmla="*/ 472648 h 3814846"/>
                <a:gd name="connsiteX109" fmla="*/ 1246408 w 1573156"/>
                <a:gd name="connsiteY109" fmla="*/ 454548 h 3814846"/>
                <a:gd name="connsiteX110" fmla="*/ 1257491 w 1573156"/>
                <a:gd name="connsiteY110" fmla="*/ 431276 h 3814846"/>
                <a:gd name="connsiteX111" fmla="*/ 1260263 w 1573156"/>
                <a:gd name="connsiteY111" fmla="*/ 415762 h 3814846"/>
                <a:gd name="connsiteX112" fmla="*/ 1260262 w 1573156"/>
                <a:gd name="connsiteY112" fmla="*/ 358878 h 3814846"/>
                <a:gd name="connsiteX113" fmla="*/ 1238094 w 1573156"/>
                <a:gd name="connsiteY113" fmla="*/ 335607 h 3814846"/>
                <a:gd name="connsiteX114" fmla="*/ 1210384 w 1573156"/>
                <a:gd name="connsiteY114" fmla="*/ 304578 h 3814846"/>
                <a:gd name="connsiteX115" fmla="*/ 1206216 w 1573156"/>
                <a:gd name="connsiteY115" fmla="*/ 280325 h 3814846"/>
                <a:gd name="connsiteX116" fmla="*/ 1257492 w 1573156"/>
                <a:gd name="connsiteY116" fmla="*/ 258034 h 3814846"/>
                <a:gd name="connsiteX117" fmla="*/ 1311072 w 1573156"/>
                <a:gd name="connsiteY117" fmla="*/ 267906 h 3814846"/>
                <a:gd name="connsiteX118" fmla="*/ 1389856 w 1573156"/>
                <a:gd name="connsiteY118" fmla="*/ 279816 h 3814846"/>
                <a:gd name="connsiteX119" fmla="*/ 1474179 w 1573156"/>
                <a:gd name="connsiteY119" fmla="*/ 349175 h 3814846"/>
                <a:gd name="connsiteX120" fmla="*/ 1536314 w 1573156"/>
                <a:gd name="connsiteY120" fmla="*/ 425271 h 3814846"/>
                <a:gd name="connsiteX121" fmla="*/ 1435343 w 1573156"/>
                <a:gd name="connsiteY121" fmla="*/ 454265 h 3814846"/>
                <a:gd name="connsiteX122" fmla="*/ 1419809 w 1573156"/>
                <a:gd name="connsiteY122" fmla="*/ 501372 h 3814846"/>
                <a:gd name="connsiteX123" fmla="*/ 1477479 w 1573156"/>
                <a:gd name="connsiteY123" fmla="*/ 585862 h 3814846"/>
                <a:gd name="connsiteX124" fmla="*/ 1513013 w 1573156"/>
                <a:gd name="connsiteY124" fmla="*/ 591964 h 3814846"/>
                <a:gd name="connsiteX125" fmla="*/ 1565633 w 1573156"/>
                <a:gd name="connsiteY125" fmla="*/ 598304 h 3814846"/>
                <a:gd name="connsiteX126" fmla="*/ 1560670 w 1573156"/>
                <a:gd name="connsiteY126" fmla="*/ 709079 h 3814846"/>
                <a:gd name="connsiteX127" fmla="*/ 1571739 w 1573156"/>
                <a:gd name="connsiteY127" fmla="*/ 1040047 h 3814846"/>
                <a:gd name="connsiteX128" fmla="*/ 1562871 w 1573156"/>
                <a:gd name="connsiteY128" fmla="*/ 1842646 h 3814846"/>
                <a:gd name="connsiteX129" fmla="*/ 1571738 w 1573156"/>
                <a:gd name="connsiteY129" fmla="*/ 2297728 h 3814846"/>
                <a:gd name="connsiteX130" fmla="*/ 1559146 w 1573156"/>
                <a:gd name="connsiteY130" fmla="*/ 3716291 h 3814846"/>
                <a:gd name="connsiteX131" fmla="*/ 1545518 w 1573156"/>
                <a:gd name="connsiteY131" fmla="*/ 3688238 h 3814846"/>
                <a:gd name="connsiteX132" fmla="*/ 1495641 w 1573156"/>
                <a:gd name="connsiteY132" fmla="*/ 3657208 h 3814846"/>
                <a:gd name="connsiteX133" fmla="*/ 1209275 w 1573156"/>
                <a:gd name="connsiteY133" fmla="*/ 3595126 h 3814846"/>
                <a:gd name="connsiteX134" fmla="*/ 1013482 w 1573156"/>
                <a:gd name="connsiteY134" fmla="*/ 3592567 h 3814846"/>
                <a:gd name="connsiteX135" fmla="*/ 1123928 w 1573156"/>
                <a:gd name="connsiteY135" fmla="*/ 3663387 h 3814846"/>
                <a:gd name="connsiteX136" fmla="*/ 907787 w 1573156"/>
                <a:gd name="connsiteY136" fmla="*/ 3629257 h 3814846"/>
                <a:gd name="connsiteX137" fmla="*/ 776238 w 1573156"/>
                <a:gd name="connsiteY137" fmla="*/ 3504783 h 3814846"/>
                <a:gd name="connsiteX138" fmla="*/ 708669 w 1573156"/>
                <a:gd name="connsiteY138" fmla="*/ 3437426 h 3814846"/>
                <a:gd name="connsiteX139" fmla="*/ 739150 w 1573156"/>
                <a:gd name="connsiteY139" fmla="*/ 3437426 h 3814846"/>
                <a:gd name="connsiteX140" fmla="*/ 750233 w 1573156"/>
                <a:gd name="connsiteY140" fmla="*/ 3408982 h 3814846"/>
                <a:gd name="connsiteX141" fmla="*/ 783486 w 1573156"/>
                <a:gd name="connsiteY141" fmla="*/ 3354683 h 3814846"/>
                <a:gd name="connsiteX142" fmla="*/ 747462 w 1573156"/>
                <a:gd name="connsiteY142" fmla="*/ 3297798 h 3814846"/>
                <a:gd name="connsiteX143" fmla="*/ 836135 w 1573156"/>
                <a:gd name="connsiteY143" fmla="*/ 3225398 h 3814846"/>
                <a:gd name="connsiteX144" fmla="*/ 902641 w 1573156"/>
                <a:gd name="connsiteY144" fmla="*/ 3217642 h 3814846"/>
                <a:gd name="connsiteX145" fmla="*/ 955289 w 1573156"/>
                <a:gd name="connsiteY145" fmla="*/ 3160756 h 3814846"/>
                <a:gd name="connsiteX146" fmla="*/ 1024565 w 1573156"/>
                <a:gd name="connsiteY146" fmla="*/ 3114213 h 3814846"/>
                <a:gd name="connsiteX147" fmla="*/ 1019023 w 1573156"/>
                <a:gd name="connsiteY147" fmla="*/ 3067671 h 3814846"/>
                <a:gd name="connsiteX148" fmla="*/ 1043963 w 1573156"/>
                <a:gd name="connsiteY148" fmla="*/ 3028886 h 3814846"/>
                <a:gd name="connsiteX149" fmla="*/ 1016252 w 1573156"/>
                <a:gd name="connsiteY149" fmla="*/ 3026300 h 3814846"/>
                <a:gd name="connsiteX150" fmla="*/ 1031704 w 1573156"/>
                <a:gd name="connsiteY150" fmla="*/ 2992878 h 3814846"/>
                <a:gd name="connsiteX151" fmla="*/ 914211 w 1573156"/>
                <a:gd name="connsiteY151" fmla="*/ 2928233 h 3814846"/>
                <a:gd name="connsiteX152" fmla="*/ 858304 w 1573156"/>
                <a:gd name="connsiteY152" fmla="*/ 2909943 h 3814846"/>
                <a:gd name="connsiteX153" fmla="*/ 827823 w 1573156"/>
                <a:gd name="connsiteY153" fmla="*/ 2881501 h 3814846"/>
                <a:gd name="connsiteX154" fmla="*/ 761317 w 1573156"/>
                <a:gd name="connsiteY154" fmla="*/ 2897015 h 3814846"/>
                <a:gd name="connsiteX155" fmla="*/ 700355 w 1573156"/>
                <a:gd name="connsiteY155" fmla="*/ 2891844 h 3814846"/>
                <a:gd name="connsiteX156" fmla="*/ 658790 w 1573156"/>
                <a:gd name="connsiteY156" fmla="*/ 2827201 h 3814846"/>
                <a:gd name="connsiteX157" fmla="*/ 656019 w 1573156"/>
                <a:gd name="connsiteY157" fmla="*/ 2785830 h 3814846"/>
                <a:gd name="connsiteX158" fmla="*/ 631080 w 1573156"/>
                <a:gd name="connsiteY158" fmla="*/ 2772902 h 3814846"/>
                <a:gd name="connsiteX159" fmla="*/ 567346 w 1573156"/>
                <a:gd name="connsiteY159" fmla="*/ 2759974 h 3814846"/>
                <a:gd name="connsiteX160" fmla="*/ 586743 w 1573156"/>
                <a:gd name="connsiteY160" fmla="*/ 2721188 h 3814846"/>
                <a:gd name="connsiteX161" fmla="*/ 557777 w 1573156"/>
                <a:gd name="connsiteY161" fmla="*/ 2715007 h 3814846"/>
                <a:gd name="connsiteX162" fmla="*/ 531809 w 1573156"/>
                <a:gd name="connsiteY162" fmla="*/ 2672771 h 3814846"/>
                <a:gd name="connsiteX163" fmla="*/ 414939 w 1573156"/>
                <a:gd name="connsiteY163" fmla="*/ 2682402 h 3814846"/>
                <a:gd name="connsiteX164" fmla="*/ 390000 w 1573156"/>
                <a:gd name="connsiteY164" fmla="*/ 2672059 h 3814846"/>
                <a:gd name="connsiteX165" fmla="*/ 367832 w 1573156"/>
                <a:gd name="connsiteY165" fmla="*/ 2684989 h 3814846"/>
                <a:gd name="connsiteX166" fmla="*/ 351205 w 1573156"/>
                <a:gd name="connsiteY166" fmla="*/ 2622932 h 3814846"/>
                <a:gd name="connsiteX167" fmla="*/ 340121 w 1573156"/>
                <a:gd name="connsiteY167" fmla="*/ 2597075 h 3814846"/>
                <a:gd name="connsiteX168" fmla="*/ 353976 w 1573156"/>
                <a:gd name="connsiteY168" fmla="*/ 2578974 h 3814846"/>
                <a:gd name="connsiteX169" fmla="*/ 381687 w 1573156"/>
                <a:gd name="connsiteY169" fmla="*/ 2581561 h 3814846"/>
                <a:gd name="connsiteX170" fmla="*/ 414939 w 1573156"/>
                <a:gd name="connsiteY170" fmla="*/ 2563461 h 3814846"/>
                <a:gd name="connsiteX171" fmla="*/ 412168 w 1573156"/>
                <a:gd name="connsiteY171" fmla="*/ 2537603 h 3814846"/>
                <a:gd name="connsiteX172" fmla="*/ 362289 w 1573156"/>
                <a:gd name="connsiteY172" fmla="*/ 2501404 h 3814846"/>
                <a:gd name="connsiteX173" fmla="*/ 338946 w 1573156"/>
                <a:gd name="connsiteY173" fmla="*/ 2513491 h 3814846"/>
                <a:gd name="connsiteX174" fmla="*/ 340121 w 1573156"/>
                <a:gd name="connsiteY174" fmla="*/ 2467790 h 3814846"/>
                <a:gd name="connsiteX175" fmla="*/ 306869 w 1573156"/>
                <a:gd name="connsiteY175" fmla="*/ 2429005 h 3814846"/>
                <a:gd name="connsiteX176" fmla="*/ 309641 w 1573156"/>
                <a:gd name="connsiteY176" fmla="*/ 2351433 h 3814846"/>
                <a:gd name="connsiteX177" fmla="*/ 290243 w 1573156"/>
                <a:gd name="connsiteY177" fmla="*/ 2299720 h 3814846"/>
                <a:gd name="connsiteX178" fmla="*/ 256991 w 1573156"/>
                <a:gd name="connsiteY178" fmla="*/ 2266106 h 3814846"/>
                <a:gd name="connsiteX179" fmla="*/ 218196 w 1573156"/>
                <a:gd name="connsiteY179" fmla="*/ 2242835 h 3814846"/>
                <a:gd name="connsiteX180" fmla="*/ 176631 w 1573156"/>
                <a:gd name="connsiteY180" fmla="*/ 2250592 h 3814846"/>
                <a:gd name="connsiteX181" fmla="*/ 122255 w 1573156"/>
                <a:gd name="connsiteY181" fmla="*/ 2214066 h 3814846"/>
                <a:gd name="connsiteX0" fmla="*/ 122255 w 1573156"/>
                <a:gd name="connsiteY0" fmla="*/ 2214066 h 3841677"/>
                <a:gd name="connsiteX1" fmla="*/ 63018 w 1573156"/>
                <a:gd name="connsiteY1" fmla="*/ 2216977 h 3841677"/>
                <a:gd name="connsiteX2" fmla="*/ 60248 w 1573156"/>
                <a:gd name="connsiteY2" fmla="*/ 2118721 h 3841677"/>
                <a:gd name="connsiteX3" fmla="*/ 71333 w 1573156"/>
                <a:gd name="connsiteY3" fmla="*/ 2077350 h 3841677"/>
                <a:gd name="connsiteX4" fmla="*/ 74102 w 1573156"/>
                <a:gd name="connsiteY4" fmla="*/ 2030807 h 3841677"/>
                <a:gd name="connsiteX5" fmla="*/ 76875 w 1573156"/>
                <a:gd name="connsiteY5" fmla="*/ 2020467 h 3841677"/>
                <a:gd name="connsiteX6" fmla="*/ 118439 w 1573156"/>
                <a:gd name="connsiteY6" fmla="*/ 1992023 h 3841677"/>
                <a:gd name="connsiteX7" fmla="*/ 82416 w 1573156"/>
                <a:gd name="connsiteY7" fmla="*/ 1963580 h 3841677"/>
                <a:gd name="connsiteX8" fmla="*/ 51935 w 1573156"/>
                <a:gd name="connsiteY8" fmla="*/ 1927380 h 3841677"/>
                <a:gd name="connsiteX9" fmla="*/ 40850 w 1573156"/>
                <a:gd name="connsiteY9" fmla="*/ 1893766 h 3841677"/>
                <a:gd name="connsiteX10" fmla="*/ 43621 w 1573156"/>
                <a:gd name="connsiteY10" fmla="*/ 1844639 h 3841677"/>
                <a:gd name="connsiteX11" fmla="*/ 82416 w 1573156"/>
                <a:gd name="connsiteY11" fmla="*/ 1826538 h 3841677"/>
                <a:gd name="connsiteX12" fmla="*/ 112899 w 1573156"/>
                <a:gd name="connsiteY12" fmla="*/ 1782581 h 3841677"/>
                <a:gd name="connsiteX13" fmla="*/ 96271 w 1573156"/>
                <a:gd name="connsiteY13" fmla="*/ 1754138 h 3841677"/>
                <a:gd name="connsiteX14" fmla="*/ 40851 w 1573156"/>
                <a:gd name="connsiteY14" fmla="*/ 1746381 h 3841677"/>
                <a:gd name="connsiteX15" fmla="*/ 2057 w 1573156"/>
                <a:gd name="connsiteY15" fmla="*/ 1730867 h 3841677"/>
                <a:gd name="connsiteX16" fmla="*/ 38079 w 1573156"/>
                <a:gd name="connsiteY16" fmla="*/ 1689496 h 3841677"/>
                <a:gd name="connsiteX17" fmla="*/ 18683 w 1573156"/>
                <a:gd name="connsiteY17" fmla="*/ 1679153 h 3841677"/>
                <a:gd name="connsiteX18" fmla="*/ 2055 w 1573156"/>
                <a:gd name="connsiteY18" fmla="*/ 1640367 h 3841677"/>
                <a:gd name="connsiteX19" fmla="*/ 65790 w 1573156"/>
                <a:gd name="connsiteY19" fmla="*/ 1650711 h 3841677"/>
                <a:gd name="connsiteX20" fmla="*/ 93501 w 1573156"/>
                <a:gd name="connsiteY20" fmla="*/ 1627440 h 3841677"/>
                <a:gd name="connsiteX21" fmla="*/ 187716 w 1573156"/>
                <a:gd name="connsiteY21" fmla="*/ 1536941 h 3841677"/>
                <a:gd name="connsiteX22" fmla="*/ 212655 w 1573156"/>
                <a:gd name="connsiteY22" fmla="*/ 1505912 h 3841677"/>
                <a:gd name="connsiteX23" fmla="*/ 198801 w 1573156"/>
                <a:gd name="connsiteY23" fmla="*/ 1555040 h 3841677"/>
                <a:gd name="connsiteX24" fmla="*/ 218197 w 1573156"/>
                <a:gd name="connsiteY24" fmla="*/ 1588655 h 3841677"/>
                <a:gd name="connsiteX25" fmla="*/ 262534 w 1573156"/>
                <a:gd name="connsiteY25" fmla="*/ 1666225 h 3841677"/>
                <a:gd name="connsiteX26" fmla="*/ 331810 w 1573156"/>
                <a:gd name="connsiteY26" fmla="*/ 1653297 h 3841677"/>
                <a:gd name="connsiteX27" fmla="*/ 351206 w 1573156"/>
                <a:gd name="connsiteY27" fmla="*/ 1622268 h 3841677"/>
                <a:gd name="connsiteX28" fmla="*/ 365062 w 1573156"/>
                <a:gd name="connsiteY28" fmla="*/ 1557627 h 3841677"/>
                <a:gd name="connsiteX29" fmla="*/ 304099 w 1573156"/>
                <a:gd name="connsiteY29" fmla="*/ 1511084 h 3841677"/>
                <a:gd name="connsiteX30" fmla="*/ 259763 w 1573156"/>
                <a:gd name="connsiteY30" fmla="*/ 1485227 h 3841677"/>
                <a:gd name="connsiteX31" fmla="*/ 198801 w 1573156"/>
                <a:gd name="connsiteY31" fmla="*/ 1495570 h 3841677"/>
                <a:gd name="connsiteX32" fmla="*/ 376147 w 1573156"/>
                <a:gd name="connsiteY32" fmla="*/ 1299057 h 3841677"/>
                <a:gd name="connsiteX33" fmla="*/ 223740 w 1573156"/>
                <a:gd name="connsiteY33" fmla="*/ 1151672 h 3841677"/>
                <a:gd name="connsiteX34" fmla="*/ 284703 w 1573156"/>
                <a:gd name="connsiteY34" fmla="*/ 1089617 h 3841677"/>
                <a:gd name="connsiteX35" fmla="*/ 218198 w 1573156"/>
                <a:gd name="connsiteY35" fmla="*/ 1050829 h 3841677"/>
                <a:gd name="connsiteX36" fmla="*/ 259763 w 1573156"/>
                <a:gd name="connsiteY36" fmla="*/ 1019802 h 3841677"/>
                <a:gd name="connsiteX37" fmla="*/ 212657 w 1573156"/>
                <a:gd name="connsiteY37" fmla="*/ 993947 h 3841677"/>
                <a:gd name="connsiteX38" fmla="*/ 212656 w 1573156"/>
                <a:gd name="connsiteY38" fmla="*/ 794845 h 3841677"/>
                <a:gd name="connsiteX39" fmla="*/ 251451 w 1573156"/>
                <a:gd name="connsiteY39" fmla="*/ 779332 h 3841677"/>
                <a:gd name="connsiteX40" fmla="*/ 137838 w 1573156"/>
                <a:gd name="connsiteY40" fmla="*/ 551792 h 3841677"/>
                <a:gd name="connsiteX41" fmla="*/ 135067 w 1573156"/>
                <a:gd name="connsiteY41" fmla="*/ 551792 h 3841677"/>
                <a:gd name="connsiteX42" fmla="*/ 184945 w 1573156"/>
                <a:gd name="connsiteY42" fmla="*/ 469048 h 3841677"/>
                <a:gd name="connsiteX43" fmla="*/ 201571 w 1573156"/>
                <a:gd name="connsiteY43" fmla="*/ 378550 h 3841677"/>
                <a:gd name="connsiteX44" fmla="*/ 126752 w 1573156"/>
                <a:gd name="connsiteY44" fmla="*/ 319079 h 3841677"/>
                <a:gd name="connsiteX45" fmla="*/ 118440 w 1573156"/>
                <a:gd name="connsiteY45" fmla="*/ 251851 h 3841677"/>
                <a:gd name="connsiteX46" fmla="*/ 173860 w 1573156"/>
                <a:gd name="connsiteY46" fmla="*/ 158764 h 3841677"/>
                <a:gd name="connsiteX47" fmla="*/ 193258 w 1573156"/>
                <a:gd name="connsiteY47" fmla="*/ 135494 h 3841677"/>
                <a:gd name="connsiteX48" fmla="*/ 207113 w 1573156"/>
                <a:gd name="connsiteY48" fmla="*/ 117394 h 3841677"/>
                <a:gd name="connsiteX49" fmla="*/ 215426 w 1573156"/>
                <a:gd name="connsiteY49" fmla="*/ 73438 h 3841677"/>
                <a:gd name="connsiteX50" fmla="*/ 240365 w 1573156"/>
                <a:gd name="connsiteY50" fmla="*/ 101880 h 3841677"/>
                <a:gd name="connsiteX51" fmla="*/ 270847 w 1573156"/>
                <a:gd name="connsiteY51" fmla="*/ 88952 h 3841677"/>
                <a:gd name="connsiteX52" fmla="*/ 273617 w 1573156"/>
                <a:gd name="connsiteY52" fmla="*/ 63095 h 3841677"/>
                <a:gd name="connsiteX53" fmla="*/ 281931 w 1573156"/>
                <a:gd name="connsiteY53" fmla="*/ 34652 h 3841677"/>
                <a:gd name="connsiteX54" fmla="*/ 284703 w 1573156"/>
                <a:gd name="connsiteY54" fmla="*/ 3624 h 3841677"/>
                <a:gd name="connsiteX55" fmla="*/ 420483 w 1573156"/>
                <a:gd name="connsiteY55" fmla="*/ 57924 h 3841677"/>
                <a:gd name="connsiteX56" fmla="*/ 450963 w 1573156"/>
                <a:gd name="connsiteY56" fmla="*/ 161352 h 3841677"/>
                <a:gd name="connsiteX57" fmla="*/ 464819 w 1573156"/>
                <a:gd name="connsiteY57" fmla="*/ 184622 h 3841677"/>
                <a:gd name="connsiteX58" fmla="*/ 475903 w 1573156"/>
                <a:gd name="connsiteY58" fmla="*/ 187208 h 3841677"/>
                <a:gd name="connsiteX59" fmla="*/ 589515 w 1573156"/>
                <a:gd name="connsiteY59" fmla="*/ 156181 h 3841677"/>
                <a:gd name="connsiteX60" fmla="*/ 656020 w 1573156"/>
                <a:gd name="connsiteY60" fmla="*/ 166522 h 3841677"/>
                <a:gd name="connsiteX61" fmla="*/ 719754 w 1573156"/>
                <a:gd name="connsiteY61" fmla="*/ 213065 h 3841677"/>
                <a:gd name="connsiteX62" fmla="*/ 733781 w 1573156"/>
                <a:gd name="connsiteY62" fmla="*/ 242621 h 3841677"/>
                <a:gd name="connsiteX63" fmla="*/ 789028 w 1573156"/>
                <a:gd name="connsiteY63" fmla="*/ 277708 h 3841677"/>
                <a:gd name="connsiteX64" fmla="*/ 877702 w 1573156"/>
                <a:gd name="connsiteY64" fmla="*/ 303563 h 3841677"/>
                <a:gd name="connsiteX65" fmla="*/ 949748 w 1573156"/>
                <a:gd name="connsiteY65" fmla="*/ 350106 h 3841677"/>
                <a:gd name="connsiteX66" fmla="*/ 999627 w 1573156"/>
                <a:gd name="connsiteY66" fmla="*/ 401820 h 3841677"/>
                <a:gd name="connsiteX67" fmla="*/ 1024566 w 1573156"/>
                <a:gd name="connsiteY67" fmla="*/ 440606 h 3841677"/>
                <a:gd name="connsiteX68" fmla="*/ 1057819 w 1573156"/>
                <a:gd name="connsiteY68" fmla="*/ 466462 h 3841677"/>
                <a:gd name="connsiteX69" fmla="*/ 1041191 w 1573156"/>
                <a:gd name="connsiteY69" fmla="*/ 691417 h 3841677"/>
                <a:gd name="connsiteX70" fmla="*/ 913725 w 1573156"/>
                <a:gd name="connsiteY70" fmla="*/ 771575 h 3841677"/>
                <a:gd name="connsiteX71" fmla="*/ 800113 w 1573156"/>
                <a:gd name="connsiteY71" fmla="*/ 779331 h 3841677"/>
                <a:gd name="connsiteX72" fmla="*/ 661560 w 1573156"/>
                <a:gd name="connsiteY72" fmla="*/ 758645 h 3841677"/>
                <a:gd name="connsiteX73" fmla="*/ 570116 w 1573156"/>
                <a:gd name="connsiteY73" fmla="*/ 722445 h 3841677"/>
                <a:gd name="connsiteX74" fmla="*/ 550719 w 1573156"/>
                <a:gd name="connsiteY74" fmla="*/ 750888 h 3841677"/>
                <a:gd name="connsiteX75" fmla="*/ 581361 w 1573156"/>
                <a:gd name="connsiteY75" fmla="*/ 824301 h 3841677"/>
                <a:gd name="connsiteX76" fmla="*/ 586902 w 1573156"/>
                <a:gd name="connsiteY76" fmla="*/ 951000 h 3841677"/>
                <a:gd name="connsiteX77" fmla="*/ 559032 w 1573156"/>
                <a:gd name="connsiteY77" fmla="*/ 1012043 h 3841677"/>
                <a:gd name="connsiteX78" fmla="*/ 614451 w 1573156"/>
                <a:gd name="connsiteY78" fmla="*/ 1032728 h 3841677"/>
                <a:gd name="connsiteX79" fmla="*/ 631079 w 1573156"/>
                <a:gd name="connsiteY79" fmla="*/ 1048242 h 3841677"/>
                <a:gd name="connsiteX80" fmla="*/ 656019 w 1573156"/>
                <a:gd name="connsiteY80" fmla="*/ 1074099 h 3841677"/>
                <a:gd name="connsiteX81" fmla="*/ 653248 w 1573156"/>
                <a:gd name="connsiteY81" fmla="*/ 1076685 h 3841677"/>
                <a:gd name="connsiteX82" fmla="*/ 692041 w 1573156"/>
                <a:gd name="connsiteY82" fmla="*/ 1071514 h 3841677"/>
                <a:gd name="connsiteX83" fmla="*/ 700355 w 1573156"/>
                <a:gd name="connsiteY83" fmla="*/ 1035314 h 3841677"/>
                <a:gd name="connsiteX84" fmla="*/ 661560 w 1573156"/>
                <a:gd name="connsiteY84" fmla="*/ 957743 h 3841677"/>
                <a:gd name="connsiteX85" fmla="*/ 730836 w 1573156"/>
                <a:gd name="connsiteY85" fmla="*/ 911200 h 3841677"/>
                <a:gd name="connsiteX86" fmla="*/ 798608 w 1573156"/>
                <a:gd name="connsiteY86" fmla="*/ 918934 h 3841677"/>
                <a:gd name="connsiteX87" fmla="*/ 822441 w 1573156"/>
                <a:gd name="connsiteY87" fmla="*/ 951001 h 3841677"/>
                <a:gd name="connsiteX88" fmla="*/ 978170 w 1573156"/>
                <a:gd name="connsiteY88" fmla="*/ 1007364 h 3841677"/>
                <a:gd name="connsiteX89" fmla="*/ 963762 w 1573156"/>
                <a:gd name="connsiteY89" fmla="*/ 971687 h 3841677"/>
                <a:gd name="connsiteX90" fmla="*/ 930510 w 1573156"/>
                <a:gd name="connsiteY90" fmla="*/ 932901 h 3841677"/>
                <a:gd name="connsiteX91" fmla="*/ 919426 w 1573156"/>
                <a:gd name="connsiteY91" fmla="*/ 881187 h 3841677"/>
                <a:gd name="connsiteX92" fmla="*/ 958221 w 1573156"/>
                <a:gd name="connsiteY92" fmla="*/ 832060 h 3841677"/>
                <a:gd name="connsiteX93" fmla="*/ 985931 w 1573156"/>
                <a:gd name="connsiteY93" fmla="*/ 803617 h 3841677"/>
                <a:gd name="connsiteX94" fmla="*/ 1010871 w 1573156"/>
                <a:gd name="connsiteY94" fmla="*/ 767417 h 3841677"/>
                <a:gd name="connsiteX95" fmla="*/ 1091231 w 1573156"/>
                <a:gd name="connsiteY95" fmla="*/ 762245 h 3841677"/>
                <a:gd name="connsiteX96" fmla="*/ 1096772 w 1573156"/>
                <a:gd name="connsiteY96" fmla="*/ 741560 h 3841677"/>
                <a:gd name="connsiteX97" fmla="*/ 1121712 w 1573156"/>
                <a:gd name="connsiteY97" fmla="*/ 705360 h 3841677"/>
                <a:gd name="connsiteX98" fmla="*/ 1155516 w 1573156"/>
                <a:gd name="connsiteY98" fmla="*/ 687772 h 3841677"/>
                <a:gd name="connsiteX99" fmla="*/ 1213156 w 1573156"/>
                <a:gd name="connsiteY99" fmla="*/ 700189 h 3841677"/>
                <a:gd name="connsiteX100" fmla="*/ 1251949 w 1573156"/>
                <a:gd name="connsiteY100" fmla="*/ 720875 h 3841677"/>
                <a:gd name="connsiteX101" fmla="*/ 1299057 w 1573156"/>
                <a:gd name="connsiteY101" fmla="*/ 728632 h 3841677"/>
                <a:gd name="connsiteX102" fmla="*/ 1299057 w 1573156"/>
                <a:gd name="connsiteY102" fmla="*/ 733803 h 3841677"/>
                <a:gd name="connsiteX103" fmla="*/ 1321226 w 1573156"/>
                <a:gd name="connsiteY103" fmla="*/ 674332 h 3841677"/>
                <a:gd name="connsiteX104" fmla="*/ 1331201 w 1573156"/>
                <a:gd name="connsiteY104" fmla="*/ 640714 h 3841677"/>
                <a:gd name="connsiteX105" fmla="*/ 1337852 w 1573156"/>
                <a:gd name="connsiteY105" fmla="*/ 622618 h 3841677"/>
                <a:gd name="connsiteX106" fmla="*/ 1340789 w 1573156"/>
                <a:gd name="connsiteY106" fmla="*/ 591288 h 3841677"/>
                <a:gd name="connsiteX107" fmla="*/ 1260263 w 1573156"/>
                <a:gd name="connsiteY107" fmla="*/ 545048 h 3841677"/>
                <a:gd name="connsiteX108" fmla="*/ 1246408 w 1573156"/>
                <a:gd name="connsiteY108" fmla="*/ 472648 h 3841677"/>
                <a:gd name="connsiteX109" fmla="*/ 1246408 w 1573156"/>
                <a:gd name="connsiteY109" fmla="*/ 454548 h 3841677"/>
                <a:gd name="connsiteX110" fmla="*/ 1257491 w 1573156"/>
                <a:gd name="connsiteY110" fmla="*/ 431276 h 3841677"/>
                <a:gd name="connsiteX111" fmla="*/ 1260263 w 1573156"/>
                <a:gd name="connsiteY111" fmla="*/ 415762 h 3841677"/>
                <a:gd name="connsiteX112" fmla="*/ 1260262 w 1573156"/>
                <a:gd name="connsiteY112" fmla="*/ 358878 h 3841677"/>
                <a:gd name="connsiteX113" fmla="*/ 1238094 w 1573156"/>
                <a:gd name="connsiteY113" fmla="*/ 335607 h 3841677"/>
                <a:gd name="connsiteX114" fmla="*/ 1210384 w 1573156"/>
                <a:gd name="connsiteY114" fmla="*/ 304578 h 3841677"/>
                <a:gd name="connsiteX115" fmla="*/ 1206216 w 1573156"/>
                <a:gd name="connsiteY115" fmla="*/ 280325 h 3841677"/>
                <a:gd name="connsiteX116" fmla="*/ 1257492 w 1573156"/>
                <a:gd name="connsiteY116" fmla="*/ 258034 h 3841677"/>
                <a:gd name="connsiteX117" fmla="*/ 1311072 w 1573156"/>
                <a:gd name="connsiteY117" fmla="*/ 267906 h 3841677"/>
                <a:gd name="connsiteX118" fmla="*/ 1389856 w 1573156"/>
                <a:gd name="connsiteY118" fmla="*/ 279816 h 3841677"/>
                <a:gd name="connsiteX119" fmla="*/ 1474179 w 1573156"/>
                <a:gd name="connsiteY119" fmla="*/ 349175 h 3841677"/>
                <a:gd name="connsiteX120" fmla="*/ 1536314 w 1573156"/>
                <a:gd name="connsiteY120" fmla="*/ 425271 h 3841677"/>
                <a:gd name="connsiteX121" fmla="*/ 1435343 w 1573156"/>
                <a:gd name="connsiteY121" fmla="*/ 454265 h 3841677"/>
                <a:gd name="connsiteX122" fmla="*/ 1419809 w 1573156"/>
                <a:gd name="connsiteY122" fmla="*/ 501372 h 3841677"/>
                <a:gd name="connsiteX123" fmla="*/ 1477479 w 1573156"/>
                <a:gd name="connsiteY123" fmla="*/ 585862 h 3841677"/>
                <a:gd name="connsiteX124" fmla="*/ 1513013 w 1573156"/>
                <a:gd name="connsiteY124" fmla="*/ 591964 h 3841677"/>
                <a:gd name="connsiteX125" fmla="*/ 1565633 w 1573156"/>
                <a:gd name="connsiteY125" fmla="*/ 598304 h 3841677"/>
                <a:gd name="connsiteX126" fmla="*/ 1560670 w 1573156"/>
                <a:gd name="connsiteY126" fmla="*/ 709079 h 3841677"/>
                <a:gd name="connsiteX127" fmla="*/ 1571739 w 1573156"/>
                <a:gd name="connsiteY127" fmla="*/ 1040047 h 3841677"/>
                <a:gd name="connsiteX128" fmla="*/ 1562871 w 1573156"/>
                <a:gd name="connsiteY128" fmla="*/ 1842646 h 3841677"/>
                <a:gd name="connsiteX129" fmla="*/ 1571738 w 1573156"/>
                <a:gd name="connsiteY129" fmla="*/ 2297728 h 3841677"/>
                <a:gd name="connsiteX130" fmla="*/ 1559146 w 1573156"/>
                <a:gd name="connsiteY130" fmla="*/ 3716291 h 3841677"/>
                <a:gd name="connsiteX131" fmla="*/ 1556603 w 1573156"/>
                <a:gd name="connsiteY131" fmla="*/ 3758050 h 3841677"/>
                <a:gd name="connsiteX132" fmla="*/ 1545518 w 1573156"/>
                <a:gd name="connsiteY132" fmla="*/ 3688238 h 3841677"/>
                <a:gd name="connsiteX133" fmla="*/ 1495641 w 1573156"/>
                <a:gd name="connsiteY133" fmla="*/ 3657208 h 3841677"/>
                <a:gd name="connsiteX134" fmla="*/ 1209275 w 1573156"/>
                <a:gd name="connsiteY134" fmla="*/ 3595126 h 3841677"/>
                <a:gd name="connsiteX135" fmla="*/ 1013482 w 1573156"/>
                <a:gd name="connsiteY135" fmla="*/ 3592567 h 3841677"/>
                <a:gd name="connsiteX136" fmla="*/ 1123928 w 1573156"/>
                <a:gd name="connsiteY136" fmla="*/ 3663387 h 3841677"/>
                <a:gd name="connsiteX137" fmla="*/ 907787 w 1573156"/>
                <a:gd name="connsiteY137" fmla="*/ 3629257 h 3841677"/>
                <a:gd name="connsiteX138" fmla="*/ 776238 w 1573156"/>
                <a:gd name="connsiteY138" fmla="*/ 3504783 h 3841677"/>
                <a:gd name="connsiteX139" fmla="*/ 708669 w 1573156"/>
                <a:gd name="connsiteY139" fmla="*/ 3437426 h 3841677"/>
                <a:gd name="connsiteX140" fmla="*/ 739150 w 1573156"/>
                <a:gd name="connsiteY140" fmla="*/ 3437426 h 3841677"/>
                <a:gd name="connsiteX141" fmla="*/ 750233 w 1573156"/>
                <a:gd name="connsiteY141" fmla="*/ 3408982 h 3841677"/>
                <a:gd name="connsiteX142" fmla="*/ 783486 w 1573156"/>
                <a:gd name="connsiteY142" fmla="*/ 3354683 h 3841677"/>
                <a:gd name="connsiteX143" fmla="*/ 747462 w 1573156"/>
                <a:gd name="connsiteY143" fmla="*/ 3297798 h 3841677"/>
                <a:gd name="connsiteX144" fmla="*/ 836135 w 1573156"/>
                <a:gd name="connsiteY144" fmla="*/ 3225398 h 3841677"/>
                <a:gd name="connsiteX145" fmla="*/ 902641 w 1573156"/>
                <a:gd name="connsiteY145" fmla="*/ 3217642 h 3841677"/>
                <a:gd name="connsiteX146" fmla="*/ 955289 w 1573156"/>
                <a:gd name="connsiteY146" fmla="*/ 3160756 h 3841677"/>
                <a:gd name="connsiteX147" fmla="*/ 1024565 w 1573156"/>
                <a:gd name="connsiteY147" fmla="*/ 3114213 h 3841677"/>
                <a:gd name="connsiteX148" fmla="*/ 1019023 w 1573156"/>
                <a:gd name="connsiteY148" fmla="*/ 3067671 h 3841677"/>
                <a:gd name="connsiteX149" fmla="*/ 1043963 w 1573156"/>
                <a:gd name="connsiteY149" fmla="*/ 3028886 h 3841677"/>
                <a:gd name="connsiteX150" fmla="*/ 1016252 w 1573156"/>
                <a:gd name="connsiteY150" fmla="*/ 3026300 h 3841677"/>
                <a:gd name="connsiteX151" fmla="*/ 1031704 w 1573156"/>
                <a:gd name="connsiteY151" fmla="*/ 2992878 h 3841677"/>
                <a:gd name="connsiteX152" fmla="*/ 914211 w 1573156"/>
                <a:gd name="connsiteY152" fmla="*/ 2928233 h 3841677"/>
                <a:gd name="connsiteX153" fmla="*/ 858304 w 1573156"/>
                <a:gd name="connsiteY153" fmla="*/ 2909943 h 3841677"/>
                <a:gd name="connsiteX154" fmla="*/ 827823 w 1573156"/>
                <a:gd name="connsiteY154" fmla="*/ 2881501 h 3841677"/>
                <a:gd name="connsiteX155" fmla="*/ 761317 w 1573156"/>
                <a:gd name="connsiteY155" fmla="*/ 2897015 h 3841677"/>
                <a:gd name="connsiteX156" fmla="*/ 700355 w 1573156"/>
                <a:gd name="connsiteY156" fmla="*/ 2891844 h 3841677"/>
                <a:gd name="connsiteX157" fmla="*/ 658790 w 1573156"/>
                <a:gd name="connsiteY157" fmla="*/ 2827201 h 3841677"/>
                <a:gd name="connsiteX158" fmla="*/ 656019 w 1573156"/>
                <a:gd name="connsiteY158" fmla="*/ 2785830 h 3841677"/>
                <a:gd name="connsiteX159" fmla="*/ 631080 w 1573156"/>
                <a:gd name="connsiteY159" fmla="*/ 2772902 h 3841677"/>
                <a:gd name="connsiteX160" fmla="*/ 567346 w 1573156"/>
                <a:gd name="connsiteY160" fmla="*/ 2759974 h 3841677"/>
                <a:gd name="connsiteX161" fmla="*/ 586743 w 1573156"/>
                <a:gd name="connsiteY161" fmla="*/ 2721188 h 3841677"/>
                <a:gd name="connsiteX162" fmla="*/ 557777 w 1573156"/>
                <a:gd name="connsiteY162" fmla="*/ 2715007 h 3841677"/>
                <a:gd name="connsiteX163" fmla="*/ 531809 w 1573156"/>
                <a:gd name="connsiteY163" fmla="*/ 2672771 h 3841677"/>
                <a:gd name="connsiteX164" fmla="*/ 414939 w 1573156"/>
                <a:gd name="connsiteY164" fmla="*/ 2682402 h 3841677"/>
                <a:gd name="connsiteX165" fmla="*/ 390000 w 1573156"/>
                <a:gd name="connsiteY165" fmla="*/ 2672059 h 3841677"/>
                <a:gd name="connsiteX166" fmla="*/ 367832 w 1573156"/>
                <a:gd name="connsiteY166" fmla="*/ 2684989 h 3841677"/>
                <a:gd name="connsiteX167" fmla="*/ 351205 w 1573156"/>
                <a:gd name="connsiteY167" fmla="*/ 2622932 h 3841677"/>
                <a:gd name="connsiteX168" fmla="*/ 340121 w 1573156"/>
                <a:gd name="connsiteY168" fmla="*/ 2597075 h 3841677"/>
                <a:gd name="connsiteX169" fmla="*/ 353976 w 1573156"/>
                <a:gd name="connsiteY169" fmla="*/ 2578974 h 3841677"/>
                <a:gd name="connsiteX170" fmla="*/ 381687 w 1573156"/>
                <a:gd name="connsiteY170" fmla="*/ 2581561 h 3841677"/>
                <a:gd name="connsiteX171" fmla="*/ 414939 w 1573156"/>
                <a:gd name="connsiteY171" fmla="*/ 2563461 h 3841677"/>
                <a:gd name="connsiteX172" fmla="*/ 412168 w 1573156"/>
                <a:gd name="connsiteY172" fmla="*/ 2537603 h 3841677"/>
                <a:gd name="connsiteX173" fmla="*/ 362289 w 1573156"/>
                <a:gd name="connsiteY173" fmla="*/ 2501404 h 3841677"/>
                <a:gd name="connsiteX174" fmla="*/ 338946 w 1573156"/>
                <a:gd name="connsiteY174" fmla="*/ 2513491 h 3841677"/>
                <a:gd name="connsiteX175" fmla="*/ 340121 w 1573156"/>
                <a:gd name="connsiteY175" fmla="*/ 2467790 h 3841677"/>
                <a:gd name="connsiteX176" fmla="*/ 306869 w 1573156"/>
                <a:gd name="connsiteY176" fmla="*/ 2429005 h 3841677"/>
                <a:gd name="connsiteX177" fmla="*/ 309641 w 1573156"/>
                <a:gd name="connsiteY177" fmla="*/ 2351433 h 3841677"/>
                <a:gd name="connsiteX178" fmla="*/ 290243 w 1573156"/>
                <a:gd name="connsiteY178" fmla="*/ 2299720 h 3841677"/>
                <a:gd name="connsiteX179" fmla="*/ 256991 w 1573156"/>
                <a:gd name="connsiteY179" fmla="*/ 2266106 h 3841677"/>
                <a:gd name="connsiteX180" fmla="*/ 218196 w 1573156"/>
                <a:gd name="connsiteY180" fmla="*/ 2242835 h 3841677"/>
                <a:gd name="connsiteX181" fmla="*/ 176631 w 1573156"/>
                <a:gd name="connsiteY181" fmla="*/ 2250592 h 3841677"/>
                <a:gd name="connsiteX182" fmla="*/ 122255 w 1573156"/>
                <a:gd name="connsiteY182" fmla="*/ 2214066 h 3841677"/>
                <a:gd name="connsiteX0" fmla="*/ 122255 w 1573156"/>
                <a:gd name="connsiteY0" fmla="*/ 2214066 h 3841677"/>
                <a:gd name="connsiteX1" fmla="*/ 63018 w 1573156"/>
                <a:gd name="connsiteY1" fmla="*/ 2216977 h 3841677"/>
                <a:gd name="connsiteX2" fmla="*/ 60248 w 1573156"/>
                <a:gd name="connsiteY2" fmla="*/ 2118721 h 3841677"/>
                <a:gd name="connsiteX3" fmla="*/ 71333 w 1573156"/>
                <a:gd name="connsiteY3" fmla="*/ 2077350 h 3841677"/>
                <a:gd name="connsiteX4" fmla="*/ 74102 w 1573156"/>
                <a:gd name="connsiteY4" fmla="*/ 2030807 h 3841677"/>
                <a:gd name="connsiteX5" fmla="*/ 76875 w 1573156"/>
                <a:gd name="connsiteY5" fmla="*/ 2020467 h 3841677"/>
                <a:gd name="connsiteX6" fmla="*/ 118439 w 1573156"/>
                <a:gd name="connsiteY6" fmla="*/ 1992023 h 3841677"/>
                <a:gd name="connsiteX7" fmla="*/ 82416 w 1573156"/>
                <a:gd name="connsiteY7" fmla="*/ 1963580 h 3841677"/>
                <a:gd name="connsiteX8" fmla="*/ 51935 w 1573156"/>
                <a:gd name="connsiteY8" fmla="*/ 1927380 h 3841677"/>
                <a:gd name="connsiteX9" fmla="*/ 40850 w 1573156"/>
                <a:gd name="connsiteY9" fmla="*/ 1893766 h 3841677"/>
                <a:gd name="connsiteX10" fmla="*/ 43621 w 1573156"/>
                <a:gd name="connsiteY10" fmla="*/ 1844639 h 3841677"/>
                <a:gd name="connsiteX11" fmla="*/ 82416 w 1573156"/>
                <a:gd name="connsiteY11" fmla="*/ 1826538 h 3841677"/>
                <a:gd name="connsiteX12" fmla="*/ 112899 w 1573156"/>
                <a:gd name="connsiteY12" fmla="*/ 1782581 h 3841677"/>
                <a:gd name="connsiteX13" fmla="*/ 96271 w 1573156"/>
                <a:gd name="connsiteY13" fmla="*/ 1754138 h 3841677"/>
                <a:gd name="connsiteX14" fmla="*/ 40851 w 1573156"/>
                <a:gd name="connsiteY14" fmla="*/ 1746381 h 3841677"/>
                <a:gd name="connsiteX15" fmla="*/ 2057 w 1573156"/>
                <a:gd name="connsiteY15" fmla="*/ 1730867 h 3841677"/>
                <a:gd name="connsiteX16" fmla="*/ 38079 w 1573156"/>
                <a:gd name="connsiteY16" fmla="*/ 1689496 h 3841677"/>
                <a:gd name="connsiteX17" fmla="*/ 18683 w 1573156"/>
                <a:gd name="connsiteY17" fmla="*/ 1679153 h 3841677"/>
                <a:gd name="connsiteX18" fmla="*/ 2055 w 1573156"/>
                <a:gd name="connsiteY18" fmla="*/ 1640367 h 3841677"/>
                <a:gd name="connsiteX19" fmla="*/ 65790 w 1573156"/>
                <a:gd name="connsiteY19" fmla="*/ 1650711 h 3841677"/>
                <a:gd name="connsiteX20" fmla="*/ 93501 w 1573156"/>
                <a:gd name="connsiteY20" fmla="*/ 1627440 h 3841677"/>
                <a:gd name="connsiteX21" fmla="*/ 187716 w 1573156"/>
                <a:gd name="connsiteY21" fmla="*/ 1536941 h 3841677"/>
                <a:gd name="connsiteX22" fmla="*/ 212655 w 1573156"/>
                <a:gd name="connsiteY22" fmla="*/ 1505912 h 3841677"/>
                <a:gd name="connsiteX23" fmla="*/ 198801 w 1573156"/>
                <a:gd name="connsiteY23" fmla="*/ 1555040 h 3841677"/>
                <a:gd name="connsiteX24" fmla="*/ 218197 w 1573156"/>
                <a:gd name="connsiteY24" fmla="*/ 1588655 h 3841677"/>
                <a:gd name="connsiteX25" fmla="*/ 262534 w 1573156"/>
                <a:gd name="connsiteY25" fmla="*/ 1666225 h 3841677"/>
                <a:gd name="connsiteX26" fmla="*/ 331810 w 1573156"/>
                <a:gd name="connsiteY26" fmla="*/ 1653297 h 3841677"/>
                <a:gd name="connsiteX27" fmla="*/ 351206 w 1573156"/>
                <a:gd name="connsiteY27" fmla="*/ 1622268 h 3841677"/>
                <a:gd name="connsiteX28" fmla="*/ 365062 w 1573156"/>
                <a:gd name="connsiteY28" fmla="*/ 1557627 h 3841677"/>
                <a:gd name="connsiteX29" fmla="*/ 304099 w 1573156"/>
                <a:gd name="connsiteY29" fmla="*/ 1511084 h 3841677"/>
                <a:gd name="connsiteX30" fmla="*/ 259763 w 1573156"/>
                <a:gd name="connsiteY30" fmla="*/ 1485227 h 3841677"/>
                <a:gd name="connsiteX31" fmla="*/ 198801 w 1573156"/>
                <a:gd name="connsiteY31" fmla="*/ 1495570 h 3841677"/>
                <a:gd name="connsiteX32" fmla="*/ 376147 w 1573156"/>
                <a:gd name="connsiteY32" fmla="*/ 1299057 h 3841677"/>
                <a:gd name="connsiteX33" fmla="*/ 223740 w 1573156"/>
                <a:gd name="connsiteY33" fmla="*/ 1151672 h 3841677"/>
                <a:gd name="connsiteX34" fmla="*/ 284703 w 1573156"/>
                <a:gd name="connsiteY34" fmla="*/ 1089617 h 3841677"/>
                <a:gd name="connsiteX35" fmla="*/ 218198 w 1573156"/>
                <a:gd name="connsiteY35" fmla="*/ 1050829 h 3841677"/>
                <a:gd name="connsiteX36" fmla="*/ 259763 w 1573156"/>
                <a:gd name="connsiteY36" fmla="*/ 1019802 h 3841677"/>
                <a:gd name="connsiteX37" fmla="*/ 212657 w 1573156"/>
                <a:gd name="connsiteY37" fmla="*/ 993947 h 3841677"/>
                <a:gd name="connsiteX38" fmla="*/ 212656 w 1573156"/>
                <a:gd name="connsiteY38" fmla="*/ 794845 h 3841677"/>
                <a:gd name="connsiteX39" fmla="*/ 251451 w 1573156"/>
                <a:gd name="connsiteY39" fmla="*/ 779332 h 3841677"/>
                <a:gd name="connsiteX40" fmla="*/ 137838 w 1573156"/>
                <a:gd name="connsiteY40" fmla="*/ 551792 h 3841677"/>
                <a:gd name="connsiteX41" fmla="*/ 135067 w 1573156"/>
                <a:gd name="connsiteY41" fmla="*/ 551792 h 3841677"/>
                <a:gd name="connsiteX42" fmla="*/ 184945 w 1573156"/>
                <a:gd name="connsiteY42" fmla="*/ 469048 h 3841677"/>
                <a:gd name="connsiteX43" fmla="*/ 201571 w 1573156"/>
                <a:gd name="connsiteY43" fmla="*/ 378550 h 3841677"/>
                <a:gd name="connsiteX44" fmla="*/ 126752 w 1573156"/>
                <a:gd name="connsiteY44" fmla="*/ 319079 h 3841677"/>
                <a:gd name="connsiteX45" fmla="*/ 118440 w 1573156"/>
                <a:gd name="connsiteY45" fmla="*/ 251851 h 3841677"/>
                <a:gd name="connsiteX46" fmla="*/ 173860 w 1573156"/>
                <a:gd name="connsiteY46" fmla="*/ 158764 h 3841677"/>
                <a:gd name="connsiteX47" fmla="*/ 193258 w 1573156"/>
                <a:gd name="connsiteY47" fmla="*/ 135494 h 3841677"/>
                <a:gd name="connsiteX48" fmla="*/ 207113 w 1573156"/>
                <a:gd name="connsiteY48" fmla="*/ 117394 h 3841677"/>
                <a:gd name="connsiteX49" fmla="*/ 215426 w 1573156"/>
                <a:gd name="connsiteY49" fmla="*/ 73438 h 3841677"/>
                <a:gd name="connsiteX50" fmla="*/ 240365 w 1573156"/>
                <a:gd name="connsiteY50" fmla="*/ 101880 h 3841677"/>
                <a:gd name="connsiteX51" fmla="*/ 270847 w 1573156"/>
                <a:gd name="connsiteY51" fmla="*/ 88952 h 3841677"/>
                <a:gd name="connsiteX52" fmla="*/ 273617 w 1573156"/>
                <a:gd name="connsiteY52" fmla="*/ 63095 h 3841677"/>
                <a:gd name="connsiteX53" fmla="*/ 281931 w 1573156"/>
                <a:gd name="connsiteY53" fmla="*/ 34652 h 3841677"/>
                <a:gd name="connsiteX54" fmla="*/ 284703 w 1573156"/>
                <a:gd name="connsiteY54" fmla="*/ 3624 h 3841677"/>
                <a:gd name="connsiteX55" fmla="*/ 420483 w 1573156"/>
                <a:gd name="connsiteY55" fmla="*/ 57924 h 3841677"/>
                <a:gd name="connsiteX56" fmla="*/ 450963 w 1573156"/>
                <a:gd name="connsiteY56" fmla="*/ 161352 h 3841677"/>
                <a:gd name="connsiteX57" fmla="*/ 464819 w 1573156"/>
                <a:gd name="connsiteY57" fmla="*/ 184622 h 3841677"/>
                <a:gd name="connsiteX58" fmla="*/ 475903 w 1573156"/>
                <a:gd name="connsiteY58" fmla="*/ 187208 h 3841677"/>
                <a:gd name="connsiteX59" fmla="*/ 589515 w 1573156"/>
                <a:gd name="connsiteY59" fmla="*/ 156181 h 3841677"/>
                <a:gd name="connsiteX60" fmla="*/ 656020 w 1573156"/>
                <a:gd name="connsiteY60" fmla="*/ 166522 h 3841677"/>
                <a:gd name="connsiteX61" fmla="*/ 719754 w 1573156"/>
                <a:gd name="connsiteY61" fmla="*/ 213065 h 3841677"/>
                <a:gd name="connsiteX62" fmla="*/ 733781 w 1573156"/>
                <a:gd name="connsiteY62" fmla="*/ 242621 h 3841677"/>
                <a:gd name="connsiteX63" fmla="*/ 789028 w 1573156"/>
                <a:gd name="connsiteY63" fmla="*/ 277708 h 3841677"/>
                <a:gd name="connsiteX64" fmla="*/ 877702 w 1573156"/>
                <a:gd name="connsiteY64" fmla="*/ 303563 h 3841677"/>
                <a:gd name="connsiteX65" fmla="*/ 949748 w 1573156"/>
                <a:gd name="connsiteY65" fmla="*/ 350106 h 3841677"/>
                <a:gd name="connsiteX66" fmla="*/ 999627 w 1573156"/>
                <a:gd name="connsiteY66" fmla="*/ 401820 h 3841677"/>
                <a:gd name="connsiteX67" fmla="*/ 1024566 w 1573156"/>
                <a:gd name="connsiteY67" fmla="*/ 440606 h 3841677"/>
                <a:gd name="connsiteX68" fmla="*/ 1057819 w 1573156"/>
                <a:gd name="connsiteY68" fmla="*/ 466462 h 3841677"/>
                <a:gd name="connsiteX69" fmla="*/ 1041191 w 1573156"/>
                <a:gd name="connsiteY69" fmla="*/ 691417 h 3841677"/>
                <a:gd name="connsiteX70" fmla="*/ 913725 w 1573156"/>
                <a:gd name="connsiteY70" fmla="*/ 771575 h 3841677"/>
                <a:gd name="connsiteX71" fmla="*/ 800113 w 1573156"/>
                <a:gd name="connsiteY71" fmla="*/ 779331 h 3841677"/>
                <a:gd name="connsiteX72" fmla="*/ 661560 w 1573156"/>
                <a:gd name="connsiteY72" fmla="*/ 758645 h 3841677"/>
                <a:gd name="connsiteX73" fmla="*/ 570116 w 1573156"/>
                <a:gd name="connsiteY73" fmla="*/ 722445 h 3841677"/>
                <a:gd name="connsiteX74" fmla="*/ 550719 w 1573156"/>
                <a:gd name="connsiteY74" fmla="*/ 750888 h 3841677"/>
                <a:gd name="connsiteX75" fmla="*/ 581361 w 1573156"/>
                <a:gd name="connsiteY75" fmla="*/ 824301 h 3841677"/>
                <a:gd name="connsiteX76" fmla="*/ 586902 w 1573156"/>
                <a:gd name="connsiteY76" fmla="*/ 951000 h 3841677"/>
                <a:gd name="connsiteX77" fmla="*/ 559032 w 1573156"/>
                <a:gd name="connsiteY77" fmla="*/ 1012043 h 3841677"/>
                <a:gd name="connsiteX78" fmla="*/ 614451 w 1573156"/>
                <a:gd name="connsiteY78" fmla="*/ 1032728 h 3841677"/>
                <a:gd name="connsiteX79" fmla="*/ 631079 w 1573156"/>
                <a:gd name="connsiteY79" fmla="*/ 1048242 h 3841677"/>
                <a:gd name="connsiteX80" fmla="*/ 656019 w 1573156"/>
                <a:gd name="connsiteY80" fmla="*/ 1074099 h 3841677"/>
                <a:gd name="connsiteX81" fmla="*/ 653248 w 1573156"/>
                <a:gd name="connsiteY81" fmla="*/ 1076685 h 3841677"/>
                <a:gd name="connsiteX82" fmla="*/ 692041 w 1573156"/>
                <a:gd name="connsiteY82" fmla="*/ 1071514 h 3841677"/>
                <a:gd name="connsiteX83" fmla="*/ 700355 w 1573156"/>
                <a:gd name="connsiteY83" fmla="*/ 1035314 h 3841677"/>
                <a:gd name="connsiteX84" fmla="*/ 661560 w 1573156"/>
                <a:gd name="connsiteY84" fmla="*/ 957743 h 3841677"/>
                <a:gd name="connsiteX85" fmla="*/ 730836 w 1573156"/>
                <a:gd name="connsiteY85" fmla="*/ 911200 h 3841677"/>
                <a:gd name="connsiteX86" fmla="*/ 798608 w 1573156"/>
                <a:gd name="connsiteY86" fmla="*/ 918934 h 3841677"/>
                <a:gd name="connsiteX87" fmla="*/ 822441 w 1573156"/>
                <a:gd name="connsiteY87" fmla="*/ 951001 h 3841677"/>
                <a:gd name="connsiteX88" fmla="*/ 978170 w 1573156"/>
                <a:gd name="connsiteY88" fmla="*/ 1007364 h 3841677"/>
                <a:gd name="connsiteX89" fmla="*/ 963762 w 1573156"/>
                <a:gd name="connsiteY89" fmla="*/ 971687 h 3841677"/>
                <a:gd name="connsiteX90" fmla="*/ 930510 w 1573156"/>
                <a:gd name="connsiteY90" fmla="*/ 932901 h 3841677"/>
                <a:gd name="connsiteX91" fmla="*/ 919426 w 1573156"/>
                <a:gd name="connsiteY91" fmla="*/ 881187 h 3841677"/>
                <a:gd name="connsiteX92" fmla="*/ 958221 w 1573156"/>
                <a:gd name="connsiteY92" fmla="*/ 832060 h 3841677"/>
                <a:gd name="connsiteX93" fmla="*/ 985931 w 1573156"/>
                <a:gd name="connsiteY93" fmla="*/ 803617 h 3841677"/>
                <a:gd name="connsiteX94" fmla="*/ 1010871 w 1573156"/>
                <a:gd name="connsiteY94" fmla="*/ 767417 h 3841677"/>
                <a:gd name="connsiteX95" fmla="*/ 1091231 w 1573156"/>
                <a:gd name="connsiteY95" fmla="*/ 762245 h 3841677"/>
                <a:gd name="connsiteX96" fmla="*/ 1096772 w 1573156"/>
                <a:gd name="connsiteY96" fmla="*/ 741560 h 3841677"/>
                <a:gd name="connsiteX97" fmla="*/ 1121712 w 1573156"/>
                <a:gd name="connsiteY97" fmla="*/ 705360 h 3841677"/>
                <a:gd name="connsiteX98" fmla="*/ 1155516 w 1573156"/>
                <a:gd name="connsiteY98" fmla="*/ 687772 h 3841677"/>
                <a:gd name="connsiteX99" fmla="*/ 1213156 w 1573156"/>
                <a:gd name="connsiteY99" fmla="*/ 700189 h 3841677"/>
                <a:gd name="connsiteX100" fmla="*/ 1251949 w 1573156"/>
                <a:gd name="connsiteY100" fmla="*/ 720875 h 3841677"/>
                <a:gd name="connsiteX101" fmla="*/ 1299057 w 1573156"/>
                <a:gd name="connsiteY101" fmla="*/ 728632 h 3841677"/>
                <a:gd name="connsiteX102" fmla="*/ 1299057 w 1573156"/>
                <a:gd name="connsiteY102" fmla="*/ 733803 h 3841677"/>
                <a:gd name="connsiteX103" fmla="*/ 1321226 w 1573156"/>
                <a:gd name="connsiteY103" fmla="*/ 674332 h 3841677"/>
                <a:gd name="connsiteX104" fmla="*/ 1331201 w 1573156"/>
                <a:gd name="connsiteY104" fmla="*/ 640714 h 3841677"/>
                <a:gd name="connsiteX105" fmla="*/ 1337852 w 1573156"/>
                <a:gd name="connsiteY105" fmla="*/ 622618 h 3841677"/>
                <a:gd name="connsiteX106" fmla="*/ 1340789 w 1573156"/>
                <a:gd name="connsiteY106" fmla="*/ 591288 h 3841677"/>
                <a:gd name="connsiteX107" fmla="*/ 1260263 w 1573156"/>
                <a:gd name="connsiteY107" fmla="*/ 545048 h 3841677"/>
                <a:gd name="connsiteX108" fmla="*/ 1246408 w 1573156"/>
                <a:gd name="connsiteY108" fmla="*/ 472648 h 3841677"/>
                <a:gd name="connsiteX109" fmla="*/ 1246408 w 1573156"/>
                <a:gd name="connsiteY109" fmla="*/ 454548 h 3841677"/>
                <a:gd name="connsiteX110" fmla="*/ 1257491 w 1573156"/>
                <a:gd name="connsiteY110" fmla="*/ 431276 h 3841677"/>
                <a:gd name="connsiteX111" fmla="*/ 1260263 w 1573156"/>
                <a:gd name="connsiteY111" fmla="*/ 415762 h 3841677"/>
                <a:gd name="connsiteX112" fmla="*/ 1260262 w 1573156"/>
                <a:gd name="connsiteY112" fmla="*/ 358878 h 3841677"/>
                <a:gd name="connsiteX113" fmla="*/ 1238094 w 1573156"/>
                <a:gd name="connsiteY113" fmla="*/ 335607 h 3841677"/>
                <a:gd name="connsiteX114" fmla="*/ 1210384 w 1573156"/>
                <a:gd name="connsiteY114" fmla="*/ 304578 h 3841677"/>
                <a:gd name="connsiteX115" fmla="*/ 1206216 w 1573156"/>
                <a:gd name="connsiteY115" fmla="*/ 280325 h 3841677"/>
                <a:gd name="connsiteX116" fmla="*/ 1257492 w 1573156"/>
                <a:gd name="connsiteY116" fmla="*/ 258034 h 3841677"/>
                <a:gd name="connsiteX117" fmla="*/ 1311072 w 1573156"/>
                <a:gd name="connsiteY117" fmla="*/ 267906 h 3841677"/>
                <a:gd name="connsiteX118" fmla="*/ 1389856 w 1573156"/>
                <a:gd name="connsiteY118" fmla="*/ 279816 h 3841677"/>
                <a:gd name="connsiteX119" fmla="*/ 1474179 w 1573156"/>
                <a:gd name="connsiteY119" fmla="*/ 349175 h 3841677"/>
                <a:gd name="connsiteX120" fmla="*/ 1536314 w 1573156"/>
                <a:gd name="connsiteY120" fmla="*/ 425271 h 3841677"/>
                <a:gd name="connsiteX121" fmla="*/ 1435343 w 1573156"/>
                <a:gd name="connsiteY121" fmla="*/ 454265 h 3841677"/>
                <a:gd name="connsiteX122" fmla="*/ 1419809 w 1573156"/>
                <a:gd name="connsiteY122" fmla="*/ 501372 h 3841677"/>
                <a:gd name="connsiteX123" fmla="*/ 1477479 w 1573156"/>
                <a:gd name="connsiteY123" fmla="*/ 585862 h 3841677"/>
                <a:gd name="connsiteX124" fmla="*/ 1513013 w 1573156"/>
                <a:gd name="connsiteY124" fmla="*/ 591964 h 3841677"/>
                <a:gd name="connsiteX125" fmla="*/ 1565633 w 1573156"/>
                <a:gd name="connsiteY125" fmla="*/ 598304 h 3841677"/>
                <a:gd name="connsiteX126" fmla="*/ 1560670 w 1573156"/>
                <a:gd name="connsiteY126" fmla="*/ 709079 h 3841677"/>
                <a:gd name="connsiteX127" fmla="*/ 1571739 w 1573156"/>
                <a:gd name="connsiteY127" fmla="*/ 1040047 h 3841677"/>
                <a:gd name="connsiteX128" fmla="*/ 1562871 w 1573156"/>
                <a:gd name="connsiteY128" fmla="*/ 1842646 h 3841677"/>
                <a:gd name="connsiteX129" fmla="*/ 1571738 w 1573156"/>
                <a:gd name="connsiteY129" fmla="*/ 2297728 h 3841677"/>
                <a:gd name="connsiteX130" fmla="*/ 1559146 w 1573156"/>
                <a:gd name="connsiteY130" fmla="*/ 3716291 h 3841677"/>
                <a:gd name="connsiteX131" fmla="*/ 1556603 w 1573156"/>
                <a:gd name="connsiteY131" fmla="*/ 3758050 h 3841677"/>
                <a:gd name="connsiteX132" fmla="*/ 1545518 w 1573156"/>
                <a:gd name="connsiteY132" fmla="*/ 3688238 h 3841677"/>
                <a:gd name="connsiteX133" fmla="*/ 1495641 w 1573156"/>
                <a:gd name="connsiteY133" fmla="*/ 3657208 h 3841677"/>
                <a:gd name="connsiteX134" fmla="*/ 1195420 w 1573156"/>
                <a:gd name="connsiteY134" fmla="*/ 3605469 h 3841677"/>
                <a:gd name="connsiteX135" fmla="*/ 1013482 w 1573156"/>
                <a:gd name="connsiteY135" fmla="*/ 3592567 h 3841677"/>
                <a:gd name="connsiteX136" fmla="*/ 1123928 w 1573156"/>
                <a:gd name="connsiteY136" fmla="*/ 3663387 h 3841677"/>
                <a:gd name="connsiteX137" fmla="*/ 907787 w 1573156"/>
                <a:gd name="connsiteY137" fmla="*/ 3629257 h 3841677"/>
                <a:gd name="connsiteX138" fmla="*/ 776238 w 1573156"/>
                <a:gd name="connsiteY138" fmla="*/ 3504783 h 3841677"/>
                <a:gd name="connsiteX139" fmla="*/ 708669 w 1573156"/>
                <a:gd name="connsiteY139" fmla="*/ 3437426 h 3841677"/>
                <a:gd name="connsiteX140" fmla="*/ 739150 w 1573156"/>
                <a:gd name="connsiteY140" fmla="*/ 3437426 h 3841677"/>
                <a:gd name="connsiteX141" fmla="*/ 750233 w 1573156"/>
                <a:gd name="connsiteY141" fmla="*/ 3408982 h 3841677"/>
                <a:gd name="connsiteX142" fmla="*/ 783486 w 1573156"/>
                <a:gd name="connsiteY142" fmla="*/ 3354683 h 3841677"/>
                <a:gd name="connsiteX143" fmla="*/ 747462 w 1573156"/>
                <a:gd name="connsiteY143" fmla="*/ 3297798 h 3841677"/>
                <a:gd name="connsiteX144" fmla="*/ 836135 w 1573156"/>
                <a:gd name="connsiteY144" fmla="*/ 3225398 h 3841677"/>
                <a:gd name="connsiteX145" fmla="*/ 902641 w 1573156"/>
                <a:gd name="connsiteY145" fmla="*/ 3217642 h 3841677"/>
                <a:gd name="connsiteX146" fmla="*/ 955289 w 1573156"/>
                <a:gd name="connsiteY146" fmla="*/ 3160756 h 3841677"/>
                <a:gd name="connsiteX147" fmla="*/ 1024565 w 1573156"/>
                <a:gd name="connsiteY147" fmla="*/ 3114213 h 3841677"/>
                <a:gd name="connsiteX148" fmla="*/ 1019023 w 1573156"/>
                <a:gd name="connsiteY148" fmla="*/ 3067671 h 3841677"/>
                <a:gd name="connsiteX149" fmla="*/ 1043963 w 1573156"/>
                <a:gd name="connsiteY149" fmla="*/ 3028886 h 3841677"/>
                <a:gd name="connsiteX150" fmla="*/ 1016252 w 1573156"/>
                <a:gd name="connsiteY150" fmla="*/ 3026300 h 3841677"/>
                <a:gd name="connsiteX151" fmla="*/ 1031704 w 1573156"/>
                <a:gd name="connsiteY151" fmla="*/ 2992878 h 3841677"/>
                <a:gd name="connsiteX152" fmla="*/ 914211 w 1573156"/>
                <a:gd name="connsiteY152" fmla="*/ 2928233 h 3841677"/>
                <a:gd name="connsiteX153" fmla="*/ 858304 w 1573156"/>
                <a:gd name="connsiteY153" fmla="*/ 2909943 h 3841677"/>
                <a:gd name="connsiteX154" fmla="*/ 827823 w 1573156"/>
                <a:gd name="connsiteY154" fmla="*/ 2881501 h 3841677"/>
                <a:gd name="connsiteX155" fmla="*/ 761317 w 1573156"/>
                <a:gd name="connsiteY155" fmla="*/ 2897015 h 3841677"/>
                <a:gd name="connsiteX156" fmla="*/ 700355 w 1573156"/>
                <a:gd name="connsiteY156" fmla="*/ 2891844 h 3841677"/>
                <a:gd name="connsiteX157" fmla="*/ 658790 w 1573156"/>
                <a:gd name="connsiteY157" fmla="*/ 2827201 h 3841677"/>
                <a:gd name="connsiteX158" fmla="*/ 656019 w 1573156"/>
                <a:gd name="connsiteY158" fmla="*/ 2785830 h 3841677"/>
                <a:gd name="connsiteX159" fmla="*/ 631080 w 1573156"/>
                <a:gd name="connsiteY159" fmla="*/ 2772902 h 3841677"/>
                <a:gd name="connsiteX160" fmla="*/ 567346 w 1573156"/>
                <a:gd name="connsiteY160" fmla="*/ 2759974 h 3841677"/>
                <a:gd name="connsiteX161" fmla="*/ 586743 w 1573156"/>
                <a:gd name="connsiteY161" fmla="*/ 2721188 h 3841677"/>
                <a:gd name="connsiteX162" fmla="*/ 557777 w 1573156"/>
                <a:gd name="connsiteY162" fmla="*/ 2715007 h 3841677"/>
                <a:gd name="connsiteX163" fmla="*/ 531809 w 1573156"/>
                <a:gd name="connsiteY163" fmla="*/ 2672771 h 3841677"/>
                <a:gd name="connsiteX164" fmla="*/ 414939 w 1573156"/>
                <a:gd name="connsiteY164" fmla="*/ 2682402 h 3841677"/>
                <a:gd name="connsiteX165" fmla="*/ 390000 w 1573156"/>
                <a:gd name="connsiteY165" fmla="*/ 2672059 h 3841677"/>
                <a:gd name="connsiteX166" fmla="*/ 367832 w 1573156"/>
                <a:gd name="connsiteY166" fmla="*/ 2684989 h 3841677"/>
                <a:gd name="connsiteX167" fmla="*/ 351205 w 1573156"/>
                <a:gd name="connsiteY167" fmla="*/ 2622932 h 3841677"/>
                <a:gd name="connsiteX168" fmla="*/ 340121 w 1573156"/>
                <a:gd name="connsiteY168" fmla="*/ 2597075 h 3841677"/>
                <a:gd name="connsiteX169" fmla="*/ 353976 w 1573156"/>
                <a:gd name="connsiteY169" fmla="*/ 2578974 h 3841677"/>
                <a:gd name="connsiteX170" fmla="*/ 381687 w 1573156"/>
                <a:gd name="connsiteY170" fmla="*/ 2581561 h 3841677"/>
                <a:gd name="connsiteX171" fmla="*/ 414939 w 1573156"/>
                <a:gd name="connsiteY171" fmla="*/ 2563461 h 3841677"/>
                <a:gd name="connsiteX172" fmla="*/ 412168 w 1573156"/>
                <a:gd name="connsiteY172" fmla="*/ 2537603 h 3841677"/>
                <a:gd name="connsiteX173" fmla="*/ 362289 w 1573156"/>
                <a:gd name="connsiteY173" fmla="*/ 2501404 h 3841677"/>
                <a:gd name="connsiteX174" fmla="*/ 338946 w 1573156"/>
                <a:gd name="connsiteY174" fmla="*/ 2513491 h 3841677"/>
                <a:gd name="connsiteX175" fmla="*/ 340121 w 1573156"/>
                <a:gd name="connsiteY175" fmla="*/ 2467790 h 3841677"/>
                <a:gd name="connsiteX176" fmla="*/ 306869 w 1573156"/>
                <a:gd name="connsiteY176" fmla="*/ 2429005 h 3841677"/>
                <a:gd name="connsiteX177" fmla="*/ 309641 w 1573156"/>
                <a:gd name="connsiteY177" fmla="*/ 2351433 h 3841677"/>
                <a:gd name="connsiteX178" fmla="*/ 290243 w 1573156"/>
                <a:gd name="connsiteY178" fmla="*/ 2299720 h 3841677"/>
                <a:gd name="connsiteX179" fmla="*/ 256991 w 1573156"/>
                <a:gd name="connsiteY179" fmla="*/ 2266106 h 3841677"/>
                <a:gd name="connsiteX180" fmla="*/ 218196 w 1573156"/>
                <a:gd name="connsiteY180" fmla="*/ 2242835 h 3841677"/>
                <a:gd name="connsiteX181" fmla="*/ 176631 w 1573156"/>
                <a:gd name="connsiteY181" fmla="*/ 2250592 h 3841677"/>
                <a:gd name="connsiteX182" fmla="*/ 122255 w 1573156"/>
                <a:gd name="connsiteY182" fmla="*/ 2214066 h 3841677"/>
                <a:gd name="connsiteX0" fmla="*/ 122255 w 1573156"/>
                <a:gd name="connsiteY0" fmla="*/ 2214066 h 3871062"/>
                <a:gd name="connsiteX1" fmla="*/ 63018 w 1573156"/>
                <a:gd name="connsiteY1" fmla="*/ 2216977 h 3871062"/>
                <a:gd name="connsiteX2" fmla="*/ 60248 w 1573156"/>
                <a:gd name="connsiteY2" fmla="*/ 2118721 h 3871062"/>
                <a:gd name="connsiteX3" fmla="*/ 71333 w 1573156"/>
                <a:gd name="connsiteY3" fmla="*/ 2077350 h 3871062"/>
                <a:gd name="connsiteX4" fmla="*/ 74102 w 1573156"/>
                <a:gd name="connsiteY4" fmla="*/ 2030807 h 3871062"/>
                <a:gd name="connsiteX5" fmla="*/ 76875 w 1573156"/>
                <a:gd name="connsiteY5" fmla="*/ 2020467 h 3871062"/>
                <a:gd name="connsiteX6" fmla="*/ 118439 w 1573156"/>
                <a:gd name="connsiteY6" fmla="*/ 1992023 h 3871062"/>
                <a:gd name="connsiteX7" fmla="*/ 82416 w 1573156"/>
                <a:gd name="connsiteY7" fmla="*/ 1963580 h 3871062"/>
                <a:gd name="connsiteX8" fmla="*/ 51935 w 1573156"/>
                <a:gd name="connsiteY8" fmla="*/ 1927380 h 3871062"/>
                <a:gd name="connsiteX9" fmla="*/ 40850 w 1573156"/>
                <a:gd name="connsiteY9" fmla="*/ 1893766 h 3871062"/>
                <a:gd name="connsiteX10" fmla="*/ 43621 w 1573156"/>
                <a:gd name="connsiteY10" fmla="*/ 1844639 h 3871062"/>
                <a:gd name="connsiteX11" fmla="*/ 82416 w 1573156"/>
                <a:gd name="connsiteY11" fmla="*/ 1826538 h 3871062"/>
                <a:gd name="connsiteX12" fmla="*/ 112899 w 1573156"/>
                <a:gd name="connsiteY12" fmla="*/ 1782581 h 3871062"/>
                <a:gd name="connsiteX13" fmla="*/ 96271 w 1573156"/>
                <a:gd name="connsiteY13" fmla="*/ 1754138 h 3871062"/>
                <a:gd name="connsiteX14" fmla="*/ 40851 w 1573156"/>
                <a:gd name="connsiteY14" fmla="*/ 1746381 h 3871062"/>
                <a:gd name="connsiteX15" fmla="*/ 2057 w 1573156"/>
                <a:gd name="connsiteY15" fmla="*/ 1730867 h 3871062"/>
                <a:gd name="connsiteX16" fmla="*/ 38079 w 1573156"/>
                <a:gd name="connsiteY16" fmla="*/ 1689496 h 3871062"/>
                <a:gd name="connsiteX17" fmla="*/ 18683 w 1573156"/>
                <a:gd name="connsiteY17" fmla="*/ 1679153 h 3871062"/>
                <a:gd name="connsiteX18" fmla="*/ 2055 w 1573156"/>
                <a:gd name="connsiteY18" fmla="*/ 1640367 h 3871062"/>
                <a:gd name="connsiteX19" fmla="*/ 65790 w 1573156"/>
                <a:gd name="connsiteY19" fmla="*/ 1650711 h 3871062"/>
                <a:gd name="connsiteX20" fmla="*/ 93501 w 1573156"/>
                <a:gd name="connsiteY20" fmla="*/ 1627440 h 3871062"/>
                <a:gd name="connsiteX21" fmla="*/ 187716 w 1573156"/>
                <a:gd name="connsiteY21" fmla="*/ 1536941 h 3871062"/>
                <a:gd name="connsiteX22" fmla="*/ 212655 w 1573156"/>
                <a:gd name="connsiteY22" fmla="*/ 1505912 h 3871062"/>
                <a:gd name="connsiteX23" fmla="*/ 198801 w 1573156"/>
                <a:gd name="connsiteY23" fmla="*/ 1555040 h 3871062"/>
                <a:gd name="connsiteX24" fmla="*/ 218197 w 1573156"/>
                <a:gd name="connsiteY24" fmla="*/ 1588655 h 3871062"/>
                <a:gd name="connsiteX25" fmla="*/ 262534 w 1573156"/>
                <a:gd name="connsiteY25" fmla="*/ 1666225 h 3871062"/>
                <a:gd name="connsiteX26" fmla="*/ 331810 w 1573156"/>
                <a:gd name="connsiteY26" fmla="*/ 1653297 h 3871062"/>
                <a:gd name="connsiteX27" fmla="*/ 351206 w 1573156"/>
                <a:gd name="connsiteY27" fmla="*/ 1622268 h 3871062"/>
                <a:gd name="connsiteX28" fmla="*/ 365062 w 1573156"/>
                <a:gd name="connsiteY28" fmla="*/ 1557627 h 3871062"/>
                <a:gd name="connsiteX29" fmla="*/ 304099 w 1573156"/>
                <a:gd name="connsiteY29" fmla="*/ 1511084 h 3871062"/>
                <a:gd name="connsiteX30" fmla="*/ 259763 w 1573156"/>
                <a:gd name="connsiteY30" fmla="*/ 1485227 h 3871062"/>
                <a:gd name="connsiteX31" fmla="*/ 198801 w 1573156"/>
                <a:gd name="connsiteY31" fmla="*/ 1495570 h 3871062"/>
                <a:gd name="connsiteX32" fmla="*/ 376147 w 1573156"/>
                <a:gd name="connsiteY32" fmla="*/ 1299057 h 3871062"/>
                <a:gd name="connsiteX33" fmla="*/ 223740 w 1573156"/>
                <a:gd name="connsiteY33" fmla="*/ 1151672 h 3871062"/>
                <a:gd name="connsiteX34" fmla="*/ 284703 w 1573156"/>
                <a:gd name="connsiteY34" fmla="*/ 1089617 h 3871062"/>
                <a:gd name="connsiteX35" fmla="*/ 218198 w 1573156"/>
                <a:gd name="connsiteY35" fmla="*/ 1050829 h 3871062"/>
                <a:gd name="connsiteX36" fmla="*/ 259763 w 1573156"/>
                <a:gd name="connsiteY36" fmla="*/ 1019802 h 3871062"/>
                <a:gd name="connsiteX37" fmla="*/ 212657 w 1573156"/>
                <a:gd name="connsiteY37" fmla="*/ 993947 h 3871062"/>
                <a:gd name="connsiteX38" fmla="*/ 212656 w 1573156"/>
                <a:gd name="connsiteY38" fmla="*/ 794845 h 3871062"/>
                <a:gd name="connsiteX39" fmla="*/ 251451 w 1573156"/>
                <a:gd name="connsiteY39" fmla="*/ 779332 h 3871062"/>
                <a:gd name="connsiteX40" fmla="*/ 137838 w 1573156"/>
                <a:gd name="connsiteY40" fmla="*/ 551792 h 3871062"/>
                <a:gd name="connsiteX41" fmla="*/ 135067 w 1573156"/>
                <a:gd name="connsiteY41" fmla="*/ 551792 h 3871062"/>
                <a:gd name="connsiteX42" fmla="*/ 184945 w 1573156"/>
                <a:gd name="connsiteY42" fmla="*/ 469048 h 3871062"/>
                <a:gd name="connsiteX43" fmla="*/ 201571 w 1573156"/>
                <a:gd name="connsiteY43" fmla="*/ 378550 h 3871062"/>
                <a:gd name="connsiteX44" fmla="*/ 126752 w 1573156"/>
                <a:gd name="connsiteY44" fmla="*/ 319079 h 3871062"/>
                <a:gd name="connsiteX45" fmla="*/ 118440 w 1573156"/>
                <a:gd name="connsiteY45" fmla="*/ 251851 h 3871062"/>
                <a:gd name="connsiteX46" fmla="*/ 173860 w 1573156"/>
                <a:gd name="connsiteY46" fmla="*/ 158764 h 3871062"/>
                <a:gd name="connsiteX47" fmla="*/ 193258 w 1573156"/>
                <a:gd name="connsiteY47" fmla="*/ 135494 h 3871062"/>
                <a:gd name="connsiteX48" fmla="*/ 207113 w 1573156"/>
                <a:gd name="connsiteY48" fmla="*/ 117394 h 3871062"/>
                <a:gd name="connsiteX49" fmla="*/ 215426 w 1573156"/>
                <a:gd name="connsiteY49" fmla="*/ 73438 h 3871062"/>
                <a:gd name="connsiteX50" fmla="*/ 240365 w 1573156"/>
                <a:gd name="connsiteY50" fmla="*/ 101880 h 3871062"/>
                <a:gd name="connsiteX51" fmla="*/ 270847 w 1573156"/>
                <a:gd name="connsiteY51" fmla="*/ 88952 h 3871062"/>
                <a:gd name="connsiteX52" fmla="*/ 273617 w 1573156"/>
                <a:gd name="connsiteY52" fmla="*/ 63095 h 3871062"/>
                <a:gd name="connsiteX53" fmla="*/ 281931 w 1573156"/>
                <a:gd name="connsiteY53" fmla="*/ 34652 h 3871062"/>
                <a:gd name="connsiteX54" fmla="*/ 284703 w 1573156"/>
                <a:gd name="connsiteY54" fmla="*/ 3624 h 3871062"/>
                <a:gd name="connsiteX55" fmla="*/ 420483 w 1573156"/>
                <a:gd name="connsiteY55" fmla="*/ 57924 h 3871062"/>
                <a:gd name="connsiteX56" fmla="*/ 450963 w 1573156"/>
                <a:gd name="connsiteY56" fmla="*/ 161352 h 3871062"/>
                <a:gd name="connsiteX57" fmla="*/ 464819 w 1573156"/>
                <a:gd name="connsiteY57" fmla="*/ 184622 h 3871062"/>
                <a:gd name="connsiteX58" fmla="*/ 475903 w 1573156"/>
                <a:gd name="connsiteY58" fmla="*/ 187208 h 3871062"/>
                <a:gd name="connsiteX59" fmla="*/ 589515 w 1573156"/>
                <a:gd name="connsiteY59" fmla="*/ 156181 h 3871062"/>
                <a:gd name="connsiteX60" fmla="*/ 656020 w 1573156"/>
                <a:gd name="connsiteY60" fmla="*/ 166522 h 3871062"/>
                <a:gd name="connsiteX61" fmla="*/ 719754 w 1573156"/>
                <a:gd name="connsiteY61" fmla="*/ 213065 h 3871062"/>
                <a:gd name="connsiteX62" fmla="*/ 733781 w 1573156"/>
                <a:gd name="connsiteY62" fmla="*/ 242621 h 3871062"/>
                <a:gd name="connsiteX63" fmla="*/ 789028 w 1573156"/>
                <a:gd name="connsiteY63" fmla="*/ 277708 h 3871062"/>
                <a:gd name="connsiteX64" fmla="*/ 877702 w 1573156"/>
                <a:gd name="connsiteY64" fmla="*/ 303563 h 3871062"/>
                <a:gd name="connsiteX65" fmla="*/ 949748 w 1573156"/>
                <a:gd name="connsiteY65" fmla="*/ 350106 h 3871062"/>
                <a:gd name="connsiteX66" fmla="*/ 999627 w 1573156"/>
                <a:gd name="connsiteY66" fmla="*/ 401820 h 3871062"/>
                <a:gd name="connsiteX67" fmla="*/ 1024566 w 1573156"/>
                <a:gd name="connsiteY67" fmla="*/ 440606 h 3871062"/>
                <a:gd name="connsiteX68" fmla="*/ 1057819 w 1573156"/>
                <a:gd name="connsiteY68" fmla="*/ 466462 h 3871062"/>
                <a:gd name="connsiteX69" fmla="*/ 1041191 w 1573156"/>
                <a:gd name="connsiteY69" fmla="*/ 691417 h 3871062"/>
                <a:gd name="connsiteX70" fmla="*/ 913725 w 1573156"/>
                <a:gd name="connsiteY70" fmla="*/ 771575 h 3871062"/>
                <a:gd name="connsiteX71" fmla="*/ 800113 w 1573156"/>
                <a:gd name="connsiteY71" fmla="*/ 779331 h 3871062"/>
                <a:gd name="connsiteX72" fmla="*/ 661560 w 1573156"/>
                <a:gd name="connsiteY72" fmla="*/ 758645 h 3871062"/>
                <a:gd name="connsiteX73" fmla="*/ 570116 w 1573156"/>
                <a:gd name="connsiteY73" fmla="*/ 722445 h 3871062"/>
                <a:gd name="connsiteX74" fmla="*/ 550719 w 1573156"/>
                <a:gd name="connsiteY74" fmla="*/ 750888 h 3871062"/>
                <a:gd name="connsiteX75" fmla="*/ 581361 w 1573156"/>
                <a:gd name="connsiteY75" fmla="*/ 824301 h 3871062"/>
                <a:gd name="connsiteX76" fmla="*/ 586902 w 1573156"/>
                <a:gd name="connsiteY76" fmla="*/ 951000 h 3871062"/>
                <a:gd name="connsiteX77" fmla="*/ 559032 w 1573156"/>
                <a:gd name="connsiteY77" fmla="*/ 1012043 h 3871062"/>
                <a:gd name="connsiteX78" fmla="*/ 614451 w 1573156"/>
                <a:gd name="connsiteY78" fmla="*/ 1032728 h 3871062"/>
                <a:gd name="connsiteX79" fmla="*/ 631079 w 1573156"/>
                <a:gd name="connsiteY79" fmla="*/ 1048242 h 3871062"/>
                <a:gd name="connsiteX80" fmla="*/ 656019 w 1573156"/>
                <a:gd name="connsiteY80" fmla="*/ 1074099 h 3871062"/>
                <a:gd name="connsiteX81" fmla="*/ 653248 w 1573156"/>
                <a:gd name="connsiteY81" fmla="*/ 1076685 h 3871062"/>
                <a:gd name="connsiteX82" fmla="*/ 692041 w 1573156"/>
                <a:gd name="connsiteY82" fmla="*/ 1071514 h 3871062"/>
                <a:gd name="connsiteX83" fmla="*/ 700355 w 1573156"/>
                <a:gd name="connsiteY83" fmla="*/ 1035314 h 3871062"/>
                <a:gd name="connsiteX84" fmla="*/ 661560 w 1573156"/>
                <a:gd name="connsiteY84" fmla="*/ 957743 h 3871062"/>
                <a:gd name="connsiteX85" fmla="*/ 730836 w 1573156"/>
                <a:gd name="connsiteY85" fmla="*/ 911200 h 3871062"/>
                <a:gd name="connsiteX86" fmla="*/ 798608 w 1573156"/>
                <a:gd name="connsiteY86" fmla="*/ 918934 h 3871062"/>
                <a:gd name="connsiteX87" fmla="*/ 822441 w 1573156"/>
                <a:gd name="connsiteY87" fmla="*/ 951001 h 3871062"/>
                <a:gd name="connsiteX88" fmla="*/ 978170 w 1573156"/>
                <a:gd name="connsiteY88" fmla="*/ 1007364 h 3871062"/>
                <a:gd name="connsiteX89" fmla="*/ 963762 w 1573156"/>
                <a:gd name="connsiteY89" fmla="*/ 971687 h 3871062"/>
                <a:gd name="connsiteX90" fmla="*/ 930510 w 1573156"/>
                <a:gd name="connsiteY90" fmla="*/ 932901 h 3871062"/>
                <a:gd name="connsiteX91" fmla="*/ 919426 w 1573156"/>
                <a:gd name="connsiteY91" fmla="*/ 881187 h 3871062"/>
                <a:gd name="connsiteX92" fmla="*/ 958221 w 1573156"/>
                <a:gd name="connsiteY92" fmla="*/ 832060 h 3871062"/>
                <a:gd name="connsiteX93" fmla="*/ 985931 w 1573156"/>
                <a:gd name="connsiteY93" fmla="*/ 803617 h 3871062"/>
                <a:gd name="connsiteX94" fmla="*/ 1010871 w 1573156"/>
                <a:gd name="connsiteY94" fmla="*/ 767417 h 3871062"/>
                <a:gd name="connsiteX95" fmla="*/ 1091231 w 1573156"/>
                <a:gd name="connsiteY95" fmla="*/ 762245 h 3871062"/>
                <a:gd name="connsiteX96" fmla="*/ 1096772 w 1573156"/>
                <a:gd name="connsiteY96" fmla="*/ 741560 h 3871062"/>
                <a:gd name="connsiteX97" fmla="*/ 1121712 w 1573156"/>
                <a:gd name="connsiteY97" fmla="*/ 705360 h 3871062"/>
                <a:gd name="connsiteX98" fmla="*/ 1155516 w 1573156"/>
                <a:gd name="connsiteY98" fmla="*/ 687772 h 3871062"/>
                <a:gd name="connsiteX99" fmla="*/ 1213156 w 1573156"/>
                <a:gd name="connsiteY99" fmla="*/ 700189 h 3871062"/>
                <a:gd name="connsiteX100" fmla="*/ 1251949 w 1573156"/>
                <a:gd name="connsiteY100" fmla="*/ 720875 h 3871062"/>
                <a:gd name="connsiteX101" fmla="*/ 1299057 w 1573156"/>
                <a:gd name="connsiteY101" fmla="*/ 728632 h 3871062"/>
                <a:gd name="connsiteX102" fmla="*/ 1299057 w 1573156"/>
                <a:gd name="connsiteY102" fmla="*/ 733803 h 3871062"/>
                <a:gd name="connsiteX103" fmla="*/ 1321226 w 1573156"/>
                <a:gd name="connsiteY103" fmla="*/ 674332 h 3871062"/>
                <a:gd name="connsiteX104" fmla="*/ 1331201 w 1573156"/>
                <a:gd name="connsiteY104" fmla="*/ 640714 h 3871062"/>
                <a:gd name="connsiteX105" fmla="*/ 1337852 w 1573156"/>
                <a:gd name="connsiteY105" fmla="*/ 622618 h 3871062"/>
                <a:gd name="connsiteX106" fmla="*/ 1340789 w 1573156"/>
                <a:gd name="connsiteY106" fmla="*/ 591288 h 3871062"/>
                <a:gd name="connsiteX107" fmla="*/ 1260263 w 1573156"/>
                <a:gd name="connsiteY107" fmla="*/ 545048 h 3871062"/>
                <a:gd name="connsiteX108" fmla="*/ 1246408 w 1573156"/>
                <a:gd name="connsiteY108" fmla="*/ 472648 h 3871062"/>
                <a:gd name="connsiteX109" fmla="*/ 1246408 w 1573156"/>
                <a:gd name="connsiteY109" fmla="*/ 454548 h 3871062"/>
                <a:gd name="connsiteX110" fmla="*/ 1257491 w 1573156"/>
                <a:gd name="connsiteY110" fmla="*/ 431276 h 3871062"/>
                <a:gd name="connsiteX111" fmla="*/ 1260263 w 1573156"/>
                <a:gd name="connsiteY111" fmla="*/ 415762 h 3871062"/>
                <a:gd name="connsiteX112" fmla="*/ 1260262 w 1573156"/>
                <a:gd name="connsiteY112" fmla="*/ 358878 h 3871062"/>
                <a:gd name="connsiteX113" fmla="*/ 1238094 w 1573156"/>
                <a:gd name="connsiteY113" fmla="*/ 335607 h 3871062"/>
                <a:gd name="connsiteX114" fmla="*/ 1210384 w 1573156"/>
                <a:gd name="connsiteY114" fmla="*/ 304578 h 3871062"/>
                <a:gd name="connsiteX115" fmla="*/ 1206216 w 1573156"/>
                <a:gd name="connsiteY115" fmla="*/ 280325 h 3871062"/>
                <a:gd name="connsiteX116" fmla="*/ 1257492 w 1573156"/>
                <a:gd name="connsiteY116" fmla="*/ 258034 h 3871062"/>
                <a:gd name="connsiteX117" fmla="*/ 1311072 w 1573156"/>
                <a:gd name="connsiteY117" fmla="*/ 267906 h 3871062"/>
                <a:gd name="connsiteX118" fmla="*/ 1389856 w 1573156"/>
                <a:gd name="connsiteY118" fmla="*/ 279816 h 3871062"/>
                <a:gd name="connsiteX119" fmla="*/ 1474179 w 1573156"/>
                <a:gd name="connsiteY119" fmla="*/ 349175 h 3871062"/>
                <a:gd name="connsiteX120" fmla="*/ 1536314 w 1573156"/>
                <a:gd name="connsiteY120" fmla="*/ 425271 h 3871062"/>
                <a:gd name="connsiteX121" fmla="*/ 1435343 w 1573156"/>
                <a:gd name="connsiteY121" fmla="*/ 454265 h 3871062"/>
                <a:gd name="connsiteX122" fmla="*/ 1419809 w 1573156"/>
                <a:gd name="connsiteY122" fmla="*/ 501372 h 3871062"/>
                <a:gd name="connsiteX123" fmla="*/ 1477479 w 1573156"/>
                <a:gd name="connsiteY123" fmla="*/ 585862 h 3871062"/>
                <a:gd name="connsiteX124" fmla="*/ 1513013 w 1573156"/>
                <a:gd name="connsiteY124" fmla="*/ 591964 h 3871062"/>
                <a:gd name="connsiteX125" fmla="*/ 1565633 w 1573156"/>
                <a:gd name="connsiteY125" fmla="*/ 598304 h 3871062"/>
                <a:gd name="connsiteX126" fmla="*/ 1560670 w 1573156"/>
                <a:gd name="connsiteY126" fmla="*/ 709079 h 3871062"/>
                <a:gd name="connsiteX127" fmla="*/ 1571739 w 1573156"/>
                <a:gd name="connsiteY127" fmla="*/ 1040047 h 3871062"/>
                <a:gd name="connsiteX128" fmla="*/ 1562871 w 1573156"/>
                <a:gd name="connsiteY128" fmla="*/ 1842646 h 3871062"/>
                <a:gd name="connsiteX129" fmla="*/ 1571738 w 1573156"/>
                <a:gd name="connsiteY129" fmla="*/ 2297728 h 3871062"/>
                <a:gd name="connsiteX130" fmla="*/ 1559146 w 1573156"/>
                <a:gd name="connsiteY130" fmla="*/ 3716291 h 3871062"/>
                <a:gd name="connsiteX131" fmla="*/ 1553832 w 1573156"/>
                <a:gd name="connsiteY131" fmla="*/ 3838207 h 3871062"/>
                <a:gd name="connsiteX132" fmla="*/ 1556603 w 1573156"/>
                <a:gd name="connsiteY132" fmla="*/ 3758050 h 3871062"/>
                <a:gd name="connsiteX133" fmla="*/ 1545518 w 1573156"/>
                <a:gd name="connsiteY133" fmla="*/ 3688238 h 3871062"/>
                <a:gd name="connsiteX134" fmla="*/ 1495641 w 1573156"/>
                <a:gd name="connsiteY134" fmla="*/ 3657208 h 3871062"/>
                <a:gd name="connsiteX135" fmla="*/ 1195420 w 1573156"/>
                <a:gd name="connsiteY135" fmla="*/ 3605469 h 3871062"/>
                <a:gd name="connsiteX136" fmla="*/ 1013482 w 1573156"/>
                <a:gd name="connsiteY136" fmla="*/ 3592567 h 3871062"/>
                <a:gd name="connsiteX137" fmla="*/ 1123928 w 1573156"/>
                <a:gd name="connsiteY137" fmla="*/ 3663387 h 3871062"/>
                <a:gd name="connsiteX138" fmla="*/ 907787 w 1573156"/>
                <a:gd name="connsiteY138" fmla="*/ 3629257 h 3871062"/>
                <a:gd name="connsiteX139" fmla="*/ 776238 w 1573156"/>
                <a:gd name="connsiteY139" fmla="*/ 3504783 h 3871062"/>
                <a:gd name="connsiteX140" fmla="*/ 708669 w 1573156"/>
                <a:gd name="connsiteY140" fmla="*/ 3437426 h 3871062"/>
                <a:gd name="connsiteX141" fmla="*/ 739150 w 1573156"/>
                <a:gd name="connsiteY141" fmla="*/ 3437426 h 3871062"/>
                <a:gd name="connsiteX142" fmla="*/ 750233 w 1573156"/>
                <a:gd name="connsiteY142" fmla="*/ 3408982 h 3871062"/>
                <a:gd name="connsiteX143" fmla="*/ 783486 w 1573156"/>
                <a:gd name="connsiteY143" fmla="*/ 3354683 h 3871062"/>
                <a:gd name="connsiteX144" fmla="*/ 747462 w 1573156"/>
                <a:gd name="connsiteY144" fmla="*/ 3297798 h 3871062"/>
                <a:gd name="connsiteX145" fmla="*/ 836135 w 1573156"/>
                <a:gd name="connsiteY145" fmla="*/ 3225398 h 3871062"/>
                <a:gd name="connsiteX146" fmla="*/ 902641 w 1573156"/>
                <a:gd name="connsiteY146" fmla="*/ 3217642 h 3871062"/>
                <a:gd name="connsiteX147" fmla="*/ 955289 w 1573156"/>
                <a:gd name="connsiteY147" fmla="*/ 3160756 h 3871062"/>
                <a:gd name="connsiteX148" fmla="*/ 1024565 w 1573156"/>
                <a:gd name="connsiteY148" fmla="*/ 3114213 h 3871062"/>
                <a:gd name="connsiteX149" fmla="*/ 1019023 w 1573156"/>
                <a:gd name="connsiteY149" fmla="*/ 3067671 h 3871062"/>
                <a:gd name="connsiteX150" fmla="*/ 1043963 w 1573156"/>
                <a:gd name="connsiteY150" fmla="*/ 3028886 h 3871062"/>
                <a:gd name="connsiteX151" fmla="*/ 1016252 w 1573156"/>
                <a:gd name="connsiteY151" fmla="*/ 3026300 h 3871062"/>
                <a:gd name="connsiteX152" fmla="*/ 1031704 w 1573156"/>
                <a:gd name="connsiteY152" fmla="*/ 2992878 h 3871062"/>
                <a:gd name="connsiteX153" fmla="*/ 914211 w 1573156"/>
                <a:gd name="connsiteY153" fmla="*/ 2928233 h 3871062"/>
                <a:gd name="connsiteX154" fmla="*/ 858304 w 1573156"/>
                <a:gd name="connsiteY154" fmla="*/ 2909943 h 3871062"/>
                <a:gd name="connsiteX155" fmla="*/ 827823 w 1573156"/>
                <a:gd name="connsiteY155" fmla="*/ 2881501 h 3871062"/>
                <a:gd name="connsiteX156" fmla="*/ 761317 w 1573156"/>
                <a:gd name="connsiteY156" fmla="*/ 2897015 h 3871062"/>
                <a:gd name="connsiteX157" fmla="*/ 700355 w 1573156"/>
                <a:gd name="connsiteY157" fmla="*/ 2891844 h 3871062"/>
                <a:gd name="connsiteX158" fmla="*/ 658790 w 1573156"/>
                <a:gd name="connsiteY158" fmla="*/ 2827201 h 3871062"/>
                <a:gd name="connsiteX159" fmla="*/ 656019 w 1573156"/>
                <a:gd name="connsiteY159" fmla="*/ 2785830 h 3871062"/>
                <a:gd name="connsiteX160" fmla="*/ 631080 w 1573156"/>
                <a:gd name="connsiteY160" fmla="*/ 2772902 h 3871062"/>
                <a:gd name="connsiteX161" fmla="*/ 567346 w 1573156"/>
                <a:gd name="connsiteY161" fmla="*/ 2759974 h 3871062"/>
                <a:gd name="connsiteX162" fmla="*/ 586743 w 1573156"/>
                <a:gd name="connsiteY162" fmla="*/ 2721188 h 3871062"/>
                <a:gd name="connsiteX163" fmla="*/ 557777 w 1573156"/>
                <a:gd name="connsiteY163" fmla="*/ 2715007 h 3871062"/>
                <a:gd name="connsiteX164" fmla="*/ 531809 w 1573156"/>
                <a:gd name="connsiteY164" fmla="*/ 2672771 h 3871062"/>
                <a:gd name="connsiteX165" fmla="*/ 414939 w 1573156"/>
                <a:gd name="connsiteY165" fmla="*/ 2682402 h 3871062"/>
                <a:gd name="connsiteX166" fmla="*/ 390000 w 1573156"/>
                <a:gd name="connsiteY166" fmla="*/ 2672059 h 3871062"/>
                <a:gd name="connsiteX167" fmla="*/ 367832 w 1573156"/>
                <a:gd name="connsiteY167" fmla="*/ 2684989 h 3871062"/>
                <a:gd name="connsiteX168" fmla="*/ 351205 w 1573156"/>
                <a:gd name="connsiteY168" fmla="*/ 2622932 h 3871062"/>
                <a:gd name="connsiteX169" fmla="*/ 340121 w 1573156"/>
                <a:gd name="connsiteY169" fmla="*/ 2597075 h 3871062"/>
                <a:gd name="connsiteX170" fmla="*/ 353976 w 1573156"/>
                <a:gd name="connsiteY170" fmla="*/ 2578974 h 3871062"/>
                <a:gd name="connsiteX171" fmla="*/ 381687 w 1573156"/>
                <a:gd name="connsiteY171" fmla="*/ 2581561 h 3871062"/>
                <a:gd name="connsiteX172" fmla="*/ 414939 w 1573156"/>
                <a:gd name="connsiteY172" fmla="*/ 2563461 h 3871062"/>
                <a:gd name="connsiteX173" fmla="*/ 412168 w 1573156"/>
                <a:gd name="connsiteY173" fmla="*/ 2537603 h 3871062"/>
                <a:gd name="connsiteX174" fmla="*/ 362289 w 1573156"/>
                <a:gd name="connsiteY174" fmla="*/ 2501404 h 3871062"/>
                <a:gd name="connsiteX175" fmla="*/ 338946 w 1573156"/>
                <a:gd name="connsiteY175" fmla="*/ 2513491 h 3871062"/>
                <a:gd name="connsiteX176" fmla="*/ 340121 w 1573156"/>
                <a:gd name="connsiteY176" fmla="*/ 2467790 h 3871062"/>
                <a:gd name="connsiteX177" fmla="*/ 306869 w 1573156"/>
                <a:gd name="connsiteY177" fmla="*/ 2429005 h 3871062"/>
                <a:gd name="connsiteX178" fmla="*/ 309641 w 1573156"/>
                <a:gd name="connsiteY178" fmla="*/ 2351433 h 3871062"/>
                <a:gd name="connsiteX179" fmla="*/ 290243 w 1573156"/>
                <a:gd name="connsiteY179" fmla="*/ 2299720 h 3871062"/>
                <a:gd name="connsiteX180" fmla="*/ 256991 w 1573156"/>
                <a:gd name="connsiteY180" fmla="*/ 2266106 h 3871062"/>
                <a:gd name="connsiteX181" fmla="*/ 218196 w 1573156"/>
                <a:gd name="connsiteY181" fmla="*/ 2242835 h 3871062"/>
                <a:gd name="connsiteX182" fmla="*/ 176631 w 1573156"/>
                <a:gd name="connsiteY182" fmla="*/ 2250592 h 3871062"/>
                <a:gd name="connsiteX183" fmla="*/ 122255 w 1573156"/>
                <a:gd name="connsiteY183" fmla="*/ 2214066 h 3871062"/>
                <a:gd name="connsiteX0" fmla="*/ 122255 w 1573156"/>
                <a:gd name="connsiteY0" fmla="*/ 2214066 h 3837710"/>
                <a:gd name="connsiteX1" fmla="*/ 63018 w 1573156"/>
                <a:gd name="connsiteY1" fmla="*/ 2216977 h 3837710"/>
                <a:gd name="connsiteX2" fmla="*/ 60248 w 1573156"/>
                <a:gd name="connsiteY2" fmla="*/ 2118721 h 3837710"/>
                <a:gd name="connsiteX3" fmla="*/ 71333 w 1573156"/>
                <a:gd name="connsiteY3" fmla="*/ 2077350 h 3837710"/>
                <a:gd name="connsiteX4" fmla="*/ 74102 w 1573156"/>
                <a:gd name="connsiteY4" fmla="*/ 2030807 h 3837710"/>
                <a:gd name="connsiteX5" fmla="*/ 76875 w 1573156"/>
                <a:gd name="connsiteY5" fmla="*/ 2020467 h 3837710"/>
                <a:gd name="connsiteX6" fmla="*/ 118439 w 1573156"/>
                <a:gd name="connsiteY6" fmla="*/ 1992023 h 3837710"/>
                <a:gd name="connsiteX7" fmla="*/ 82416 w 1573156"/>
                <a:gd name="connsiteY7" fmla="*/ 1963580 h 3837710"/>
                <a:gd name="connsiteX8" fmla="*/ 51935 w 1573156"/>
                <a:gd name="connsiteY8" fmla="*/ 1927380 h 3837710"/>
                <a:gd name="connsiteX9" fmla="*/ 40850 w 1573156"/>
                <a:gd name="connsiteY9" fmla="*/ 1893766 h 3837710"/>
                <a:gd name="connsiteX10" fmla="*/ 43621 w 1573156"/>
                <a:gd name="connsiteY10" fmla="*/ 1844639 h 3837710"/>
                <a:gd name="connsiteX11" fmla="*/ 82416 w 1573156"/>
                <a:gd name="connsiteY11" fmla="*/ 1826538 h 3837710"/>
                <a:gd name="connsiteX12" fmla="*/ 112899 w 1573156"/>
                <a:gd name="connsiteY12" fmla="*/ 1782581 h 3837710"/>
                <a:gd name="connsiteX13" fmla="*/ 96271 w 1573156"/>
                <a:gd name="connsiteY13" fmla="*/ 1754138 h 3837710"/>
                <a:gd name="connsiteX14" fmla="*/ 40851 w 1573156"/>
                <a:gd name="connsiteY14" fmla="*/ 1746381 h 3837710"/>
                <a:gd name="connsiteX15" fmla="*/ 2057 w 1573156"/>
                <a:gd name="connsiteY15" fmla="*/ 1730867 h 3837710"/>
                <a:gd name="connsiteX16" fmla="*/ 38079 w 1573156"/>
                <a:gd name="connsiteY16" fmla="*/ 1689496 h 3837710"/>
                <a:gd name="connsiteX17" fmla="*/ 18683 w 1573156"/>
                <a:gd name="connsiteY17" fmla="*/ 1679153 h 3837710"/>
                <a:gd name="connsiteX18" fmla="*/ 2055 w 1573156"/>
                <a:gd name="connsiteY18" fmla="*/ 1640367 h 3837710"/>
                <a:gd name="connsiteX19" fmla="*/ 65790 w 1573156"/>
                <a:gd name="connsiteY19" fmla="*/ 1650711 h 3837710"/>
                <a:gd name="connsiteX20" fmla="*/ 93501 w 1573156"/>
                <a:gd name="connsiteY20" fmla="*/ 1627440 h 3837710"/>
                <a:gd name="connsiteX21" fmla="*/ 187716 w 1573156"/>
                <a:gd name="connsiteY21" fmla="*/ 1536941 h 3837710"/>
                <a:gd name="connsiteX22" fmla="*/ 212655 w 1573156"/>
                <a:gd name="connsiteY22" fmla="*/ 1505912 h 3837710"/>
                <a:gd name="connsiteX23" fmla="*/ 198801 w 1573156"/>
                <a:gd name="connsiteY23" fmla="*/ 1555040 h 3837710"/>
                <a:gd name="connsiteX24" fmla="*/ 218197 w 1573156"/>
                <a:gd name="connsiteY24" fmla="*/ 1588655 h 3837710"/>
                <a:gd name="connsiteX25" fmla="*/ 262534 w 1573156"/>
                <a:gd name="connsiteY25" fmla="*/ 1666225 h 3837710"/>
                <a:gd name="connsiteX26" fmla="*/ 331810 w 1573156"/>
                <a:gd name="connsiteY26" fmla="*/ 1653297 h 3837710"/>
                <a:gd name="connsiteX27" fmla="*/ 351206 w 1573156"/>
                <a:gd name="connsiteY27" fmla="*/ 1622268 h 3837710"/>
                <a:gd name="connsiteX28" fmla="*/ 365062 w 1573156"/>
                <a:gd name="connsiteY28" fmla="*/ 1557627 h 3837710"/>
                <a:gd name="connsiteX29" fmla="*/ 304099 w 1573156"/>
                <a:gd name="connsiteY29" fmla="*/ 1511084 h 3837710"/>
                <a:gd name="connsiteX30" fmla="*/ 259763 w 1573156"/>
                <a:gd name="connsiteY30" fmla="*/ 1485227 h 3837710"/>
                <a:gd name="connsiteX31" fmla="*/ 198801 w 1573156"/>
                <a:gd name="connsiteY31" fmla="*/ 1495570 h 3837710"/>
                <a:gd name="connsiteX32" fmla="*/ 376147 w 1573156"/>
                <a:gd name="connsiteY32" fmla="*/ 1299057 h 3837710"/>
                <a:gd name="connsiteX33" fmla="*/ 223740 w 1573156"/>
                <a:gd name="connsiteY33" fmla="*/ 1151672 h 3837710"/>
                <a:gd name="connsiteX34" fmla="*/ 284703 w 1573156"/>
                <a:gd name="connsiteY34" fmla="*/ 1089617 h 3837710"/>
                <a:gd name="connsiteX35" fmla="*/ 218198 w 1573156"/>
                <a:gd name="connsiteY35" fmla="*/ 1050829 h 3837710"/>
                <a:gd name="connsiteX36" fmla="*/ 259763 w 1573156"/>
                <a:gd name="connsiteY36" fmla="*/ 1019802 h 3837710"/>
                <a:gd name="connsiteX37" fmla="*/ 212657 w 1573156"/>
                <a:gd name="connsiteY37" fmla="*/ 993947 h 3837710"/>
                <a:gd name="connsiteX38" fmla="*/ 212656 w 1573156"/>
                <a:gd name="connsiteY38" fmla="*/ 794845 h 3837710"/>
                <a:gd name="connsiteX39" fmla="*/ 251451 w 1573156"/>
                <a:gd name="connsiteY39" fmla="*/ 779332 h 3837710"/>
                <a:gd name="connsiteX40" fmla="*/ 137838 w 1573156"/>
                <a:gd name="connsiteY40" fmla="*/ 551792 h 3837710"/>
                <a:gd name="connsiteX41" fmla="*/ 135067 w 1573156"/>
                <a:gd name="connsiteY41" fmla="*/ 551792 h 3837710"/>
                <a:gd name="connsiteX42" fmla="*/ 184945 w 1573156"/>
                <a:gd name="connsiteY42" fmla="*/ 469048 h 3837710"/>
                <a:gd name="connsiteX43" fmla="*/ 201571 w 1573156"/>
                <a:gd name="connsiteY43" fmla="*/ 378550 h 3837710"/>
                <a:gd name="connsiteX44" fmla="*/ 126752 w 1573156"/>
                <a:gd name="connsiteY44" fmla="*/ 319079 h 3837710"/>
                <a:gd name="connsiteX45" fmla="*/ 118440 w 1573156"/>
                <a:gd name="connsiteY45" fmla="*/ 251851 h 3837710"/>
                <a:gd name="connsiteX46" fmla="*/ 173860 w 1573156"/>
                <a:gd name="connsiteY46" fmla="*/ 158764 h 3837710"/>
                <a:gd name="connsiteX47" fmla="*/ 193258 w 1573156"/>
                <a:gd name="connsiteY47" fmla="*/ 135494 h 3837710"/>
                <a:gd name="connsiteX48" fmla="*/ 207113 w 1573156"/>
                <a:gd name="connsiteY48" fmla="*/ 117394 h 3837710"/>
                <a:gd name="connsiteX49" fmla="*/ 215426 w 1573156"/>
                <a:gd name="connsiteY49" fmla="*/ 73438 h 3837710"/>
                <a:gd name="connsiteX50" fmla="*/ 240365 w 1573156"/>
                <a:gd name="connsiteY50" fmla="*/ 101880 h 3837710"/>
                <a:gd name="connsiteX51" fmla="*/ 270847 w 1573156"/>
                <a:gd name="connsiteY51" fmla="*/ 88952 h 3837710"/>
                <a:gd name="connsiteX52" fmla="*/ 273617 w 1573156"/>
                <a:gd name="connsiteY52" fmla="*/ 63095 h 3837710"/>
                <a:gd name="connsiteX53" fmla="*/ 281931 w 1573156"/>
                <a:gd name="connsiteY53" fmla="*/ 34652 h 3837710"/>
                <a:gd name="connsiteX54" fmla="*/ 284703 w 1573156"/>
                <a:gd name="connsiteY54" fmla="*/ 3624 h 3837710"/>
                <a:gd name="connsiteX55" fmla="*/ 420483 w 1573156"/>
                <a:gd name="connsiteY55" fmla="*/ 57924 h 3837710"/>
                <a:gd name="connsiteX56" fmla="*/ 450963 w 1573156"/>
                <a:gd name="connsiteY56" fmla="*/ 161352 h 3837710"/>
                <a:gd name="connsiteX57" fmla="*/ 464819 w 1573156"/>
                <a:gd name="connsiteY57" fmla="*/ 184622 h 3837710"/>
                <a:gd name="connsiteX58" fmla="*/ 475903 w 1573156"/>
                <a:gd name="connsiteY58" fmla="*/ 187208 h 3837710"/>
                <a:gd name="connsiteX59" fmla="*/ 589515 w 1573156"/>
                <a:gd name="connsiteY59" fmla="*/ 156181 h 3837710"/>
                <a:gd name="connsiteX60" fmla="*/ 656020 w 1573156"/>
                <a:gd name="connsiteY60" fmla="*/ 166522 h 3837710"/>
                <a:gd name="connsiteX61" fmla="*/ 719754 w 1573156"/>
                <a:gd name="connsiteY61" fmla="*/ 213065 h 3837710"/>
                <a:gd name="connsiteX62" fmla="*/ 733781 w 1573156"/>
                <a:gd name="connsiteY62" fmla="*/ 242621 h 3837710"/>
                <a:gd name="connsiteX63" fmla="*/ 789028 w 1573156"/>
                <a:gd name="connsiteY63" fmla="*/ 277708 h 3837710"/>
                <a:gd name="connsiteX64" fmla="*/ 877702 w 1573156"/>
                <a:gd name="connsiteY64" fmla="*/ 303563 h 3837710"/>
                <a:gd name="connsiteX65" fmla="*/ 949748 w 1573156"/>
                <a:gd name="connsiteY65" fmla="*/ 350106 h 3837710"/>
                <a:gd name="connsiteX66" fmla="*/ 999627 w 1573156"/>
                <a:gd name="connsiteY66" fmla="*/ 401820 h 3837710"/>
                <a:gd name="connsiteX67" fmla="*/ 1024566 w 1573156"/>
                <a:gd name="connsiteY67" fmla="*/ 440606 h 3837710"/>
                <a:gd name="connsiteX68" fmla="*/ 1057819 w 1573156"/>
                <a:gd name="connsiteY68" fmla="*/ 466462 h 3837710"/>
                <a:gd name="connsiteX69" fmla="*/ 1041191 w 1573156"/>
                <a:gd name="connsiteY69" fmla="*/ 691417 h 3837710"/>
                <a:gd name="connsiteX70" fmla="*/ 913725 w 1573156"/>
                <a:gd name="connsiteY70" fmla="*/ 771575 h 3837710"/>
                <a:gd name="connsiteX71" fmla="*/ 800113 w 1573156"/>
                <a:gd name="connsiteY71" fmla="*/ 779331 h 3837710"/>
                <a:gd name="connsiteX72" fmla="*/ 661560 w 1573156"/>
                <a:gd name="connsiteY72" fmla="*/ 758645 h 3837710"/>
                <a:gd name="connsiteX73" fmla="*/ 570116 w 1573156"/>
                <a:gd name="connsiteY73" fmla="*/ 722445 h 3837710"/>
                <a:gd name="connsiteX74" fmla="*/ 550719 w 1573156"/>
                <a:gd name="connsiteY74" fmla="*/ 750888 h 3837710"/>
                <a:gd name="connsiteX75" fmla="*/ 581361 w 1573156"/>
                <a:gd name="connsiteY75" fmla="*/ 824301 h 3837710"/>
                <a:gd name="connsiteX76" fmla="*/ 586902 w 1573156"/>
                <a:gd name="connsiteY76" fmla="*/ 951000 h 3837710"/>
                <a:gd name="connsiteX77" fmla="*/ 559032 w 1573156"/>
                <a:gd name="connsiteY77" fmla="*/ 1012043 h 3837710"/>
                <a:gd name="connsiteX78" fmla="*/ 614451 w 1573156"/>
                <a:gd name="connsiteY78" fmla="*/ 1032728 h 3837710"/>
                <a:gd name="connsiteX79" fmla="*/ 631079 w 1573156"/>
                <a:gd name="connsiteY79" fmla="*/ 1048242 h 3837710"/>
                <a:gd name="connsiteX80" fmla="*/ 656019 w 1573156"/>
                <a:gd name="connsiteY80" fmla="*/ 1074099 h 3837710"/>
                <a:gd name="connsiteX81" fmla="*/ 653248 w 1573156"/>
                <a:gd name="connsiteY81" fmla="*/ 1076685 h 3837710"/>
                <a:gd name="connsiteX82" fmla="*/ 692041 w 1573156"/>
                <a:gd name="connsiteY82" fmla="*/ 1071514 h 3837710"/>
                <a:gd name="connsiteX83" fmla="*/ 700355 w 1573156"/>
                <a:gd name="connsiteY83" fmla="*/ 1035314 h 3837710"/>
                <a:gd name="connsiteX84" fmla="*/ 661560 w 1573156"/>
                <a:gd name="connsiteY84" fmla="*/ 957743 h 3837710"/>
                <a:gd name="connsiteX85" fmla="*/ 730836 w 1573156"/>
                <a:gd name="connsiteY85" fmla="*/ 911200 h 3837710"/>
                <a:gd name="connsiteX86" fmla="*/ 798608 w 1573156"/>
                <a:gd name="connsiteY86" fmla="*/ 918934 h 3837710"/>
                <a:gd name="connsiteX87" fmla="*/ 822441 w 1573156"/>
                <a:gd name="connsiteY87" fmla="*/ 951001 h 3837710"/>
                <a:gd name="connsiteX88" fmla="*/ 978170 w 1573156"/>
                <a:gd name="connsiteY88" fmla="*/ 1007364 h 3837710"/>
                <a:gd name="connsiteX89" fmla="*/ 963762 w 1573156"/>
                <a:gd name="connsiteY89" fmla="*/ 971687 h 3837710"/>
                <a:gd name="connsiteX90" fmla="*/ 930510 w 1573156"/>
                <a:gd name="connsiteY90" fmla="*/ 932901 h 3837710"/>
                <a:gd name="connsiteX91" fmla="*/ 919426 w 1573156"/>
                <a:gd name="connsiteY91" fmla="*/ 881187 h 3837710"/>
                <a:gd name="connsiteX92" fmla="*/ 958221 w 1573156"/>
                <a:gd name="connsiteY92" fmla="*/ 832060 h 3837710"/>
                <a:gd name="connsiteX93" fmla="*/ 985931 w 1573156"/>
                <a:gd name="connsiteY93" fmla="*/ 803617 h 3837710"/>
                <a:gd name="connsiteX94" fmla="*/ 1010871 w 1573156"/>
                <a:gd name="connsiteY94" fmla="*/ 767417 h 3837710"/>
                <a:gd name="connsiteX95" fmla="*/ 1091231 w 1573156"/>
                <a:gd name="connsiteY95" fmla="*/ 762245 h 3837710"/>
                <a:gd name="connsiteX96" fmla="*/ 1096772 w 1573156"/>
                <a:gd name="connsiteY96" fmla="*/ 741560 h 3837710"/>
                <a:gd name="connsiteX97" fmla="*/ 1121712 w 1573156"/>
                <a:gd name="connsiteY97" fmla="*/ 705360 h 3837710"/>
                <a:gd name="connsiteX98" fmla="*/ 1155516 w 1573156"/>
                <a:gd name="connsiteY98" fmla="*/ 687772 h 3837710"/>
                <a:gd name="connsiteX99" fmla="*/ 1213156 w 1573156"/>
                <a:gd name="connsiteY99" fmla="*/ 700189 h 3837710"/>
                <a:gd name="connsiteX100" fmla="*/ 1251949 w 1573156"/>
                <a:gd name="connsiteY100" fmla="*/ 720875 h 3837710"/>
                <a:gd name="connsiteX101" fmla="*/ 1299057 w 1573156"/>
                <a:gd name="connsiteY101" fmla="*/ 728632 h 3837710"/>
                <a:gd name="connsiteX102" fmla="*/ 1299057 w 1573156"/>
                <a:gd name="connsiteY102" fmla="*/ 733803 h 3837710"/>
                <a:gd name="connsiteX103" fmla="*/ 1321226 w 1573156"/>
                <a:gd name="connsiteY103" fmla="*/ 674332 h 3837710"/>
                <a:gd name="connsiteX104" fmla="*/ 1331201 w 1573156"/>
                <a:gd name="connsiteY104" fmla="*/ 640714 h 3837710"/>
                <a:gd name="connsiteX105" fmla="*/ 1337852 w 1573156"/>
                <a:gd name="connsiteY105" fmla="*/ 622618 h 3837710"/>
                <a:gd name="connsiteX106" fmla="*/ 1340789 w 1573156"/>
                <a:gd name="connsiteY106" fmla="*/ 591288 h 3837710"/>
                <a:gd name="connsiteX107" fmla="*/ 1260263 w 1573156"/>
                <a:gd name="connsiteY107" fmla="*/ 545048 h 3837710"/>
                <a:gd name="connsiteX108" fmla="*/ 1246408 w 1573156"/>
                <a:gd name="connsiteY108" fmla="*/ 472648 h 3837710"/>
                <a:gd name="connsiteX109" fmla="*/ 1246408 w 1573156"/>
                <a:gd name="connsiteY109" fmla="*/ 454548 h 3837710"/>
                <a:gd name="connsiteX110" fmla="*/ 1257491 w 1573156"/>
                <a:gd name="connsiteY110" fmla="*/ 431276 h 3837710"/>
                <a:gd name="connsiteX111" fmla="*/ 1260263 w 1573156"/>
                <a:gd name="connsiteY111" fmla="*/ 415762 h 3837710"/>
                <a:gd name="connsiteX112" fmla="*/ 1260262 w 1573156"/>
                <a:gd name="connsiteY112" fmla="*/ 358878 h 3837710"/>
                <a:gd name="connsiteX113" fmla="*/ 1238094 w 1573156"/>
                <a:gd name="connsiteY113" fmla="*/ 335607 h 3837710"/>
                <a:gd name="connsiteX114" fmla="*/ 1210384 w 1573156"/>
                <a:gd name="connsiteY114" fmla="*/ 304578 h 3837710"/>
                <a:gd name="connsiteX115" fmla="*/ 1206216 w 1573156"/>
                <a:gd name="connsiteY115" fmla="*/ 280325 h 3837710"/>
                <a:gd name="connsiteX116" fmla="*/ 1257492 w 1573156"/>
                <a:gd name="connsiteY116" fmla="*/ 258034 h 3837710"/>
                <a:gd name="connsiteX117" fmla="*/ 1311072 w 1573156"/>
                <a:gd name="connsiteY117" fmla="*/ 267906 h 3837710"/>
                <a:gd name="connsiteX118" fmla="*/ 1389856 w 1573156"/>
                <a:gd name="connsiteY118" fmla="*/ 279816 h 3837710"/>
                <a:gd name="connsiteX119" fmla="*/ 1474179 w 1573156"/>
                <a:gd name="connsiteY119" fmla="*/ 349175 h 3837710"/>
                <a:gd name="connsiteX120" fmla="*/ 1536314 w 1573156"/>
                <a:gd name="connsiteY120" fmla="*/ 425271 h 3837710"/>
                <a:gd name="connsiteX121" fmla="*/ 1435343 w 1573156"/>
                <a:gd name="connsiteY121" fmla="*/ 454265 h 3837710"/>
                <a:gd name="connsiteX122" fmla="*/ 1419809 w 1573156"/>
                <a:gd name="connsiteY122" fmla="*/ 501372 h 3837710"/>
                <a:gd name="connsiteX123" fmla="*/ 1477479 w 1573156"/>
                <a:gd name="connsiteY123" fmla="*/ 585862 h 3837710"/>
                <a:gd name="connsiteX124" fmla="*/ 1513013 w 1573156"/>
                <a:gd name="connsiteY124" fmla="*/ 591964 h 3837710"/>
                <a:gd name="connsiteX125" fmla="*/ 1565633 w 1573156"/>
                <a:gd name="connsiteY125" fmla="*/ 598304 h 3837710"/>
                <a:gd name="connsiteX126" fmla="*/ 1560670 w 1573156"/>
                <a:gd name="connsiteY126" fmla="*/ 709079 h 3837710"/>
                <a:gd name="connsiteX127" fmla="*/ 1571739 w 1573156"/>
                <a:gd name="connsiteY127" fmla="*/ 1040047 h 3837710"/>
                <a:gd name="connsiteX128" fmla="*/ 1562871 w 1573156"/>
                <a:gd name="connsiteY128" fmla="*/ 1842646 h 3837710"/>
                <a:gd name="connsiteX129" fmla="*/ 1571738 w 1573156"/>
                <a:gd name="connsiteY129" fmla="*/ 2297728 h 3837710"/>
                <a:gd name="connsiteX130" fmla="*/ 1559146 w 1573156"/>
                <a:gd name="connsiteY130" fmla="*/ 3716291 h 3837710"/>
                <a:gd name="connsiteX131" fmla="*/ 1556603 w 1573156"/>
                <a:gd name="connsiteY131" fmla="*/ 3758050 h 3837710"/>
                <a:gd name="connsiteX132" fmla="*/ 1545518 w 1573156"/>
                <a:gd name="connsiteY132" fmla="*/ 3688238 h 3837710"/>
                <a:gd name="connsiteX133" fmla="*/ 1495641 w 1573156"/>
                <a:gd name="connsiteY133" fmla="*/ 3657208 h 3837710"/>
                <a:gd name="connsiteX134" fmla="*/ 1195420 w 1573156"/>
                <a:gd name="connsiteY134" fmla="*/ 3605469 h 3837710"/>
                <a:gd name="connsiteX135" fmla="*/ 1013482 w 1573156"/>
                <a:gd name="connsiteY135" fmla="*/ 3592567 h 3837710"/>
                <a:gd name="connsiteX136" fmla="*/ 1123928 w 1573156"/>
                <a:gd name="connsiteY136" fmla="*/ 3663387 h 3837710"/>
                <a:gd name="connsiteX137" fmla="*/ 907787 w 1573156"/>
                <a:gd name="connsiteY137" fmla="*/ 3629257 h 3837710"/>
                <a:gd name="connsiteX138" fmla="*/ 776238 w 1573156"/>
                <a:gd name="connsiteY138" fmla="*/ 3504783 h 3837710"/>
                <a:gd name="connsiteX139" fmla="*/ 708669 w 1573156"/>
                <a:gd name="connsiteY139" fmla="*/ 3437426 h 3837710"/>
                <a:gd name="connsiteX140" fmla="*/ 739150 w 1573156"/>
                <a:gd name="connsiteY140" fmla="*/ 3437426 h 3837710"/>
                <a:gd name="connsiteX141" fmla="*/ 750233 w 1573156"/>
                <a:gd name="connsiteY141" fmla="*/ 3408982 h 3837710"/>
                <a:gd name="connsiteX142" fmla="*/ 783486 w 1573156"/>
                <a:gd name="connsiteY142" fmla="*/ 3354683 h 3837710"/>
                <a:gd name="connsiteX143" fmla="*/ 747462 w 1573156"/>
                <a:gd name="connsiteY143" fmla="*/ 3297798 h 3837710"/>
                <a:gd name="connsiteX144" fmla="*/ 836135 w 1573156"/>
                <a:gd name="connsiteY144" fmla="*/ 3225398 h 3837710"/>
                <a:gd name="connsiteX145" fmla="*/ 902641 w 1573156"/>
                <a:gd name="connsiteY145" fmla="*/ 3217642 h 3837710"/>
                <a:gd name="connsiteX146" fmla="*/ 955289 w 1573156"/>
                <a:gd name="connsiteY146" fmla="*/ 3160756 h 3837710"/>
                <a:gd name="connsiteX147" fmla="*/ 1024565 w 1573156"/>
                <a:gd name="connsiteY147" fmla="*/ 3114213 h 3837710"/>
                <a:gd name="connsiteX148" fmla="*/ 1019023 w 1573156"/>
                <a:gd name="connsiteY148" fmla="*/ 3067671 h 3837710"/>
                <a:gd name="connsiteX149" fmla="*/ 1043963 w 1573156"/>
                <a:gd name="connsiteY149" fmla="*/ 3028886 h 3837710"/>
                <a:gd name="connsiteX150" fmla="*/ 1016252 w 1573156"/>
                <a:gd name="connsiteY150" fmla="*/ 3026300 h 3837710"/>
                <a:gd name="connsiteX151" fmla="*/ 1031704 w 1573156"/>
                <a:gd name="connsiteY151" fmla="*/ 2992878 h 3837710"/>
                <a:gd name="connsiteX152" fmla="*/ 914211 w 1573156"/>
                <a:gd name="connsiteY152" fmla="*/ 2928233 h 3837710"/>
                <a:gd name="connsiteX153" fmla="*/ 858304 w 1573156"/>
                <a:gd name="connsiteY153" fmla="*/ 2909943 h 3837710"/>
                <a:gd name="connsiteX154" fmla="*/ 827823 w 1573156"/>
                <a:gd name="connsiteY154" fmla="*/ 2881501 h 3837710"/>
                <a:gd name="connsiteX155" fmla="*/ 761317 w 1573156"/>
                <a:gd name="connsiteY155" fmla="*/ 2897015 h 3837710"/>
                <a:gd name="connsiteX156" fmla="*/ 700355 w 1573156"/>
                <a:gd name="connsiteY156" fmla="*/ 2891844 h 3837710"/>
                <a:gd name="connsiteX157" fmla="*/ 658790 w 1573156"/>
                <a:gd name="connsiteY157" fmla="*/ 2827201 h 3837710"/>
                <a:gd name="connsiteX158" fmla="*/ 656019 w 1573156"/>
                <a:gd name="connsiteY158" fmla="*/ 2785830 h 3837710"/>
                <a:gd name="connsiteX159" fmla="*/ 631080 w 1573156"/>
                <a:gd name="connsiteY159" fmla="*/ 2772902 h 3837710"/>
                <a:gd name="connsiteX160" fmla="*/ 567346 w 1573156"/>
                <a:gd name="connsiteY160" fmla="*/ 2759974 h 3837710"/>
                <a:gd name="connsiteX161" fmla="*/ 586743 w 1573156"/>
                <a:gd name="connsiteY161" fmla="*/ 2721188 h 3837710"/>
                <a:gd name="connsiteX162" fmla="*/ 557777 w 1573156"/>
                <a:gd name="connsiteY162" fmla="*/ 2715007 h 3837710"/>
                <a:gd name="connsiteX163" fmla="*/ 531809 w 1573156"/>
                <a:gd name="connsiteY163" fmla="*/ 2672771 h 3837710"/>
                <a:gd name="connsiteX164" fmla="*/ 414939 w 1573156"/>
                <a:gd name="connsiteY164" fmla="*/ 2682402 h 3837710"/>
                <a:gd name="connsiteX165" fmla="*/ 390000 w 1573156"/>
                <a:gd name="connsiteY165" fmla="*/ 2672059 h 3837710"/>
                <a:gd name="connsiteX166" fmla="*/ 367832 w 1573156"/>
                <a:gd name="connsiteY166" fmla="*/ 2684989 h 3837710"/>
                <a:gd name="connsiteX167" fmla="*/ 351205 w 1573156"/>
                <a:gd name="connsiteY167" fmla="*/ 2622932 h 3837710"/>
                <a:gd name="connsiteX168" fmla="*/ 340121 w 1573156"/>
                <a:gd name="connsiteY168" fmla="*/ 2597075 h 3837710"/>
                <a:gd name="connsiteX169" fmla="*/ 353976 w 1573156"/>
                <a:gd name="connsiteY169" fmla="*/ 2578974 h 3837710"/>
                <a:gd name="connsiteX170" fmla="*/ 381687 w 1573156"/>
                <a:gd name="connsiteY170" fmla="*/ 2581561 h 3837710"/>
                <a:gd name="connsiteX171" fmla="*/ 414939 w 1573156"/>
                <a:gd name="connsiteY171" fmla="*/ 2563461 h 3837710"/>
                <a:gd name="connsiteX172" fmla="*/ 412168 w 1573156"/>
                <a:gd name="connsiteY172" fmla="*/ 2537603 h 3837710"/>
                <a:gd name="connsiteX173" fmla="*/ 362289 w 1573156"/>
                <a:gd name="connsiteY173" fmla="*/ 2501404 h 3837710"/>
                <a:gd name="connsiteX174" fmla="*/ 338946 w 1573156"/>
                <a:gd name="connsiteY174" fmla="*/ 2513491 h 3837710"/>
                <a:gd name="connsiteX175" fmla="*/ 340121 w 1573156"/>
                <a:gd name="connsiteY175" fmla="*/ 2467790 h 3837710"/>
                <a:gd name="connsiteX176" fmla="*/ 306869 w 1573156"/>
                <a:gd name="connsiteY176" fmla="*/ 2429005 h 3837710"/>
                <a:gd name="connsiteX177" fmla="*/ 309641 w 1573156"/>
                <a:gd name="connsiteY177" fmla="*/ 2351433 h 3837710"/>
                <a:gd name="connsiteX178" fmla="*/ 290243 w 1573156"/>
                <a:gd name="connsiteY178" fmla="*/ 2299720 h 3837710"/>
                <a:gd name="connsiteX179" fmla="*/ 256991 w 1573156"/>
                <a:gd name="connsiteY179" fmla="*/ 2266106 h 3837710"/>
                <a:gd name="connsiteX180" fmla="*/ 218196 w 1573156"/>
                <a:gd name="connsiteY180" fmla="*/ 2242835 h 3837710"/>
                <a:gd name="connsiteX181" fmla="*/ 176631 w 1573156"/>
                <a:gd name="connsiteY181" fmla="*/ 2250592 h 3837710"/>
                <a:gd name="connsiteX182" fmla="*/ 122255 w 1573156"/>
                <a:gd name="connsiteY182" fmla="*/ 2214066 h 3837710"/>
                <a:gd name="connsiteX0" fmla="*/ 122255 w 1573156"/>
                <a:gd name="connsiteY0" fmla="*/ 2214066 h 3837710"/>
                <a:gd name="connsiteX1" fmla="*/ 63018 w 1573156"/>
                <a:gd name="connsiteY1" fmla="*/ 2216977 h 3837710"/>
                <a:gd name="connsiteX2" fmla="*/ 60248 w 1573156"/>
                <a:gd name="connsiteY2" fmla="*/ 2118721 h 3837710"/>
                <a:gd name="connsiteX3" fmla="*/ 71333 w 1573156"/>
                <a:gd name="connsiteY3" fmla="*/ 2077350 h 3837710"/>
                <a:gd name="connsiteX4" fmla="*/ 74102 w 1573156"/>
                <a:gd name="connsiteY4" fmla="*/ 2030807 h 3837710"/>
                <a:gd name="connsiteX5" fmla="*/ 76875 w 1573156"/>
                <a:gd name="connsiteY5" fmla="*/ 2020467 h 3837710"/>
                <a:gd name="connsiteX6" fmla="*/ 118439 w 1573156"/>
                <a:gd name="connsiteY6" fmla="*/ 1992023 h 3837710"/>
                <a:gd name="connsiteX7" fmla="*/ 82416 w 1573156"/>
                <a:gd name="connsiteY7" fmla="*/ 1963580 h 3837710"/>
                <a:gd name="connsiteX8" fmla="*/ 51935 w 1573156"/>
                <a:gd name="connsiteY8" fmla="*/ 1927380 h 3837710"/>
                <a:gd name="connsiteX9" fmla="*/ 40850 w 1573156"/>
                <a:gd name="connsiteY9" fmla="*/ 1893766 h 3837710"/>
                <a:gd name="connsiteX10" fmla="*/ 43621 w 1573156"/>
                <a:gd name="connsiteY10" fmla="*/ 1844639 h 3837710"/>
                <a:gd name="connsiteX11" fmla="*/ 82416 w 1573156"/>
                <a:gd name="connsiteY11" fmla="*/ 1826538 h 3837710"/>
                <a:gd name="connsiteX12" fmla="*/ 112899 w 1573156"/>
                <a:gd name="connsiteY12" fmla="*/ 1782581 h 3837710"/>
                <a:gd name="connsiteX13" fmla="*/ 96271 w 1573156"/>
                <a:gd name="connsiteY13" fmla="*/ 1754138 h 3837710"/>
                <a:gd name="connsiteX14" fmla="*/ 40851 w 1573156"/>
                <a:gd name="connsiteY14" fmla="*/ 1746381 h 3837710"/>
                <a:gd name="connsiteX15" fmla="*/ 2057 w 1573156"/>
                <a:gd name="connsiteY15" fmla="*/ 1730867 h 3837710"/>
                <a:gd name="connsiteX16" fmla="*/ 38079 w 1573156"/>
                <a:gd name="connsiteY16" fmla="*/ 1689496 h 3837710"/>
                <a:gd name="connsiteX17" fmla="*/ 18683 w 1573156"/>
                <a:gd name="connsiteY17" fmla="*/ 1679153 h 3837710"/>
                <a:gd name="connsiteX18" fmla="*/ 2055 w 1573156"/>
                <a:gd name="connsiteY18" fmla="*/ 1640367 h 3837710"/>
                <a:gd name="connsiteX19" fmla="*/ 65790 w 1573156"/>
                <a:gd name="connsiteY19" fmla="*/ 1650711 h 3837710"/>
                <a:gd name="connsiteX20" fmla="*/ 93501 w 1573156"/>
                <a:gd name="connsiteY20" fmla="*/ 1627440 h 3837710"/>
                <a:gd name="connsiteX21" fmla="*/ 187716 w 1573156"/>
                <a:gd name="connsiteY21" fmla="*/ 1536941 h 3837710"/>
                <a:gd name="connsiteX22" fmla="*/ 212655 w 1573156"/>
                <a:gd name="connsiteY22" fmla="*/ 1505912 h 3837710"/>
                <a:gd name="connsiteX23" fmla="*/ 198801 w 1573156"/>
                <a:gd name="connsiteY23" fmla="*/ 1555040 h 3837710"/>
                <a:gd name="connsiteX24" fmla="*/ 218197 w 1573156"/>
                <a:gd name="connsiteY24" fmla="*/ 1588655 h 3837710"/>
                <a:gd name="connsiteX25" fmla="*/ 262534 w 1573156"/>
                <a:gd name="connsiteY25" fmla="*/ 1666225 h 3837710"/>
                <a:gd name="connsiteX26" fmla="*/ 331810 w 1573156"/>
                <a:gd name="connsiteY26" fmla="*/ 1653297 h 3837710"/>
                <a:gd name="connsiteX27" fmla="*/ 351206 w 1573156"/>
                <a:gd name="connsiteY27" fmla="*/ 1622268 h 3837710"/>
                <a:gd name="connsiteX28" fmla="*/ 365062 w 1573156"/>
                <a:gd name="connsiteY28" fmla="*/ 1557627 h 3837710"/>
                <a:gd name="connsiteX29" fmla="*/ 304099 w 1573156"/>
                <a:gd name="connsiteY29" fmla="*/ 1511084 h 3837710"/>
                <a:gd name="connsiteX30" fmla="*/ 259763 w 1573156"/>
                <a:gd name="connsiteY30" fmla="*/ 1485227 h 3837710"/>
                <a:gd name="connsiteX31" fmla="*/ 198801 w 1573156"/>
                <a:gd name="connsiteY31" fmla="*/ 1495570 h 3837710"/>
                <a:gd name="connsiteX32" fmla="*/ 376147 w 1573156"/>
                <a:gd name="connsiteY32" fmla="*/ 1299057 h 3837710"/>
                <a:gd name="connsiteX33" fmla="*/ 223740 w 1573156"/>
                <a:gd name="connsiteY33" fmla="*/ 1151672 h 3837710"/>
                <a:gd name="connsiteX34" fmla="*/ 284703 w 1573156"/>
                <a:gd name="connsiteY34" fmla="*/ 1089617 h 3837710"/>
                <a:gd name="connsiteX35" fmla="*/ 218198 w 1573156"/>
                <a:gd name="connsiteY35" fmla="*/ 1050829 h 3837710"/>
                <a:gd name="connsiteX36" fmla="*/ 259763 w 1573156"/>
                <a:gd name="connsiteY36" fmla="*/ 1019802 h 3837710"/>
                <a:gd name="connsiteX37" fmla="*/ 212657 w 1573156"/>
                <a:gd name="connsiteY37" fmla="*/ 993947 h 3837710"/>
                <a:gd name="connsiteX38" fmla="*/ 212656 w 1573156"/>
                <a:gd name="connsiteY38" fmla="*/ 794845 h 3837710"/>
                <a:gd name="connsiteX39" fmla="*/ 251451 w 1573156"/>
                <a:gd name="connsiteY39" fmla="*/ 779332 h 3837710"/>
                <a:gd name="connsiteX40" fmla="*/ 137838 w 1573156"/>
                <a:gd name="connsiteY40" fmla="*/ 551792 h 3837710"/>
                <a:gd name="connsiteX41" fmla="*/ 135067 w 1573156"/>
                <a:gd name="connsiteY41" fmla="*/ 551792 h 3837710"/>
                <a:gd name="connsiteX42" fmla="*/ 184945 w 1573156"/>
                <a:gd name="connsiteY42" fmla="*/ 469048 h 3837710"/>
                <a:gd name="connsiteX43" fmla="*/ 201571 w 1573156"/>
                <a:gd name="connsiteY43" fmla="*/ 378550 h 3837710"/>
                <a:gd name="connsiteX44" fmla="*/ 126752 w 1573156"/>
                <a:gd name="connsiteY44" fmla="*/ 319079 h 3837710"/>
                <a:gd name="connsiteX45" fmla="*/ 118440 w 1573156"/>
                <a:gd name="connsiteY45" fmla="*/ 251851 h 3837710"/>
                <a:gd name="connsiteX46" fmla="*/ 173860 w 1573156"/>
                <a:gd name="connsiteY46" fmla="*/ 158764 h 3837710"/>
                <a:gd name="connsiteX47" fmla="*/ 193258 w 1573156"/>
                <a:gd name="connsiteY47" fmla="*/ 135494 h 3837710"/>
                <a:gd name="connsiteX48" fmla="*/ 207113 w 1573156"/>
                <a:gd name="connsiteY48" fmla="*/ 117394 h 3837710"/>
                <a:gd name="connsiteX49" fmla="*/ 215426 w 1573156"/>
                <a:gd name="connsiteY49" fmla="*/ 73438 h 3837710"/>
                <a:gd name="connsiteX50" fmla="*/ 240365 w 1573156"/>
                <a:gd name="connsiteY50" fmla="*/ 101880 h 3837710"/>
                <a:gd name="connsiteX51" fmla="*/ 270847 w 1573156"/>
                <a:gd name="connsiteY51" fmla="*/ 88952 h 3837710"/>
                <a:gd name="connsiteX52" fmla="*/ 273617 w 1573156"/>
                <a:gd name="connsiteY52" fmla="*/ 63095 h 3837710"/>
                <a:gd name="connsiteX53" fmla="*/ 281931 w 1573156"/>
                <a:gd name="connsiteY53" fmla="*/ 34652 h 3837710"/>
                <a:gd name="connsiteX54" fmla="*/ 284703 w 1573156"/>
                <a:gd name="connsiteY54" fmla="*/ 3624 h 3837710"/>
                <a:gd name="connsiteX55" fmla="*/ 420483 w 1573156"/>
                <a:gd name="connsiteY55" fmla="*/ 57924 h 3837710"/>
                <a:gd name="connsiteX56" fmla="*/ 450963 w 1573156"/>
                <a:gd name="connsiteY56" fmla="*/ 161352 h 3837710"/>
                <a:gd name="connsiteX57" fmla="*/ 464819 w 1573156"/>
                <a:gd name="connsiteY57" fmla="*/ 184622 h 3837710"/>
                <a:gd name="connsiteX58" fmla="*/ 475903 w 1573156"/>
                <a:gd name="connsiteY58" fmla="*/ 187208 h 3837710"/>
                <a:gd name="connsiteX59" fmla="*/ 589515 w 1573156"/>
                <a:gd name="connsiteY59" fmla="*/ 156181 h 3837710"/>
                <a:gd name="connsiteX60" fmla="*/ 656020 w 1573156"/>
                <a:gd name="connsiteY60" fmla="*/ 166522 h 3837710"/>
                <a:gd name="connsiteX61" fmla="*/ 719754 w 1573156"/>
                <a:gd name="connsiteY61" fmla="*/ 213065 h 3837710"/>
                <a:gd name="connsiteX62" fmla="*/ 733781 w 1573156"/>
                <a:gd name="connsiteY62" fmla="*/ 242621 h 3837710"/>
                <a:gd name="connsiteX63" fmla="*/ 789028 w 1573156"/>
                <a:gd name="connsiteY63" fmla="*/ 277708 h 3837710"/>
                <a:gd name="connsiteX64" fmla="*/ 877702 w 1573156"/>
                <a:gd name="connsiteY64" fmla="*/ 303563 h 3837710"/>
                <a:gd name="connsiteX65" fmla="*/ 949748 w 1573156"/>
                <a:gd name="connsiteY65" fmla="*/ 350106 h 3837710"/>
                <a:gd name="connsiteX66" fmla="*/ 999627 w 1573156"/>
                <a:gd name="connsiteY66" fmla="*/ 401820 h 3837710"/>
                <a:gd name="connsiteX67" fmla="*/ 1024566 w 1573156"/>
                <a:gd name="connsiteY67" fmla="*/ 440606 h 3837710"/>
                <a:gd name="connsiteX68" fmla="*/ 1057819 w 1573156"/>
                <a:gd name="connsiteY68" fmla="*/ 466462 h 3837710"/>
                <a:gd name="connsiteX69" fmla="*/ 1041191 w 1573156"/>
                <a:gd name="connsiteY69" fmla="*/ 691417 h 3837710"/>
                <a:gd name="connsiteX70" fmla="*/ 913725 w 1573156"/>
                <a:gd name="connsiteY70" fmla="*/ 771575 h 3837710"/>
                <a:gd name="connsiteX71" fmla="*/ 800113 w 1573156"/>
                <a:gd name="connsiteY71" fmla="*/ 779331 h 3837710"/>
                <a:gd name="connsiteX72" fmla="*/ 661560 w 1573156"/>
                <a:gd name="connsiteY72" fmla="*/ 758645 h 3837710"/>
                <a:gd name="connsiteX73" fmla="*/ 570116 w 1573156"/>
                <a:gd name="connsiteY73" fmla="*/ 722445 h 3837710"/>
                <a:gd name="connsiteX74" fmla="*/ 550719 w 1573156"/>
                <a:gd name="connsiteY74" fmla="*/ 750888 h 3837710"/>
                <a:gd name="connsiteX75" fmla="*/ 581361 w 1573156"/>
                <a:gd name="connsiteY75" fmla="*/ 824301 h 3837710"/>
                <a:gd name="connsiteX76" fmla="*/ 586902 w 1573156"/>
                <a:gd name="connsiteY76" fmla="*/ 951000 h 3837710"/>
                <a:gd name="connsiteX77" fmla="*/ 559032 w 1573156"/>
                <a:gd name="connsiteY77" fmla="*/ 1012043 h 3837710"/>
                <a:gd name="connsiteX78" fmla="*/ 614451 w 1573156"/>
                <a:gd name="connsiteY78" fmla="*/ 1032728 h 3837710"/>
                <a:gd name="connsiteX79" fmla="*/ 631079 w 1573156"/>
                <a:gd name="connsiteY79" fmla="*/ 1048242 h 3837710"/>
                <a:gd name="connsiteX80" fmla="*/ 656019 w 1573156"/>
                <a:gd name="connsiteY80" fmla="*/ 1074099 h 3837710"/>
                <a:gd name="connsiteX81" fmla="*/ 653248 w 1573156"/>
                <a:gd name="connsiteY81" fmla="*/ 1076685 h 3837710"/>
                <a:gd name="connsiteX82" fmla="*/ 692041 w 1573156"/>
                <a:gd name="connsiteY82" fmla="*/ 1071514 h 3837710"/>
                <a:gd name="connsiteX83" fmla="*/ 700355 w 1573156"/>
                <a:gd name="connsiteY83" fmla="*/ 1035314 h 3837710"/>
                <a:gd name="connsiteX84" fmla="*/ 661560 w 1573156"/>
                <a:gd name="connsiteY84" fmla="*/ 957743 h 3837710"/>
                <a:gd name="connsiteX85" fmla="*/ 730836 w 1573156"/>
                <a:gd name="connsiteY85" fmla="*/ 911200 h 3837710"/>
                <a:gd name="connsiteX86" fmla="*/ 798608 w 1573156"/>
                <a:gd name="connsiteY86" fmla="*/ 918934 h 3837710"/>
                <a:gd name="connsiteX87" fmla="*/ 822441 w 1573156"/>
                <a:gd name="connsiteY87" fmla="*/ 951001 h 3837710"/>
                <a:gd name="connsiteX88" fmla="*/ 978170 w 1573156"/>
                <a:gd name="connsiteY88" fmla="*/ 1007364 h 3837710"/>
                <a:gd name="connsiteX89" fmla="*/ 963762 w 1573156"/>
                <a:gd name="connsiteY89" fmla="*/ 971687 h 3837710"/>
                <a:gd name="connsiteX90" fmla="*/ 930510 w 1573156"/>
                <a:gd name="connsiteY90" fmla="*/ 932901 h 3837710"/>
                <a:gd name="connsiteX91" fmla="*/ 919426 w 1573156"/>
                <a:gd name="connsiteY91" fmla="*/ 881187 h 3837710"/>
                <a:gd name="connsiteX92" fmla="*/ 958221 w 1573156"/>
                <a:gd name="connsiteY92" fmla="*/ 832060 h 3837710"/>
                <a:gd name="connsiteX93" fmla="*/ 985931 w 1573156"/>
                <a:gd name="connsiteY93" fmla="*/ 803617 h 3837710"/>
                <a:gd name="connsiteX94" fmla="*/ 1010871 w 1573156"/>
                <a:gd name="connsiteY94" fmla="*/ 767417 h 3837710"/>
                <a:gd name="connsiteX95" fmla="*/ 1091231 w 1573156"/>
                <a:gd name="connsiteY95" fmla="*/ 762245 h 3837710"/>
                <a:gd name="connsiteX96" fmla="*/ 1096772 w 1573156"/>
                <a:gd name="connsiteY96" fmla="*/ 741560 h 3837710"/>
                <a:gd name="connsiteX97" fmla="*/ 1121712 w 1573156"/>
                <a:gd name="connsiteY97" fmla="*/ 705360 h 3837710"/>
                <a:gd name="connsiteX98" fmla="*/ 1155516 w 1573156"/>
                <a:gd name="connsiteY98" fmla="*/ 687772 h 3837710"/>
                <a:gd name="connsiteX99" fmla="*/ 1213156 w 1573156"/>
                <a:gd name="connsiteY99" fmla="*/ 700189 h 3837710"/>
                <a:gd name="connsiteX100" fmla="*/ 1251949 w 1573156"/>
                <a:gd name="connsiteY100" fmla="*/ 720875 h 3837710"/>
                <a:gd name="connsiteX101" fmla="*/ 1299057 w 1573156"/>
                <a:gd name="connsiteY101" fmla="*/ 728632 h 3837710"/>
                <a:gd name="connsiteX102" fmla="*/ 1299057 w 1573156"/>
                <a:gd name="connsiteY102" fmla="*/ 733803 h 3837710"/>
                <a:gd name="connsiteX103" fmla="*/ 1321226 w 1573156"/>
                <a:gd name="connsiteY103" fmla="*/ 674332 h 3837710"/>
                <a:gd name="connsiteX104" fmla="*/ 1331201 w 1573156"/>
                <a:gd name="connsiteY104" fmla="*/ 640714 h 3837710"/>
                <a:gd name="connsiteX105" fmla="*/ 1337852 w 1573156"/>
                <a:gd name="connsiteY105" fmla="*/ 622618 h 3837710"/>
                <a:gd name="connsiteX106" fmla="*/ 1340789 w 1573156"/>
                <a:gd name="connsiteY106" fmla="*/ 591288 h 3837710"/>
                <a:gd name="connsiteX107" fmla="*/ 1260263 w 1573156"/>
                <a:gd name="connsiteY107" fmla="*/ 545048 h 3837710"/>
                <a:gd name="connsiteX108" fmla="*/ 1246408 w 1573156"/>
                <a:gd name="connsiteY108" fmla="*/ 472648 h 3837710"/>
                <a:gd name="connsiteX109" fmla="*/ 1246408 w 1573156"/>
                <a:gd name="connsiteY109" fmla="*/ 454548 h 3837710"/>
                <a:gd name="connsiteX110" fmla="*/ 1257491 w 1573156"/>
                <a:gd name="connsiteY110" fmla="*/ 431276 h 3837710"/>
                <a:gd name="connsiteX111" fmla="*/ 1260263 w 1573156"/>
                <a:gd name="connsiteY111" fmla="*/ 415762 h 3837710"/>
                <a:gd name="connsiteX112" fmla="*/ 1260262 w 1573156"/>
                <a:gd name="connsiteY112" fmla="*/ 358878 h 3837710"/>
                <a:gd name="connsiteX113" fmla="*/ 1238094 w 1573156"/>
                <a:gd name="connsiteY113" fmla="*/ 335607 h 3837710"/>
                <a:gd name="connsiteX114" fmla="*/ 1210384 w 1573156"/>
                <a:gd name="connsiteY114" fmla="*/ 304578 h 3837710"/>
                <a:gd name="connsiteX115" fmla="*/ 1206216 w 1573156"/>
                <a:gd name="connsiteY115" fmla="*/ 280325 h 3837710"/>
                <a:gd name="connsiteX116" fmla="*/ 1257492 w 1573156"/>
                <a:gd name="connsiteY116" fmla="*/ 258034 h 3837710"/>
                <a:gd name="connsiteX117" fmla="*/ 1311072 w 1573156"/>
                <a:gd name="connsiteY117" fmla="*/ 267906 h 3837710"/>
                <a:gd name="connsiteX118" fmla="*/ 1389856 w 1573156"/>
                <a:gd name="connsiteY118" fmla="*/ 279816 h 3837710"/>
                <a:gd name="connsiteX119" fmla="*/ 1474179 w 1573156"/>
                <a:gd name="connsiteY119" fmla="*/ 349175 h 3837710"/>
                <a:gd name="connsiteX120" fmla="*/ 1536314 w 1573156"/>
                <a:gd name="connsiteY120" fmla="*/ 425271 h 3837710"/>
                <a:gd name="connsiteX121" fmla="*/ 1435343 w 1573156"/>
                <a:gd name="connsiteY121" fmla="*/ 454265 h 3837710"/>
                <a:gd name="connsiteX122" fmla="*/ 1419809 w 1573156"/>
                <a:gd name="connsiteY122" fmla="*/ 501372 h 3837710"/>
                <a:gd name="connsiteX123" fmla="*/ 1477479 w 1573156"/>
                <a:gd name="connsiteY123" fmla="*/ 585862 h 3837710"/>
                <a:gd name="connsiteX124" fmla="*/ 1513013 w 1573156"/>
                <a:gd name="connsiteY124" fmla="*/ 591964 h 3837710"/>
                <a:gd name="connsiteX125" fmla="*/ 1565633 w 1573156"/>
                <a:gd name="connsiteY125" fmla="*/ 598304 h 3837710"/>
                <a:gd name="connsiteX126" fmla="*/ 1560670 w 1573156"/>
                <a:gd name="connsiteY126" fmla="*/ 709079 h 3837710"/>
                <a:gd name="connsiteX127" fmla="*/ 1571739 w 1573156"/>
                <a:gd name="connsiteY127" fmla="*/ 1040047 h 3837710"/>
                <a:gd name="connsiteX128" fmla="*/ 1562871 w 1573156"/>
                <a:gd name="connsiteY128" fmla="*/ 1842646 h 3837710"/>
                <a:gd name="connsiteX129" fmla="*/ 1571738 w 1573156"/>
                <a:gd name="connsiteY129" fmla="*/ 2297728 h 3837710"/>
                <a:gd name="connsiteX130" fmla="*/ 1559146 w 1573156"/>
                <a:gd name="connsiteY130" fmla="*/ 3716291 h 3837710"/>
                <a:gd name="connsiteX131" fmla="*/ 1556603 w 1573156"/>
                <a:gd name="connsiteY131" fmla="*/ 3758050 h 3837710"/>
                <a:gd name="connsiteX132" fmla="*/ 1545518 w 1573156"/>
                <a:gd name="connsiteY132" fmla="*/ 3688238 h 3837710"/>
                <a:gd name="connsiteX133" fmla="*/ 1490099 w 1573156"/>
                <a:gd name="connsiteY133" fmla="*/ 3675307 h 3837710"/>
                <a:gd name="connsiteX134" fmla="*/ 1195420 w 1573156"/>
                <a:gd name="connsiteY134" fmla="*/ 3605469 h 3837710"/>
                <a:gd name="connsiteX135" fmla="*/ 1013482 w 1573156"/>
                <a:gd name="connsiteY135" fmla="*/ 3592567 h 3837710"/>
                <a:gd name="connsiteX136" fmla="*/ 1123928 w 1573156"/>
                <a:gd name="connsiteY136" fmla="*/ 3663387 h 3837710"/>
                <a:gd name="connsiteX137" fmla="*/ 907787 w 1573156"/>
                <a:gd name="connsiteY137" fmla="*/ 3629257 h 3837710"/>
                <a:gd name="connsiteX138" fmla="*/ 776238 w 1573156"/>
                <a:gd name="connsiteY138" fmla="*/ 3504783 h 3837710"/>
                <a:gd name="connsiteX139" fmla="*/ 708669 w 1573156"/>
                <a:gd name="connsiteY139" fmla="*/ 3437426 h 3837710"/>
                <a:gd name="connsiteX140" fmla="*/ 739150 w 1573156"/>
                <a:gd name="connsiteY140" fmla="*/ 3437426 h 3837710"/>
                <a:gd name="connsiteX141" fmla="*/ 750233 w 1573156"/>
                <a:gd name="connsiteY141" fmla="*/ 3408982 h 3837710"/>
                <a:gd name="connsiteX142" fmla="*/ 783486 w 1573156"/>
                <a:gd name="connsiteY142" fmla="*/ 3354683 h 3837710"/>
                <a:gd name="connsiteX143" fmla="*/ 747462 w 1573156"/>
                <a:gd name="connsiteY143" fmla="*/ 3297798 h 3837710"/>
                <a:gd name="connsiteX144" fmla="*/ 836135 w 1573156"/>
                <a:gd name="connsiteY144" fmla="*/ 3225398 h 3837710"/>
                <a:gd name="connsiteX145" fmla="*/ 902641 w 1573156"/>
                <a:gd name="connsiteY145" fmla="*/ 3217642 h 3837710"/>
                <a:gd name="connsiteX146" fmla="*/ 955289 w 1573156"/>
                <a:gd name="connsiteY146" fmla="*/ 3160756 h 3837710"/>
                <a:gd name="connsiteX147" fmla="*/ 1024565 w 1573156"/>
                <a:gd name="connsiteY147" fmla="*/ 3114213 h 3837710"/>
                <a:gd name="connsiteX148" fmla="*/ 1019023 w 1573156"/>
                <a:gd name="connsiteY148" fmla="*/ 3067671 h 3837710"/>
                <a:gd name="connsiteX149" fmla="*/ 1043963 w 1573156"/>
                <a:gd name="connsiteY149" fmla="*/ 3028886 h 3837710"/>
                <a:gd name="connsiteX150" fmla="*/ 1016252 w 1573156"/>
                <a:gd name="connsiteY150" fmla="*/ 3026300 h 3837710"/>
                <a:gd name="connsiteX151" fmla="*/ 1031704 w 1573156"/>
                <a:gd name="connsiteY151" fmla="*/ 2992878 h 3837710"/>
                <a:gd name="connsiteX152" fmla="*/ 914211 w 1573156"/>
                <a:gd name="connsiteY152" fmla="*/ 2928233 h 3837710"/>
                <a:gd name="connsiteX153" fmla="*/ 858304 w 1573156"/>
                <a:gd name="connsiteY153" fmla="*/ 2909943 h 3837710"/>
                <a:gd name="connsiteX154" fmla="*/ 827823 w 1573156"/>
                <a:gd name="connsiteY154" fmla="*/ 2881501 h 3837710"/>
                <a:gd name="connsiteX155" fmla="*/ 761317 w 1573156"/>
                <a:gd name="connsiteY155" fmla="*/ 2897015 h 3837710"/>
                <a:gd name="connsiteX156" fmla="*/ 700355 w 1573156"/>
                <a:gd name="connsiteY156" fmla="*/ 2891844 h 3837710"/>
                <a:gd name="connsiteX157" fmla="*/ 658790 w 1573156"/>
                <a:gd name="connsiteY157" fmla="*/ 2827201 h 3837710"/>
                <a:gd name="connsiteX158" fmla="*/ 656019 w 1573156"/>
                <a:gd name="connsiteY158" fmla="*/ 2785830 h 3837710"/>
                <a:gd name="connsiteX159" fmla="*/ 631080 w 1573156"/>
                <a:gd name="connsiteY159" fmla="*/ 2772902 h 3837710"/>
                <a:gd name="connsiteX160" fmla="*/ 567346 w 1573156"/>
                <a:gd name="connsiteY160" fmla="*/ 2759974 h 3837710"/>
                <a:gd name="connsiteX161" fmla="*/ 586743 w 1573156"/>
                <a:gd name="connsiteY161" fmla="*/ 2721188 h 3837710"/>
                <a:gd name="connsiteX162" fmla="*/ 557777 w 1573156"/>
                <a:gd name="connsiteY162" fmla="*/ 2715007 h 3837710"/>
                <a:gd name="connsiteX163" fmla="*/ 531809 w 1573156"/>
                <a:gd name="connsiteY163" fmla="*/ 2672771 h 3837710"/>
                <a:gd name="connsiteX164" fmla="*/ 414939 w 1573156"/>
                <a:gd name="connsiteY164" fmla="*/ 2682402 h 3837710"/>
                <a:gd name="connsiteX165" fmla="*/ 390000 w 1573156"/>
                <a:gd name="connsiteY165" fmla="*/ 2672059 h 3837710"/>
                <a:gd name="connsiteX166" fmla="*/ 367832 w 1573156"/>
                <a:gd name="connsiteY166" fmla="*/ 2684989 h 3837710"/>
                <a:gd name="connsiteX167" fmla="*/ 351205 w 1573156"/>
                <a:gd name="connsiteY167" fmla="*/ 2622932 h 3837710"/>
                <a:gd name="connsiteX168" fmla="*/ 340121 w 1573156"/>
                <a:gd name="connsiteY168" fmla="*/ 2597075 h 3837710"/>
                <a:gd name="connsiteX169" fmla="*/ 353976 w 1573156"/>
                <a:gd name="connsiteY169" fmla="*/ 2578974 h 3837710"/>
                <a:gd name="connsiteX170" fmla="*/ 381687 w 1573156"/>
                <a:gd name="connsiteY170" fmla="*/ 2581561 h 3837710"/>
                <a:gd name="connsiteX171" fmla="*/ 414939 w 1573156"/>
                <a:gd name="connsiteY171" fmla="*/ 2563461 h 3837710"/>
                <a:gd name="connsiteX172" fmla="*/ 412168 w 1573156"/>
                <a:gd name="connsiteY172" fmla="*/ 2537603 h 3837710"/>
                <a:gd name="connsiteX173" fmla="*/ 362289 w 1573156"/>
                <a:gd name="connsiteY173" fmla="*/ 2501404 h 3837710"/>
                <a:gd name="connsiteX174" fmla="*/ 338946 w 1573156"/>
                <a:gd name="connsiteY174" fmla="*/ 2513491 h 3837710"/>
                <a:gd name="connsiteX175" fmla="*/ 340121 w 1573156"/>
                <a:gd name="connsiteY175" fmla="*/ 2467790 h 3837710"/>
                <a:gd name="connsiteX176" fmla="*/ 306869 w 1573156"/>
                <a:gd name="connsiteY176" fmla="*/ 2429005 h 3837710"/>
                <a:gd name="connsiteX177" fmla="*/ 309641 w 1573156"/>
                <a:gd name="connsiteY177" fmla="*/ 2351433 h 3837710"/>
                <a:gd name="connsiteX178" fmla="*/ 290243 w 1573156"/>
                <a:gd name="connsiteY178" fmla="*/ 2299720 h 3837710"/>
                <a:gd name="connsiteX179" fmla="*/ 256991 w 1573156"/>
                <a:gd name="connsiteY179" fmla="*/ 2266106 h 3837710"/>
                <a:gd name="connsiteX180" fmla="*/ 218196 w 1573156"/>
                <a:gd name="connsiteY180" fmla="*/ 2242835 h 3837710"/>
                <a:gd name="connsiteX181" fmla="*/ 176631 w 1573156"/>
                <a:gd name="connsiteY181" fmla="*/ 2250592 h 3837710"/>
                <a:gd name="connsiteX182" fmla="*/ 122255 w 1573156"/>
                <a:gd name="connsiteY182" fmla="*/ 2214066 h 3837710"/>
                <a:gd name="connsiteX0" fmla="*/ 122255 w 1573156"/>
                <a:gd name="connsiteY0" fmla="*/ 2214066 h 3837710"/>
                <a:gd name="connsiteX1" fmla="*/ 63018 w 1573156"/>
                <a:gd name="connsiteY1" fmla="*/ 2216977 h 3837710"/>
                <a:gd name="connsiteX2" fmla="*/ 60248 w 1573156"/>
                <a:gd name="connsiteY2" fmla="*/ 2118721 h 3837710"/>
                <a:gd name="connsiteX3" fmla="*/ 71333 w 1573156"/>
                <a:gd name="connsiteY3" fmla="*/ 2077350 h 3837710"/>
                <a:gd name="connsiteX4" fmla="*/ 74102 w 1573156"/>
                <a:gd name="connsiteY4" fmla="*/ 2030807 h 3837710"/>
                <a:gd name="connsiteX5" fmla="*/ 76875 w 1573156"/>
                <a:gd name="connsiteY5" fmla="*/ 2020467 h 3837710"/>
                <a:gd name="connsiteX6" fmla="*/ 118439 w 1573156"/>
                <a:gd name="connsiteY6" fmla="*/ 1992023 h 3837710"/>
                <a:gd name="connsiteX7" fmla="*/ 82416 w 1573156"/>
                <a:gd name="connsiteY7" fmla="*/ 1963580 h 3837710"/>
                <a:gd name="connsiteX8" fmla="*/ 51935 w 1573156"/>
                <a:gd name="connsiteY8" fmla="*/ 1927380 h 3837710"/>
                <a:gd name="connsiteX9" fmla="*/ 40850 w 1573156"/>
                <a:gd name="connsiteY9" fmla="*/ 1893766 h 3837710"/>
                <a:gd name="connsiteX10" fmla="*/ 43621 w 1573156"/>
                <a:gd name="connsiteY10" fmla="*/ 1844639 h 3837710"/>
                <a:gd name="connsiteX11" fmla="*/ 82416 w 1573156"/>
                <a:gd name="connsiteY11" fmla="*/ 1826538 h 3837710"/>
                <a:gd name="connsiteX12" fmla="*/ 112899 w 1573156"/>
                <a:gd name="connsiteY12" fmla="*/ 1782581 h 3837710"/>
                <a:gd name="connsiteX13" fmla="*/ 96271 w 1573156"/>
                <a:gd name="connsiteY13" fmla="*/ 1754138 h 3837710"/>
                <a:gd name="connsiteX14" fmla="*/ 40851 w 1573156"/>
                <a:gd name="connsiteY14" fmla="*/ 1746381 h 3837710"/>
                <a:gd name="connsiteX15" fmla="*/ 2057 w 1573156"/>
                <a:gd name="connsiteY15" fmla="*/ 1730867 h 3837710"/>
                <a:gd name="connsiteX16" fmla="*/ 38079 w 1573156"/>
                <a:gd name="connsiteY16" fmla="*/ 1689496 h 3837710"/>
                <a:gd name="connsiteX17" fmla="*/ 18683 w 1573156"/>
                <a:gd name="connsiteY17" fmla="*/ 1679153 h 3837710"/>
                <a:gd name="connsiteX18" fmla="*/ 2055 w 1573156"/>
                <a:gd name="connsiteY18" fmla="*/ 1640367 h 3837710"/>
                <a:gd name="connsiteX19" fmla="*/ 65790 w 1573156"/>
                <a:gd name="connsiteY19" fmla="*/ 1650711 h 3837710"/>
                <a:gd name="connsiteX20" fmla="*/ 93501 w 1573156"/>
                <a:gd name="connsiteY20" fmla="*/ 1627440 h 3837710"/>
                <a:gd name="connsiteX21" fmla="*/ 187716 w 1573156"/>
                <a:gd name="connsiteY21" fmla="*/ 1536941 h 3837710"/>
                <a:gd name="connsiteX22" fmla="*/ 212655 w 1573156"/>
                <a:gd name="connsiteY22" fmla="*/ 1505912 h 3837710"/>
                <a:gd name="connsiteX23" fmla="*/ 198801 w 1573156"/>
                <a:gd name="connsiteY23" fmla="*/ 1555040 h 3837710"/>
                <a:gd name="connsiteX24" fmla="*/ 218197 w 1573156"/>
                <a:gd name="connsiteY24" fmla="*/ 1588655 h 3837710"/>
                <a:gd name="connsiteX25" fmla="*/ 262534 w 1573156"/>
                <a:gd name="connsiteY25" fmla="*/ 1666225 h 3837710"/>
                <a:gd name="connsiteX26" fmla="*/ 331810 w 1573156"/>
                <a:gd name="connsiteY26" fmla="*/ 1653297 h 3837710"/>
                <a:gd name="connsiteX27" fmla="*/ 351206 w 1573156"/>
                <a:gd name="connsiteY27" fmla="*/ 1622268 h 3837710"/>
                <a:gd name="connsiteX28" fmla="*/ 365062 w 1573156"/>
                <a:gd name="connsiteY28" fmla="*/ 1557627 h 3837710"/>
                <a:gd name="connsiteX29" fmla="*/ 304099 w 1573156"/>
                <a:gd name="connsiteY29" fmla="*/ 1511084 h 3837710"/>
                <a:gd name="connsiteX30" fmla="*/ 259763 w 1573156"/>
                <a:gd name="connsiteY30" fmla="*/ 1485227 h 3837710"/>
                <a:gd name="connsiteX31" fmla="*/ 198801 w 1573156"/>
                <a:gd name="connsiteY31" fmla="*/ 1495570 h 3837710"/>
                <a:gd name="connsiteX32" fmla="*/ 376147 w 1573156"/>
                <a:gd name="connsiteY32" fmla="*/ 1299057 h 3837710"/>
                <a:gd name="connsiteX33" fmla="*/ 223740 w 1573156"/>
                <a:gd name="connsiteY33" fmla="*/ 1151672 h 3837710"/>
                <a:gd name="connsiteX34" fmla="*/ 284703 w 1573156"/>
                <a:gd name="connsiteY34" fmla="*/ 1089617 h 3837710"/>
                <a:gd name="connsiteX35" fmla="*/ 218198 w 1573156"/>
                <a:gd name="connsiteY35" fmla="*/ 1050829 h 3837710"/>
                <a:gd name="connsiteX36" fmla="*/ 259763 w 1573156"/>
                <a:gd name="connsiteY36" fmla="*/ 1019802 h 3837710"/>
                <a:gd name="connsiteX37" fmla="*/ 212657 w 1573156"/>
                <a:gd name="connsiteY37" fmla="*/ 993947 h 3837710"/>
                <a:gd name="connsiteX38" fmla="*/ 212656 w 1573156"/>
                <a:gd name="connsiteY38" fmla="*/ 794845 h 3837710"/>
                <a:gd name="connsiteX39" fmla="*/ 251451 w 1573156"/>
                <a:gd name="connsiteY39" fmla="*/ 779332 h 3837710"/>
                <a:gd name="connsiteX40" fmla="*/ 137838 w 1573156"/>
                <a:gd name="connsiteY40" fmla="*/ 551792 h 3837710"/>
                <a:gd name="connsiteX41" fmla="*/ 135067 w 1573156"/>
                <a:gd name="connsiteY41" fmla="*/ 551792 h 3837710"/>
                <a:gd name="connsiteX42" fmla="*/ 184945 w 1573156"/>
                <a:gd name="connsiteY42" fmla="*/ 469048 h 3837710"/>
                <a:gd name="connsiteX43" fmla="*/ 201571 w 1573156"/>
                <a:gd name="connsiteY43" fmla="*/ 378550 h 3837710"/>
                <a:gd name="connsiteX44" fmla="*/ 126752 w 1573156"/>
                <a:gd name="connsiteY44" fmla="*/ 319079 h 3837710"/>
                <a:gd name="connsiteX45" fmla="*/ 118440 w 1573156"/>
                <a:gd name="connsiteY45" fmla="*/ 251851 h 3837710"/>
                <a:gd name="connsiteX46" fmla="*/ 173860 w 1573156"/>
                <a:gd name="connsiteY46" fmla="*/ 158764 h 3837710"/>
                <a:gd name="connsiteX47" fmla="*/ 193258 w 1573156"/>
                <a:gd name="connsiteY47" fmla="*/ 135494 h 3837710"/>
                <a:gd name="connsiteX48" fmla="*/ 207113 w 1573156"/>
                <a:gd name="connsiteY48" fmla="*/ 117394 h 3837710"/>
                <a:gd name="connsiteX49" fmla="*/ 215426 w 1573156"/>
                <a:gd name="connsiteY49" fmla="*/ 73438 h 3837710"/>
                <a:gd name="connsiteX50" fmla="*/ 240365 w 1573156"/>
                <a:gd name="connsiteY50" fmla="*/ 101880 h 3837710"/>
                <a:gd name="connsiteX51" fmla="*/ 270847 w 1573156"/>
                <a:gd name="connsiteY51" fmla="*/ 88952 h 3837710"/>
                <a:gd name="connsiteX52" fmla="*/ 273617 w 1573156"/>
                <a:gd name="connsiteY52" fmla="*/ 63095 h 3837710"/>
                <a:gd name="connsiteX53" fmla="*/ 281931 w 1573156"/>
                <a:gd name="connsiteY53" fmla="*/ 34652 h 3837710"/>
                <a:gd name="connsiteX54" fmla="*/ 284703 w 1573156"/>
                <a:gd name="connsiteY54" fmla="*/ 3624 h 3837710"/>
                <a:gd name="connsiteX55" fmla="*/ 420483 w 1573156"/>
                <a:gd name="connsiteY55" fmla="*/ 57924 h 3837710"/>
                <a:gd name="connsiteX56" fmla="*/ 450963 w 1573156"/>
                <a:gd name="connsiteY56" fmla="*/ 161352 h 3837710"/>
                <a:gd name="connsiteX57" fmla="*/ 464819 w 1573156"/>
                <a:gd name="connsiteY57" fmla="*/ 184622 h 3837710"/>
                <a:gd name="connsiteX58" fmla="*/ 475903 w 1573156"/>
                <a:gd name="connsiteY58" fmla="*/ 187208 h 3837710"/>
                <a:gd name="connsiteX59" fmla="*/ 589515 w 1573156"/>
                <a:gd name="connsiteY59" fmla="*/ 156181 h 3837710"/>
                <a:gd name="connsiteX60" fmla="*/ 656020 w 1573156"/>
                <a:gd name="connsiteY60" fmla="*/ 166522 h 3837710"/>
                <a:gd name="connsiteX61" fmla="*/ 719754 w 1573156"/>
                <a:gd name="connsiteY61" fmla="*/ 213065 h 3837710"/>
                <a:gd name="connsiteX62" fmla="*/ 733781 w 1573156"/>
                <a:gd name="connsiteY62" fmla="*/ 242621 h 3837710"/>
                <a:gd name="connsiteX63" fmla="*/ 789028 w 1573156"/>
                <a:gd name="connsiteY63" fmla="*/ 277708 h 3837710"/>
                <a:gd name="connsiteX64" fmla="*/ 877702 w 1573156"/>
                <a:gd name="connsiteY64" fmla="*/ 303563 h 3837710"/>
                <a:gd name="connsiteX65" fmla="*/ 949748 w 1573156"/>
                <a:gd name="connsiteY65" fmla="*/ 350106 h 3837710"/>
                <a:gd name="connsiteX66" fmla="*/ 999627 w 1573156"/>
                <a:gd name="connsiteY66" fmla="*/ 401820 h 3837710"/>
                <a:gd name="connsiteX67" fmla="*/ 1024566 w 1573156"/>
                <a:gd name="connsiteY67" fmla="*/ 440606 h 3837710"/>
                <a:gd name="connsiteX68" fmla="*/ 1057819 w 1573156"/>
                <a:gd name="connsiteY68" fmla="*/ 466462 h 3837710"/>
                <a:gd name="connsiteX69" fmla="*/ 1041191 w 1573156"/>
                <a:gd name="connsiteY69" fmla="*/ 691417 h 3837710"/>
                <a:gd name="connsiteX70" fmla="*/ 913725 w 1573156"/>
                <a:gd name="connsiteY70" fmla="*/ 771575 h 3837710"/>
                <a:gd name="connsiteX71" fmla="*/ 800113 w 1573156"/>
                <a:gd name="connsiteY71" fmla="*/ 779331 h 3837710"/>
                <a:gd name="connsiteX72" fmla="*/ 661560 w 1573156"/>
                <a:gd name="connsiteY72" fmla="*/ 758645 h 3837710"/>
                <a:gd name="connsiteX73" fmla="*/ 570116 w 1573156"/>
                <a:gd name="connsiteY73" fmla="*/ 722445 h 3837710"/>
                <a:gd name="connsiteX74" fmla="*/ 550719 w 1573156"/>
                <a:gd name="connsiteY74" fmla="*/ 750888 h 3837710"/>
                <a:gd name="connsiteX75" fmla="*/ 581361 w 1573156"/>
                <a:gd name="connsiteY75" fmla="*/ 824301 h 3837710"/>
                <a:gd name="connsiteX76" fmla="*/ 586902 w 1573156"/>
                <a:gd name="connsiteY76" fmla="*/ 951000 h 3837710"/>
                <a:gd name="connsiteX77" fmla="*/ 559032 w 1573156"/>
                <a:gd name="connsiteY77" fmla="*/ 1012043 h 3837710"/>
                <a:gd name="connsiteX78" fmla="*/ 614451 w 1573156"/>
                <a:gd name="connsiteY78" fmla="*/ 1032728 h 3837710"/>
                <a:gd name="connsiteX79" fmla="*/ 631079 w 1573156"/>
                <a:gd name="connsiteY79" fmla="*/ 1048242 h 3837710"/>
                <a:gd name="connsiteX80" fmla="*/ 656019 w 1573156"/>
                <a:gd name="connsiteY80" fmla="*/ 1074099 h 3837710"/>
                <a:gd name="connsiteX81" fmla="*/ 653248 w 1573156"/>
                <a:gd name="connsiteY81" fmla="*/ 1076685 h 3837710"/>
                <a:gd name="connsiteX82" fmla="*/ 692041 w 1573156"/>
                <a:gd name="connsiteY82" fmla="*/ 1071514 h 3837710"/>
                <a:gd name="connsiteX83" fmla="*/ 700355 w 1573156"/>
                <a:gd name="connsiteY83" fmla="*/ 1035314 h 3837710"/>
                <a:gd name="connsiteX84" fmla="*/ 661560 w 1573156"/>
                <a:gd name="connsiteY84" fmla="*/ 957743 h 3837710"/>
                <a:gd name="connsiteX85" fmla="*/ 730836 w 1573156"/>
                <a:gd name="connsiteY85" fmla="*/ 911200 h 3837710"/>
                <a:gd name="connsiteX86" fmla="*/ 798608 w 1573156"/>
                <a:gd name="connsiteY86" fmla="*/ 918934 h 3837710"/>
                <a:gd name="connsiteX87" fmla="*/ 822441 w 1573156"/>
                <a:gd name="connsiteY87" fmla="*/ 951001 h 3837710"/>
                <a:gd name="connsiteX88" fmla="*/ 978170 w 1573156"/>
                <a:gd name="connsiteY88" fmla="*/ 1007364 h 3837710"/>
                <a:gd name="connsiteX89" fmla="*/ 963762 w 1573156"/>
                <a:gd name="connsiteY89" fmla="*/ 971687 h 3837710"/>
                <a:gd name="connsiteX90" fmla="*/ 930510 w 1573156"/>
                <a:gd name="connsiteY90" fmla="*/ 932901 h 3837710"/>
                <a:gd name="connsiteX91" fmla="*/ 919426 w 1573156"/>
                <a:gd name="connsiteY91" fmla="*/ 881187 h 3837710"/>
                <a:gd name="connsiteX92" fmla="*/ 958221 w 1573156"/>
                <a:gd name="connsiteY92" fmla="*/ 832060 h 3837710"/>
                <a:gd name="connsiteX93" fmla="*/ 985931 w 1573156"/>
                <a:gd name="connsiteY93" fmla="*/ 803617 h 3837710"/>
                <a:gd name="connsiteX94" fmla="*/ 1010871 w 1573156"/>
                <a:gd name="connsiteY94" fmla="*/ 767417 h 3837710"/>
                <a:gd name="connsiteX95" fmla="*/ 1091231 w 1573156"/>
                <a:gd name="connsiteY95" fmla="*/ 762245 h 3837710"/>
                <a:gd name="connsiteX96" fmla="*/ 1096772 w 1573156"/>
                <a:gd name="connsiteY96" fmla="*/ 741560 h 3837710"/>
                <a:gd name="connsiteX97" fmla="*/ 1121712 w 1573156"/>
                <a:gd name="connsiteY97" fmla="*/ 705360 h 3837710"/>
                <a:gd name="connsiteX98" fmla="*/ 1155516 w 1573156"/>
                <a:gd name="connsiteY98" fmla="*/ 687772 h 3837710"/>
                <a:gd name="connsiteX99" fmla="*/ 1213156 w 1573156"/>
                <a:gd name="connsiteY99" fmla="*/ 700189 h 3837710"/>
                <a:gd name="connsiteX100" fmla="*/ 1251949 w 1573156"/>
                <a:gd name="connsiteY100" fmla="*/ 720875 h 3837710"/>
                <a:gd name="connsiteX101" fmla="*/ 1299057 w 1573156"/>
                <a:gd name="connsiteY101" fmla="*/ 728632 h 3837710"/>
                <a:gd name="connsiteX102" fmla="*/ 1299057 w 1573156"/>
                <a:gd name="connsiteY102" fmla="*/ 733803 h 3837710"/>
                <a:gd name="connsiteX103" fmla="*/ 1321226 w 1573156"/>
                <a:gd name="connsiteY103" fmla="*/ 674332 h 3837710"/>
                <a:gd name="connsiteX104" fmla="*/ 1331201 w 1573156"/>
                <a:gd name="connsiteY104" fmla="*/ 640714 h 3837710"/>
                <a:gd name="connsiteX105" fmla="*/ 1337852 w 1573156"/>
                <a:gd name="connsiteY105" fmla="*/ 622618 h 3837710"/>
                <a:gd name="connsiteX106" fmla="*/ 1340789 w 1573156"/>
                <a:gd name="connsiteY106" fmla="*/ 591288 h 3837710"/>
                <a:gd name="connsiteX107" fmla="*/ 1260263 w 1573156"/>
                <a:gd name="connsiteY107" fmla="*/ 545048 h 3837710"/>
                <a:gd name="connsiteX108" fmla="*/ 1246408 w 1573156"/>
                <a:gd name="connsiteY108" fmla="*/ 472648 h 3837710"/>
                <a:gd name="connsiteX109" fmla="*/ 1246408 w 1573156"/>
                <a:gd name="connsiteY109" fmla="*/ 454548 h 3837710"/>
                <a:gd name="connsiteX110" fmla="*/ 1257491 w 1573156"/>
                <a:gd name="connsiteY110" fmla="*/ 431276 h 3837710"/>
                <a:gd name="connsiteX111" fmla="*/ 1260263 w 1573156"/>
                <a:gd name="connsiteY111" fmla="*/ 415762 h 3837710"/>
                <a:gd name="connsiteX112" fmla="*/ 1260262 w 1573156"/>
                <a:gd name="connsiteY112" fmla="*/ 358878 h 3837710"/>
                <a:gd name="connsiteX113" fmla="*/ 1238094 w 1573156"/>
                <a:gd name="connsiteY113" fmla="*/ 335607 h 3837710"/>
                <a:gd name="connsiteX114" fmla="*/ 1210384 w 1573156"/>
                <a:gd name="connsiteY114" fmla="*/ 304578 h 3837710"/>
                <a:gd name="connsiteX115" fmla="*/ 1206216 w 1573156"/>
                <a:gd name="connsiteY115" fmla="*/ 280325 h 3837710"/>
                <a:gd name="connsiteX116" fmla="*/ 1257492 w 1573156"/>
                <a:gd name="connsiteY116" fmla="*/ 258034 h 3837710"/>
                <a:gd name="connsiteX117" fmla="*/ 1311072 w 1573156"/>
                <a:gd name="connsiteY117" fmla="*/ 267906 h 3837710"/>
                <a:gd name="connsiteX118" fmla="*/ 1389856 w 1573156"/>
                <a:gd name="connsiteY118" fmla="*/ 279816 h 3837710"/>
                <a:gd name="connsiteX119" fmla="*/ 1474179 w 1573156"/>
                <a:gd name="connsiteY119" fmla="*/ 349175 h 3837710"/>
                <a:gd name="connsiteX120" fmla="*/ 1536314 w 1573156"/>
                <a:gd name="connsiteY120" fmla="*/ 425271 h 3837710"/>
                <a:gd name="connsiteX121" fmla="*/ 1435343 w 1573156"/>
                <a:gd name="connsiteY121" fmla="*/ 454265 h 3837710"/>
                <a:gd name="connsiteX122" fmla="*/ 1419809 w 1573156"/>
                <a:gd name="connsiteY122" fmla="*/ 501372 h 3837710"/>
                <a:gd name="connsiteX123" fmla="*/ 1477479 w 1573156"/>
                <a:gd name="connsiteY123" fmla="*/ 585862 h 3837710"/>
                <a:gd name="connsiteX124" fmla="*/ 1513013 w 1573156"/>
                <a:gd name="connsiteY124" fmla="*/ 591964 h 3837710"/>
                <a:gd name="connsiteX125" fmla="*/ 1565633 w 1573156"/>
                <a:gd name="connsiteY125" fmla="*/ 598304 h 3837710"/>
                <a:gd name="connsiteX126" fmla="*/ 1560670 w 1573156"/>
                <a:gd name="connsiteY126" fmla="*/ 709079 h 3837710"/>
                <a:gd name="connsiteX127" fmla="*/ 1571739 w 1573156"/>
                <a:gd name="connsiteY127" fmla="*/ 1040047 h 3837710"/>
                <a:gd name="connsiteX128" fmla="*/ 1562871 w 1573156"/>
                <a:gd name="connsiteY128" fmla="*/ 1842646 h 3837710"/>
                <a:gd name="connsiteX129" fmla="*/ 1571738 w 1573156"/>
                <a:gd name="connsiteY129" fmla="*/ 2297728 h 3837710"/>
                <a:gd name="connsiteX130" fmla="*/ 1559146 w 1573156"/>
                <a:gd name="connsiteY130" fmla="*/ 3716291 h 3837710"/>
                <a:gd name="connsiteX131" fmla="*/ 1556603 w 1573156"/>
                <a:gd name="connsiteY131" fmla="*/ 3758050 h 3837710"/>
                <a:gd name="connsiteX132" fmla="*/ 1545518 w 1573156"/>
                <a:gd name="connsiteY132" fmla="*/ 3688238 h 3837710"/>
                <a:gd name="connsiteX133" fmla="*/ 1490099 w 1573156"/>
                <a:gd name="connsiteY133" fmla="*/ 3675307 h 3837710"/>
                <a:gd name="connsiteX134" fmla="*/ 1357089 w 1573156"/>
                <a:gd name="connsiteY134" fmla="*/ 3662380 h 3837710"/>
                <a:gd name="connsiteX135" fmla="*/ 1195420 w 1573156"/>
                <a:gd name="connsiteY135" fmla="*/ 3605469 h 3837710"/>
                <a:gd name="connsiteX136" fmla="*/ 1013482 w 1573156"/>
                <a:gd name="connsiteY136" fmla="*/ 3592567 h 3837710"/>
                <a:gd name="connsiteX137" fmla="*/ 1123928 w 1573156"/>
                <a:gd name="connsiteY137" fmla="*/ 3663387 h 3837710"/>
                <a:gd name="connsiteX138" fmla="*/ 907787 w 1573156"/>
                <a:gd name="connsiteY138" fmla="*/ 3629257 h 3837710"/>
                <a:gd name="connsiteX139" fmla="*/ 776238 w 1573156"/>
                <a:gd name="connsiteY139" fmla="*/ 3504783 h 3837710"/>
                <a:gd name="connsiteX140" fmla="*/ 708669 w 1573156"/>
                <a:gd name="connsiteY140" fmla="*/ 3437426 h 3837710"/>
                <a:gd name="connsiteX141" fmla="*/ 739150 w 1573156"/>
                <a:gd name="connsiteY141" fmla="*/ 3437426 h 3837710"/>
                <a:gd name="connsiteX142" fmla="*/ 750233 w 1573156"/>
                <a:gd name="connsiteY142" fmla="*/ 3408982 h 3837710"/>
                <a:gd name="connsiteX143" fmla="*/ 783486 w 1573156"/>
                <a:gd name="connsiteY143" fmla="*/ 3354683 h 3837710"/>
                <a:gd name="connsiteX144" fmla="*/ 747462 w 1573156"/>
                <a:gd name="connsiteY144" fmla="*/ 3297798 h 3837710"/>
                <a:gd name="connsiteX145" fmla="*/ 836135 w 1573156"/>
                <a:gd name="connsiteY145" fmla="*/ 3225398 h 3837710"/>
                <a:gd name="connsiteX146" fmla="*/ 902641 w 1573156"/>
                <a:gd name="connsiteY146" fmla="*/ 3217642 h 3837710"/>
                <a:gd name="connsiteX147" fmla="*/ 955289 w 1573156"/>
                <a:gd name="connsiteY147" fmla="*/ 3160756 h 3837710"/>
                <a:gd name="connsiteX148" fmla="*/ 1024565 w 1573156"/>
                <a:gd name="connsiteY148" fmla="*/ 3114213 h 3837710"/>
                <a:gd name="connsiteX149" fmla="*/ 1019023 w 1573156"/>
                <a:gd name="connsiteY149" fmla="*/ 3067671 h 3837710"/>
                <a:gd name="connsiteX150" fmla="*/ 1043963 w 1573156"/>
                <a:gd name="connsiteY150" fmla="*/ 3028886 h 3837710"/>
                <a:gd name="connsiteX151" fmla="*/ 1016252 w 1573156"/>
                <a:gd name="connsiteY151" fmla="*/ 3026300 h 3837710"/>
                <a:gd name="connsiteX152" fmla="*/ 1031704 w 1573156"/>
                <a:gd name="connsiteY152" fmla="*/ 2992878 h 3837710"/>
                <a:gd name="connsiteX153" fmla="*/ 914211 w 1573156"/>
                <a:gd name="connsiteY153" fmla="*/ 2928233 h 3837710"/>
                <a:gd name="connsiteX154" fmla="*/ 858304 w 1573156"/>
                <a:gd name="connsiteY154" fmla="*/ 2909943 h 3837710"/>
                <a:gd name="connsiteX155" fmla="*/ 827823 w 1573156"/>
                <a:gd name="connsiteY155" fmla="*/ 2881501 h 3837710"/>
                <a:gd name="connsiteX156" fmla="*/ 761317 w 1573156"/>
                <a:gd name="connsiteY156" fmla="*/ 2897015 h 3837710"/>
                <a:gd name="connsiteX157" fmla="*/ 700355 w 1573156"/>
                <a:gd name="connsiteY157" fmla="*/ 2891844 h 3837710"/>
                <a:gd name="connsiteX158" fmla="*/ 658790 w 1573156"/>
                <a:gd name="connsiteY158" fmla="*/ 2827201 h 3837710"/>
                <a:gd name="connsiteX159" fmla="*/ 656019 w 1573156"/>
                <a:gd name="connsiteY159" fmla="*/ 2785830 h 3837710"/>
                <a:gd name="connsiteX160" fmla="*/ 631080 w 1573156"/>
                <a:gd name="connsiteY160" fmla="*/ 2772902 h 3837710"/>
                <a:gd name="connsiteX161" fmla="*/ 567346 w 1573156"/>
                <a:gd name="connsiteY161" fmla="*/ 2759974 h 3837710"/>
                <a:gd name="connsiteX162" fmla="*/ 586743 w 1573156"/>
                <a:gd name="connsiteY162" fmla="*/ 2721188 h 3837710"/>
                <a:gd name="connsiteX163" fmla="*/ 557777 w 1573156"/>
                <a:gd name="connsiteY163" fmla="*/ 2715007 h 3837710"/>
                <a:gd name="connsiteX164" fmla="*/ 531809 w 1573156"/>
                <a:gd name="connsiteY164" fmla="*/ 2672771 h 3837710"/>
                <a:gd name="connsiteX165" fmla="*/ 414939 w 1573156"/>
                <a:gd name="connsiteY165" fmla="*/ 2682402 h 3837710"/>
                <a:gd name="connsiteX166" fmla="*/ 390000 w 1573156"/>
                <a:gd name="connsiteY166" fmla="*/ 2672059 h 3837710"/>
                <a:gd name="connsiteX167" fmla="*/ 367832 w 1573156"/>
                <a:gd name="connsiteY167" fmla="*/ 2684989 h 3837710"/>
                <a:gd name="connsiteX168" fmla="*/ 351205 w 1573156"/>
                <a:gd name="connsiteY168" fmla="*/ 2622932 h 3837710"/>
                <a:gd name="connsiteX169" fmla="*/ 340121 w 1573156"/>
                <a:gd name="connsiteY169" fmla="*/ 2597075 h 3837710"/>
                <a:gd name="connsiteX170" fmla="*/ 353976 w 1573156"/>
                <a:gd name="connsiteY170" fmla="*/ 2578974 h 3837710"/>
                <a:gd name="connsiteX171" fmla="*/ 381687 w 1573156"/>
                <a:gd name="connsiteY171" fmla="*/ 2581561 h 3837710"/>
                <a:gd name="connsiteX172" fmla="*/ 414939 w 1573156"/>
                <a:gd name="connsiteY172" fmla="*/ 2563461 h 3837710"/>
                <a:gd name="connsiteX173" fmla="*/ 412168 w 1573156"/>
                <a:gd name="connsiteY173" fmla="*/ 2537603 h 3837710"/>
                <a:gd name="connsiteX174" fmla="*/ 362289 w 1573156"/>
                <a:gd name="connsiteY174" fmla="*/ 2501404 h 3837710"/>
                <a:gd name="connsiteX175" fmla="*/ 338946 w 1573156"/>
                <a:gd name="connsiteY175" fmla="*/ 2513491 h 3837710"/>
                <a:gd name="connsiteX176" fmla="*/ 340121 w 1573156"/>
                <a:gd name="connsiteY176" fmla="*/ 2467790 h 3837710"/>
                <a:gd name="connsiteX177" fmla="*/ 306869 w 1573156"/>
                <a:gd name="connsiteY177" fmla="*/ 2429005 h 3837710"/>
                <a:gd name="connsiteX178" fmla="*/ 309641 w 1573156"/>
                <a:gd name="connsiteY178" fmla="*/ 2351433 h 3837710"/>
                <a:gd name="connsiteX179" fmla="*/ 290243 w 1573156"/>
                <a:gd name="connsiteY179" fmla="*/ 2299720 h 3837710"/>
                <a:gd name="connsiteX180" fmla="*/ 256991 w 1573156"/>
                <a:gd name="connsiteY180" fmla="*/ 2266106 h 3837710"/>
                <a:gd name="connsiteX181" fmla="*/ 218196 w 1573156"/>
                <a:gd name="connsiteY181" fmla="*/ 2242835 h 3837710"/>
                <a:gd name="connsiteX182" fmla="*/ 176631 w 1573156"/>
                <a:gd name="connsiteY182" fmla="*/ 2250592 h 3837710"/>
                <a:gd name="connsiteX183" fmla="*/ 122255 w 1573156"/>
                <a:gd name="connsiteY183" fmla="*/ 2214066 h 3837710"/>
                <a:gd name="connsiteX0" fmla="*/ 122255 w 1573156"/>
                <a:gd name="connsiteY0" fmla="*/ 2214066 h 3837710"/>
                <a:gd name="connsiteX1" fmla="*/ 63018 w 1573156"/>
                <a:gd name="connsiteY1" fmla="*/ 2216977 h 3837710"/>
                <a:gd name="connsiteX2" fmla="*/ 60248 w 1573156"/>
                <a:gd name="connsiteY2" fmla="*/ 2118721 h 3837710"/>
                <a:gd name="connsiteX3" fmla="*/ 71333 w 1573156"/>
                <a:gd name="connsiteY3" fmla="*/ 2077350 h 3837710"/>
                <a:gd name="connsiteX4" fmla="*/ 74102 w 1573156"/>
                <a:gd name="connsiteY4" fmla="*/ 2030807 h 3837710"/>
                <a:gd name="connsiteX5" fmla="*/ 76875 w 1573156"/>
                <a:gd name="connsiteY5" fmla="*/ 2020467 h 3837710"/>
                <a:gd name="connsiteX6" fmla="*/ 118439 w 1573156"/>
                <a:gd name="connsiteY6" fmla="*/ 1992023 h 3837710"/>
                <a:gd name="connsiteX7" fmla="*/ 82416 w 1573156"/>
                <a:gd name="connsiteY7" fmla="*/ 1963580 h 3837710"/>
                <a:gd name="connsiteX8" fmla="*/ 51935 w 1573156"/>
                <a:gd name="connsiteY8" fmla="*/ 1927380 h 3837710"/>
                <a:gd name="connsiteX9" fmla="*/ 40850 w 1573156"/>
                <a:gd name="connsiteY9" fmla="*/ 1893766 h 3837710"/>
                <a:gd name="connsiteX10" fmla="*/ 43621 w 1573156"/>
                <a:gd name="connsiteY10" fmla="*/ 1844639 h 3837710"/>
                <a:gd name="connsiteX11" fmla="*/ 82416 w 1573156"/>
                <a:gd name="connsiteY11" fmla="*/ 1826538 h 3837710"/>
                <a:gd name="connsiteX12" fmla="*/ 112899 w 1573156"/>
                <a:gd name="connsiteY12" fmla="*/ 1782581 h 3837710"/>
                <a:gd name="connsiteX13" fmla="*/ 96271 w 1573156"/>
                <a:gd name="connsiteY13" fmla="*/ 1754138 h 3837710"/>
                <a:gd name="connsiteX14" fmla="*/ 40851 w 1573156"/>
                <a:gd name="connsiteY14" fmla="*/ 1746381 h 3837710"/>
                <a:gd name="connsiteX15" fmla="*/ 2057 w 1573156"/>
                <a:gd name="connsiteY15" fmla="*/ 1730867 h 3837710"/>
                <a:gd name="connsiteX16" fmla="*/ 38079 w 1573156"/>
                <a:gd name="connsiteY16" fmla="*/ 1689496 h 3837710"/>
                <a:gd name="connsiteX17" fmla="*/ 18683 w 1573156"/>
                <a:gd name="connsiteY17" fmla="*/ 1679153 h 3837710"/>
                <a:gd name="connsiteX18" fmla="*/ 2055 w 1573156"/>
                <a:gd name="connsiteY18" fmla="*/ 1640367 h 3837710"/>
                <a:gd name="connsiteX19" fmla="*/ 65790 w 1573156"/>
                <a:gd name="connsiteY19" fmla="*/ 1650711 h 3837710"/>
                <a:gd name="connsiteX20" fmla="*/ 93501 w 1573156"/>
                <a:gd name="connsiteY20" fmla="*/ 1627440 h 3837710"/>
                <a:gd name="connsiteX21" fmla="*/ 187716 w 1573156"/>
                <a:gd name="connsiteY21" fmla="*/ 1536941 h 3837710"/>
                <a:gd name="connsiteX22" fmla="*/ 212655 w 1573156"/>
                <a:gd name="connsiteY22" fmla="*/ 1505912 h 3837710"/>
                <a:gd name="connsiteX23" fmla="*/ 198801 w 1573156"/>
                <a:gd name="connsiteY23" fmla="*/ 1555040 h 3837710"/>
                <a:gd name="connsiteX24" fmla="*/ 218197 w 1573156"/>
                <a:gd name="connsiteY24" fmla="*/ 1588655 h 3837710"/>
                <a:gd name="connsiteX25" fmla="*/ 262534 w 1573156"/>
                <a:gd name="connsiteY25" fmla="*/ 1666225 h 3837710"/>
                <a:gd name="connsiteX26" fmla="*/ 331810 w 1573156"/>
                <a:gd name="connsiteY26" fmla="*/ 1653297 h 3837710"/>
                <a:gd name="connsiteX27" fmla="*/ 351206 w 1573156"/>
                <a:gd name="connsiteY27" fmla="*/ 1622268 h 3837710"/>
                <a:gd name="connsiteX28" fmla="*/ 365062 w 1573156"/>
                <a:gd name="connsiteY28" fmla="*/ 1557627 h 3837710"/>
                <a:gd name="connsiteX29" fmla="*/ 304099 w 1573156"/>
                <a:gd name="connsiteY29" fmla="*/ 1511084 h 3837710"/>
                <a:gd name="connsiteX30" fmla="*/ 259763 w 1573156"/>
                <a:gd name="connsiteY30" fmla="*/ 1485227 h 3837710"/>
                <a:gd name="connsiteX31" fmla="*/ 198801 w 1573156"/>
                <a:gd name="connsiteY31" fmla="*/ 1495570 h 3837710"/>
                <a:gd name="connsiteX32" fmla="*/ 376147 w 1573156"/>
                <a:gd name="connsiteY32" fmla="*/ 1299057 h 3837710"/>
                <a:gd name="connsiteX33" fmla="*/ 223740 w 1573156"/>
                <a:gd name="connsiteY33" fmla="*/ 1151672 h 3837710"/>
                <a:gd name="connsiteX34" fmla="*/ 284703 w 1573156"/>
                <a:gd name="connsiteY34" fmla="*/ 1089617 h 3837710"/>
                <a:gd name="connsiteX35" fmla="*/ 218198 w 1573156"/>
                <a:gd name="connsiteY35" fmla="*/ 1050829 h 3837710"/>
                <a:gd name="connsiteX36" fmla="*/ 259763 w 1573156"/>
                <a:gd name="connsiteY36" fmla="*/ 1019802 h 3837710"/>
                <a:gd name="connsiteX37" fmla="*/ 212657 w 1573156"/>
                <a:gd name="connsiteY37" fmla="*/ 993947 h 3837710"/>
                <a:gd name="connsiteX38" fmla="*/ 212656 w 1573156"/>
                <a:gd name="connsiteY38" fmla="*/ 794845 h 3837710"/>
                <a:gd name="connsiteX39" fmla="*/ 251451 w 1573156"/>
                <a:gd name="connsiteY39" fmla="*/ 779332 h 3837710"/>
                <a:gd name="connsiteX40" fmla="*/ 137838 w 1573156"/>
                <a:gd name="connsiteY40" fmla="*/ 551792 h 3837710"/>
                <a:gd name="connsiteX41" fmla="*/ 135067 w 1573156"/>
                <a:gd name="connsiteY41" fmla="*/ 551792 h 3837710"/>
                <a:gd name="connsiteX42" fmla="*/ 184945 w 1573156"/>
                <a:gd name="connsiteY42" fmla="*/ 469048 h 3837710"/>
                <a:gd name="connsiteX43" fmla="*/ 201571 w 1573156"/>
                <a:gd name="connsiteY43" fmla="*/ 378550 h 3837710"/>
                <a:gd name="connsiteX44" fmla="*/ 126752 w 1573156"/>
                <a:gd name="connsiteY44" fmla="*/ 319079 h 3837710"/>
                <a:gd name="connsiteX45" fmla="*/ 118440 w 1573156"/>
                <a:gd name="connsiteY45" fmla="*/ 251851 h 3837710"/>
                <a:gd name="connsiteX46" fmla="*/ 173860 w 1573156"/>
                <a:gd name="connsiteY46" fmla="*/ 158764 h 3837710"/>
                <a:gd name="connsiteX47" fmla="*/ 193258 w 1573156"/>
                <a:gd name="connsiteY47" fmla="*/ 135494 h 3837710"/>
                <a:gd name="connsiteX48" fmla="*/ 207113 w 1573156"/>
                <a:gd name="connsiteY48" fmla="*/ 117394 h 3837710"/>
                <a:gd name="connsiteX49" fmla="*/ 215426 w 1573156"/>
                <a:gd name="connsiteY49" fmla="*/ 73438 h 3837710"/>
                <a:gd name="connsiteX50" fmla="*/ 240365 w 1573156"/>
                <a:gd name="connsiteY50" fmla="*/ 101880 h 3837710"/>
                <a:gd name="connsiteX51" fmla="*/ 270847 w 1573156"/>
                <a:gd name="connsiteY51" fmla="*/ 88952 h 3837710"/>
                <a:gd name="connsiteX52" fmla="*/ 273617 w 1573156"/>
                <a:gd name="connsiteY52" fmla="*/ 63095 h 3837710"/>
                <a:gd name="connsiteX53" fmla="*/ 281931 w 1573156"/>
                <a:gd name="connsiteY53" fmla="*/ 34652 h 3837710"/>
                <a:gd name="connsiteX54" fmla="*/ 284703 w 1573156"/>
                <a:gd name="connsiteY54" fmla="*/ 3624 h 3837710"/>
                <a:gd name="connsiteX55" fmla="*/ 420483 w 1573156"/>
                <a:gd name="connsiteY55" fmla="*/ 57924 h 3837710"/>
                <a:gd name="connsiteX56" fmla="*/ 450963 w 1573156"/>
                <a:gd name="connsiteY56" fmla="*/ 161352 h 3837710"/>
                <a:gd name="connsiteX57" fmla="*/ 464819 w 1573156"/>
                <a:gd name="connsiteY57" fmla="*/ 184622 h 3837710"/>
                <a:gd name="connsiteX58" fmla="*/ 475903 w 1573156"/>
                <a:gd name="connsiteY58" fmla="*/ 187208 h 3837710"/>
                <a:gd name="connsiteX59" fmla="*/ 589515 w 1573156"/>
                <a:gd name="connsiteY59" fmla="*/ 156181 h 3837710"/>
                <a:gd name="connsiteX60" fmla="*/ 656020 w 1573156"/>
                <a:gd name="connsiteY60" fmla="*/ 166522 h 3837710"/>
                <a:gd name="connsiteX61" fmla="*/ 719754 w 1573156"/>
                <a:gd name="connsiteY61" fmla="*/ 213065 h 3837710"/>
                <a:gd name="connsiteX62" fmla="*/ 733781 w 1573156"/>
                <a:gd name="connsiteY62" fmla="*/ 242621 h 3837710"/>
                <a:gd name="connsiteX63" fmla="*/ 789028 w 1573156"/>
                <a:gd name="connsiteY63" fmla="*/ 277708 h 3837710"/>
                <a:gd name="connsiteX64" fmla="*/ 877702 w 1573156"/>
                <a:gd name="connsiteY64" fmla="*/ 303563 h 3837710"/>
                <a:gd name="connsiteX65" fmla="*/ 949748 w 1573156"/>
                <a:gd name="connsiteY65" fmla="*/ 350106 h 3837710"/>
                <a:gd name="connsiteX66" fmla="*/ 999627 w 1573156"/>
                <a:gd name="connsiteY66" fmla="*/ 401820 h 3837710"/>
                <a:gd name="connsiteX67" fmla="*/ 1024566 w 1573156"/>
                <a:gd name="connsiteY67" fmla="*/ 440606 h 3837710"/>
                <a:gd name="connsiteX68" fmla="*/ 1057819 w 1573156"/>
                <a:gd name="connsiteY68" fmla="*/ 466462 h 3837710"/>
                <a:gd name="connsiteX69" fmla="*/ 1041191 w 1573156"/>
                <a:gd name="connsiteY69" fmla="*/ 691417 h 3837710"/>
                <a:gd name="connsiteX70" fmla="*/ 913725 w 1573156"/>
                <a:gd name="connsiteY70" fmla="*/ 771575 h 3837710"/>
                <a:gd name="connsiteX71" fmla="*/ 800113 w 1573156"/>
                <a:gd name="connsiteY71" fmla="*/ 779331 h 3837710"/>
                <a:gd name="connsiteX72" fmla="*/ 661560 w 1573156"/>
                <a:gd name="connsiteY72" fmla="*/ 758645 h 3837710"/>
                <a:gd name="connsiteX73" fmla="*/ 570116 w 1573156"/>
                <a:gd name="connsiteY73" fmla="*/ 722445 h 3837710"/>
                <a:gd name="connsiteX74" fmla="*/ 550719 w 1573156"/>
                <a:gd name="connsiteY74" fmla="*/ 750888 h 3837710"/>
                <a:gd name="connsiteX75" fmla="*/ 581361 w 1573156"/>
                <a:gd name="connsiteY75" fmla="*/ 824301 h 3837710"/>
                <a:gd name="connsiteX76" fmla="*/ 586902 w 1573156"/>
                <a:gd name="connsiteY76" fmla="*/ 951000 h 3837710"/>
                <a:gd name="connsiteX77" fmla="*/ 559032 w 1573156"/>
                <a:gd name="connsiteY77" fmla="*/ 1012043 h 3837710"/>
                <a:gd name="connsiteX78" fmla="*/ 614451 w 1573156"/>
                <a:gd name="connsiteY78" fmla="*/ 1032728 h 3837710"/>
                <a:gd name="connsiteX79" fmla="*/ 631079 w 1573156"/>
                <a:gd name="connsiteY79" fmla="*/ 1048242 h 3837710"/>
                <a:gd name="connsiteX80" fmla="*/ 656019 w 1573156"/>
                <a:gd name="connsiteY80" fmla="*/ 1074099 h 3837710"/>
                <a:gd name="connsiteX81" fmla="*/ 653248 w 1573156"/>
                <a:gd name="connsiteY81" fmla="*/ 1076685 h 3837710"/>
                <a:gd name="connsiteX82" fmla="*/ 692041 w 1573156"/>
                <a:gd name="connsiteY82" fmla="*/ 1071514 h 3837710"/>
                <a:gd name="connsiteX83" fmla="*/ 700355 w 1573156"/>
                <a:gd name="connsiteY83" fmla="*/ 1035314 h 3837710"/>
                <a:gd name="connsiteX84" fmla="*/ 661560 w 1573156"/>
                <a:gd name="connsiteY84" fmla="*/ 957743 h 3837710"/>
                <a:gd name="connsiteX85" fmla="*/ 730836 w 1573156"/>
                <a:gd name="connsiteY85" fmla="*/ 911200 h 3837710"/>
                <a:gd name="connsiteX86" fmla="*/ 798608 w 1573156"/>
                <a:gd name="connsiteY86" fmla="*/ 918934 h 3837710"/>
                <a:gd name="connsiteX87" fmla="*/ 822441 w 1573156"/>
                <a:gd name="connsiteY87" fmla="*/ 951001 h 3837710"/>
                <a:gd name="connsiteX88" fmla="*/ 978170 w 1573156"/>
                <a:gd name="connsiteY88" fmla="*/ 1007364 h 3837710"/>
                <a:gd name="connsiteX89" fmla="*/ 963762 w 1573156"/>
                <a:gd name="connsiteY89" fmla="*/ 971687 h 3837710"/>
                <a:gd name="connsiteX90" fmla="*/ 930510 w 1573156"/>
                <a:gd name="connsiteY90" fmla="*/ 932901 h 3837710"/>
                <a:gd name="connsiteX91" fmla="*/ 919426 w 1573156"/>
                <a:gd name="connsiteY91" fmla="*/ 881187 h 3837710"/>
                <a:gd name="connsiteX92" fmla="*/ 958221 w 1573156"/>
                <a:gd name="connsiteY92" fmla="*/ 832060 h 3837710"/>
                <a:gd name="connsiteX93" fmla="*/ 985931 w 1573156"/>
                <a:gd name="connsiteY93" fmla="*/ 803617 h 3837710"/>
                <a:gd name="connsiteX94" fmla="*/ 1010871 w 1573156"/>
                <a:gd name="connsiteY94" fmla="*/ 767417 h 3837710"/>
                <a:gd name="connsiteX95" fmla="*/ 1091231 w 1573156"/>
                <a:gd name="connsiteY95" fmla="*/ 762245 h 3837710"/>
                <a:gd name="connsiteX96" fmla="*/ 1096772 w 1573156"/>
                <a:gd name="connsiteY96" fmla="*/ 741560 h 3837710"/>
                <a:gd name="connsiteX97" fmla="*/ 1121712 w 1573156"/>
                <a:gd name="connsiteY97" fmla="*/ 705360 h 3837710"/>
                <a:gd name="connsiteX98" fmla="*/ 1155516 w 1573156"/>
                <a:gd name="connsiteY98" fmla="*/ 687772 h 3837710"/>
                <a:gd name="connsiteX99" fmla="*/ 1213156 w 1573156"/>
                <a:gd name="connsiteY99" fmla="*/ 700189 h 3837710"/>
                <a:gd name="connsiteX100" fmla="*/ 1251949 w 1573156"/>
                <a:gd name="connsiteY100" fmla="*/ 720875 h 3837710"/>
                <a:gd name="connsiteX101" fmla="*/ 1299057 w 1573156"/>
                <a:gd name="connsiteY101" fmla="*/ 728632 h 3837710"/>
                <a:gd name="connsiteX102" fmla="*/ 1299057 w 1573156"/>
                <a:gd name="connsiteY102" fmla="*/ 733803 h 3837710"/>
                <a:gd name="connsiteX103" fmla="*/ 1321226 w 1573156"/>
                <a:gd name="connsiteY103" fmla="*/ 674332 h 3837710"/>
                <a:gd name="connsiteX104" fmla="*/ 1331201 w 1573156"/>
                <a:gd name="connsiteY104" fmla="*/ 640714 h 3837710"/>
                <a:gd name="connsiteX105" fmla="*/ 1337852 w 1573156"/>
                <a:gd name="connsiteY105" fmla="*/ 622618 h 3837710"/>
                <a:gd name="connsiteX106" fmla="*/ 1340789 w 1573156"/>
                <a:gd name="connsiteY106" fmla="*/ 591288 h 3837710"/>
                <a:gd name="connsiteX107" fmla="*/ 1260263 w 1573156"/>
                <a:gd name="connsiteY107" fmla="*/ 545048 h 3837710"/>
                <a:gd name="connsiteX108" fmla="*/ 1246408 w 1573156"/>
                <a:gd name="connsiteY108" fmla="*/ 472648 h 3837710"/>
                <a:gd name="connsiteX109" fmla="*/ 1246408 w 1573156"/>
                <a:gd name="connsiteY109" fmla="*/ 454548 h 3837710"/>
                <a:gd name="connsiteX110" fmla="*/ 1257491 w 1573156"/>
                <a:gd name="connsiteY110" fmla="*/ 431276 h 3837710"/>
                <a:gd name="connsiteX111" fmla="*/ 1260263 w 1573156"/>
                <a:gd name="connsiteY111" fmla="*/ 415762 h 3837710"/>
                <a:gd name="connsiteX112" fmla="*/ 1260262 w 1573156"/>
                <a:gd name="connsiteY112" fmla="*/ 358878 h 3837710"/>
                <a:gd name="connsiteX113" fmla="*/ 1238094 w 1573156"/>
                <a:gd name="connsiteY113" fmla="*/ 335607 h 3837710"/>
                <a:gd name="connsiteX114" fmla="*/ 1210384 w 1573156"/>
                <a:gd name="connsiteY114" fmla="*/ 304578 h 3837710"/>
                <a:gd name="connsiteX115" fmla="*/ 1206216 w 1573156"/>
                <a:gd name="connsiteY115" fmla="*/ 280325 h 3837710"/>
                <a:gd name="connsiteX116" fmla="*/ 1257492 w 1573156"/>
                <a:gd name="connsiteY116" fmla="*/ 258034 h 3837710"/>
                <a:gd name="connsiteX117" fmla="*/ 1311072 w 1573156"/>
                <a:gd name="connsiteY117" fmla="*/ 267906 h 3837710"/>
                <a:gd name="connsiteX118" fmla="*/ 1389856 w 1573156"/>
                <a:gd name="connsiteY118" fmla="*/ 279816 h 3837710"/>
                <a:gd name="connsiteX119" fmla="*/ 1474179 w 1573156"/>
                <a:gd name="connsiteY119" fmla="*/ 349175 h 3837710"/>
                <a:gd name="connsiteX120" fmla="*/ 1536314 w 1573156"/>
                <a:gd name="connsiteY120" fmla="*/ 425271 h 3837710"/>
                <a:gd name="connsiteX121" fmla="*/ 1435343 w 1573156"/>
                <a:gd name="connsiteY121" fmla="*/ 454265 h 3837710"/>
                <a:gd name="connsiteX122" fmla="*/ 1419809 w 1573156"/>
                <a:gd name="connsiteY122" fmla="*/ 501372 h 3837710"/>
                <a:gd name="connsiteX123" fmla="*/ 1477479 w 1573156"/>
                <a:gd name="connsiteY123" fmla="*/ 585862 h 3837710"/>
                <a:gd name="connsiteX124" fmla="*/ 1513013 w 1573156"/>
                <a:gd name="connsiteY124" fmla="*/ 591964 h 3837710"/>
                <a:gd name="connsiteX125" fmla="*/ 1565633 w 1573156"/>
                <a:gd name="connsiteY125" fmla="*/ 598304 h 3837710"/>
                <a:gd name="connsiteX126" fmla="*/ 1560670 w 1573156"/>
                <a:gd name="connsiteY126" fmla="*/ 709079 h 3837710"/>
                <a:gd name="connsiteX127" fmla="*/ 1571739 w 1573156"/>
                <a:gd name="connsiteY127" fmla="*/ 1040047 h 3837710"/>
                <a:gd name="connsiteX128" fmla="*/ 1562871 w 1573156"/>
                <a:gd name="connsiteY128" fmla="*/ 1842646 h 3837710"/>
                <a:gd name="connsiteX129" fmla="*/ 1571738 w 1573156"/>
                <a:gd name="connsiteY129" fmla="*/ 2297728 h 3837710"/>
                <a:gd name="connsiteX130" fmla="*/ 1559146 w 1573156"/>
                <a:gd name="connsiteY130" fmla="*/ 3716291 h 3837710"/>
                <a:gd name="connsiteX131" fmla="*/ 1556603 w 1573156"/>
                <a:gd name="connsiteY131" fmla="*/ 3758050 h 3837710"/>
                <a:gd name="connsiteX132" fmla="*/ 1545518 w 1573156"/>
                <a:gd name="connsiteY132" fmla="*/ 3688238 h 3837710"/>
                <a:gd name="connsiteX133" fmla="*/ 1490099 w 1573156"/>
                <a:gd name="connsiteY133" fmla="*/ 3675307 h 3837710"/>
                <a:gd name="connsiteX134" fmla="*/ 1357089 w 1573156"/>
                <a:gd name="connsiteY134" fmla="*/ 3662380 h 3837710"/>
                <a:gd name="connsiteX135" fmla="*/ 1343234 w 1573156"/>
                <a:gd name="connsiteY135" fmla="*/ 3631352 h 3837710"/>
                <a:gd name="connsiteX136" fmla="*/ 1195420 w 1573156"/>
                <a:gd name="connsiteY136" fmla="*/ 3605469 h 3837710"/>
                <a:gd name="connsiteX137" fmla="*/ 1013482 w 1573156"/>
                <a:gd name="connsiteY137" fmla="*/ 3592567 h 3837710"/>
                <a:gd name="connsiteX138" fmla="*/ 1123928 w 1573156"/>
                <a:gd name="connsiteY138" fmla="*/ 3663387 h 3837710"/>
                <a:gd name="connsiteX139" fmla="*/ 907787 w 1573156"/>
                <a:gd name="connsiteY139" fmla="*/ 3629257 h 3837710"/>
                <a:gd name="connsiteX140" fmla="*/ 776238 w 1573156"/>
                <a:gd name="connsiteY140" fmla="*/ 3504783 h 3837710"/>
                <a:gd name="connsiteX141" fmla="*/ 708669 w 1573156"/>
                <a:gd name="connsiteY141" fmla="*/ 3437426 h 3837710"/>
                <a:gd name="connsiteX142" fmla="*/ 739150 w 1573156"/>
                <a:gd name="connsiteY142" fmla="*/ 3437426 h 3837710"/>
                <a:gd name="connsiteX143" fmla="*/ 750233 w 1573156"/>
                <a:gd name="connsiteY143" fmla="*/ 3408982 h 3837710"/>
                <a:gd name="connsiteX144" fmla="*/ 783486 w 1573156"/>
                <a:gd name="connsiteY144" fmla="*/ 3354683 h 3837710"/>
                <a:gd name="connsiteX145" fmla="*/ 747462 w 1573156"/>
                <a:gd name="connsiteY145" fmla="*/ 3297798 h 3837710"/>
                <a:gd name="connsiteX146" fmla="*/ 836135 w 1573156"/>
                <a:gd name="connsiteY146" fmla="*/ 3225398 h 3837710"/>
                <a:gd name="connsiteX147" fmla="*/ 902641 w 1573156"/>
                <a:gd name="connsiteY147" fmla="*/ 3217642 h 3837710"/>
                <a:gd name="connsiteX148" fmla="*/ 955289 w 1573156"/>
                <a:gd name="connsiteY148" fmla="*/ 3160756 h 3837710"/>
                <a:gd name="connsiteX149" fmla="*/ 1024565 w 1573156"/>
                <a:gd name="connsiteY149" fmla="*/ 3114213 h 3837710"/>
                <a:gd name="connsiteX150" fmla="*/ 1019023 w 1573156"/>
                <a:gd name="connsiteY150" fmla="*/ 3067671 h 3837710"/>
                <a:gd name="connsiteX151" fmla="*/ 1043963 w 1573156"/>
                <a:gd name="connsiteY151" fmla="*/ 3028886 h 3837710"/>
                <a:gd name="connsiteX152" fmla="*/ 1016252 w 1573156"/>
                <a:gd name="connsiteY152" fmla="*/ 3026300 h 3837710"/>
                <a:gd name="connsiteX153" fmla="*/ 1031704 w 1573156"/>
                <a:gd name="connsiteY153" fmla="*/ 2992878 h 3837710"/>
                <a:gd name="connsiteX154" fmla="*/ 914211 w 1573156"/>
                <a:gd name="connsiteY154" fmla="*/ 2928233 h 3837710"/>
                <a:gd name="connsiteX155" fmla="*/ 858304 w 1573156"/>
                <a:gd name="connsiteY155" fmla="*/ 2909943 h 3837710"/>
                <a:gd name="connsiteX156" fmla="*/ 827823 w 1573156"/>
                <a:gd name="connsiteY156" fmla="*/ 2881501 h 3837710"/>
                <a:gd name="connsiteX157" fmla="*/ 761317 w 1573156"/>
                <a:gd name="connsiteY157" fmla="*/ 2897015 h 3837710"/>
                <a:gd name="connsiteX158" fmla="*/ 700355 w 1573156"/>
                <a:gd name="connsiteY158" fmla="*/ 2891844 h 3837710"/>
                <a:gd name="connsiteX159" fmla="*/ 658790 w 1573156"/>
                <a:gd name="connsiteY159" fmla="*/ 2827201 h 3837710"/>
                <a:gd name="connsiteX160" fmla="*/ 656019 w 1573156"/>
                <a:gd name="connsiteY160" fmla="*/ 2785830 h 3837710"/>
                <a:gd name="connsiteX161" fmla="*/ 631080 w 1573156"/>
                <a:gd name="connsiteY161" fmla="*/ 2772902 h 3837710"/>
                <a:gd name="connsiteX162" fmla="*/ 567346 w 1573156"/>
                <a:gd name="connsiteY162" fmla="*/ 2759974 h 3837710"/>
                <a:gd name="connsiteX163" fmla="*/ 586743 w 1573156"/>
                <a:gd name="connsiteY163" fmla="*/ 2721188 h 3837710"/>
                <a:gd name="connsiteX164" fmla="*/ 557777 w 1573156"/>
                <a:gd name="connsiteY164" fmla="*/ 2715007 h 3837710"/>
                <a:gd name="connsiteX165" fmla="*/ 531809 w 1573156"/>
                <a:gd name="connsiteY165" fmla="*/ 2672771 h 3837710"/>
                <a:gd name="connsiteX166" fmla="*/ 414939 w 1573156"/>
                <a:gd name="connsiteY166" fmla="*/ 2682402 h 3837710"/>
                <a:gd name="connsiteX167" fmla="*/ 390000 w 1573156"/>
                <a:gd name="connsiteY167" fmla="*/ 2672059 h 3837710"/>
                <a:gd name="connsiteX168" fmla="*/ 367832 w 1573156"/>
                <a:gd name="connsiteY168" fmla="*/ 2684989 h 3837710"/>
                <a:gd name="connsiteX169" fmla="*/ 351205 w 1573156"/>
                <a:gd name="connsiteY169" fmla="*/ 2622932 h 3837710"/>
                <a:gd name="connsiteX170" fmla="*/ 340121 w 1573156"/>
                <a:gd name="connsiteY170" fmla="*/ 2597075 h 3837710"/>
                <a:gd name="connsiteX171" fmla="*/ 353976 w 1573156"/>
                <a:gd name="connsiteY171" fmla="*/ 2578974 h 3837710"/>
                <a:gd name="connsiteX172" fmla="*/ 381687 w 1573156"/>
                <a:gd name="connsiteY172" fmla="*/ 2581561 h 3837710"/>
                <a:gd name="connsiteX173" fmla="*/ 414939 w 1573156"/>
                <a:gd name="connsiteY173" fmla="*/ 2563461 h 3837710"/>
                <a:gd name="connsiteX174" fmla="*/ 412168 w 1573156"/>
                <a:gd name="connsiteY174" fmla="*/ 2537603 h 3837710"/>
                <a:gd name="connsiteX175" fmla="*/ 362289 w 1573156"/>
                <a:gd name="connsiteY175" fmla="*/ 2501404 h 3837710"/>
                <a:gd name="connsiteX176" fmla="*/ 338946 w 1573156"/>
                <a:gd name="connsiteY176" fmla="*/ 2513491 h 3837710"/>
                <a:gd name="connsiteX177" fmla="*/ 340121 w 1573156"/>
                <a:gd name="connsiteY177" fmla="*/ 2467790 h 3837710"/>
                <a:gd name="connsiteX178" fmla="*/ 306869 w 1573156"/>
                <a:gd name="connsiteY178" fmla="*/ 2429005 h 3837710"/>
                <a:gd name="connsiteX179" fmla="*/ 309641 w 1573156"/>
                <a:gd name="connsiteY179" fmla="*/ 2351433 h 3837710"/>
                <a:gd name="connsiteX180" fmla="*/ 290243 w 1573156"/>
                <a:gd name="connsiteY180" fmla="*/ 2299720 h 3837710"/>
                <a:gd name="connsiteX181" fmla="*/ 256991 w 1573156"/>
                <a:gd name="connsiteY181" fmla="*/ 2266106 h 3837710"/>
                <a:gd name="connsiteX182" fmla="*/ 218196 w 1573156"/>
                <a:gd name="connsiteY182" fmla="*/ 2242835 h 3837710"/>
                <a:gd name="connsiteX183" fmla="*/ 176631 w 1573156"/>
                <a:gd name="connsiteY183" fmla="*/ 2250592 h 3837710"/>
                <a:gd name="connsiteX184" fmla="*/ 122255 w 1573156"/>
                <a:gd name="connsiteY184" fmla="*/ 2214066 h 3837710"/>
                <a:gd name="connsiteX0" fmla="*/ 122255 w 1573156"/>
                <a:gd name="connsiteY0" fmla="*/ 2214066 h 3837710"/>
                <a:gd name="connsiteX1" fmla="*/ 63018 w 1573156"/>
                <a:gd name="connsiteY1" fmla="*/ 2216977 h 3837710"/>
                <a:gd name="connsiteX2" fmla="*/ 60248 w 1573156"/>
                <a:gd name="connsiteY2" fmla="*/ 2118721 h 3837710"/>
                <a:gd name="connsiteX3" fmla="*/ 71333 w 1573156"/>
                <a:gd name="connsiteY3" fmla="*/ 2077350 h 3837710"/>
                <a:gd name="connsiteX4" fmla="*/ 74102 w 1573156"/>
                <a:gd name="connsiteY4" fmla="*/ 2030807 h 3837710"/>
                <a:gd name="connsiteX5" fmla="*/ 76875 w 1573156"/>
                <a:gd name="connsiteY5" fmla="*/ 2020467 h 3837710"/>
                <a:gd name="connsiteX6" fmla="*/ 118439 w 1573156"/>
                <a:gd name="connsiteY6" fmla="*/ 1992023 h 3837710"/>
                <a:gd name="connsiteX7" fmla="*/ 82416 w 1573156"/>
                <a:gd name="connsiteY7" fmla="*/ 1963580 h 3837710"/>
                <a:gd name="connsiteX8" fmla="*/ 51935 w 1573156"/>
                <a:gd name="connsiteY8" fmla="*/ 1927380 h 3837710"/>
                <a:gd name="connsiteX9" fmla="*/ 40850 w 1573156"/>
                <a:gd name="connsiteY9" fmla="*/ 1893766 h 3837710"/>
                <a:gd name="connsiteX10" fmla="*/ 43621 w 1573156"/>
                <a:gd name="connsiteY10" fmla="*/ 1844639 h 3837710"/>
                <a:gd name="connsiteX11" fmla="*/ 82416 w 1573156"/>
                <a:gd name="connsiteY11" fmla="*/ 1826538 h 3837710"/>
                <a:gd name="connsiteX12" fmla="*/ 112899 w 1573156"/>
                <a:gd name="connsiteY12" fmla="*/ 1782581 h 3837710"/>
                <a:gd name="connsiteX13" fmla="*/ 96271 w 1573156"/>
                <a:gd name="connsiteY13" fmla="*/ 1754138 h 3837710"/>
                <a:gd name="connsiteX14" fmla="*/ 40851 w 1573156"/>
                <a:gd name="connsiteY14" fmla="*/ 1746381 h 3837710"/>
                <a:gd name="connsiteX15" fmla="*/ 2057 w 1573156"/>
                <a:gd name="connsiteY15" fmla="*/ 1730867 h 3837710"/>
                <a:gd name="connsiteX16" fmla="*/ 38079 w 1573156"/>
                <a:gd name="connsiteY16" fmla="*/ 1689496 h 3837710"/>
                <a:gd name="connsiteX17" fmla="*/ 18683 w 1573156"/>
                <a:gd name="connsiteY17" fmla="*/ 1679153 h 3837710"/>
                <a:gd name="connsiteX18" fmla="*/ 2055 w 1573156"/>
                <a:gd name="connsiteY18" fmla="*/ 1640367 h 3837710"/>
                <a:gd name="connsiteX19" fmla="*/ 65790 w 1573156"/>
                <a:gd name="connsiteY19" fmla="*/ 1650711 h 3837710"/>
                <a:gd name="connsiteX20" fmla="*/ 93501 w 1573156"/>
                <a:gd name="connsiteY20" fmla="*/ 1627440 h 3837710"/>
                <a:gd name="connsiteX21" fmla="*/ 187716 w 1573156"/>
                <a:gd name="connsiteY21" fmla="*/ 1536941 h 3837710"/>
                <a:gd name="connsiteX22" fmla="*/ 212655 w 1573156"/>
                <a:gd name="connsiteY22" fmla="*/ 1505912 h 3837710"/>
                <a:gd name="connsiteX23" fmla="*/ 198801 w 1573156"/>
                <a:gd name="connsiteY23" fmla="*/ 1555040 h 3837710"/>
                <a:gd name="connsiteX24" fmla="*/ 218197 w 1573156"/>
                <a:gd name="connsiteY24" fmla="*/ 1588655 h 3837710"/>
                <a:gd name="connsiteX25" fmla="*/ 262534 w 1573156"/>
                <a:gd name="connsiteY25" fmla="*/ 1666225 h 3837710"/>
                <a:gd name="connsiteX26" fmla="*/ 331810 w 1573156"/>
                <a:gd name="connsiteY26" fmla="*/ 1653297 h 3837710"/>
                <a:gd name="connsiteX27" fmla="*/ 351206 w 1573156"/>
                <a:gd name="connsiteY27" fmla="*/ 1622268 h 3837710"/>
                <a:gd name="connsiteX28" fmla="*/ 365062 w 1573156"/>
                <a:gd name="connsiteY28" fmla="*/ 1557627 h 3837710"/>
                <a:gd name="connsiteX29" fmla="*/ 304099 w 1573156"/>
                <a:gd name="connsiteY29" fmla="*/ 1511084 h 3837710"/>
                <a:gd name="connsiteX30" fmla="*/ 259763 w 1573156"/>
                <a:gd name="connsiteY30" fmla="*/ 1485227 h 3837710"/>
                <a:gd name="connsiteX31" fmla="*/ 198801 w 1573156"/>
                <a:gd name="connsiteY31" fmla="*/ 1495570 h 3837710"/>
                <a:gd name="connsiteX32" fmla="*/ 376147 w 1573156"/>
                <a:gd name="connsiteY32" fmla="*/ 1299057 h 3837710"/>
                <a:gd name="connsiteX33" fmla="*/ 223740 w 1573156"/>
                <a:gd name="connsiteY33" fmla="*/ 1151672 h 3837710"/>
                <a:gd name="connsiteX34" fmla="*/ 284703 w 1573156"/>
                <a:gd name="connsiteY34" fmla="*/ 1089617 h 3837710"/>
                <a:gd name="connsiteX35" fmla="*/ 218198 w 1573156"/>
                <a:gd name="connsiteY35" fmla="*/ 1050829 h 3837710"/>
                <a:gd name="connsiteX36" fmla="*/ 259763 w 1573156"/>
                <a:gd name="connsiteY36" fmla="*/ 1019802 h 3837710"/>
                <a:gd name="connsiteX37" fmla="*/ 212657 w 1573156"/>
                <a:gd name="connsiteY37" fmla="*/ 993947 h 3837710"/>
                <a:gd name="connsiteX38" fmla="*/ 212656 w 1573156"/>
                <a:gd name="connsiteY38" fmla="*/ 794845 h 3837710"/>
                <a:gd name="connsiteX39" fmla="*/ 251451 w 1573156"/>
                <a:gd name="connsiteY39" fmla="*/ 779332 h 3837710"/>
                <a:gd name="connsiteX40" fmla="*/ 137838 w 1573156"/>
                <a:gd name="connsiteY40" fmla="*/ 551792 h 3837710"/>
                <a:gd name="connsiteX41" fmla="*/ 135067 w 1573156"/>
                <a:gd name="connsiteY41" fmla="*/ 551792 h 3837710"/>
                <a:gd name="connsiteX42" fmla="*/ 184945 w 1573156"/>
                <a:gd name="connsiteY42" fmla="*/ 469048 h 3837710"/>
                <a:gd name="connsiteX43" fmla="*/ 201571 w 1573156"/>
                <a:gd name="connsiteY43" fmla="*/ 378550 h 3837710"/>
                <a:gd name="connsiteX44" fmla="*/ 126752 w 1573156"/>
                <a:gd name="connsiteY44" fmla="*/ 319079 h 3837710"/>
                <a:gd name="connsiteX45" fmla="*/ 118440 w 1573156"/>
                <a:gd name="connsiteY45" fmla="*/ 251851 h 3837710"/>
                <a:gd name="connsiteX46" fmla="*/ 173860 w 1573156"/>
                <a:gd name="connsiteY46" fmla="*/ 158764 h 3837710"/>
                <a:gd name="connsiteX47" fmla="*/ 193258 w 1573156"/>
                <a:gd name="connsiteY47" fmla="*/ 135494 h 3837710"/>
                <a:gd name="connsiteX48" fmla="*/ 207113 w 1573156"/>
                <a:gd name="connsiteY48" fmla="*/ 117394 h 3837710"/>
                <a:gd name="connsiteX49" fmla="*/ 215426 w 1573156"/>
                <a:gd name="connsiteY49" fmla="*/ 73438 h 3837710"/>
                <a:gd name="connsiteX50" fmla="*/ 240365 w 1573156"/>
                <a:gd name="connsiteY50" fmla="*/ 101880 h 3837710"/>
                <a:gd name="connsiteX51" fmla="*/ 270847 w 1573156"/>
                <a:gd name="connsiteY51" fmla="*/ 88952 h 3837710"/>
                <a:gd name="connsiteX52" fmla="*/ 273617 w 1573156"/>
                <a:gd name="connsiteY52" fmla="*/ 63095 h 3837710"/>
                <a:gd name="connsiteX53" fmla="*/ 281931 w 1573156"/>
                <a:gd name="connsiteY53" fmla="*/ 34652 h 3837710"/>
                <a:gd name="connsiteX54" fmla="*/ 284703 w 1573156"/>
                <a:gd name="connsiteY54" fmla="*/ 3624 h 3837710"/>
                <a:gd name="connsiteX55" fmla="*/ 420483 w 1573156"/>
                <a:gd name="connsiteY55" fmla="*/ 57924 h 3837710"/>
                <a:gd name="connsiteX56" fmla="*/ 450963 w 1573156"/>
                <a:gd name="connsiteY56" fmla="*/ 161352 h 3837710"/>
                <a:gd name="connsiteX57" fmla="*/ 464819 w 1573156"/>
                <a:gd name="connsiteY57" fmla="*/ 184622 h 3837710"/>
                <a:gd name="connsiteX58" fmla="*/ 475903 w 1573156"/>
                <a:gd name="connsiteY58" fmla="*/ 187208 h 3837710"/>
                <a:gd name="connsiteX59" fmla="*/ 589515 w 1573156"/>
                <a:gd name="connsiteY59" fmla="*/ 156181 h 3837710"/>
                <a:gd name="connsiteX60" fmla="*/ 656020 w 1573156"/>
                <a:gd name="connsiteY60" fmla="*/ 166522 h 3837710"/>
                <a:gd name="connsiteX61" fmla="*/ 719754 w 1573156"/>
                <a:gd name="connsiteY61" fmla="*/ 213065 h 3837710"/>
                <a:gd name="connsiteX62" fmla="*/ 733781 w 1573156"/>
                <a:gd name="connsiteY62" fmla="*/ 242621 h 3837710"/>
                <a:gd name="connsiteX63" fmla="*/ 789028 w 1573156"/>
                <a:gd name="connsiteY63" fmla="*/ 277708 h 3837710"/>
                <a:gd name="connsiteX64" fmla="*/ 877702 w 1573156"/>
                <a:gd name="connsiteY64" fmla="*/ 303563 h 3837710"/>
                <a:gd name="connsiteX65" fmla="*/ 949748 w 1573156"/>
                <a:gd name="connsiteY65" fmla="*/ 350106 h 3837710"/>
                <a:gd name="connsiteX66" fmla="*/ 999627 w 1573156"/>
                <a:gd name="connsiteY66" fmla="*/ 401820 h 3837710"/>
                <a:gd name="connsiteX67" fmla="*/ 1024566 w 1573156"/>
                <a:gd name="connsiteY67" fmla="*/ 440606 h 3837710"/>
                <a:gd name="connsiteX68" fmla="*/ 1057819 w 1573156"/>
                <a:gd name="connsiteY68" fmla="*/ 466462 h 3837710"/>
                <a:gd name="connsiteX69" fmla="*/ 1041191 w 1573156"/>
                <a:gd name="connsiteY69" fmla="*/ 691417 h 3837710"/>
                <a:gd name="connsiteX70" fmla="*/ 913725 w 1573156"/>
                <a:gd name="connsiteY70" fmla="*/ 771575 h 3837710"/>
                <a:gd name="connsiteX71" fmla="*/ 800113 w 1573156"/>
                <a:gd name="connsiteY71" fmla="*/ 779331 h 3837710"/>
                <a:gd name="connsiteX72" fmla="*/ 661560 w 1573156"/>
                <a:gd name="connsiteY72" fmla="*/ 758645 h 3837710"/>
                <a:gd name="connsiteX73" fmla="*/ 570116 w 1573156"/>
                <a:gd name="connsiteY73" fmla="*/ 722445 h 3837710"/>
                <a:gd name="connsiteX74" fmla="*/ 550719 w 1573156"/>
                <a:gd name="connsiteY74" fmla="*/ 750888 h 3837710"/>
                <a:gd name="connsiteX75" fmla="*/ 581361 w 1573156"/>
                <a:gd name="connsiteY75" fmla="*/ 824301 h 3837710"/>
                <a:gd name="connsiteX76" fmla="*/ 586902 w 1573156"/>
                <a:gd name="connsiteY76" fmla="*/ 951000 h 3837710"/>
                <a:gd name="connsiteX77" fmla="*/ 559032 w 1573156"/>
                <a:gd name="connsiteY77" fmla="*/ 1012043 h 3837710"/>
                <a:gd name="connsiteX78" fmla="*/ 614451 w 1573156"/>
                <a:gd name="connsiteY78" fmla="*/ 1032728 h 3837710"/>
                <a:gd name="connsiteX79" fmla="*/ 631079 w 1573156"/>
                <a:gd name="connsiteY79" fmla="*/ 1048242 h 3837710"/>
                <a:gd name="connsiteX80" fmla="*/ 656019 w 1573156"/>
                <a:gd name="connsiteY80" fmla="*/ 1074099 h 3837710"/>
                <a:gd name="connsiteX81" fmla="*/ 653248 w 1573156"/>
                <a:gd name="connsiteY81" fmla="*/ 1076685 h 3837710"/>
                <a:gd name="connsiteX82" fmla="*/ 692041 w 1573156"/>
                <a:gd name="connsiteY82" fmla="*/ 1071514 h 3837710"/>
                <a:gd name="connsiteX83" fmla="*/ 700355 w 1573156"/>
                <a:gd name="connsiteY83" fmla="*/ 1035314 h 3837710"/>
                <a:gd name="connsiteX84" fmla="*/ 661560 w 1573156"/>
                <a:gd name="connsiteY84" fmla="*/ 957743 h 3837710"/>
                <a:gd name="connsiteX85" fmla="*/ 730836 w 1573156"/>
                <a:gd name="connsiteY85" fmla="*/ 911200 h 3837710"/>
                <a:gd name="connsiteX86" fmla="*/ 798608 w 1573156"/>
                <a:gd name="connsiteY86" fmla="*/ 918934 h 3837710"/>
                <a:gd name="connsiteX87" fmla="*/ 822441 w 1573156"/>
                <a:gd name="connsiteY87" fmla="*/ 951001 h 3837710"/>
                <a:gd name="connsiteX88" fmla="*/ 978170 w 1573156"/>
                <a:gd name="connsiteY88" fmla="*/ 1007364 h 3837710"/>
                <a:gd name="connsiteX89" fmla="*/ 963762 w 1573156"/>
                <a:gd name="connsiteY89" fmla="*/ 971687 h 3837710"/>
                <a:gd name="connsiteX90" fmla="*/ 930510 w 1573156"/>
                <a:gd name="connsiteY90" fmla="*/ 932901 h 3837710"/>
                <a:gd name="connsiteX91" fmla="*/ 919426 w 1573156"/>
                <a:gd name="connsiteY91" fmla="*/ 881187 h 3837710"/>
                <a:gd name="connsiteX92" fmla="*/ 958221 w 1573156"/>
                <a:gd name="connsiteY92" fmla="*/ 832060 h 3837710"/>
                <a:gd name="connsiteX93" fmla="*/ 985931 w 1573156"/>
                <a:gd name="connsiteY93" fmla="*/ 803617 h 3837710"/>
                <a:gd name="connsiteX94" fmla="*/ 1010871 w 1573156"/>
                <a:gd name="connsiteY94" fmla="*/ 767417 h 3837710"/>
                <a:gd name="connsiteX95" fmla="*/ 1091231 w 1573156"/>
                <a:gd name="connsiteY95" fmla="*/ 762245 h 3837710"/>
                <a:gd name="connsiteX96" fmla="*/ 1096772 w 1573156"/>
                <a:gd name="connsiteY96" fmla="*/ 741560 h 3837710"/>
                <a:gd name="connsiteX97" fmla="*/ 1121712 w 1573156"/>
                <a:gd name="connsiteY97" fmla="*/ 705360 h 3837710"/>
                <a:gd name="connsiteX98" fmla="*/ 1155516 w 1573156"/>
                <a:gd name="connsiteY98" fmla="*/ 687772 h 3837710"/>
                <a:gd name="connsiteX99" fmla="*/ 1213156 w 1573156"/>
                <a:gd name="connsiteY99" fmla="*/ 700189 h 3837710"/>
                <a:gd name="connsiteX100" fmla="*/ 1251949 w 1573156"/>
                <a:gd name="connsiteY100" fmla="*/ 720875 h 3837710"/>
                <a:gd name="connsiteX101" fmla="*/ 1299057 w 1573156"/>
                <a:gd name="connsiteY101" fmla="*/ 728632 h 3837710"/>
                <a:gd name="connsiteX102" fmla="*/ 1299057 w 1573156"/>
                <a:gd name="connsiteY102" fmla="*/ 733803 h 3837710"/>
                <a:gd name="connsiteX103" fmla="*/ 1321226 w 1573156"/>
                <a:gd name="connsiteY103" fmla="*/ 674332 h 3837710"/>
                <a:gd name="connsiteX104" fmla="*/ 1331201 w 1573156"/>
                <a:gd name="connsiteY104" fmla="*/ 640714 h 3837710"/>
                <a:gd name="connsiteX105" fmla="*/ 1337852 w 1573156"/>
                <a:gd name="connsiteY105" fmla="*/ 622618 h 3837710"/>
                <a:gd name="connsiteX106" fmla="*/ 1340789 w 1573156"/>
                <a:gd name="connsiteY106" fmla="*/ 591288 h 3837710"/>
                <a:gd name="connsiteX107" fmla="*/ 1260263 w 1573156"/>
                <a:gd name="connsiteY107" fmla="*/ 545048 h 3837710"/>
                <a:gd name="connsiteX108" fmla="*/ 1246408 w 1573156"/>
                <a:gd name="connsiteY108" fmla="*/ 472648 h 3837710"/>
                <a:gd name="connsiteX109" fmla="*/ 1246408 w 1573156"/>
                <a:gd name="connsiteY109" fmla="*/ 454548 h 3837710"/>
                <a:gd name="connsiteX110" fmla="*/ 1257491 w 1573156"/>
                <a:gd name="connsiteY110" fmla="*/ 431276 h 3837710"/>
                <a:gd name="connsiteX111" fmla="*/ 1260263 w 1573156"/>
                <a:gd name="connsiteY111" fmla="*/ 415762 h 3837710"/>
                <a:gd name="connsiteX112" fmla="*/ 1260262 w 1573156"/>
                <a:gd name="connsiteY112" fmla="*/ 358878 h 3837710"/>
                <a:gd name="connsiteX113" fmla="*/ 1238094 w 1573156"/>
                <a:gd name="connsiteY113" fmla="*/ 335607 h 3837710"/>
                <a:gd name="connsiteX114" fmla="*/ 1210384 w 1573156"/>
                <a:gd name="connsiteY114" fmla="*/ 304578 h 3837710"/>
                <a:gd name="connsiteX115" fmla="*/ 1206216 w 1573156"/>
                <a:gd name="connsiteY115" fmla="*/ 280325 h 3837710"/>
                <a:gd name="connsiteX116" fmla="*/ 1257492 w 1573156"/>
                <a:gd name="connsiteY116" fmla="*/ 258034 h 3837710"/>
                <a:gd name="connsiteX117" fmla="*/ 1311072 w 1573156"/>
                <a:gd name="connsiteY117" fmla="*/ 267906 h 3837710"/>
                <a:gd name="connsiteX118" fmla="*/ 1389856 w 1573156"/>
                <a:gd name="connsiteY118" fmla="*/ 279816 h 3837710"/>
                <a:gd name="connsiteX119" fmla="*/ 1474179 w 1573156"/>
                <a:gd name="connsiteY119" fmla="*/ 349175 h 3837710"/>
                <a:gd name="connsiteX120" fmla="*/ 1536314 w 1573156"/>
                <a:gd name="connsiteY120" fmla="*/ 425271 h 3837710"/>
                <a:gd name="connsiteX121" fmla="*/ 1435343 w 1573156"/>
                <a:gd name="connsiteY121" fmla="*/ 454265 h 3837710"/>
                <a:gd name="connsiteX122" fmla="*/ 1419809 w 1573156"/>
                <a:gd name="connsiteY122" fmla="*/ 501372 h 3837710"/>
                <a:gd name="connsiteX123" fmla="*/ 1477479 w 1573156"/>
                <a:gd name="connsiteY123" fmla="*/ 585862 h 3837710"/>
                <a:gd name="connsiteX124" fmla="*/ 1513013 w 1573156"/>
                <a:gd name="connsiteY124" fmla="*/ 591964 h 3837710"/>
                <a:gd name="connsiteX125" fmla="*/ 1565633 w 1573156"/>
                <a:gd name="connsiteY125" fmla="*/ 598304 h 3837710"/>
                <a:gd name="connsiteX126" fmla="*/ 1560670 w 1573156"/>
                <a:gd name="connsiteY126" fmla="*/ 709079 h 3837710"/>
                <a:gd name="connsiteX127" fmla="*/ 1571739 w 1573156"/>
                <a:gd name="connsiteY127" fmla="*/ 1040047 h 3837710"/>
                <a:gd name="connsiteX128" fmla="*/ 1562871 w 1573156"/>
                <a:gd name="connsiteY128" fmla="*/ 1842646 h 3837710"/>
                <a:gd name="connsiteX129" fmla="*/ 1571738 w 1573156"/>
                <a:gd name="connsiteY129" fmla="*/ 2297728 h 3837710"/>
                <a:gd name="connsiteX130" fmla="*/ 1559146 w 1573156"/>
                <a:gd name="connsiteY130" fmla="*/ 3716291 h 3837710"/>
                <a:gd name="connsiteX131" fmla="*/ 1556603 w 1573156"/>
                <a:gd name="connsiteY131" fmla="*/ 3758050 h 3837710"/>
                <a:gd name="connsiteX132" fmla="*/ 1545518 w 1573156"/>
                <a:gd name="connsiteY132" fmla="*/ 3688238 h 3837710"/>
                <a:gd name="connsiteX133" fmla="*/ 1490099 w 1573156"/>
                <a:gd name="connsiteY133" fmla="*/ 3675307 h 3837710"/>
                <a:gd name="connsiteX134" fmla="*/ 1357089 w 1573156"/>
                <a:gd name="connsiteY134" fmla="*/ 3662380 h 3837710"/>
                <a:gd name="connsiteX135" fmla="*/ 1343234 w 1573156"/>
                <a:gd name="connsiteY135" fmla="*/ 3631352 h 3837710"/>
                <a:gd name="connsiteX136" fmla="*/ 1195420 w 1573156"/>
                <a:gd name="connsiteY136" fmla="*/ 3605469 h 3837710"/>
                <a:gd name="connsiteX137" fmla="*/ 1013482 w 1573156"/>
                <a:gd name="connsiteY137" fmla="*/ 3592567 h 3837710"/>
                <a:gd name="connsiteX138" fmla="*/ 1123928 w 1573156"/>
                <a:gd name="connsiteY138" fmla="*/ 3663387 h 3837710"/>
                <a:gd name="connsiteX139" fmla="*/ 907787 w 1573156"/>
                <a:gd name="connsiteY139" fmla="*/ 3629257 h 3837710"/>
                <a:gd name="connsiteX140" fmla="*/ 776238 w 1573156"/>
                <a:gd name="connsiteY140" fmla="*/ 3504783 h 3837710"/>
                <a:gd name="connsiteX141" fmla="*/ 708669 w 1573156"/>
                <a:gd name="connsiteY141" fmla="*/ 3437426 h 3837710"/>
                <a:gd name="connsiteX142" fmla="*/ 739150 w 1573156"/>
                <a:gd name="connsiteY142" fmla="*/ 3437426 h 3837710"/>
                <a:gd name="connsiteX143" fmla="*/ 750233 w 1573156"/>
                <a:gd name="connsiteY143" fmla="*/ 3408982 h 3837710"/>
                <a:gd name="connsiteX144" fmla="*/ 783486 w 1573156"/>
                <a:gd name="connsiteY144" fmla="*/ 3354683 h 3837710"/>
                <a:gd name="connsiteX145" fmla="*/ 747462 w 1573156"/>
                <a:gd name="connsiteY145" fmla="*/ 3297798 h 3837710"/>
                <a:gd name="connsiteX146" fmla="*/ 836135 w 1573156"/>
                <a:gd name="connsiteY146" fmla="*/ 3225398 h 3837710"/>
                <a:gd name="connsiteX147" fmla="*/ 902641 w 1573156"/>
                <a:gd name="connsiteY147" fmla="*/ 3217642 h 3837710"/>
                <a:gd name="connsiteX148" fmla="*/ 955289 w 1573156"/>
                <a:gd name="connsiteY148" fmla="*/ 3160756 h 3837710"/>
                <a:gd name="connsiteX149" fmla="*/ 1024565 w 1573156"/>
                <a:gd name="connsiteY149" fmla="*/ 3114213 h 3837710"/>
                <a:gd name="connsiteX150" fmla="*/ 1019023 w 1573156"/>
                <a:gd name="connsiteY150" fmla="*/ 3067671 h 3837710"/>
                <a:gd name="connsiteX151" fmla="*/ 1043963 w 1573156"/>
                <a:gd name="connsiteY151" fmla="*/ 3028886 h 3837710"/>
                <a:gd name="connsiteX152" fmla="*/ 1016252 w 1573156"/>
                <a:gd name="connsiteY152" fmla="*/ 3026300 h 3837710"/>
                <a:gd name="connsiteX153" fmla="*/ 1031704 w 1573156"/>
                <a:gd name="connsiteY153" fmla="*/ 2992878 h 3837710"/>
                <a:gd name="connsiteX154" fmla="*/ 914211 w 1573156"/>
                <a:gd name="connsiteY154" fmla="*/ 2928233 h 3837710"/>
                <a:gd name="connsiteX155" fmla="*/ 858304 w 1573156"/>
                <a:gd name="connsiteY155" fmla="*/ 2909943 h 3837710"/>
                <a:gd name="connsiteX156" fmla="*/ 827823 w 1573156"/>
                <a:gd name="connsiteY156" fmla="*/ 2881501 h 3837710"/>
                <a:gd name="connsiteX157" fmla="*/ 761317 w 1573156"/>
                <a:gd name="connsiteY157" fmla="*/ 2897015 h 3837710"/>
                <a:gd name="connsiteX158" fmla="*/ 700355 w 1573156"/>
                <a:gd name="connsiteY158" fmla="*/ 2891844 h 3837710"/>
                <a:gd name="connsiteX159" fmla="*/ 658790 w 1573156"/>
                <a:gd name="connsiteY159" fmla="*/ 2827201 h 3837710"/>
                <a:gd name="connsiteX160" fmla="*/ 656019 w 1573156"/>
                <a:gd name="connsiteY160" fmla="*/ 2785830 h 3837710"/>
                <a:gd name="connsiteX161" fmla="*/ 631080 w 1573156"/>
                <a:gd name="connsiteY161" fmla="*/ 2772902 h 3837710"/>
                <a:gd name="connsiteX162" fmla="*/ 567346 w 1573156"/>
                <a:gd name="connsiteY162" fmla="*/ 2759974 h 3837710"/>
                <a:gd name="connsiteX163" fmla="*/ 586743 w 1573156"/>
                <a:gd name="connsiteY163" fmla="*/ 2721188 h 3837710"/>
                <a:gd name="connsiteX164" fmla="*/ 557777 w 1573156"/>
                <a:gd name="connsiteY164" fmla="*/ 2715007 h 3837710"/>
                <a:gd name="connsiteX165" fmla="*/ 531809 w 1573156"/>
                <a:gd name="connsiteY165" fmla="*/ 2672771 h 3837710"/>
                <a:gd name="connsiteX166" fmla="*/ 414939 w 1573156"/>
                <a:gd name="connsiteY166" fmla="*/ 2682402 h 3837710"/>
                <a:gd name="connsiteX167" fmla="*/ 390000 w 1573156"/>
                <a:gd name="connsiteY167" fmla="*/ 2672059 h 3837710"/>
                <a:gd name="connsiteX168" fmla="*/ 367832 w 1573156"/>
                <a:gd name="connsiteY168" fmla="*/ 2684989 h 3837710"/>
                <a:gd name="connsiteX169" fmla="*/ 351205 w 1573156"/>
                <a:gd name="connsiteY169" fmla="*/ 2622932 h 3837710"/>
                <a:gd name="connsiteX170" fmla="*/ 340121 w 1573156"/>
                <a:gd name="connsiteY170" fmla="*/ 2597075 h 3837710"/>
                <a:gd name="connsiteX171" fmla="*/ 353976 w 1573156"/>
                <a:gd name="connsiteY171" fmla="*/ 2578974 h 3837710"/>
                <a:gd name="connsiteX172" fmla="*/ 381687 w 1573156"/>
                <a:gd name="connsiteY172" fmla="*/ 2581561 h 3837710"/>
                <a:gd name="connsiteX173" fmla="*/ 414939 w 1573156"/>
                <a:gd name="connsiteY173" fmla="*/ 2563461 h 3837710"/>
                <a:gd name="connsiteX174" fmla="*/ 412168 w 1573156"/>
                <a:gd name="connsiteY174" fmla="*/ 2537603 h 3837710"/>
                <a:gd name="connsiteX175" fmla="*/ 362289 w 1573156"/>
                <a:gd name="connsiteY175" fmla="*/ 2501404 h 3837710"/>
                <a:gd name="connsiteX176" fmla="*/ 338946 w 1573156"/>
                <a:gd name="connsiteY176" fmla="*/ 2513491 h 3837710"/>
                <a:gd name="connsiteX177" fmla="*/ 340121 w 1573156"/>
                <a:gd name="connsiteY177" fmla="*/ 2467790 h 3837710"/>
                <a:gd name="connsiteX178" fmla="*/ 306869 w 1573156"/>
                <a:gd name="connsiteY178" fmla="*/ 2429005 h 3837710"/>
                <a:gd name="connsiteX179" fmla="*/ 309641 w 1573156"/>
                <a:gd name="connsiteY179" fmla="*/ 2351433 h 3837710"/>
                <a:gd name="connsiteX180" fmla="*/ 290243 w 1573156"/>
                <a:gd name="connsiteY180" fmla="*/ 2299720 h 3837710"/>
                <a:gd name="connsiteX181" fmla="*/ 256991 w 1573156"/>
                <a:gd name="connsiteY181" fmla="*/ 2266106 h 3837710"/>
                <a:gd name="connsiteX182" fmla="*/ 218196 w 1573156"/>
                <a:gd name="connsiteY182" fmla="*/ 2242835 h 3837710"/>
                <a:gd name="connsiteX183" fmla="*/ 176631 w 1573156"/>
                <a:gd name="connsiteY183" fmla="*/ 2250592 h 3837710"/>
                <a:gd name="connsiteX184" fmla="*/ 122255 w 1573156"/>
                <a:gd name="connsiteY184" fmla="*/ 2214066 h 3837710"/>
                <a:gd name="connsiteX0" fmla="*/ 122255 w 1573156"/>
                <a:gd name="connsiteY0" fmla="*/ 2214066 h 3837710"/>
                <a:gd name="connsiteX1" fmla="*/ 63018 w 1573156"/>
                <a:gd name="connsiteY1" fmla="*/ 2216977 h 3837710"/>
                <a:gd name="connsiteX2" fmla="*/ 60248 w 1573156"/>
                <a:gd name="connsiteY2" fmla="*/ 2118721 h 3837710"/>
                <a:gd name="connsiteX3" fmla="*/ 71333 w 1573156"/>
                <a:gd name="connsiteY3" fmla="*/ 2077350 h 3837710"/>
                <a:gd name="connsiteX4" fmla="*/ 74102 w 1573156"/>
                <a:gd name="connsiteY4" fmla="*/ 2030807 h 3837710"/>
                <a:gd name="connsiteX5" fmla="*/ 76875 w 1573156"/>
                <a:gd name="connsiteY5" fmla="*/ 2020467 h 3837710"/>
                <a:gd name="connsiteX6" fmla="*/ 118439 w 1573156"/>
                <a:gd name="connsiteY6" fmla="*/ 1992023 h 3837710"/>
                <a:gd name="connsiteX7" fmla="*/ 82416 w 1573156"/>
                <a:gd name="connsiteY7" fmla="*/ 1963580 h 3837710"/>
                <a:gd name="connsiteX8" fmla="*/ 51935 w 1573156"/>
                <a:gd name="connsiteY8" fmla="*/ 1927380 h 3837710"/>
                <a:gd name="connsiteX9" fmla="*/ 40850 w 1573156"/>
                <a:gd name="connsiteY9" fmla="*/ 1893766 h 3837710"/>
                <a:gd name="connsiteX10" fmla="*/ 43621 w 1573156"/>
                <a:gd name="connsiteY10" fmla="*/ 1844639 h 3837710"/>
                <a:gd name="connsiteX11" fmla="*/ 82416 w 1573156"/>
                <a:gd name="connsiteY11" fmla="*/ 1826538 h 3837710"/>
                <a:gd name="connsiteX12" fmla="*/ 112899 w 1573156"/>
                <a:gd name="connsiteY12" fmla="*/ 1782581 h 3837710"/>
                <a:gd name="connsiteX13" fmla="*/ 96271 w 1573156"/>
                <a:gd name="connsiteY13" fmla="*/ 1754138 h 3837710"/>
                <a:gd name="connsiteX14" fmla="*/ 40851 w 1573156"/>
                <a:gd name="connsiteY14" fmla="*/ 1746381 h 3837710"/>
                <a:gd name="connsiteX15" fmla="*/ 2057 w 1573156"/>
                <a:gd name="connsiteY15" fmla="*/ 1730867 h 3837710"/>
                <a:gd name="connsiteX16" fmla="*/ 38079 w 1573156"/>
                <a:gd name="connsiteY16" fmla="*/ 1689496 h 3837710"/>
                <a:gd name="connsiteX17" fmla="*/ 18683 w 1573156"/>
                <a:gd name="connsiteY17" fmla="*/ 1679153 h 3837710"/>
                <a:gd name="connsiteX18" fmla="*/ 2055 w 1573156"/>
                <a:gd name="connsiteY18" fmla="*/ 1640367 h 3837710"/>
                <a:gd name="connsiteX19" fmla="*/ 65790 w 1573156"/>
                <a:gd name="connsiteY19" fmla="*/ 1650711 h 3837710"/>
                <a:gd name="connsiteX20" fmla="*/ 93501 w 1573156"/>
                <a:gd name="connsiteY20" fmla="*/ 1627440 h 3837710"/>
                <a:gd name="connsiteX21" fmla="*/ 187716 w 1573156"/>
                <a:gd name="connsiteY21" fmla="*/ 1536941 h 3837710"/>
                <a:gd name="connsiteX22" fmla="*/ 212655 w 1573156"/>
                <a:gd name="connsiteY22" fmla="*/ 1505912 h 3837710"/>
                <a:gd name="connsiteX23" fmla="*/ 198801 w 1573156"/>
                <a:gd name="connsiteY23" fmla="*/ 1555040 h 3837710"/>
                <a:gd name="connsiteX24" fmla="*/ 218197 w 1573156"/>
                <a:gd name="connsiteY24" fmla="*/ 1588655 h 3837710"/>
                <a:gd name="connsiteX25" fmla="*/ 262534 w 1573156"/>
                <a:gd name="connsiteY25" fmla="*/ 1666225 h 3837710"/>
                <a:gd name="connsiteX26" fmla="*/ 331810 w 1573156"/>
                <a:gd name="connsiteY26" fmla="*/ 1653297 h 3837710"/>
                <a:gd name="connsiteX27" fmla="*/ 351206 w 1573156"/>
                <a:gd name="connsiteY27" fmla="*/ 1622268 h 3837710"/>
                <a:gd name="connsiteX28" fmla="*/ 365062 w 1573156"/>
                <a:gd name="connsiteY28" fmla="*/ 1557627 h 3837710"/>
                <a:gd name="connsiteX29" fmla="*/ 304099 w 1573156"/>
                <a:gd name="connsiteY29" fmla="*/ 1511084 h 3837710"/>
                <a:gd name="connsiteX30" fmla="*/ 259763 w 1573156"/>
                <a:gd name="connsiteY30" fmla="*/ 1485227 h 3837710"/>
                <a:gd name="connsiteX31" fmla="*/ 198801 w 1573156"/>
                <a:gd name="connsiteY31" fmla="*/ 1495570 h 3837710"/>
                <a:gd name="connsiteX32" fmla="*/ 376147 w 1573156"/>
                <a:gd name="connsiteY32" fmla="*/ 1299057 h 3837710"/>
                <a:gd name="connsiteX33" fmla="*/ 223740 w 1573156"/>
                <a:gd name="connsiteY33" fmla="*/ 1151672 h 3837710"/>
                <a:gd name="connsiteX34" fmla="*/ 284703 w 1573156"/>
                <a:gd name="connsiteY34" fmla="*/ 1089617 h 3837710"/>
                <a:gd name="connsiteX35" fmla="*/ 218198 w 1573156"/>
                <a:gd name="connsiteY35" fmla="*/ 1050829 h 3837710"/>
                <a:gd name="connsiteX36" fmla="*/ 259763 w 1573156"/>
                <a:gd name="connsiteY36" fmla="*/ 1019802 h 3837710"/>
                <a:gd name="connsiteX37" fmla="*/ 212657 w 1573156"/>
                <a:gd name="connsiteY37" fmla="*/ 993947 h 3837710"/>
                <a:gd name="connsiteX38" fmla="*/ 212656 w 1573156"/>
                <a:gd name="connsiteY38" fmla="*/ 794845 h 3837710"/>
                <a:gd name="connsiteX39" fmla="*/ 251451 w 1573156"/>
                <a:gd name="connsiteY39" fmla="*/ 779332 h 3837710"/>
                <a:gd name="connsiteX40" fmla="*/ 137838 w 1573156"/>
                <a:gd name="connsiteY40" fmla="*/ 551792 h 3837710"/>
                <a:gd name="connsiteX41" fmla="*/ 135067 w 1573156"/>
                <a:gd name="connsiteY41" fmla="*/ 551792 h 3837710"/>
                <a:gd name="connsiteX42" fmla="*/ 184945 w 1573156"/>
                <a:gd name="connsiteY42" fmla="*/ 469048 h 3837710"/>
                <a:gd name="connsiteX43" fmla="*/ 201571 w 1573156"/>
                <a:gd name="connsiteY43" fmla="*/ 378550 h 3837710"/>
                <a:gd name="connsiteX44" fmla="*/ 126752 w 1573156"/>
                <a:gd name="connsiteY44" fmla="*/ 319079 h 3837710"/>
                <a:gd name="connsiteX45" fmla="*/ 118440 w 1573156"/>
                <a:gd name="connsiteY45" fmla="*/ 251851 h 3837710"/>
                <a:gd name="connsiteX46" fmla="*/ 173860 w 1573156"/>
                <a:gd name="connsiteY46" fmla="*/ 158764 h 3837710"/>
                <a:gd name="connsiteX47" fmla="*/ 193258 w 1573156"/>
                <a:gd name="connsiteY47" fmla="*/ 135494 h 3837710"/>
                <a:gd name="connsiteX48" fmla="*/ 207113 w 1573156"/>
                <a:gd name="connsiteY48" fmla="*/ 117394 h 3837710"/>
                <a:gd name="connsiteX49" fmla="*/ 215426 w 1573156"/>
                <a:gd name="connsiteY49" fmla="*/ 73438 h 3837710"/>
                <a:gd name="connsiteX50" fmla="*/ 240365 w 1573156"/>
                <a:gd name="connsiteY50" fmla="*/ 101880 h 3837710"/>
                <a:gd name="connsiteX51" fmla="*/ 270847 w 1573156"/>
                <a:gd name="connsiteY51" fmla="*/ 88952 h 3837710"/>
                <a:gd name="connsiteX52" fmla="*/ 273617 w 1573156"/>
                <a:gd name="connsiteY52" fmla="*/ 63095 h 3837710"/>
                <a:gd name="connsiteX53" fmla="*/ 281931 w 1573156"/>
                <a:gd name="connsiteY53" fmla="*/ 34652 h 3837710"/>
                <a:gd name="connsiteX54" fmla="*/ 284703 w 1573156"/>
                <a:gd name="connsiteY54" fmla="*/ 3624 h 3837710"/>
                <a:gd name="connsiteX55" fmla="*/ 420483 w 1573156"/>
                <a:gd name="connsiteY55" fmla="*/ 57924 h 3837710"/>
                <a:gd name="connsiteX56" fmla="*/ 450963 w 1573156"/>
                <a:gd name="connsiteY56" fmla="*/ 161352 h 3837710"/>
                <a:gd name="connsiteX57" fmla="*/ 464819 w 1573156"/>
                <a:gd name="connsiteY57" fmla="*/ 184622 h 3837710"/>
                <a:gd name="connsiteX58" fmla="*/ 475903 w 1573156"/>
                <a:gd name="connsiteY58" fmla="*/ 187208 h 3837710"/>
                <a:gd name="connsiteX59" fmla="*/ 589515 w 1573156"/>
                <a:gd name="connsiteY59" fmla="*/ 156181 h 3837710"/>
                <a:gd name="connsiteX60" fmla="*/ 656020 w 1573156"/>
                <a:gd name="connsiteY60" fmla="*/ 166522 h 3837710"/>
                <a:gd name="connsiteX61" fmla="*/ 719754 w 1573156"/>
                <a:gd name="connsiteY61" fmla="*/ 213065 h 3837710"/>
                <a:gd name="connsiteX62" fmla="*/ 733781 w 1573156"/>
                <a:gd name="connsiteY62" fmla="*/ 242621 h 3837710"/>
                <a:gd name="connsiteX63" fmla="*/ 789028 w 1573156"/>
                <a:gd name="connsiteY63" fmla="*/ 277708 h 3837710"/>
                <a:gd name="connsiteX64" fmla="*/ 877702 w 1573156"/>
                <a:gd name="connsiteY64" fmla="*/ 303563 h 3837710"/>
                <a:gd name="connsiteX65" fmla="*/ 949748 w 1573156"/>
                <a:gd name="connsiteY65" fmla="*/ 350106 h 3837710"/>
                <a:gd name="connsiteX66" fmla="*/ 999627 w 1573156"/>
                <a:gd name="connsiteY66" fmla="*/ 401820 h 3837710"/>
                <a:gd name="connsiteX67" fmla="*/ 1024566 w 1573156"/>
                <a:gd name="connsiteY67" fmla="*/ 440606 h 3837710"/>
                <a:gd name="connsiteX68" fmla="*/ 1057819 w 1573156"/>
                <a:gd name="connsiteY68" fmla="*/ 466462 h 3837710"/>
                <a:gd name="connsiteX69" fmla="*/ 1041191 w 1573156"/>
                <a:gd name="connsiteY69" fmla="*/ 691417 h 3837710"/>
                <a:gd name="connsiteX70" fmla="*/ 913725 w 1573156"/>
                <a:gd name="connsiteY70" fmla="*/ 771575 h 3837710"/>
                <a:gd name="connsiteX71" fmla="*/ 800113 w 1573156"/>
                <a:gd name="connsiteY71" fmla="*/ 779331 h 3837710"/>
                <a:gd name="connsiteX72" fmla="*/ 661560 w 1573156"/>
                <a:gd name="connsiteY72" fmla="*/ 758645 h 3837710"/>
                <a:gd name="connsiteX73" fmla="*/ 570116 w 1573156"/>
                <a:gd name="connsiteY73" fmla="*/ 722445 h 3837710"/>
                <a:gd name="connsiteX74" fmla="*/ 550719 w 1573156"/>
                <a:gd name="connsiteY74" fmla="*/ 750888 h 3837710"/>
                <a:gd name="connsiteX75" fmla="*/ 581361 w 1573156"/>
                <a:gd name="connsiteY75" fmla="*/ 824301 h 3837710"/>
                <a:gd name="connsiteX76" fmla="*/ 586902 w 1573156"/>
                <a:gd name="connsiteY76" fmla="*/ 951000 h 3837710"/>
                <a:gd name="connsiteX77" fmla="*/ 559032 w 1573156"/>
                <a:gd name="connsiteY77" fmla="*/ 1012043 h 3837710"/>
                <a:gd name="connsiteX78" fmla="*/ 614451 w 1573156"/>
                <a:gd name="connsiteY78" fmla="*/ 1032728 h 3837710"/>
                <a:gd name="connsiteX79" fmla="*/ 631079 w 1573156"/>
                <a:gd name="connsiteY79" fmla="*/ 1048242 h 3837710"/>
                <a:gd name="connsiteX80" fmla="*/ 656019 w 1573156"/>
                <a:gd name="connsiteY80" fmla="*/ 1074099 h 3837710"/>
                <a:gd name="connsiteX81" fmla="*/ 653248 w 1573156"/>
                <a:gd name="connsiteY81" fmla="*/ 1076685 h 3837710"/>
                <a:gd name="connsiteX82" fmla="*/ 692041 w 1573156"/>
                <a:gd name="connsiteY82" fmla="*/ 1071514 h 3837710"/>
                <a:gd name="connsiteX83" fmla="*/ 700355 w 1573156"/>
                <a:gd name="connsiteY83" fmla="*/ 1035314 h 3837710"/>
                <a:gd name="connsiteX84" fmla="*/ 661560 w 1573156"/>
                <a:gd name="connsiteY84" fmla="*/ 957743 h 3837710"/>
                <a:gd name="connsiteX85" fmla="*/ 730836 w 1573156"/>
                <a:gd name="connsiteY85" fmla="*/ 911200 h 3837710"/>
                <a:gd name="connsiteX86" fmla="*/ 798608 w 1573156"/>
                <a:gd name="connsiteY86" fmla="*/ 918934 h 3837710"/>
                <a:gd name="connsiteX87" fmla="*/ 822441 w 1573156"/>
                <a:gd name="connsiteY87" fmla="*/ 951001 h 3837710"/>
                <a:gd name="connsiteX88" fmla="*/ 978170 w 1573156"/>
                <a:gd name="connsiteY88" fmla="*/ 1007364 h 3837710"/>
                <a:gd name="connsiteX89" fmla="*/ 963762 w 1573156"/>
                <a:gd name="connsiteY89" fmla="*/ 971687 h 3837710"/>
                <a:gd name="connsiteX90" fmla="*/ 930510 w 1573156"/>
                <a:gd name="connsiteY90" fmla="*/ 932901 h 3837710"/>
                <a:gd name="connsiteX91" fmla="*/ 919426 w 1573156"/>
                <a:gd name="connsiteY91" fmla="*/ 881187 h 3837710"/>
                <a:gd name="connsiteX92" fmla="*/ 958221 w 1573156"/>
                <a:gd name="connsiteY92" fmla="*/ 832060 h 3837710"/>
                <a:gd name="connsiteX93" fmla="*/ 985931 w 1573156"/>
                <a:gd name="connsiteY93" fmla="*/ 803617 h 3837710"/>
                <a:gd name="connsiteX94" fmla="*/ 1010871 w 1573156"/>
                <a:gd name="connsiteY94" fmla="*/ 767417 h 3837710"/>
                <a:gd name="connsiteX95" fmla="*/ 1091231 w 1573156"/>
                <a:gd name="connsiteY95" fmla="*/ 762245 h 3837710"/>
                <a:gd name="connsiteX96" fmla="*/ 1096772 w 1573156"/>
                <a:gd name="connsiteY96" fmla="*/ 741560 h 3837710"/>
                <a:gd name="connsiteX97" fmla="*/ 1121712 w 1573156"/>
                <a:gd name="connsiteY97" fmla="*/ 705360 h 3837710"/>
                <a:gd name="connsiteX98" fmla="*/ 1155516 w 1573156"/>
                <a:gd name="connsiteY98" fmla="*/ 687772 h 3837710"/>
                <a:gd name="connsiteX99" fmla="*/ 1213156 w 1573156"/>
                <a:gd name="connsiteY99" fmla="*/ 700189 h 3837710"/>
                <a:gd name="connsiteX100" fmla="*/ 1251949 w 1573156"/>
                <a:gd name="connsiteY100" fmla="*/ 720875 h 3837710"/>
                <a:gd name="connsiteX101" fmla="*/ 1299057 w 1573156"/>
                <a:gd name="connsiteY101" fmla="*/ 728632 h 3837710"/>
                <a:gd name="connsiteX102" fmla="*/ 1299057 w 1573156"/>
                <a:gd name="connsiteY102" fmla="*/ 733803 h 3837710"/>
                <a:gd name="connsiteX103" fmla="*/ 1321226 w 1573156"/>
                <a:gd name="connsiteY103" fmla="*/ 674332 h 3837710"/>
                <a:gd name="connsiteX104" fmla="*/ 1331201 w 1573156"/>
                <a:gd name="connsiteY104" fmla="*/ 640714 h 3837710"/>
                <a:gd name="connsiteX105" fmla="*/ 1337852 w 1573156"/>
                <a:gd name="connsiteY105" fmla="*/ 622618 h 3837710"/>
                <a:gd name="connsiteX106" fmla="*/ 1340789 w 1573156"/>
                <a:gd name="connsiteY106" fmla="*/ 591288 h 3837710"/>
                <a:gd name="connsiteX107" fmla="*/ 1260263 w 1573156"/>
                <a:gd name="connsiteY107" fmla="*/ 545048 h 3837710"/>
                <a:gd name="connsiteX108" fmla="*/ 1246408 w 1573156"/>
                <a:gd name="connsiteY108" fmla="*/ 472648 h 3837710"/>
                <a:gd name="connsiteX109" fmla="*/ 1246408 w 1573156"/>
                <a:gd name="connsiteY109" fmla="*/ 454548 h 3837710"/>
                <a:gd name="connsiteX110" fmla="*/ 1257491 w 1573156"/>
                <a:gd name="connsiteY110" fmla="*/ 431276 h 3837710"/>
                <a:gd name="connsiteX111" fmla="*/ 1260263 w 1573156"/>
                <a:gd name="connsiteY111" fmla="*/ 415762 h 3837710"/>
                <a:gd name="connsiteX112" fmla="*/ 1260262 w 1573156"/>
                <a:gd name="connsiteY112" fmla="*/ 358878 h 3837710"/>
                <a:gd name="connsiteX113" fmla="*/ 1238094 w 1573156"/>
                <a:gd name="connsiteY113" fmla="*/ 335607 h 3837710"/>
                <a:gd name="connsiteX114" fmla="*/ 1210384 w 1573156"/>
                <a:gd name="connsiteY114" fmla="*/ 304578 h 3837710"/>
                <a:gd name="connsiteX115" fmla="*/ 1206216 w 1573156"/>
                <a:gd name="connsiteY115" fmla="*/ 280325 h 3837710"/>
                <a:gd name="connsiteX116" fmla="*/ 1257492 w 1573156"/>
                <a:gd name="connsiteY116" fmla="*/ 258034 h 3837710"/>
                <a:gd name="connsiteX117" fmla="*/ 1311072 w 1573156"/>
                <a:gd name="connsiteY117" fmla="*/ 267906 h 3837710"/>
                <a:gd name="connsiteX118" fmla="*/ 1389856 w 1573156"/>
                <a:gd name="connsiteY118" fmla="*/ 279816 h 3837710"/>
                <a:gd name="connsiteX119" fmla="*/ 1474179 w 1573156"/>
                <a:gd name="connsiteY119" fmla="*/ 349175 h 3837710"/>
                <a:gd name="connsiteX120" fmla="*/ 1536314 w 1573156"/>
                <a:gd name="connsiteY120" fmla="*/ 425271 h 3837710"/>
                <a:gd name="connsiteX121" fmla="*/ 1435343 w 1573156"/>
                <a:gd name="connsiteY121" fmla="*/ 454265 h 3837710"/>
                <a:gd name="connsiteX122" fmla="*/ 1419809 w 1573156"/>
                <a:gd name="connsiteY122" fmla="*/ 501372 h 3837710"/>
                <a:gd name="connsiteX123" fmla="*/ 1477479 w 1573156"/>
                <a:gd name="connsiteY123" fmla="*/ 585862 h 3837710"/>
                <a:gd name="connsiteX124" fmla="*/ 1513013 w 1573156"/>
                <a:gd name="connsiteY124" fmla="*/ 591964 h 3837710"/>
                <a:gd name="connsiteX125" fmla="*/ 1565633 w 1573156"/>
                <a:gd name="connsiteY125" fmla="*/ 598304 h 3837710"/>
                <a:gd name="connsiteX126" fmla="*/ 1560670 w 1573156"/>
                <a:gd name="connsiteY126" fmla="*/ 709079 h 3837710"/>
                <a:gd name="connsiteX127" fmla="*/ 1571739 w 1573156"/>
                <a:gd name="connsiteY127" fmla="*/ 1040047 h 3837710"/>
                <a:gd name="connsiteX128" fmla="*/ 1562871 w 1573156"/>
                <a:gd name="connsiteY128" fmla="*/ 1842646 h 3837710"/>
                <a:gd name="connsiteX129" fmla="*/ 1571738 w 1573156"/>
                <a:gd name="connsiteY129" fmla="*/ 2297728 h 3837710"/>
                <a:gd name="connsiteX130" fmla="*/ 1559146 w 1573156"/>
                <a:gd name="connsiteY130" fmla="*/ 3716291 h 3837710"/>
                <a:gd name="connsiteX131" fmla="*/ 1556603 w 1573156"/>
                <a:gd name="connsiteY131" fmla="*/ 3758050 h 3837710"/>
                <a:gd name="connsiteX132" fmla="*/ 1545518 w 1573156"/>
                <a:gd name="connsiteY132" fmla="*/ 3688238 h 3837710"/>
                <a:gd name="connsiteX133" fmla="*/ 1490099 w 1573156"/>
                <a:gd name="connsiteY133" fmla="*/ 3675307 h 3837710"/>
                <a:gd name="connsiteX134" fmla="*/ 1357089 w 1573156"/>
                <a:gd name="connsiteY134" fmla="*/ 3662380 h 3837710"/>
                <a:gd name="connsiteX135" fmla="*/ 1343234 w 1573156"/>
                <a:gd name="connsiteY135" fmla="*/ 3631352 h 3837710"/>
                <a:gd name="connsiteX136" fmla="*/ 1290584 w 1573156"/>
                <a:gd name="connsiteY136" fmla="*/ 3610666 h 3837710"/>
                <a:gd name="connsiteX137" fmla="*/ 1195420 w 1573156"/>
                <a:gd name="connsiteY137" fmla="*/ 3605469 h 3837710"/>
                <a:gd name="connsiteX138" fmla="*/ 1013482 w 1573156"/>
                <a:gd name="connsiteY138" fmla="*/ 3592567 h 3837710"/>
                <a:gd name="connsiteX139" fmla="*/ 1123928 w 1573156"/>
                <a:gd name="connsiteY139" fmla="*/ 3663387 h 3837710"/>
                <a:gd name="connsiteX140" fmla="*/ 907787 w 1573156"/>
                <a:gd name="connsiteY140" fmla="*/ 3629257 h 3837710"/>
                <a:gd name="connsiteX141" fmla="*/ 776238 w 1573156"/>
                <a:gd name="connsiteY141" fmla="*/ 3504783 h 3837710"/>
                <a:gd name="connsiteX142" fmla="*/ 708669 w 1573156"/>
                <a:gd name="connsiteY142" fmla="*/ 3437426 h 3837710"/>
                <a:gd name="connsiteX143" fmla="*/ 739150 w 1573156"/>
                <a:gd name="connsiteY143" fmla="*/ 3437426 h 3837710"/>
                <a:gd name="connsiteX144" fmla="*/ 750233 w 1573156"/>
                <a:gd name="connsiteY144" fmla="*/ 3408982 h 3837710"/>
                <a:gd name="connsiteX145" fmla="*/ 783486 w 1573156"/>
                <a:gd name="connsiteY145" fmla="*/ 3354683 h 3837710"/>
                <a:gd name="connsiteX146" fmla="*/ 747462 w 1573156"/>
                <a:gd name="connsiteY146" fmla="*/ 3297798 h 3837710"/>
                <a:gd name="connsiteX147" fmla="*/ 836135 w 1573156"/>
                <a:gd name="connsiteY147" fmla="*/ 3225398 h 3837710"/>
                <a:gd name="connsiteX148" fmla="*/ 902641 w 1573156"/>
                <a:gd name="connsiteY148" fmla="*/ 3217642 h 3837710"/>
                <a:gd name="connsiteX149" fmla="*/ 955289 w 1573156"/>
                <a:gd name="connsiteY149" fmla="*/ 3160756 h 3837710"/>
                <a:gd name="connsiteX150" fmla="*/ 1024565 w 1573156"/>
                <a:gd name="connsiteY150" fmla="*/ 3114213 h 3837710"/>
                <a:gd name="connsiteX151" fmla="*/ 1019023 w 1573156"/>
                <a:gd name="connsiteY151" fmla="*/ 3067671 h 3837710"/>
                <a:gd name="connsiteX152" fmla="*/ 1043963 w 1573156"/>
                <a:gd name="connsiteY152" fmla="*/ 3028886 h 3837710"/>
                <a:gd name="connsiteX153" fmla="*/ 1016252 w 1573156"/>
                <a:gd name="connsiteY153" fmla="*/ 3026300 h 3837710"/>
                <a:gd name="connsiteX154" fmla="*/ 1031704 w 1573156"/>
                <a:gd name="connsiteY154" fmla="*/ 2992878 h 3837710"/>
                <a:gd name="connsiteX155" fmla="*/ 914211 w 1573156"/>
                <a:gd name="connsiteY155" fmla="*/ 2928233 h 3837710"/>
                <a:gd name="connsiteX156" fmla="*/ 858304 w 1573156"/>
                <a:gd name="connsiteY156" fmla="*/ 2909943 h 3837710"/>
                <a:gd name="connsiteX157" fmla="*/ 827823 w 1573156"/>
                <a:gd name="connsiteY157" fmla="*/ 2881501 h 3837710"/>
                <a:gd name="connsiteX158" fmla="*/ 761317 w 1573156"/>
                <a:gd name="connsiteY158" fmla="*/ 2897015 h 3837710"/>
                <a:gd name="connsiteX159" fmla="*/ 700355 w 1573156"/>
                <a:gd name="connsiteY159" fmla="*/ 2891844 h 3837710"/>
                <a:gd name="connsiteX160" fmla="*/ 658790 w 1573156"/>
                <a:gd name="connsiteY160" fmla="*/ 2827201 h 3837710"/>
                <a:gd name="connsiteX161" fmla="*/ 656019 w 1573156"/>
                <a:gd name="connsiteY161" fmla="*/ 2785830 h 3837710"/>
                <a:gd name="connsiteX162" fmla="*/ 631080 w 1573156"/>
                <a:gd name="connsiteY162" fmla="*/ 2772902 h 3837710"/>
                <a:gd name="connsiteX163" fmla="*/ 567346 w 1573156"/>
                <a:gd name="connsiteY163" fmla="*/ 2759974 h 3837710"/>
                <a:gd name="connsiteX164" fmla="*/ 586743 w 1573156"/>
                <a:gd name="connsiteY164" fmla="*/ 2721188 h 3837710"/>
                <a:gd name="connsiteX165" fmla="*/ 557777 w 1573156"/>
                <a:gd name="connsiteY165" fmla="*/ 2715007 h 3837710"/>
                <a:gd name="connsiteX166" fmla="*/ 531809 w 1573156"/>
                <a:gd name="connsiteY166" fmla="*/ 2672771 h 3837710"/>
                <a:gd name="connsiteX167" fmla="*/ 414939 w 1573156"/>
                <a:gd name="connsiteY167" fmla="*/ 2682402 h 3837710"/>
                <a:gd name="connsiteX168" fmla="*/ 390000 w 1573156"/>
                <a:gd name="connsiteY168" fmla="*/ 2672059 h 3837710"/>
                <a:gd name="connsiteX169" fmla="*/ 367832 w 1573156"/>
                <a:gd name="connsiteY169" fmla="*/ 2684989 h 3837710"/>
                <a:gd name="connsiteX170" fmla="*/ 351205 w 1573156"/>
                <a:gd name="connsiteY170" fmla="*/ 2622932 h 3837710"/>
                <a:gd name="connsiteX171" fmla="*/ 340121 w 1573156"/>
                <a:gd name="connsiteY171" fmla="*/ 2597075 h 3837710"/>
                <a:gd name="connsiteX172" fmla="*/ 353976 w 1573156"/>
                <a:gd name="connsiteY172" fmla="*/ 2578974 h 3837710"/>
                <a:gd name="connsiteX173" fmla="*/ 381687 w 1573156"/>
                <a:gd name="connsiteY173" fmla="*/ 2581561 h 3837710"/>
                <a:gd name="connsiteX174" fmla="*/ 414939 w 1573156"/>
                <a:gd name="connsiteY174" fmla="*/ 2563461 h 3837710"/>
                <a:gd name="connsiteX175" fmla="*/ 412168 w 1573156"/>
                <a:gd name="connsiteY175" fmla="*/ 2537603 h 3837710"/>
                <a:gd name="connsiteX176" fmla="*/ 362289 w 1573156"/>
                <a:gd name="connsiteY176" fmla="*/ 2501404 h 3837710"/>
                <a:gd name="connsiteX177" fmla="*/ 338946 w 1573156"/>
                <a:gd name="connsiteY177" fmla="*/ 2513491 h 3837710"/>
                <a:gd name="connsiteX178" fmla="*/ 340121 w 1573156"/>
                <a:gd name="connsiteY178" fmla="*/ 2467790 h 3837710"/>
                <a:gd name="connsiteX179" fmla="*/ 306869 w 1573156"/>
                <a:gd name="connsiteY179" fmla="*/ 2429005 h 3837710"/>
                <a:gd name="connsiteX180" fmla="*/ 309641 w 1573156"/>
                <a:gd name="connsiteY180" fmla="*/ 2351433 h 3837710"/>
                <a:gd name="connsiteX181" fmla="*/ 290243 w 1573156"/>
                <a:gd name="connsiteY181" fmla="*/ 2299720 h 3837710"/>
                <a:gd name="connsiteX182" fmla="*/ 256991 w 1573156"/>
                <a:gd name="connsiteY182" fmla="*/ 2266106 h 3837710"/>
                <a:gd name="connsiteX183" fmla="*/ 218196 w 1573156"/>
                <a:gd name="connsiteY183" fmla="*/ 2242835 h 3837710"/>
                <a:gd name="connsiteX184" fmla="*/ 176631 w 1573156"/>
                <a:gd name="connsiteY184" fmla="*/ 2250592 h 3837710"/>
                <a:gd name="connsiteX185" fmla="*/ 122255 w 1573156"/>
                <a:gd name="connsiteY185" fmla="*/ 2214066 h 3837710"/>
                <a:gd name="connsiteX0" fmla="*/ 122255 w 1573156"/>
                <a:gd name="connsiteY0" fmla="*/ 2214066 h 3837710"/>
                <a:gd name="connsiteX1" fmla="*/ 63018 w 1573156"/>
                <a:gd name="connsiteY1" fmla="*/ 2216977 h 3837710"/>
                <a:gd name="connsiteX2" fmla="*/ 60248 w 1573156"/>
                <a:gd name="connsiteY2" fmla="*/ 2118721 h 3837710"/>
                <a:gd name="connsiteX3" fmla="*/ 71333 w 1573156"/>
                <a:gd name="connsiteY3" fmla="*/ 2077350 h 3837710"/>
                <a:gd name="connsiteX4" fmla="*/ 74102 w 1573156"/>
                <a:gd name="connsiteY4" fmla="*/ 2030807 h 3837710"/>
                <a:gd name="connsiteX5" fmla="*/ 76875 w 1573156"/>
                <a:gd name="connsiteY5" fmla="*/ 2020467 h 3837710"/>
                <a:gd name="connsiteX6" fmla="*/ 118439 w 1573156"/>
                <a:gd name="connsiteY6" fmla="*/ 1992023 h 3837710"/>
                <a:gd name="connsiteX7" fmla="*/ 82416 w 1573156"/>
                <a:gd name="connsiteY7" fmla="*/ 1963580 h 3837710"/>
                <a:gd name="connsiteX8" fmla="*/ 51935 w 1573156"/>
                <a:gd name="connsiteY8" fmla="*/ 1927380 h 3837710"/>
                <a:gd name="connsiteX9" fmla="*/ 40850 w 1573156"/>
                <a:gd name="connsiteY9" fmla="*/ 1893766 h 3837710"/>
                <a:gd name="connsiteX10" fmla="*/ 43621 w 1573156"/>
                <a:gd name="connsiteY10" fmla="*/ 1844639 h 3837710"/>
                <a:gd name="connsiteX11" fmla="*/ 82416 w 1573156"/>
                <a:gd name="connsiteY11" fmla="*/ 1826538 h 3837710"/>
                <a:gd name="connsiteX12" fmla="*/ 112899 w 1573156"/>
                <a:gd name="connsiteY12" fmla="*/ 1782581 h 3837710"/>
                <a:gd name="connsiteX13" fmla="*/ 96271 w 1573156"/>
                <a:gd name="connsiteY13" fmla="*/ 1754138 h 3837710"/>
                <a:gd name="connsiteX14" fmla="*/ 40851 w 1573156"/>
                <a:gd name="connsiteY14" fmla="*/ 1746381 h 3837710"/>
                <a:gd name="connsiteX15" fmla="*/ 2057 w 1573156"/>
                <a:gd name="connsiteY15" fmla="*/ 1730867 h 3837710"/>
                <a:gd name="connsiteX16" fmla="*/ 38079 w 1573156"/>
                <a:gd name="connsiteY16" fmla="*/ 1689496 h 3837710"/>
                <a:gd name="connsiteX17" fmla="*/ 18683 w 1573156"/>
                <a:gd name="connsiteY17" fmla="*/ 1679153 h 3837710"/>
                <a:gd name="connsiteX18" fmla="*/ 2055 w 1573156"/>
                <a:gd name="connsiteY18" fmla="*/ 1640367 h 3837710"/>
                <a:gd name="connsiteX19" fmla="*/ 65790 w 1573156"/>
                <a:gd name="connsiteY19" fmla="*/ 1650711 h 3837710"/>
                <a:gd name="connsiteX20" fmla="*/ 93501 w 1573156"/>
                <a:gd name="connsiteY20" fmla="*/ 1627440 h 3837710"/>
                <a:gd name="connsiteX21" fmla="*/ 187716 w 1573156"/>
                <a:gd name="connsiteY21" fmla="*/ 1536941 h 3837710"/>
                <a:gd name="connsiteX22" fmla="*/ 212655 w 1573156"/>
                <a:gd name="connsiteY22" fmla="*/ 1505912 h 3837710"/>
                <a:gd name="connsiteX23" fmla="*/ 198801 w 1573156"/>
                <a:gd name="connsiteY23" fmla="*/ 1555040 h 3837710"/>
                <a:gd name="connsiteX24" fmla="*/ 218197 w 1573156"/>
                <a:gd name="connsiteY24" fmla="*/ 1588655 h 3837710"/>
                <a:gd name="connsiteX25" fmla="*/ 262534 w 1573156"/>
                <a:gd name="connsiteY25" fmla="*/ 1666225 h 3837710"/>
                <a:gd name="connsiteX26" fmla="*/ 331810 w 1573156"/>
                <a:gd name="connsiteY26" fmla="*/ 1653297 h 3837710"/>
                <a:gd name="connsiteX27" fmla="*/ 351206 w 1573156"/>
                <a:gd name="connsiteY27" fmla="*/ 1622268 h 3837710"/>
                <a:gd name="connsiteX28" fmla="*/ 365062 w 1573156"/>
                <a:gd name="connsiteY28" fmla="*/ 1557627 h 3837710"/>
                <a:gd name="connsiteX29" fmla="*/ 304099 w 1573156"/>
                <a:gd name="connsiteY29" fmla="*/ 1511084 h 3837710"/>
                <a:gd name="connsiteX30" fmla="*/ 259763 w 1573156"/>
                <a:gd name="connsiteY30" fmla="*/ 1485227 h 3837710"/>
                <a:gd name="connsiteX31" fmla="*/ 198801 w 1573156"/>
                <a:gd name="connsiteY31" fmla="*/ 1495570 h 3837710"/>
                <a:gd name="connsiteX32" fmla="*/ 376147 w 1573156"/>
                <a:gd name="connsiteY32" fmla="*/ 1299057 h 3837710"/>
                <a:gd name="connsiteX33" fmla="*/ 223740 w 1573156"/>
                <a:gd name="connsiteY33" fmla="*/ 1151672 h 3837710"/>
                <a:gd name="connsiteX34" fmla="*/ 284703 w 1573156"/>
                <a:gd name="connsiteY34" fmla="*/ 1089617 h 3837710"/>
                <a:gd name="connsiteX35" fmla="*/ 218198 w 1573156"/>
                <a:gd name="connsiteY35" fmla="*/ 1050829 h 3837710"/>
                <a:gd name="connsiteX36" fmla="*/ 259763 w 1573156"/>
                <a:gd name="connsiteY36" fmla="*/ 1019802 h 3837710"/>
                <a:gd name="connsiteX37" fmla="*/ 212657 w 1573156"/>
                <a:gd name="connsiteY37" fmla="*/ 993947 h 3837710"/>
                <a:gd name="connsiteX38" fmla="*/ 212656 w 1573156"/>
                <a:gd name="connsiteY38" fmla="*/ 794845 h 3837710"/>
                <a:gd name="connsiteX39" fmla="*/ 251451 w 1573156"/>
                <a:gd name="connsiteY39" fmla="*/ 779332 h 3837710"/>
                <a:gd name="connsiteX40" fmla="*/ 137838 w 1573156"/>
                <a:gd name="connsiteY40" fmla="*/ 551792 h 3837710"/>
                <a:gd name="connsiteX41" fmla="*/ 135067 w 1573156"/>
                <a:gd name="connsiteY41" fmla="*/ 551792 h 3837710"/>
                <a:gd name="connsiteX42" fmla="*/ 184945 w 1573156"/>
                <a:gd name="connsiteY42" fmla="*/ 469048 h 3837710"/>
                <a:gd name="connsiteX43" fmla="*/ 201571 w 1573156"/>
                <a:gd name="connsiteY43" fmla="*/ 378550 h 3837710"/>
                <a:gd name="connsiteX44" fmla="*/ 126752 w 1573156"/>
                <a:gd name="connsiteY44" fmla="*/ 319079 h 3837710"/>
                <a:gd name="connsiteX45" fmla="*/ 118440 w 1573156"/>
                <a:gd name="connsiteY45" fmla="*/ 251851 h 3837710"/>
                <a:gd name="connsiteX46" fmla="*/ 173860 w 1573156"/>
                <a:gd name="connsiteY46" fmla="*/ 158764 h 3837710"/>
                <a:gd name="connsiteX47" fmla="*/ 193258 w 1573156"/>
                <a:gd name="connsiteY47" fmla="*/ 135494 h 3837710"/>
                <a:gd name="connsiteX48" fmla="*/ 207113 w 1573156"/>
                <a:gd name="connsiteY48" fmla="*/ 117394 h 3837710"/>
                <a:gd name="connsiteX49" fmla="*/ 215426 w 1573156"/>
                <a:gd name="connsiteY49" fmla="*/ 73438 h 3837710"/>
                <a:gd name="connsiteX50" fmla="*/ 240365 w 1573156"/>
                <a:gd name="connsiteY50" fmla="*/ 101880 h 3837710"/>
                <a:gd name="connsiteX51" fmla="*/ 270847 w 1573156"/>
                <a:gd name="connsiteY51" fmla="*/ 88952 h 3837710"/>
                <a:gd name="connsiteX52" fmla="*/ 273617 w 1573156"/>
                <a:gd name="connsiteY52" fmla="*/ 63095 h 3837710"/>
                <a:gd name="connsiteX53" fmla="*/ 281931 w 1573156"/>
                <a:gd name="connsiteY53" fmla="*/ 34652 h 3837710"/>
                <a:gd name="connsiteX54" fmla="*/ 284703 w 1573156"/>
                <a:gd name="connsiteY54" fmla="*/ 3624 h 3837710"/>
                <a:gd name="connsiteX55" fmla="*/ 420483 w 1573156"/>
                <a:gd name="connsiteY55" fmla="*/ 57924 h 3837710"/>
                <a:gd name="connsiteX56" fmla="*/ 450963 w 1573156"/>
                <a:gd name="connsiteY56" fmla="*/ 161352 h 3837710"/>
                <a:gd name="connsiteX57" fmla="*/ 464819 w 1573156"/>
                <a:gd name="connsiteY57" fmla="*/ 184622 h 3837710"/>
                <a:gd name="connsiteX58" fmla="*/ 475903 w 1573156"/>
                <a:gd name="connsiteY58" fmla="*/ 187208 h 3837710"/>
                <a:gd name="connsiteX59" fmla="*/ 589515 w 1573156"/>
                <a:gd name="connsiteY59" fmla="*/ 156181 h 3837710"/>
                <a:gd name="connsiteX60" fmla="*/ 656020 w 1573156"/>
                <a:gd name="connsiteY60" fmla="*/ 166522 h 3837710"/>
                <a:gd name="connsiteX61" fmla="*/ 719754 w 1573156"/>
                <a:gd name="connsiteY61" fmla="*/ 213065 h 3837710"/>
                <a:gd name="connsiteX62" fmla="*/ 733781 w 1573156"/>
                <a:gd name="connsiteY62" fmla="*/ 242621 h 3837710"/>
                <a:gd name="connsiteX63" fmla="*/ 789028 w 1573156"/>
                <a:gd name="connsiteY63" fmla="*/ 277708 h 3837710"/>
                <a:gd name="connsiteX64" fmla="*/ 877702 w 1573156"/>
                <a:gd name="connsiteY64" fmla="*/ 303563 h 3837710"/>
                <a:gd name="connsiteX65" fmla="*/ 949748 w 1573156"/>
                <a:gd name="connsiteY65" fmla="*/ 350106 h 3837710"/>
                <a:gd name="connsiteX66" fmla="*/ 999627 w 1573156"/>
                <a:gd name="connsiteY66" fmla="*/ 401820 h 3837710"/>
                <a:gd name="connsiteX67" fmla="*/ 1024566 w 1573156"/>
                <a:gd name="connsiteY67" fmla="*/ 440606 h 3837710"/>
                <a:gd name="connsiteX68" fmla="*/ 1057819 w 1573156"/>
                <a:gd name="connsiteY68" fmla="*/ 466462 h 3837710"/>
                <a:gd name="connsiteX69" fmla="*/ 1041191 w 1573156"/>
                <a:gd name="connsiteY69" fmla="*/ 691417 h 3837710"/>
                <a:gd name="connsiteX70" fmla="*/ 913725 w 1573156"/>
                <a:gd name="connsiteY70" fmla="*/ 771575 h 3837710"/>
                <a:gd name="connsiteX71" fmla="*/ 800113 w 1573156"/>
                <a:gd name="connsiteY71" fmla="*/ 779331 h 3837710"/>
                <a:gd name="connsiteX72" fmla="*/ 661560 w 1573156"/>
                <a:gd name="connsiteY72" fmla="*/ 758645 h 3837710"/>
                <a:gd name="connsiteX73" fmla="*/ 570116 w 1573156"/>
                <a:gd name="connsiteY73" fmla="*/ 722445 h 3837710"/>
                <a:gd name="connsiteX74" fmla="*/ 550719 w 1573156"/>
                <a:gd name="connsiteY74" fmla="*/ 750888 h 3837710"/>
                <a:gd name="connsiteX75" fmla="*/ 581361 w 1573156"/>
                <a:gd name="connsiteY75" fmla="*/ 824301 h 3837710"/>
                <a:gd name="connsiteX76" fmla="*/ 586902 w 1573156"/>
                <a:gd name="connsiteY76" fmla="*/ 951000 h 3837710"/>
                <a:gd name="connsiteX77" fmla="*/ 559032 w 1573156"/>
                <a:gd name="connsiteY77" fmla="*/ 1012043 h 3837710"/>
                <a:gd name="connsiteX78" fmla="*/ 614451 w 1573156"/>
                <a:gd name="connsiteY78" fmla="*/ 1032728 h 3837710"/>
                <a:gd name="connsiteX79" fmla="*/ 631079 w 1573156"/>
                <a:gd name="connsiteY79" fmla="*/ 1048242 h 3837710"/>
                <a:gd name="connsiteX80" fmla="*/ 656019 w 1573156"/>
                <a:gd name="connsiteY80" fmla="*/ 1074099 h 3837710"/>
                <a:gd name="connsiteX81" fmla="*/ 653248 w 1573156"/>
                <a:gd name="connsiteY81" fmla="*/ 1076685 h 3837710"/>
                <a:gd name="connsiteX82" fmla="*/ 692041 w 1573156"/>
                <a:gd name="connsiteY82" fmla="*/ 1071514 h 3837710"/>
                <a:gd name="connsiteX83" fmla="*/ 700355 w 1573156"/>
                <a:gd name="connsiteY83" fmla="*/ 1035314 h 3837710"/>
                <a:gd name="connsiteX84" fmla="*/ 661560 w 1573156"/>
                <a:gd name="connsiteY84" fmla="*/ 957743 h 3837710"/>
                <a:gd name="connsiteX85" fmla="*/ 730836 w 1573156"/>
                <a:gd name="connsiteY85" fmla="*/ 911200 h 3837710"/>
                <a:gd name="connsiteX86" fmla="*/ 798608 w 1573156"/>
                <a:gd name="connsiteY86" fmla="*/ 918934 h 3837710"/>
                <a:gd name="connsiteX87" fmla="*/ 822441 w 1573156"/>
                <a:gd name="connsiteY87" fmla="*/ 951001 h 3837710"/>
                <a:gd name="connsiteX88" fmla="*/ 978170 w 1573156"/>
                <a:gd name="connsiteY88" fmla="*/ 1007364 h 3837710"/>
                <a:gd name="connsiteX89" fmla="*/ 963762 w 1573156"/>
                <a:gd name="connsiteY89" fmla="*/ 971687 h 3837710"/>
                <a:gd name="connsiteX90" fmla="*/ 930510 w 1573156"/>
                <a:gd name="connsiteY90" fmla="*/ 932901 h 3837710"/>
                <a:gd name="connsiteX91" fmla="*/ 919426 w 1573156"/>
                <a:gd name="connsiteY91" fmla="*/ 881187 h 3837710"/>
                <a:gd name="connsiteX92" fmla="*/ 958221 w 1573156"/>
                <a:gd name="connsiteY92" fmla="*/ 832060 h 3837710"/>
                <a:gd name="connsiteX93" fmla="*/ 985931 w 1573156"/>
                <a:gd name="connsiteY93" fmla="*/ 803617 h 3837710"/>
                <a:gd name="connsiteX94" fmla="*/ 1010871 w 1573156"/>
                <a:gd name="connsiteY94" fmla="*/ 767417 h 3837710"/>
                <a:gd name="connsiteX95" fmla="*/ 1091231 w 1573156"/>
                <a:gd name="connsiteY95" fmla="*/ 762245 h 3837710"/>
                <a:gd name="connsiteX96" fmla="*/ 1096772 w 1573156"/>
                <a:gd name="connsiteY96" fmla="*/ 741560 h 3837710"/>
                <a:gd name="connsiteX97" fmla="*/ 1121712 w 1573156"/>
                <a:gd name="connsiteY97" fmla="*/ 705360 h 3837710"/>
                <a:gd name="connsiteX98" fmla="*/ 1155516 w 1573156"/>
                <a:gd name="connsiteY98" fmla="*/ 687772 h 3837710"/>
                <a:gd name="connsiteX99" fmla="*/ 1213156 w 1573156"/>
                <a:gd name="connsiteY99" fmla="*/ 700189 h 3837710"/>
                <a:gd name="connsiteX100" fmla="*/ 1251949 w 1573156"/>
                <a:gd name="connsiteY100" fmla="*/ 720875 h 3837710"/>
                <a:gd name="connsiteX101" fmla="*/ 1299057 w 1573156"/>
                <a:gd name="connsiteY101" fmla="*/ 728632 h 3837710"/>
                <a:gd name="connsiteX102" fmla="*/ 1299057 w 1573156"/>
                <a:gd name="connsiteY102" fmla="*/ 733803 h 3837710"/>
                <a:gd name="connsiteX103" fmla="*/ 1321226 w 1573156"/>
                <a:gd name="connsiteY103" fmla="*/ 674332 h 3837710"/>
                <a:gd name="connsiteX104" fmla="*/ 1331201 w 1573156"/>
                <a:gd name="connsiteY104" fmla="*/ 640714 h 3837710"/>
                <a:gd name="connsiteX105" fmla="*/ 1337852 w 1573156"/>
                <a:gd name="connsiteY105" fmla="*/ 622618 h 3837710"/>
                <a:gd name="connsiteX106" fmla="*/ 1340789 w 1573156"/>
                <a:gd name="connsiteY106" fmla="*/ 591288 h 3837710"/>
                <a:gd name="connsiteX107" fmla="*/ 1260263 w 1573156"/>
                <a:gd name="connsiteY107" fmla="*/ 545048 h 3837710"/>
                <a:gd name="connsiteX108" fmla="*/ 1246408 w 1573156"/>
                <a:gd name="connsiteY108" fmla="*/ 472648 h 3837710"/>
                <a:gd name="connsiteX109" fmla="*/ 1246408 w 1573156"/>
                <a:gd name="connsiteY109" fmla="*/ 454548 h 3837710"/>
                <a:gd name="connsiteX110" fmla="*/ 1257491 w 1573156"/>
                <a:gd name="connsiteY110" fmla="*/ 431276 h 3837710"/>
                <a:gd name="connsiteX111" fmla="*/ 1260263 w 1573156"/>
                <a:gd name="connsiteY111" fmla="*/ 415762 h 3837710"/>
                <a:gd name="connsiteX112" fmla="*/ 1260262 w 1573156"/>
                <a:gd name="connsiteY112" fmla="*/ 358878 h 3837710"/>
                <a:gd name="connsiteX113" fmla="*/ 1238094 w 1573156"/>
                <a:gd name="connsiteY113" fmla="*/ 335607 h 3837710"/>
                <a:gd name="connsiteX114" fmla="*/ 1210384 w 1573156"/>
                <a:gd name="connsiteY114" fmla="*/ 304578 h 3837710"/>
                <a:gd name="connsiteX115" fmla="*/ 1206216 w 1573156"/>
                <a:gd name="connsiteY115" fmla="*/ 280325 h 3837710"/>
                <a:gd name="connsiteX116" fmla="*/ 1257492 w 1573156"/>
                <a:gd name="connsiteY116" fmla="*/ 258034 h 3837710"/>
                <a:gd name="connsiteX117" fmla="*/ 1311072 w 1573156"/>
                <a:gd name="connsiteY117" fmla="*/ 267906 h 3837710"/>
                <a:gd name="connsiteX118" fmla="*/ 1389856 w 1573156"/>
                <a:gd name="connsiteY118" fmla="*/ 279816 h 3837710"/>
                <a:gd name="connsiteX119" fmla="*/ 1474179 w 1573156"/>
                <a:gd name="connsiteY119" fmla="*/ 349175 h 3837710"/>
                <a:gd name="connsiteX120" fmla="*/ 1536314 w 1573156"/>
                <a:gd name="connsiteY120" fmla="*/ 425271 h 3837710"/>
                <a:gd name="connsiteX121" fmla="*/ 1435343 w 1573156"/>
                <a:gd name="connsiteY121" fmla="*/ 454265 h 3837710"/>
                <a:gd name="connsiteX122" fmla="*/ 1419809 w 1573156"/>
                <a:gd name="connsiteY122" fmla="*/ 501372 h 3837710"/>
                <a:gd name="connsiteX123" fmla="*/ 1477479 w 1573156"/>
                <a:gd name="connsiteY123" fmla="*/ 585862 h 3837710"/>
                <a:gd name="connsiteX124" fmla="*/ 1513013 w 1573156"/>
                <a:gd name="connsiteY124" fmla="*/ 591964 h 3837710"/>
                <a:gd name="connsiteX125" fmla="*/ 1565633 w 1573156"/>
                <a:gd name="connsiteY125" fmla="*/ 598304 h 3837710"/>
                <a:gd name="connsiteX126" fmla="*/ 1560670 w 1573156"/>
                <a:gd name="connsiteY126" fmla="*/ 709079 h 3837710"/>
                <a:gd name="connsiteX127" fmla="*/ 1571739 w 1573156"/>
                <a:gd name="connsiteY127" fmla="*/ 1040047 h 3837710"/>
                <a:gd name="connsiteX128" fmla="*/ 1562871 w 1573156"/>
                <a:gd name="connsiteY128" fmla="*/ 1842646 h 3837710"/>
                <a:gd name="connsiteX129" fmla="*/ 1571738 w 1573156"/>
                <a:gd name="connsiteY129" fmla="*/ 2297728 h 3837710"/>
                <a:gd name="connsiteX130" fmla="*/ 1559146 w 1573156"/>
                <a:gd name="connsiteY130" fmla="*/ 3716291 h 3837710"/>
                <a:gd name="connsiteX131" fmla="*/ 1556603 w 1573156"/>
                <a:gd name="connsiteY131" fmla="*/ 3758050 h 3837710"/>
                <a:gd name="connsiteX132" fmla="*/ 1545518 w 1573156"/>
                <a:gd name="connsiteY132" fmla="*/ 3688238 h 3837710"/>
                <a:gd name="connsiteX133" fmla="*/ 1490099 w 1573156"/>
                <a:gd name="connsiteY133" fmla="*/ 3675307 h 3837710"/>
                <a:gd name="connsiteX134" fmla="*/ 1357089 w 1573156"/>
                <a:gd name="connsiteY134" fmla="*/ 3662380 h 3837710"/>
                <a:gd name="connsiteX135" fmla="*/ 1343234 w 1573156"/>
                <a:gd name="connsiteY135" fmla="*/ 3631352 h 3837710"/>
                <a:gd name="connsiteX136" fmla="*/ 1290584 w 1573156"/>
                <a:gd name="connsiteY136" fmla="*/ 3610666 h 3837710"/>
                <a:gd name="connsiteX137" fmla="*/ 1195420 w 1573156"/>
                <a:gd name="connsiteY137" fmla="*/ 3605469 h 3837710"/>
                <a:gd name="connsiteX138" fmla="*/ 1013482 w 1573156"/>
                <a:gd name="connsiteY138" fmla="*/ 3592567 h 3837710"/>
                <a:gd name="connsiteX139" fmla="*/ 1123928 w 1573156"/>
                <a:gd name="connsiteY139" fmla="*/ 3663387 h 3837710"/>
                <a:gd name="connsiteX140" fmla="*/ 907787 w 1573156"/>
                <a:gd name="connsiteY140" fmla="*/ 3629257 h 3837710"/>
                <a:gd name="connsiteX141" fmla="*/ 776238 w 1573156"/>
                <a:gd name="connsiteY141" fmla="*/ 3504783 h 3837710"/>
                <a:gd name="connsiteX142" fmla="*/ 708669 w 1573156"/>
                <a:gd name="connsiteY142" fmla="*/ 3437426 h 3837710"/>
                <a:gd name="connsiteX143" fmla="*/ 739150 w 1573156"/>
                <a:gd name="connsiteY143" fmla="*/ 3437426 h 3837710"/>
                <a:gd name="connsiteX144" fmla="*/ 750233 w 1573156"/>
                <a:gd name="connsiteY144" fmla="*/ 3408982 h 3837710"/>
                <a:gd name="connsiteX145" fmla="*/ 783486 w 1573156"/>
                <a:gd name="connsiteY145" fmla="*/ 3354683 h 3837710"/>
                <a:gd name="connsiteX146" fmla="*/ 747462 w 1573156"/>
                <a:gd name="connsiteY146" fmla="*/ 3297798 h 3837710"/>
                <a:gd name="connsiteX147" fmla="*/ 836135 w 1573156"/>
                <a:gd name="connsiteY147" fmla="*/ 3225398 h 3837710"/>
                <a:gd name="connsiteX148" fmla="*/ 902641 w 1573156"/>
                <a:gd name="connsiteY148" fmla="*/ 3217642 h 3837710"/>
                <a:gd name="connsiteX149" fmla="*/ 955289 w 1573156"/>
                <a:gd name="connsiteY149" fmla="*/ 3160756 h 3837710"/>
                <a:gd name="connsiteX150" fmla="*/ 1024565 w 1573156"/>
                <a:gd name="connsiteY150" fmla="*/ 3114213 h 3837710"/>
                <a:gd name="connsiteX151" fmla="*/ 1019023 w 1573156"/>
                <a:gd name="connsiteY151" fmla="*/ 3067671 h 3837710"/>
                <a:gd name="connsiteX152" fmla="*/ 1043963 w 1573156"/>
                <a:gd name="connsiteY152" fmla="*/ 3028886 h 3837710"/>
                <a:gd name="connsiteX153" fmla="*/ 1016252 w 1573156"/>
                <a:gd name="connsiteY153" fmla="*/ 3026300 h 3837710"/>
                <a:gd name="connsiteX154" fmla="*/ 1031704 w 1573156"/>
                <a:gd name="connsiteY154" fmla="*/ 2992878 h 3837710"/>
                <a:gd name="connsiteX155" fmla="*/ 914211 w 1573156"/>
                <a:gd name="connsiteY155" fmla="*/ 2928233 h 3837710"/>
                <a:gd name="connsiteX156" fmla="*/ 858304 w 1573156"/>
                <a:gd name="connsiteY156" fmla="*/ 2909943 h 3837710"/>
                <a:gd name="connsiteX157" fmla="*/ 827823 w 1573156"/>
                <a:gd name="connsiteY157" fmla="*/ 2881501 h 3837710"/>
                <a:gd name="connsiteX158" fmla="*/ 761317 w 1573156"/>
                <a:gd name="connsiteY158" fmla="*/ 2897015 h 3837710"/>
                <a:gd name="connsiteX159" fmla="*/ 700355 w 1573156"/>
                <a:gd name="connsiteY159" fmla="*/ 2891844 h 3837710"/>
                <a:gd name="connsiteX160" fmla="*/ 658790 w 1573156"/>
                <a:gd name="connsiteY160" fmla="*/ 2827201 h 3837710"/>
                <a:gd name="connsiteX161" fmla="*/ 656019 w 1573156"/>
                <a:gd name="connsiteY161" fmla="*/ 2785830 h 3837710"/>
                <a:gd name="connsiteX162" fmla="*/ 631080 w 1573156"/>
                <a:gd name="connsiteY162" fmla="*/ 2772902 h 3837710"/>
                <a:gd name="connsiteX163" fmla="*/ 567346 w 1573156"/>
                <a:gd name="connsiteY163" fmla="*/ 2759974 h 3837710"/>
                <a:gd name="connsiteX164" fmla="*/ 586743 w 1573156"/>
                <a:gd name="connsiteY164" fmla="*/ 2721188 h 3837710"/>
                <a:gd name="connsiteX165" fmla="*/ 557777 w 1573156"/>
                <a:gd name="connsiteY165" fmla="*/ 2715007 h 3837710"/>
                <a:gd name="connsiteX166" fmla="*/ 531809 w 1573156"/>
                <a:gd name="connsiteY166" fmla="*/ 2672771 h 3837710"/>
                <a:gd name="connsiteX167" fmla="*/ 414939 w 1573156"/>
                <a:gd name="connsiteY167" fmla="*/ 2682402 h 3837710"/>
                <a:gd name="connsiteX168" fmla="*/ 390000 w 1573156"/>
                <a:gd name="connsiteY168" fmla="*/ 2672059 h 3837710"/>
                <a:gd name="connsiteX169" fmla="*/ 367832 w 1573156"/>
                <a:gd name="connsiteY169" fmla="*/ 2684989 h 3837710"/>
                <a:gd name="connsiteX170" fmla="*/ 351205 w 1573156"/>
                <a:gd name="connsiteY170" fmla="*/ 2622932 h 3837710"/>
                <a:gd name="connsiteX171" fmla="*/ 340121 w 1573156"/>
                <a:gd name="connsiteY171" fmla="*/ 2597075 h 3837710"/>
                <a:gd name="connsiteX172" fmla="*/ 353976 w 1573156"/>
                <a:gd name="connsiteY172" fmla="*/ 2578974 h 3837710"/>
                <a:gd name="connsiteX173" fmla="*/ 381687 w 1573156"/>
                <a:gd name="connsiteY173" fmla="*/ 2581561 h 3837710"/>
                <a:gd name="connsiteX174" fmla="*/ 414939 w 1573156"/>
                <a:gd name="connsiteY174" fmla="*/ 2563461 h 3837710"/>
                <a:gd name="connsiteX175" fmla="*/ 412168 w 1573156"/>
                <a:gd name="connsiteY175" fmla="*/ 2537603 h 3837710"/>
                <a:gd name="connsiteX176" fmla="*/ 362289 w 1573156"/>
                <a:gd name="connsiteY176" fmla="*/ 2501404 h 3837710"/>
                <a:gd name="connsiteX177" fmla="*/ 338946 w 1573156"/>
                <a:gd name="connsiteY177" fmla="*/ 2513491 h 3837710"/>
                <a:gd name="connsiteX178" fmla="*/ 340121 w 1573156"/>
                <a:gd name="connsiteY178" fmla="*/ 2467790 h 3837710"/>
                <a:gd name="connsiteX179" fmla="*/ 306869 w 1573156"/>
                <a:gd name="connsiteY179" fmla="*/ 2429005 h 3837710"/>
                <a:gd name="connsiteX180" fmla="*/ 309641 w 1573156"/>
                <a:gd name="connsiteY180" fmla="*/ 2351433 h 3837710"/>
                <a:gd name="connsiteX181" fmla="*/ 290243 w 1573156"/>
                <a:gd name="connsiteY181" fmla="*/ 2299720 h 3837710"/>
                <a:gd name="connsiteX182" fmla="*/ 256991 w 1573156"/>
                <a:gd name="connsiteY182" fmla="*/ 2266106 h 3837710"/>
                <a:gd name="connsiteX183" fmla="*/ 218196 w 1573156"/>
                <a:gd name="connsiteY183" fmla="*/ 2242835 h 3837710"/>
                <a:gd name="connsiteX184" fmla="*/ 176631 w 1573156"/>
                <a:gd name="connsiteY184" fmla="*/ 2250592 h 3837710"/>
                <a:gd name="connsiteX185" fmla="*/ 122255 w 1573156"/>
                <a:gd name="connsiteY185" fmla="*/ 2214066 h 3837710"/>
                <a:gd name="connsiteX0" fmla="*/ 122255 w 1573156"/>
                <a:gd name="connsiteY0" fmla="*/ 2214066 h 3837710"/>
                <a:gd name="connsiteX1" fmla="*/ 63018 w 1573156"/>
                <a:gd name="connsiteY1" fmla="*/ 2216977 h 3837710"/>
                <a:gd name="connsiteX2" fmla="*/ 60248 w 1573156"/>
                <a:gd name="connsiteY2" fmla="*/ 2118721 h 3837710"/>
                <a:gd name="connsiteX3" fmla="*/ 71333 w 1573156"/>
                <a:gd name="connsiteY3" fmla="*/ 2077350 h 3837710"/>
                <a:gd name="connsiteX4" fmla="*/ 74102 w 1573156"/>
                <a:gd name="connsiteY4" fmla="*/ 2030807 h 3837710"/>
                <a:gd name="connsiteX5" fmla="*/ 76875 w 1573156"/>
                <a:gd name="connsiteY5" fmla="*/ 2020467 h 3837710"/>
                <a:gd name="connsiteX6" fmla="*/ 118439 w 1573156"/>
                <a:gd name="connsiteY6" fmla="*/ 1992023 h 3837710"/>
                <a:gd name="connsiteX7" fmla="*/ 82416 w 1573156"/>
                <a:gd name="connsiteY7" fmla="*/ 1963580 h 3837710"/>
                <a:gd name="connsiteX8" fmla="*/ 51935 w 1573156"/>
                <a:gd name="connsiteY8" fmla="*/ 1927380 h 3837710"/>
                <a:gd name="connsiteX9" fmla="*/ 40850 w 1573156"/>
                <a:gd name="connsiteY9" fmla="*/ 1893766 h 3837710"/>
                <a:gd name="connsiteX10" fmla="*/ 43621 w 1573156"/>
                <a:gd name="connsiteY10" fmla="*/ 1844639 h 3837710"/>
                <a:gd name="connsiteX11" fmla="*/ 82416 w 1573156"/>
                <a:gd name="connsiteY11" fmla="*/ 1826538 h 3837710"/>
                <a:gd name="connsiteX12" fmla="*/ 112899 w 1573156"/>
                <a:gd name="connsiteY12" fmla="*/ 1782581 h 3837710"/>
                <a:gd name="connsiteX13" fmla="*/ 96271 w 1573156"/>
                <a:gd name="connsiteY13" fmla="*/ 1754138 h 3837710"/>
                <a:gd name="connsiteX14" fmla="*/ 40851 w 1573156"/>
                <a:gd name="connsiteY14" fmla="*/ 1746381 h 3837710"/>
                <a:gd name="connsiteX15" fmla="*/ 2057 w 1573156"/>
                <a:gd name="connsiteY15" fmla="*/ 1730867 h 3837710"/>
                <a:gd name="connsiteX16" fmla="*/ 38079 w 1573156"/>
                <a:gd name="connsiteY16" fmla="*/ 1689496 h 3837710"/>
                <a:gd name="connsiteX17" fmla="*/ 18683 w 1573156"/>
                <a:gd name="connsiteY17" fmla="*/ 1679153 h 3837710"/>
                <a:gd name="connsiteX18" fmla="*/ 2055 w 1573156"/>
                <a:gd name="connsiteY18" fmla="*/ 1640367 h 3837710"/>
                <a:gd name="connsiteX19" fmla="*/ 65790 w 1573156"/>
                <a:gd name="connsiteY19" fmla="*/ 1650711 h 3837710"/>
                <a:gd name="connsiteX20" fmla="*/ 93501 w 1573156"/>
                <a:gd name="connsiteY20" fmla="*/ 1627440 h 3837710"/>
                <a:gd name="connsiteX21" fmla="*/ 187716 w 1573156"/>
                <a:gd name="connsiteY21" fmla="*/ 1536941 h 3837710"/>
                <a:gd name="connsiteX22" fmla="*/ 212655 w 1573156"/>
                <a:gd name="connsiteY22" fmla="*/ 1505912 h 3837710"/>
                <a:gd name="connsiteX23" fmla="*/ 198801 w 1573156"/>
                <a:gd name="connsiteY23" fmla="*/ 1555040 h 3837710"/>
                <a:gd name="connsiteX24" fmla="*/ 218197 w 1573156"/>
                <a:gd name="connsiteY24" fmla="*/ 1588655 h 3837710"/>
                <a:gd name="connsiteX25" fmla="*/ 262534 w 1573156"/>
                <a:gd name="connsiteY25" fmla="*/ 1666225 h 3837710"/>
                <a:gd name="connsiteX26" fmla="*/ 331810 w 1573156"/>
                <a:gd name="connsiteY26" fmla="*/ 1653297 h 3837710"/>
                <a:gd name="connsiteX27" fmla="*/ 351206 w 1573156"/>
                <a:gd name="connsiteY27" fmla="*/ 1622268 h 3837710"/>
                <a:gd name="connsiteX28" fmla="*/ 365062 w 1573156"/>
                <a:gd name="connsiteY28" fmla="*/ 1557627 h 3837710"/>
                <a:gd name="connsiteX29" fmla="*/ 304099 w 1573156"/>
                <a:gd name="connsiteY29" fmla="*/ 1511084 h 3837710"/>
                <a:gd name="connsiteX30" fmla="*/ 259763 w 1573156"/>
                <a:gd name="connsiteY30" fmla="*/ 1485227 h 3837710"/>
                <a:gd name="connsiteX31" fmla="*/ 198801 w 1573156"/>
                <a:gd name="connsiteY31" fmla="*/ 1495570 h 3837710"/>
                <a:gd name="connsiteX32" fmla="*/ 376147 w 1573156"/>
                <a:gd name="connsiteY32" fmla="*/ 1299057 h 3837710"/>
                <a:gd name="connsiteX33" fmla="*/ 223740 w 1573156"/>
                <a:gd name="connsiteY33" fmla="*/ 1151672 h 3837710"/>
                <a:gd name="connsiteX34" fmla="*/ 284703 w 1573156"/>
                <a:gd name="connsiteY34" fmla="*/ 1089617 h 3837710"/>
                <a:gd name="connsiteX35" fmla="*/ 218198 w 1573156"/>
                <a:gd name="connsiteY35" fmla="*/ 1050829 h 3837710"/>
                <a:gd name="connsiteX36" fmla="*/ 259763 w 1573156"/>
                <a:gd name="connsiteY36" fmla="*/ 1019802 h 3837710"/>
                <a:gd name="connsiteX37" fmla="*/ 212657 w 1573156"/>
                <a:gd name="connsiteY37" fmla="*/ 993947 h 3837710"/>
                <a:gd name="connsiteX38" fmla="*/ 212656 w 1573156"/>
                <a:gd name="connsiteY38" fmla="*/ 794845 h 3837710"/>
                <a:gd name="connsiteX39" fmla="*/ 251451 w 1573156"/>
                <a:gd name="connsiteY39" fmla="*/ 779332 h 3837710"/>
                <a:gd name="connsiteX40" fmla="*/ 137838 w 1573156"/>
                <a:gd name="connsiteY40" fmla="*/ 551792 h 3837710"/>
                <a:gd name="connsiteX41" fmla="*/ 135067 w 1573156"/>
                <a:gd name="connsiteY41" fmla="*/ 551792 h 3837710"/>
                <a:gd name="connsiteX42" fmla="*/ 184945 w 1573156"/>
                <a:gd name="connsiteY42" fmla="*/ 469048 h 3837710"/>
                <a:gd name="connsiteX43" fmla="*/ 201571 w 1573156"/>
                <a:gd name="connsiteY43" fmla="*/ 378550 h 3837710"/>
                <a:gd name="connsiteX44" fmla="*/ 126752 w 1573156"/>
                <a:gd name="connsiteY44" fmla="*/ 319079 h 3837710"/>
                <a:gd name="connsiteX45" fmla="*/ 118440 w 1573156"/>
                <a:gd name="connsiteY45" fmla="*/ 251851 h 3837710"/>
                <a:gd name="connsiteX46" fmla="*/ 173860 w 1573156"/>
                <a:gd name="connsiteY46" fmla="*/ 158764 h 3837710"/>
                <a:gd name="connsiteX47" fmla="*/ 193258 w 1573156"/>
                <a:gd name="connsiteY47" fmla="*/ 135494 h 3837710"/>
                <a:gd name="connsiteX48" fmla="*/ 207113 w 1573156"/>
                <a:gd name="connsiteY48" fmla="*/ 117394 h 3837710"/>
                <a:gd name="connsiteX49" fmla="*/ 215426 w 1573156"/>
                <a:gd name="connsiteY49" fmla="*/ 73438 h 3837710"/>
                <a:gd name="connsiteX50" fmla="*/ 240365 w 1573156"/>
                <a:gd name="connsiteY50" fmla="*/ 101880 h 3837710"/>
                <a:gd name="connsiteX51" fmla="*/ 270847 w 1573156"/>
                <a:gd name="connsiteY51" fmla="*/ 88952 h 3837710"/>
                <a:gd name="connsiteX52" fmla="*/ 273617 w 1573156"/>
                <a:gd name="connsiteY52" fmla="*/ 63095 h 3837710"/>
                <a:gd name="connsiteX53" fmla="*/ 281931 w 1573156"/>
                <a:gd name="connsiteY53" fmla="*/ 34652 h 3837710"/>
                <a:gd name="connsiteX54" fmla="*/ 284703 w 1573156"/>
                <a:gd name="connsiteY54" fmla="*/ 3624 h 3837710"/>
                <a:gd name="connsiteX55" fmla="*/ 420483 w 1573156"/>
                <a:gd name="connsiteY55" fmla="*/ 57924 h 3837710"/>
                <a:gd name="connsiteX56" fmla="*/ 450963 w 1573156"/>
                <a:gd name="connsiteY56" fmla="*/ 161352 h 3837710"/>
                <a:gd name="connsiteX57" fmla="*/ 464819 w 1573156"/>
                <a:gd name="connsiteY57" fmla="*/ 184622 h 3837710"/>
                <a:gd name="connsiteX58" fmla="*/ 475903 w 1573156"/>
                <a:gd name="connsiteY58" fmla="*/ 187208 h 3837710"/>
                <a:gd name="connsiteX59" fmla="*/ 589515 w 1573156"/>
                <a:gd name="connsiteY59" fmla="*/ 156181 h 3837710"/>
                <a:gd name="connsiteX60" fmla="*/ 656020 w 1573156"/>
                <a:gd name="connsiteY60" fmla="*/ 166522 h 3837710"/>
                <a:gd name="connsiteX61" fmla="*/ 719754 w 1573156"/>
                <a:gd name="connsiteY61" fmla="*/ 213065 h 3837710"/>
                <a:gd name="connsiteX62" fmla="*/ 733781 w 1573156"/>
                <a:gd name="connsiteY62" fmla="*/ 242621 h 3837710"/>
                <a:gd name="connsiteX63" fmla="*/ 789028 w 1573156"/>
                <a:gd name="connsiteY63" fmla="*/ 277708 h 3837710"/>
                <a:gd name="connsiteX64" fmla="*/ 877702 w 1573156"/>
                <a:gd name="connsiteY64" fmla="*/ 303563 h 3837710"/>
                <a:gd name="connsiteX65" fmla="*/ 949748 w 1573156"/>
                <a:gd name="connsiteY65" fmla="*/ 350106 h 3837710"/>
                <a:gd name="connsiteX66" fmla="*/ 999627 w 1573156"/>
                <a:gd name="connsiteY66" fmla="*/ 401820 h 3837710"/>
                <a:gd name="connsiteX67" fmla="*/ 1024566 w 1573156"/>
                <a:gd name="connsiteY67" fmla="*/ 440606 h 3837710"/>
                <a:gd name="connsiteX68" fmla="*/ 1057819 w 1573156"/>
                <a:gd name="connsiteY68" fmla="*/ 466462 h 3837710"/>
                <a:gd name="connsiteX69" fmla="*/ 1041191 w 1573156"/>
                <a:gd name="connsiteY69" fmla="*/ 691417 h 3837710"/>
                <a:gd name="connsiteX70" fmla="*/ 913725 w 1573156"/>
                <a:gd name="connsiteY70" fmla="*/ 771575 h 3837710"/>
                <a:gd name="connsiteX71" fmla="*/ 800113 w 1573156"/>
                <a:gd name="connsiteY71" fmla="*/ 779331 h 3837710"/>
                <a:gd name="connsiteX72" fmla="*/ 661560 w 1573156"/>
                <a:gd name="connsiteY72" fmla="*/ 758645 h 3837710"/>
                <a:gd name="connsiteX73" fmla="*/ 570116 w 1573156"/>
                <a:gd name="connsiteY73" fmla="*/ 722445 h 3837710"/>
                <a:gd name="connsiteX74" fmla="*/ 550719 w 1573156"/>
                <a:gd name="connsiteY74" fmla="*/ 750888 h 3837710"/>
                <a:gd name="connsiteX75" fmla="*/ 581361 w 1573156"/>
                <a:gd name="connsiteY75" fmla="*/ 824301 h 3837710"/>
                <a:gd name="connsiteX76" fmla="*/ 586902 w 1573156"/>
                <a:gd name="connsiteY76" fmla="*/ 951000 h 3837710"/>
                <a:gd name="connsiteX77" fmla="*/ 559032 w 1573156"/>
                <a:gd name="connsiteY77" fmla="*/ 1012043 h 3837710"/>
                <a:gd name="connsiteX78" fmla="*/ 614451 w 1573156"/>
                <a:gd name="connsiteY78" fmla="*/ 1032728 h 3837710"/>
                <a:gd name="connsiteX79" fmla="*/ 631079 w 1573156"/>
                <a:gd name="connsiteY79" fmla="*/ 1048242 h 3837710"/>
                <a:gd name="connsiteX80" fmla="*/ 656019 w 1573156"/>
                <a:gd name="connsiteY80" fmla="*/ 1074099 h 3837710"/>
                <a:gd name="connsiteX81" fmla="*/ 653248 w 1573156"/>
                <a:gd name="connsiteY81" fmla="*/ 1076685 h 3837710"/>
                <a:gd name="connsiteX82" fmla="*/ 692041 w 1573156"/>
                <a:gd name="connsiteY82" fmla="*/ 1071514 h 3837710"/>
                <a:gd name="connsiteX83" fmla="*/ 700355 w 1573156"/>
                <a:gd name="connsiteY83" fmla="*/ 1035314 h 3837710"/>
                <a:gd name="connsiteX84" fmla="*/ 661560 w 1573156"/>
                <a:gd name="connsiteY84" fmla="*/ 957743 h 3837710"/>
                <a:gd name="connsiteX85" fmla="*/ 730836 w 1573156"/>
                <a:gd name="connsiteY85" fmla="*/ 911200 h 3837710"/>
                <a:gd name="connsiteX86" fmla="*/ 798608 w 1573156"/>
                <a:gd name="connsiteY86" fmla="*/ 918934 h 3837710"/>
                <a:gd name="connsiteX87" fmla="*/ 822441 w 1573156"/>
                <a:gd name="connsiteY87" fmla="*/ 951001 h 3837710"/>
                <a:gd name="connsiteX88" fmla="*/ 978170 w 1573156"/>
                <a:gd name="connsiteY88" fmla="*/ 1007364 h 3837710"/>
                <a:gd name="connsiteX89" fmla="*/ 963762 w 1573156"/>
                <a:gd name="connsiteY89" fmla="*/ 971687 h 3837710"/>
                <a:gd name="connsiteX90" fmla="*/ 930510 w 1573156"/>
                <a:gd name="connsiteY90" fmla="*/ 932901 h 3837710"/>
                <a:gd name="connsiteX91" fmla="*/ 919426 w 1573156"/>
                <a:gd name="connsiteY91" fmla="*/ 881187 h 3837710"/>
                <a:gd name="connsiteX92" fmla="*/ 958221 w 1573156"/>
                <a:gd name="connsiteY92" fmla="*/ 832060 h 3837710"/>
                <a:gd name="connsiteX93" fmla="*/ 985931 w 1573156"/>
                <a:gd name="connsiteY93" fmla="*/ 803617 h 3837710"/>
                <a:gd name="connsiteX94" fmla="*/ 1010871 w 1573156"/>
                <a:gd name="connsiteY94" fmla="*/ 767417 h 3837710"/>
                <a:gd name="connsiteX95" fmla="*/ 1091231 w 1573156"/>
                <a:gd name="connsiteY95" fmla="*/ 762245 h 3837710"/>
                <a:gd name="connsiteX96" fmla="*/ 1096772 w 1573156"/>
                <a:gd name="connsiteY96" fmla="*/ 741560 h 3837710"/>
                <a:gd name="connsiteX97" fmla="*/ 1121712 w 1573156"/>
                <a:gd name="connsiteY97" fmla="*/ 705360 h 3837710"/>
                <a:gd name="connsiteX98" fmla="*/ 1155516 w 1573156"/>
                <a:gd name="connsiteY98" fmla="*/ 687772 h 3837710"/>
                <a:gd name="connsiteX99" fmla="*/ 1213156 w 1573156"/>
                <a:gd name="connsiteY99" fmla="*/ 700189 h 3837710"/>
                <a:gd name="connsiteX100" fmla="*/ 1251949 w 1573156"/>
                <a:gd name="connsiteY100" fmla="*/ 720875 h 3837710"/>
                <a:gd name="connsiteX101" fmla="*/ 1299057 w 1573156"/>
                <a:gd name="connsiteY101" fmla="*/ 728632 h 3837710"/>
                <a:gd name="connsiteX102" fmla="*/ 1299057 w 1573156"/>
                <a:gd name="connsiteY102" fmla="*/ 733803 h 3837710"/>
                <a:gd name="connsiteX103" fmla="*/ 1321226 w 1573156"/>
                <a:gd name="connsiteY103" fmla="*/ 674332 h 3837710"/>
                <a:gd name="connsiteX104" fmla="*/ 1331201 w 1573156"/>
                <a:gd name="connsiteY104" fmla="*/ 640714 h 3837710"/>
                <a:gd name="connsiteX105" fmla="*/ 1337852 w 1573156"/>
                <a:gd name="connsiteY105" fmla="*/ 622618 h 3837710"/>
                <a:gd name="connsiteX106" fmla="*/ 1340789 w 1573156"/>
                <a:gd name="connsiteY106" fmla="*/ 591288 h 3837710"/>
                <a:gd name="connsiteX107" fmla="*/ 1260263 w 1573156"/>
                <a:gd name="connsiteY107" fmla="*/ 545048 h 3837710"/>
                <a:gd name="connsiteX108" fmla="*/ 1246408 w 1573156"/>
                <a:gd name="connsiteY108" fmla="*/ 472648 h 3837710"/>
                <a:gd name="connsiteX109" fmla="*/ 1246408 w 1573156"/>
                <a:gd name="connsiteY109" fmla="*/ 454548 h 3837710"/>
                <a:gd name="connsiteX110" fmla="*/ 1257491 w 1573156"/>
                <a:gd name="connsiteY110" fmla="*/ 431276 h 3837710"/>
                <a:gd name="connsiteX111" fmla="*/ 1260263 w 1573156"/>
                <a:gd name="connsiteY111" fmla="*/ 415762 h 3837710"/>
                <a:gd name="connsiteX112" fmla="*/ 1260262 w 1573156"/>
                <a:gd name="connsiteY112" fmla="*/ 358878 h 3837710"/>
                <a:gd name="connsiteX113" fmla="*/ 1238094 w 1573156"/>
                <a:gd name="connsiteY113" fmla="*/ 335607 h 3837710"/>
                <a:gd name="connsiteX114" fmla="*/ 1210384 w 1573156"/>
                <a:gd name="connsiteY114" fmla="*/ 304578 h 3837710"/>
                <a:gd name="connsiteX115" fmla="*/ 1206216 w 1573156"/>
                <a:gd name="connsiteY115" fmla="*/ 280325 h 3837710"/>
                <a:gd name="connsiteX116" fmla="*/ 1257492 w 1573156"/>
                <a:gd name="connsiteY116" fmla="*/ 258034 h 3837710"/>
                <a:gd name="connsiteX117" fmla="*/ 1311072 w 1573156"/>
                <a:gd name="connsiteY117" fmla="*/ 267906 h 3837710"/>
                <a:gd name="connsiteX118" fmla="*/ 1389856 w 1573156"/>
                <a:gd name="connsiteY118" fmla="*/ 279816 h 3837710"/>
                <a:gd name="connsiteX119" fmla="*/ 1474179 w 1573156"/>
                <a:gd name="connsiteY119" fmla="*/ 349175 h 3837710"/>
                <a:gd name="connsiteX120" fmla="*/ 1536314 w 1573156"/>
                <a:gd name="connsiteY120" fmla="*/ 425271 h 3837710"/>
                <a:gd name="connsiteX121" fmla="*/ 1435343 w 1573156"/>
                <a:gd name="connsiteY121" fmla="*/ 454265 h 3837710"/>
                <a:gd name="connsiteX122" fmla="*/ 1419809 w 1573156"/>
                <a:gd name="connsiteY122" fmla="*/ 501372 h 3837710"/>
                <a:gd name="connsiteX123" fmla="*/ 1477479 w 1573156"/>
                <a:gd name="connsiteY123" fmla="*/ 585862 h 3837710"/>
                <a:gd name="connsiteX124" fmla="*/ 1513013 w 1573156"/>
                <a:gd name="connsiteY124" fmla="*/ 591964 h 3837710"/>
                <a:gd name="connsiteX125" fmla="*/ 1565633 w 1573156"/>
                <a:gd name="connsiteY125" fmla="*/ 598304 h 3837710"/>
                <a:gd name="connsiteX126" fmla="*/ 1560670 w 1573156"/>
                <a:gd name="connsiteY126" fmla="*/ 709079 h 3837710"/>
                <a:gd name="connsiteX127" fmla="*/ 1571739 w 1573156"/>
                <a:gd name="connsiteY127" fmla="*/ 1040047 h 3837710"/>
                <a:gd name="connsiteX128" fmla="*/ 1562871 w 1573156"/>
                <a:gd name="connsiteY128" fmla="*/ 1842646 h 3837710"/>
                <a:gd name="connsiteX129" fmla="*/ 1571738 w 1573156"/>
                <a:gd name="connsiteY129" fmla="*/ 2297728 h 3837710"/>
                <a:gd name="connsiteX130" fmla="*/ 1559146 w 1573156"/>
                <a:gd name="connsiteY130" fmla="*/ 3716291 h 3837710"/>
                <a:gd name="connsiteX131" fmla="*/ 1556603 w 1573156"/>
                <a:gd name="connsiteY131" fmla="*/ 3758050 h 3837710"/>
                <a:gd name="connsiteX132" fmla="*/ 1545518 w 1573156"/>
                <a:gd name="connsiteY132" fmla="*/ 3688238 h 3837710"/>
                <a:gd name="connsiteX133" fmla="*/ 1490099 w 1573156"/>
                <a:gd name="connsiteY133" fmla="*/ 3675307 h 3837710"/>
                <a:gd name="connsiteX134" fmla="*/ 1445761 w 1573156"/>
                <a:gd name="connsiteY134" fmla="*/ 3646867 h 3837710"/>
                <a:gd name="connsiteX135" fmla="*/ 1357089 w 1573156"/>
                <a:gd name="connsiteY135" fmla="*/ 3662380 h 3837710"/>
                <a:gd name="connsiteX136" fmla="*/ 1343234 w 1573156"/>
                <a:gd name="connsiteY136" fmla="*/ 3631352 h 3837710"/>
                <a:gd name="connsiteX137" fmla="*/ 1290584 w 1573156"/>
                <a:gd name="connsiteY137" fmla="*/ 3610666 h 3837710"/>
                <a:gd name="connsiteX138" fmla="*/ 1195420 w 1573156"/>
                <a:gd name="connsiteY138" fmla="*/ 3605469 h 3837710"/>
                <a:gd name="connsiteX139" fmla="*/ 1013482 w 1573156"/>
                <a:gd name="connsiteY139" fmla="*/ 3592567 h 3837710"/>
                <a:gd name="connsiteX140" fmla="*/ 1123928 w 1573156"/>
                <a:gd name="connsiteY140" fmla="*/ 3663387 h 3837710"/>
                <a:gd name="connsiteX141" fmla="*/ 907787 w 1573156"/>
                <a:gd name="connsiteY141" fmla="*/ 3629257 h 3837710"/>
                <a:gd name="connsiteX142" fmla="*/ 776238 w 1573156"/>
                <a:gd name="connsiteY142" fmla="*/ 3504783 h 3837710"/>
                <a:gd name="connsiteX143" fmla="*/ 708669 w 1573156"/>
                <a:gd name="connsiteY143" fmla="*/ 3437426 h 3837710"/>
                <a:gd name="connsiteX144" fmla="*/ 739150 w 1573156"/>
                <a:gd name="connsiteY144" fmla="*/ 3437426 h 3837710"/>
                <a:gd name="connsiteX145" fmla="*/ 750233 w 1573156"/>
                <a:gd name="connsiteY145" fmla="*/ 3408982 h 3837710"/>
                <a:gd name="connsiteX146" fmla="*/ 783486 w 1573156"/>
                <a:gd name="connsiteY146" fmla="*/ 3354683 h 3837710"/>
                <a:gd name="connsiteX147" fmla="*/ 747462 w 1573156"/>
                <a:gd name="connsiteY147" fmla="*/ 3297798 h 3837710"/>
                <a:gd name="connsiteX148" fmla="*/ 836135 w 1573156"/>
                <a:gd name="connsiteY148" fmla="*/ 3225398 h 3837710"/>
                <a:gd name="connsiteX149" fmla="*/ 902641 w 1573156"/>
                <a:gd name="connsiteY149" fmla="*/ 3217642 h 3837710"/>
                <a:gd name="connsiteX150" fmla="*/ 955289 w 1573156"/>
                <a:gd name="connsiteY150" fmla="*/ 3160756 h 3837710"/>
                <a:gd name="connsiteX151" fmla="*/ 1024565 w 1573156"/>
                <a:gd name="connsiteY151" fmla="*/ 3114213 h 3837710"/>
                <a:gd name="connsiteX152" fmla="*/ 1019023 w 1573156"/>
                <a:gd name="connsiteY152" fmla="*/ 3067671 h 3837710"/>
                <a:gd name="connsiteX153" fmla="*/ 1043963 w 1573156"/>
                <a:gd name="connsiteY153" fmla="*/ 3028886 h 3837710"/>
                <a:gd name="connsiteX154" fmla="*/ 1016252 w 1573156"/>
                <a:gd name="connsiteY154" fmla="*/ 3026300 h 3837710"/>
                <a:gd name="connsiteX155" fmla="*/ 1031704 w 1573156"/>
                <a:gd name="connsiteY155" fmla="*/ 2992878 h 3837710"/>
                <a:gd name="connsiteX156" fmla="*/ 914211 w 1573156"/>
                <a:gd name="connsiteY156" fmla="*/ 2928233 h 3837710"/>
                <a:gd name="connsiteX157" fmla="*/ 858304 w 1573156"/>
                <a:gd name="connsiteY157" fmla="*/ 2909943 h 3837710"/>
                <a:gd name="connsiteX158" fmla="*/ 827823 w 1573156"/>
                <a:gd name="connsiteY158" fmla="*/ 2881501 h 3837710"/>
                <a:gd name="connsiteX159" fmla="*/ 761317 w 1573156"/>
                <a:gd name="connsiteY159" fmla="*/ 2897015 h 3837710"/>
                <a:gd name="connsiteX160" fmla="*/ 700355 w 1573156"/>
                <a:gd name="connsiteY160" fmla="*/ 2891844 h 3837710"/>
                <a:gd name="connsiteX161" fmla="*/ 658790 w 1573156"/>
                <a:gd name="connsiteY161" fmla="*/ 2827201 h 3837710"/>
                <a:gd name="connsiteX162" fmla="*/ 656019 w 1573156"/>
                <a:gd name="connsiteY162" fmla="*/ 2785830 h 3837710"/>
                <a:gd name="connsiteX163" fmla="*/ 631080 w 1573156"/>
                <a:gd name="connsiteY163" fmla="*/ 2772902 h 3837710"/>
                <a:gd name="connsiteX164" fmla="*/ 567346 w 1573156"/>
                <a:gd name="connsiteY164" fmla="*/ 2759974 h 3837710"/>
                <a:gd name="connsiteX165" fmla="*/ 586743 w 1573156"/>
                <a:gd name="connsiteY165" fmla="*/ 2721188 h 3837710"/>
                <a:gd name="connsiteX166" fmla="*/ 557777 w 1573156"/>
                <a:gd name="connsiteY166" fmla="*/ 2715007 h 3837710"/>
                <a:gd name="connsiteX167" fmla="*/ 531809 w 1573156"/>
                <a:gd name="connsiteY167" fmla="*/ 2672771 h 3837710"/>
                <a:gd name="connsiteX168" fmla="*/ 414939 w 1573156"/>
                <a:gd name="connsiteY168" fmla="*/ 2682402 h 3837710"/>
                <a:gd name="connsiteX169" fmla="*/ 390000 w 1573156"/>
                <a:gd name="connsiteY169" fmla="*/ 2672059 h 3837710"/>
                <a:gd name="connsiteX170" fmla="*/ 367832 w 1573156"/>
                <a:gd name="connsiteY170" fmla="*/ 2684989 h 3837710"/>
                <a:gd name="connsiteX171" fmla="*/ 351205 w 1573156"/>
                <a:gd name="connsiteY171" fmla="*/ 2622932 h 3837710"/>
                <a:gd name="connsiteX172" fmla="*/ 340121 w 1573156"/>
                <a:gd name="connsiteY172" fmla="*/ 2597075 h 3837710"/>
                <a:gd name="connsiteX173" fmla="*/ 353976 w 1573156"/>
                <a:gd name="connsiteY173" fmla="*/ 2578974 h 3837710"/>
                <a:gd name="connsiteX174" fmla="*/ 381687 w 1573156"/>
                <a:gd name="connsiteY174" fmla="*/ 2581561 h 3837710"/>
                <a:gd name="connsiteX175" fmla="*/ 414939 w 1573156"/>
                <a:gd name="connsiteY175" fmla="*/ 2563461 h 3837710"/>
                <a:gd name="connsiteX176" fmla="*/ 412168 w 1573156"/>
                <a:gd name="connsiteY176" fmla="*/ 2537603 h 3837710"/>
                <a:gd name="connsiteX177" fmla="*/ 362289 w 1573156"/>
                <a:gd name="connsiteY177" fmla="*/ 2501404 h 3837710"/>
                <a:gd name="connsiteX178" fmla="*/ 338946 w 1573156"/>
                <a:gd name="connsiteY178" fmla="*/ 2513491 h 3837710"/>
                <a:gd name="connsiteX179" fmla="*/ 340121 w 1573156"/>
                <a:gd name="connsiteY179" fmla="*/ 2467790 h 3837710"/>
                <a:gd name="connsiteX180" fmla="*/ 306869 w 1573156"/>
                <a:gd name="connsiteY180" fmla="*/ 2429005 h 3837710"/>
                <a:gd name="connsiteX181" fmla="*/ 309641 w 1573156"/>
                <a:gd name="connsiteY181" fmla="*/ 2351433 h 3837710"/>
                <a:gd name="connsiteX182" fmla="*/ 290243 w 1573156"/>
                <a:gd name="connsiteY182" fmla="*/ 2299720 h 3837710"/>
                <a:gd name="connsiteX183" fmla="*/ 256991 w 1573156"/>
                <a:gd name="connsiteY183" fmla="*/ 2266106 h 3837710"/>
                <a:gd name="connsiteX184" fmla="*/ 218196 w 1573156"/>
                <a:gd name="connsiteY184" fmla="*/ 2242835 h 3837710"/>
                <a:gd name="connsiteX185" fmla="*/ 176631 w 1573156"/>
                <a:gd name="connsiteY185" fmla="*/ 2250592 h 3837710"/>
                <a:gd name="connsiteX186" fmla="*/ 122255 w 1573156"/>
                <a:gd name="connsiteY186" fmla="*/ 2214066 h 3837710"/>
                <a:gd name="connsiteX0" fmla="*/ 122255 w 1573156"/>
                <a:gd name="connsiteY0" fmla="*/ 2214066 h 3837710"/>
                <a:gd name="connsiteX1" fmla="*/ 63018 w 1573156"/>
                <a:gd name="connsiteY1" fmla="*/ 2216977 h 3837710"/>
                <a:gd name="connsiteX2" fmla="*/ 60248 w 1573156"/>
                <a:gd name="connsiteY2" fmla="*/ 2118721 h 3837710"/>
                <a:gd name="connsiteX3" fmla="*/ 71333 w 1573156"/>
                <a:gd name="connsiteY3" fmla="*/ 2077350 h 3837710"/>
                <a:gd name="connsiteX4" fmla="*/ 74102 w 1573156"/>
                <a:gd name="connsiteY4" fmla="*/ 2030807 h 3837710"/>
                <a:gd name="connsiteX5" fmla="*/ 76875 w 1573156"/>
                <a:gd name="connsiteY5" fmla="*/ 2020467 h 3837710"/>
                <a:gd name="connsiteX6" fmla="*/ 118439 w 1573156"/>
                <a:gd name="connsiteY6" fmla="*/ 1992023 h 3837710"/>
                <a:gd name="connsiteX7" fmla="*/ 82416 w 1573156"/>
                <a:gd name="connsiteY7" fmla="*/ 1963580 h 3837710"/>
                <a:gd name="connsiteX8" fmla="*/ 51935 w 1573156"/>
                <a:gd name="connsiteY8" fmla="*/ 1927380 h 3837710"/>
                <a:gd name="connsiteX9" fmla="*/ 40850 w 1573156"/>
                <a:gd name="connsiteY9" fmla="*/ 1893766 h 3837710"/>
                <a:gd name="connsiteX10" fmla="*/ 43621 w 1573156"/>
                <a:gd name="connsiteY10" fmla="*/ 1844639 h 3837710"/>
                <a:gd name="connsiteX11" fmla="*/ 82416 w 1573156"/>
                <a:gd name="connsiteY11" fmla="*/ 1826538 h 3837710"/>
                <a:gd name="connsiteX12" fmla="*/ 112899 w 1573156"/>
                <a:gd name="connsiteY12" fmla="*/ 1782581 h 3837710"/>
                <a:gd name="connsiteX13" fmla="*/ 96271 w 1573156"/>
                <a:gd name="connsiteY13" fmla="*/ 1754138 h 3837710"/>
                <a:gd name="connsiteX14" fmla="*/ 40851 w 1573156"/>
                <a:gd name="connsiteY14" fmla="*/ 1746381 h 3837710"/>
                <a:gd name="connsiteX15" fmla="*/ 2057 w 1573156"/>
                <a:gd name="connsiteY15" fmla="*/ 1730867 h 3837710"/>
                <a:gd name="connsiteX16" fmla="*/ 38079 w 1573156"/>
                <a:gd name="connsiteY16" fmla="*/ 1689496 h 3837710"/>
                <a:gd name="connsiteX17" fmla="*/ 18683 w 1573156"/>
                <a:gd name="connsiteY17" fmla="*/ 1679153 h 3837710"/>
                <a:gd name="connsiteX18" fmla="*/ 2055 w 1573156"/>
                <a:gd name="connsiteY18" fmla="*/ 1640367 h 3837710"/>
                <a:gd name="connsiteX19" fmla="*/ 65790 w 1573156"/>
                <a:gd name="connsiteY19" fmla="*/ 1650711 h 3837710"/>
                <a:gd name="connsiteX20" fmla="*/ 93501 w 1573156"/>
                <a:gd name="connsiteY20" fmla="*/ 1627440 h 3837710"/>
                <a:gd name="connsiteX21" fmla="*/ 187716 w 1573156"/>
                <a:gd name="connsiteY21" fmla="*/ 1536941 h 3837710"/>
                <a:gd name="connsiteX22" fmla="*/ 212655 w 1573156"/>
                <a:gd name="connsiteY22" fmla="*/ 1505912 h 3837710"/>
                <a:gd name="connsiteX23" fmla="*/ 198801 w 1573156"/>
                <a:gd name="connsiteY23" fmla="*/ 1555040 h 3837710"/>
                <a:gd name="connsiteX24" fmla="*/ 218197 w 1573156"/>
                <a:gd name="connsiteY24" fmla="*/ 1588655 h 3837710"/>
                <a:gd name="connsiteX25" fmla="*/ 262534 w 1573156"/>
                <a:gd name="connsiteY25" fmla="*/ 1666225 h 3837710"/>
                <a:gd name="connsiteX26" fmla="*/ 331810 w 1573156"/>
                <a:gd name="connsiteY26" fmla="*/ 1653297 h 3837710"/>
                <a:gd name="connsiteX27" fmla="*/ 351206 w 1573156"/>
                <a:gd name="connsiteY27" fmla="*/ 1622268 h 3837710"/>
                <a:gd name="connsiteX28" fmla="*/ 365062 w 1573156"/>
                <a:gd name="connsiteY28" fmla="*/ 1557627 h 3837710"/>
                <a:gd name="connsiteX29" fmla="*/ 304099 w 1573156"/>
                <a:gd name="connsiteY29" fmla="*/ 1511084 h 3837710"/>
                <a:gd name="connsiteX30" fmla="*/ 259763 w 1573156"/>
                <a:gd name="connsiteY30" fmla="*/ 1485227 h 3837710"/>
                <a:gd name="connsiteX31" fmla="*/ 198801 w 1573156"/>
                <a:gd name="connsiteY31" fmla="*/ 1495570 h 3837710"/>
                <a:gd name="connsiteX32" fmla="*/ 376147 w 1573156"/>
                <a:gd name="connsiteY32" fmla="*/ 1299057 h 3837710"/>
                <a:gd name="connsiteX33" fmla="*/ 223740 w 1573156"/>
                <a:gd name="connsiteY33" fmla="*/ 1151672 h 3837710"/>
                <a:gd name="connsiteX34" fmla="*/ 284703 w 1573156"/>
                <a:gd name="connsiteY34" fmla="*/ 1089617 h 3837710"/>
                <a:gd name="connsiteX35" fmla="*/ 218198 w 1573156"/>
                <a:gd name="connsiteY35" fmla="*/ 1050829 h 3837710"/>
                <a:gd name="connsiteX36" fmla="*/ 259763 w 1573156"/>
                <a:gd name="connsiteY36" fmla="*/ 1019802 h 3837710"/>
                <a:gd name="connsiteX37" fmla="*/ 212657 w 1573156"/>
                <a:gd name="connsiteY37" fmla="*/ 993947 h 3837710"/>
                <a:gd name="connsiteX38" fmla="*/ 212656 w 1573156"/>
                <a:gd name="connsiteY38" fmla="*/ 794845 h 3837710"/>
                <a:gd name="connsiteX39" fmla="*/ 251451 w 1573156"/>
                <a:gd name="connsiteY39" fmla="*/ 779332 h 3837710"/>
                <a:gd name="connsiteX40" fmla="*/ 137838 w 1573156"/>
                <a:gd name="connsiteY40" fmla="*/ 551792 h 3837710"/>
                <a:gd name="connsiteX41" fmla="*/ 135067 w 1573156"/>
                <a:gd name="connsiteY41" fmla="*/ 551792 h 3837710"/>
                <a:gd name="connsiteX42" fmla="*/ 184945 w 1573156"/>
                <a:gd name="connsiteY42" fmla="*/ 469048 h 3837710"/>
                <a:gd name="connsiteX43" fmla="*/ 201571 w 1573156"/>
                <a:gd name="connsiteY43" fmla="*/ 378550 h 3837710"/>
                <a:gd name="connsiteX44" fmla="*/ 126752 w 1573156"/>
                <a:gd name="connsiteY44" fmla="*/ 319079 h 3837710"/>
                <a:gd name="connsiteX45" fmla="*/ 118440 w 1573156"/>
                <a:gd name="connsiteY45" fmla="*/ 251851 h 3837710"/>
                <a:gd name="connsiteX46" fmla="*/ 173860 w 1573156"/>
                <a:gd name="connsiteY46" fmla="*/ 158764 h 3837710"/>
                <a:gd name="connsiteX47" fmla="*/ 193258 w 1573156"/>
                <a:gd name="connsiteY47" fmla="*/ 135494 h 3837710"/>
                <a:gd name="connsiteX48" fmla="*/ 207113 w 1573156"/>
                <a:gd name="connsiteY48" fmla="*/ 117394 h 3837710"/>
                <a:gd name="connsiteX49" fmla="*/ 215426 w 1573156"/>
                <a:gd name="connsiteY49" fmla="*/ 73438 h 3837710"/>
                <a:gd name="connsiteX50" fmla="*/ 240365 w 1573156"/>
                <a:gd name="connsiteY50" fmla="*/ 101880 h 3837710"/>
                <a:gd name="connsiteX51" fmla="*/ 270847 w 1573156"/>
                <a:gd name="connsiteY51" fmla="*/ 88952 h 3837710"/>
                <a:gd name="connsiteX52" fmla="*/ 273617 w 1573156"/>
                <a:gd name="connsiteY52" fmla="*/ 63095 h 3837710"/>
                <a:gd name="connsiteX53" fmla="*/ 281931 w 1573156"/>
                <a:gd name="connsiteY53" fmla="*/ 34652 h 3837710"/>
                <a:gd name="connsiteX54" fmla="*/ 284703 w 1573156"/>
                <a:gd name="connsiteY54" fmla="*/ 3624 h 3837710"/>
                <a:gd name="connsiteX55" fmla="*/ 420483 w 1573156"/>
                <a:gd name="connsiteY55" fmla="*/ 57924 h 3837710"/>
                <a:gd name="connsiteX56" fmla="*/ 450963 w 1573156"/>
                <a:gd name="connsiteY56" fmla="*/ 161352 h 3837710"/>
                <a:gd name="connsiteX57" fmla="*/ 464819 w 1573156"/>
                <a:gd name="connsiteY57" fmla="*/ 184622 h 3837710"/>
                <a:gd name="connsiteX58" fmla="*/ 475903 w 1573156"/>
                <a:gd name="connsiteY58" fmla="*/ 187208 h 3837710"/>
                <a:gd name="connsiteX59" fmla="*/ 589515 w 1573156"/>
                <a:gd name="connsiteY59" fmla="*/ 156181 h 3837710"/>
                <a:gd name="connsiteX60" fmla="*/ 656020 w 1573156"/>
                <a:gd name="connsiteY60" fmla="*/ 166522 h 3837710"/>
                <a:gd name="connsiteX61" fmla="*/ 719754 w 1573156"/>
                <a:gd name="connsiteY61" fmla="*/ 213065 h 3837710"/>
                <a:gd name="connsiteX62" fmla="*/ 733781 w 1573156"/>
                <a:gd name="connsiteY62" fmla="*/ 242621 h 3837710"/>
                <a:gd name="connsiteX63" fmla="*/ 789028 w 1573156"/>
                <a:gd name="connsiteY63" fmla="*/ 277708 h 3837710"/>
                <a:gd name="connsiteX64" fmla="*/ 877702 w 1573156"/>
                <a:gd name="connsiteY64" fmla="*/ 303563 h 3837710"/>
                <a:gd name="connsiteX65" fmla="*/ 949748 w 1573156"/>
                <a:gd name="connsiteY65" fmla="*/ 350106 h 3837710"/>
                <a:gd name="connsiteX66" fmla="*/ 999627 w 1573156"/>
                <a:gd name="connsiteY66" fmla="*/ 401820 h 3837710"/>
                <a:gd name="connsiteX67" fmla="*/ 1024566 w 1573156"/>
                <a:gd name="connsiteY67" fmla="*/ 440606 h 3837710"/>
                <a:gd name="connsiteX68" fmla="*/ 1057819 w 1573156"/>
                <a:gd name="connsiteY68" fmla="*/ 466462 h 3837710"/>
                <a:gd name="connsiteX69" fmla="*/ 1041191 w 1573156"/>
                <a:gd name="connsiteY69" fmla="*/ 691417 h 3837710"/>
                <a:gd name="connsiteX70" fmla="*/ 913725 w 1573156"/>
                <a:gd name="connsiteY70" fmla="*/ 771575 h 3837710"/>
                <a:gd name="connsiteX71" fmla="*/ 800113 w 1573156"/>
                <a:gd name="connsiteY71" fmla="*/ 779331 h 3837710"/>
                <a:gd name="connsiteX72" fmla="*/ 661560 w 1573156"/>
                <a:gd name="connsiteY72" fmla="*/ 758645 h 3837710"/>
                <a:gd name="connsiteX73" fmla="*/ 570116 w 1573156"/>
                <a:gd name="connsiteY73" fmla="*/ 722445 h 3837710"/>
                <a:gd name="connsiteX74" fmla="*/ 550719 w 1573156"/>
                <a:gd name="connsiteY74" fmla="*/ 750888 h 3837710"/>
                <a:gd name="connsiteX75" fmla="*/ 581361 w 1573156"/>
                <a:gd name="connsiteY75" fmla="*/ 824301 h 3837710"/>
                <a:gd name="connsiteX76" fmla="*/ 586902 w 1573156"/>
                <a:gd name="connsiteY76" fmla="*/ 951000 h 3837710"/>
                <a:gd name="connsiteX77" fmla="*/ 559032 w 1573156"/>
                <a:gd name="connsiteY77" fmla="*/ 1012043 h 3837710"/>
                <a:gd name="connsiteX78" fmla="*/ 614451 w 1573156"/>
                <a:gd name="connsiteY78" fmla="*/ 1032728 h 3837710"/>
                <a:gd name="connsiteX79" fmla="*/ 631079 w 1573156"/>
                <a:gd name="connsiteY79" fmla="*/ 1048242 h 3837710"/>
                <a:gd name="connsiteX80" fmla="*/ 656019 w 1573156"/>
                <a:gd name="connsiteY80" fmla="*/ 1074099 h 3837710"/>
                <a:gd name="connsiteX81" fmla="*/ 653248 w 1573156"/>
                <a:gd name="connsiteY81" fmla="*/ 1076685 h 3837710"/>
                <a:gd name="connsiteX82" fmla="*/ 692041 w 1573156"/>
                <a:gd name="connsiteY82" fmla="*/ 1071514 h 3837710"/>
                <a:gd name="connsiteX83" fmla="*/ 700355 w 1573156"/>
                <a:gd name="connsiteY83" fmla="*/ 1035314 h 3837710"/>
                <a:gd name="connsiteX84" fmla="*/ 661560 w 1573156"/>
                <a:gd name="connsiteY84" fmla="*/ 957743 h 3837710"/>
                <a:gd name="connsiteX85" fmla="*/ 730836 w 1573156"/>
                <a:gd name="connsiteY85" fmla="*/ 911200 h 3837710"/>
                <a:gd name="connsiteX86" fmla="*/ 798608 w 1573156"/>
                <a:gd name="connsiteY86" fmla="*/ 918934 h 3837710"/>
                <a:gd name="connsiteX87" fmla="*/ 822441 w 1573156"/>
                <a:gd name="connsiteY87" fmla="*/ 951001 h 3837710"/>
                <a:gd name="connsiteX88" fmla="*/ 978170 w 1573156"/>
                <a:gd name="connsiteY88" fmla="*/ 1007364 h 3837710"/>
                <a:gd name="connsiteX89" fmla="*/ 963762 w 1573156"/>
                <a:gd name="connsiteY89" fmla="*/ 971687 h 3837710"/>
                <a:gd name="connsiteX90" fmla="*/ 930510 w 1573156"/>
                <a:gd name="connsiteY90" fmla="*/ 932901 h 3837710"/>
                <a:gd name="connsiteX91" fmla="*/ 919426 w 1573156"/>
                <a:gd name="connsiteY91" fmla="*/ 881187 h 3837710"/>
                <a:gd name="connsiteX92" fmla="*/ 958221 w 1573156"/>
                <a:gd name="connsiteY92" fmla="*/ 832060 h 3837710"/>
                <a:gd name="connsiteX93" fmla="*/ 985931 w 1573156"/>
                <a:gd name="connsiteY93" fmla="*/ 803617 h 3837710"/>
                <a:gd name="connsiteX94" fmla="*/ 1010871 w 1573156"/>
                <a:gd name="connsiteY94" fmla="*/ 767417 h 3837710"/>
                <a:gd name="connsiteX95" fmla="*/ 1091231 w 1573156"/>
                <a:gd name="connsiteY95" fmla="*/ 762245 h 3837710"/>
                <a:gd name="connsiteX96" fmla="*/ 1096772 w 1573156"/>
                <a:gd name="connsiteY96" fmla="*/ 741560 h 3837710"/>
                <a:gd name="connsiteX97" fmla="*/ 1121712 w 1573156"/>
                <a:gd name="connsiteY97" fmla="*/ 705360 h 3837710"/>
                <a:gd name="connsiteX98" fmla="*/ 1155516 w 1573156"/>
                <a:gd name="connsiteY98" fmla="*/ 687772 h 3837710"/>
                <a:gd name="connsiteX99" fmla="*/ 1213156 w 1573156"/>
                <a:gd name="connsiteY99" fmla="*/ 700189 h 3837710"/>
                <a:gd name="connsiteX100" fmla="*/ 1251949 w 1573156"/>
                <a:gd name="connsiteY100" fmla="*/ 720875 h 3837710"/>
                <a:gd name="connsiteX101" fmla="*/ 1299057 w 1573156"/>
                <a:gd name="connsiteY101" fmla="*/ 728632 h 3837710"/>
                <a:gd name="connsiteX102" fmla="*/ 1299057 w 1573156"/>
                <a:gd name="connsiteY102" fmla="*/ 733803 h 3837710"/>
                <a:gd name="connsiteX103" fmla="*/ 1321226 w 1573156"/>
                <a:gd name="connsiteY103" fmla="*/ 674332 h 3837710"/>
                <a:gd name="connsiteX104" fmla="*/ 1331201 w 1573156"/>
                <a:gd name="connsiteY104" fmla="*/ 640714 h 3837710"/>
                <a:gd name="connsiteX105" fmla="*/ 1337852 w 1573156"/>
                <a:gd name="connsiteY105" fmla="*/ 622618 h 3837710"/>
                <a:gd name="connsiteX106" fmla="*/ 1340789 w 1573156"/>
                <a:gd name="connsiteY106" fmla="*/ 591288 h 3837710"/>
                <a:gd name="connsiteX107" fmla="*/ 1260263 w 1573156"/>
                <a:gd name="connsiteY107" fmla="*/ 545048 h 3837710"/>
                <a:gd name="connsiteX108" fmla="*/ 1246408 w 1573156"/>
                <a:gd name="connsiteY108" fmla="*/ 472648 h 3837710"/>
                <a:gd name="connsiteX109" fmla="*/ 1246408 w 1573156"/>
                <a:gd name="connsiteY109" fmla="*/ 454548 h 3837710"/>
                <a:gd name="connsiteX110" fmla="*/ 1257491 w 1573156"/>
                <a:gd name="connsiteY110" fmla="*/ 431276 h 3837710"/>
                <a:gd name="connsiteX111" fmla="*/ 1260263 w 1573156"/>
                <a:gd name="connsiteY111" fmla="*/ 415762 h 3837710"/>
                <a:gd name="connsiteX112" fmla="*/ 1260262 w 1573156"/>
                <a:gd name="connsiteY112" fmla="*/ 358878 h 3837710"/>
                <a:gd name="connsiteX113" fmla="*/ 1238094 w 1573156"/>
                <a:gd name="connsiteY113" fmla="*/ 335607 h 3837710"/>
                <a:gd name="connsiteX114" fmla="*/ 1210384 w 1573156"/>
                <a:gd name="connsiteY114" fmla="*/ 304578 h 3837710"/>
                <a:gd name="connsiteX115" fmla="*/ 1206216 w 1573156"/>
                <a:gd name="connsiteY115" fmla="*/ 280325 h 3837710"/>
                <a:gd name="connsiteX116" fmla="*/ 1257492 w 1573156"/>
                <a:gd name="connsiteY116" fmla="*/ 258034 h 3837710"/>
                <a:gd name="connsiteX117" fmla="*/ 1311072 w 1573156"/>
                <a:gd name="connsiteY117" fmla="*/ 267906 h 3837710"/>
                <a:gd name="connsiteX118" fmla="*/ 1389856 w 1573156"/>
                <a:gd name="connsiteY118" fmla="*/ 279816 h 3837710"/>
                <a:gd name="connsiteX119" fmla="*/ 1474179 w 1573156"/>
                <a:gd name="connsiteY119" fmla="*/ 349175 h 3837710"/>
                <a:gd name="connsiteX120" fmla="*/ 1536314 w 1573156"/>
                <a:gd name="connsiteY120" fmla="*/ 425271 h 3837710"/>
                <a:gd name="connsiteX121" fmla="*/ 1435343 w 1573156"/>
                <a:gd name="connsiteY121" fmla="*/ 454265 h 3837710"/>
                <a:gd name="connsiteX122" fmla="*/ 1419809 w 1573156"/>
                <a:gd name="connsiteY122" fmla="*/ 501372 h 3837710"/>
                <a:gd name="connsiteX123" fmla="*/ 1477479 w 1573156"/>
                <a:gd name="connsiteY123" fmla="*/ 585862 h 3837710"/>
                <a:gd name="connsiteX124" fmla="*/ 1513013 w 1573156"/>
                <a:gd name="connsiteY124" fmla="*/ 591964 h 3837710"/>
                <a:gd name="connsiteX125" fmla="*/ 1565633 w 1573156"/>
                <a:gd name="connsiteY125" fmla="*/ 598304 h 3837710"/>
                <a:gd name="connsiteX126" fmla="*/ 1560670 w 1573156"/>
                <a:gd name="connsiteY126" fmla="*/ 709079 h 3837710"/>
                <a:gd name="connsiteX127" fmla="*/ 1571739 w 1573156"/>
                <a:gd name="connsiteY127" fmla="*/ 1040047 h 3837710"/>
                <a:gd name="connsiteX128" fmla="*/ 1562871 w 1573156"/>
                <a:gd name="connsiteY128" fmla="*/ 1842646 h 3837710"/>
                <a:gd name="connsiteX129" fmla="*/ 1571738 w 1573156"/>
                <a:gd name="connsiteY129" fmla="*/ 2297728 h 3837710"/>
                <a:gd name="connsiteX130" fmla="*/ 1559146 w 1573156"/>
                <a:gd name="connsiteY130" fmla="*/ 3716291 h 3837710"/>
                <a:gd name="connsiteX131" fmla="*/ 1556603 w 1573156"/>
                <a:gd name="connsiteY131" fmla="*/ 3758050 h 3837710"/>
                <a:gd name="connsiteX132" fmla="*/ 1545518 w 1573156"/>
                <a:gd name="connsiteY132" fmla="*/ 3688238 h 3837710"/>
                <a:gd name="connsiteX133" fmla="*/ 1487327 w 1573156"/>
                <a:gd name="connsiteY133" fmla="*/ 3680478 h 3837710"/>
                <a:gd name="connsiteX134" fmla="*/ 1445761 w 1573156"/>
                <a:gd name="connsiteY134" fmla="*/ 3646867 h 3837710"/>
                <a:gd name="connsiteX135" fmla="*/ 1357089 w 1573156"/>
                <a:gd name="connsiteY135" fmla="*/ 3662380 h 3837710"/>
                <a:gd name="connsiteX136" fmla="*/ 1343234 w 1573156"/>
                <a:gd name="connsiteY136" fmla="*/ 3631352 h 3837710"/>
                <a:gd name="connsiteX137" fmla="*/ 1290584 w 1573156"/>
                <a:gd name="connsiteY137" fmla="*/ 3610666 h 3837710"/>
                <a:gd name="connsiteX138" fmla="*/ 1195420 w 1573156"/>
                <a:gd name="connsiteY138" fmla="*/ 3605469 h 3837710"/>
                <a:gd name="connsiteX139" fmla="*/ 1013482 w 1573156"/>
                <a:gd name="connsiteY139" fmla="*/ 3592567 h 3837710"/>
                <a:gd name="connsiteX140" fmla="*/ 1123928 w 1573156"/>
                <a:gd name="connsiteY140" fmla="*/ 3663387 h 3837710"/>
                <a:gd name="connsiteX141" fmla="*/ 907787 w 1573156"/>
                <a:gd name="connsiteY141" fmla="*/ 3629257 h 3837710"/>
                <a:gd name="connsiteX142" fmla="*/ 776238 w 1573156"/>
                <a:gd name="connsiteY142" fmla="*/ 3504783 h 3837710"/>
                <a:gd name="connsiteX143" fmla="*/ 708669 w 1573156"/>
                <a:gd name="connsiteY143" fmla="*/ 3437426 h 3837710"/>
                <a:gd name="connsiteX144" fmla="*/ 739150 w 1573156"/>
                <a:gd name="connsiteY144" fmla="*/ 3437426 h 3837710"/>
                <a:gd name="connsiteX145" fmla="*/ 750233 w 1573156"/>
                <a:gd name="connsiteY145" fmla="*/ 3408982 h 3837710"/>
                <a:gd name="connsiteX146" fmla="*/ 783486 w 1573156"/>
                <a:gd name="connsiteY146" fmla="*/ 3354683 h 3837710"/>
                <a:gd name="connsiteX147" fmla="*/ 747462 w 1573156"/>
                <a:gd name="connsiteY147" fmla="*/ 3297798 h 3837710"/>
                <a:gd name="connsiteX148" fmla="*/ 836135 w 1573156"/>
                <a:gd name="connsiteY148" fmla="*/ 3225398 h 3837710"/>
                <a:gd name="connsiteX149" fmla="*/ 902641 w 1573156"/>
                <a:gd name="connsiteY149" fmla="*/ 3217642 h 3837710"/>
                <a:gd name="connsiteX150" fmla="*/ 955289 w 1573156"/>
                <a:gd name="connsiteY150" fmla="*/ 3160756 h 3837710"/>
                <a:gd name="connsiteX151" fmla="*/ 1024565 w 1573156"/>
                <a:gd name="connsiteY151" fmla="*/ 3114213 h 3837710"/>
                <a:gd name="connsiteX152" fmla="*/ 1019023 w 1573156"/>
                <a:gd name="connsiteY152" fmla="*/ 3067671 h 3837710"/>
                <a:gd name="connsiteX153" fmla="*/ 1043963 w 1573156"/>
                <a:gd name="connsiteY153" fmla="*/ 3028886 h 3837710"/>
                <a:gd name="connsiteX154" fmla="*/ 1016252 w 1573156"/>
                <a:gd name="connsiteY154" fmla="*/ 3026300 h 3837710"/>
                <a:gd name="connsiteX155" fmla="*/ 1031704 w 1573156"/>
                <a:gd name="connsiteY155" fmla="*/ 2992878 h 3837710"/>
                <a:gd name="connsiteX156" fmla="*/ 914211 w 1573156"/>
                <a:gd name="connsiteY156" fmla="*/ 2928233 h 3837710"/>
                <a:gd name="connsiteX157" fmla="*/ 858304 w 1573156"/>
                <a:gd name="connsiteY157" fmla="*/ 2909943 h 3837710"/>
                <a:gd name="connsiteX158" fmla="*/ 827823 w 1573156"/>
                <a:gd name="connsiteY158" fmla="*/ 2881501 h 3837710"/>
                <a:gd name="connsiteX159" fmla="*/ 761317 w 1573156"/>
                <a:gd name="connsiteY159" fmla="*/ 2897015 h 3837710"/>
                <a:gd name="connsiteX160" fmla="*/ 700355 w 1573156"/>
                <a:gd name="connsiteY160" fmla="*/ 2891844 h 3837710"/>
                <a:gd name="connsiteX161" fmla="*/ 658790 w 1573156"/>
                <a:gd name="connsiteY161" fmla="*/ 2827201 h 3837710"/>
                <a:gd name="connsiteX162" fmla="*/ 656019 w 1573156"/>
                <a:gd name="connsiteY162" fmla="*/ 2785830 h 3837710"/>
                <a:gd name="connsiteX163" fmla="*/ 631080 w 1573156"/>
                <a:gd name="connsiteY163" fmla="*/ 2772902 h 3837710"/>
                <a:gd name="connsiteX164" fmla="*/ 567346 w 1573156"/>
                <a:gd name="connsiteY164" fmla="*/ 2759974 h 3837710"/>
                <a:gd name="connsiteX165" fmla="*/ 586743 w 1573156"/>
                <a:gd name="connsiteY165" fmla="*/ 2721188 h 3837710"/>
                <a:gd name="connsiteX166" fmla="*/ 557777 w 1573156"/>
                <a:gd name="connsiteY166" fmla="*/ 2715007 h 3837710"/>
                <a:gd name="connsiteX167" fmla="*/ 531809 w 1573156"/>
                <a:gd name="connsiteY167" fmla="*/ 2672771 h 3837710"/>
                <a:gd name="connsiteX168" fmla="*/ 414939 w 1573156"/>
                <a:gd name="connsiteY168" fmla="*/ 2682402 h 3837710"/>
                <a:gd name="connsiteX169" fmla="*/ 390000 w 1573156"/>
                <a:gd name="connsiteY169" fmla="*/ 2672059 h 3837710"/>
                <a:gd name="connsiteX170" fmla="*/ 367832 w 1573156"/>
                <a:gd name="connsiteY170" fmla="*/ 2684989 h 3837710"/>
                <a:gd name="connsiteX171" fmla="*/ 351205 w 1573156"/>
                <a:gd name="connsiteY171" fmla="*/ 2622932 h 3837710"/>
                <a:gd name="connsiteX172" fmla="*/ 340121 w 1573156"/>
                <a:gd name="connsiteY172" fmla="*/ 2597075 h 3837710"/>
                <a:gd name="connsiteX173" fmla="*/ 353976 w 1573156"/>
                <a:gd name="connsiteY173" fmla="*/ 2578974 h 3837710"/>
                <a:gd name="connsiteX174" fmla="*/ 381687 w 1573156"/>
                <a:gd name="connsiteY174" fmla="*/ 2581561 h 3837710"/>
                <a:gd name="connsiteX175" fmla="*/ 414939 w 1573156"/>
                <a:gd name="connsiteY175" fmla="*/ 2563461 h 3837710"/>
                <a:gd name="connsiteX176" fmla="*/ 412168 w 1573156"/>
                <a:gd name="connsiteY176" fmla="*/ 2537603 h 3837710"/>
                <a:gd name="connsiteX177" fmla="*/ 362289 w 1573156"/>
                <a:gd name="connsiteY177" fmla="*/ 2501404 h 3837710"/>
                <a:gd name="connsiteX178" fmla="*/ 338946 w 1573156"/>
                <a:gd name="connsiteY178" fmla="*/ 2513491 h 3837710"/>
                <a:gd name="connsiteX179" fmla="*/ 340121 w 1573156"/>
                <a:gd name="connsiteY179" fmla="*/ 2467790 h 3837710"/>
                <a:gd name="connsiteX180" fmla="*/ 306869 w 1573156"/>
                <a:gd name="connsiteY180" fmla="*/ 2429005 h 3837710"/>
                <a:gd name="connsiteX181" fmla="*/ 309641 w 1573156"/>
                <a:gd name="connsiteY181" fmla="*/ 2351433 h 3837710"/>
                <a:gd name="connsiteX182" fmla="*/ 290243 w 1573156"/>
                <a:gd name="connsiteY182" fmla="*/ 2299720 h 3837710"/>
                <a:gd name="connsiteX183" fmla="*/ 256991 w 1573156"/>
                <a:gd name="connsiteY183" fmla="*/ 2266106 h 3837710"/>
                <a:gd name="connsiteX184" fmla="*/ 218196 w 1573156"/>
                <a:gd name="connsiteY184" fmla="*/ 2242835 h 3837710"/>
                <a:gd name="connsiteX185" fmla="*/ 176631 w 1573156"/>
                <a:gd name="connsiteY185" fmla="*/ 2250592 h 3837710"/>
                <a:gd name="connsiteX186" fmla="*/ 122255 w 1573156"/>
                <a:gd name="connsiteY186" fmla="*/ 2214066 h 3837710"/>
                <a:gd name="connsiteX0" fmla="*/ 122255 w 1573156"/>
                <a:gd name="connsiteY0" fmla="*/ 2214066 h 3837710"/>
                <a:gd name="connsiteX1" fmla="*/ 63018 w 1573156"/>
                <a:gd name="connsiteY1" fmla="*/ 2216977 h 3837710"/>
                <a:gd name="connsiteX2" fmla="*/ 60248 w 1573156"/>
                <a:gd name="connsiteY2" fmla="*/ 2118721 h 3837710"/>
                <a:gd name="connsiteX3" fmla="*/ 71333 w 1573156"/>
                <a:gd name="connsiteY3" fmla="*/ 2077350 h 3837710"/>
                <a:gd name="connsiteX4" fmla="*/ 74102 w 1573156"/>
                <a:gd name="connsiteY4" fmla="*/ 2030807 h 3837710"/>
                <a:gd name="connsiteX5" fmla="*/ 76875 w 1573156"/>
                <a:gd name="connsiteY5" fmla="*/ 2020467 h 3837710"/>
                <a:gd name="connsiteX6" fmla="*/ 118439 w 1573156"/>
                <a:gd name="connsiteY6" fmla="*/ 1992023 h 3837710"/>
                <a:gd name="connsiteX7" fmla="*/ 82416 w 1573156"/>
                <a:gd name="connsiteY7" fmla="*/ 1963580 h 3837710"/>
                <a:gd name="connsiteX8" fmla="*/ 51935 w 1573156"/>
                <a:gd name="connsiteY8" fmla="*/ 1927380 h 3837710"/>
                <a:gd name="connsiteX9" fmla="*/ 40850 w 1573156"/>
                <a:gd name="connsiteY9" fmla="*/ 1893766 h 3837710"/>
                <a:gd name="connsiteX10" fmla="*/ 43621 w 1573156"/>
                <a:gd name="connsiteY10" fmla="*/ 1844639 h 3837710"/>
                <a:gd name="connsiteX11" fmla="*/ 82416 w 1573156"/>
                <a:gd name="connsiteY11" fmla="*/ 1826538 h 3837710"/>
                <a:gd name="connsiteX12" fmla="*/ 112899 w 1573156"/>
                <a:gd name="connsiteY12" fmla="*/ 1782581 h 3837710"/>
                <a:gd name="connsiteX13" fmla="*/ 96271 w 1573156"/>
                <a:gd name="connsiteY13" fmla="*/ 1754138 h 3837710"/>
                <a:gd name="connsiteX14" fmla="*/ 40851 w 1573156"/>
                <a:gd name="connsiteY14" fmla="*/ 1746381 h 3837710"/>
                <a:gd name="connsiteX15" fmla="*/ 2057 w 1573156"/>
                <a:gd name="connsiteY15" fmla="*/ 1730867 h 3837710"/>
                <a:gd name="connsiteX16" fmla="*/ 38079 w 1573156"/>
                <a:gd name="connsiteY16" fmla="*/ 1689496 h 3837710"/>
                <a:gd name="connsiteX17" fmla="*/ 18683 w 1573156"/>
                <a:gd name="connsiteY17" fmla="*/ 1679153 h 3837710"/>
                <a:gd name="connsiteX18" fmla="*/ 2055 w 1573156"/>
                <a:gd name="connsiteY18" fmla="*/ 1640367 h 3837710"/>
                <a:gd name="connsiteX19" fmla="*/ 65790 w 1573156"/>
                <a:gd name="connsiteY19" fmla="*/ 1650711 h 3837710"/>
                <a:gd name="connsiteX20" fmla="*/ 93501 w 1573156"/>
                <a:gd name="connsiteY20" fmla="*/ 1627440 h 3837710"/>
                <a:gd name="connsiteX21" fmla="*/ 187716 w 1573156"/>
                <a:gd name="connsiteY21" fmla="*/ 1536941 h 3837710"/>
                <a:gd name="connsiteX22" fmla="*/ 212655 w 1573156"/>
                <a:gd name="connsiteY22" fmla="*/ 1505912 h 3837710"/>
                <a:gd name="connsiteX23" fmla="*/ 198801 w 1573156"/>
                <a:gd name="connsiteY23" fmla="*/ 1555040 h 3837710"/>
                <a:gd name="connsiteX24" fmla="*/ 218197 w 1573156"/>
                <a:gd name="connsiteY24" fmla="*/ 1588655 h 3837710"/>
                <a:gd name="connsiteX25" fmla="*/ 262534 w 1573156"/>
                <a:gd name="connsiteY25" fmla="*/ 1666225 h 3837710"/>
                <a:gd name="connsiteX26" fmla="*/ 331810 w 1573156"/>
                <a:gd name="connsiteY26" fmla="*/ 1653297 h 3837710"/>
                <a:gd name="connsiteX27" fmla="*/ 351206 w 1573156"/>
                <a:gd name="connsiteY27" fmla="*/ 1622268 h 3837710"/>
                <a:gd name="connsiteX28" fmla="*/ 365062 w 1573156"/>
                <a:gd name="connsiteY28" fmla="*/ 1557627 h 3837710"/>
                <a:gd name="connsiteX29" fmla="*/ 304099 w 1573156"/>
                <a:gd name="connsiteY29" fmla="*/ 1511084 h 3837710"/>
                <a:gd name="connsiteX30" fmla="*/ 259763 w 1573156"/>
                <a:gd name="connsiteY30" fmla="*/ 1485227 h 3837710"/>
                <a:gd name="connsiteX31" fmla="*/ 198801 w 1573156"/>
                <a:gd name="connsiteY31" fmla="*/ 1495570 h 3837710"/>
                <a:gd name="connsiteX32" fmla="*/ 376147 w 1573156"/>
                <a:gd name="connsiteY32" fmla="*/ 1299057 h 3837710"/>
                <a:gd name="connsiteX33" fmla="*/ 223740 w 1573156"/>
                <a:gd name="connsiteY33" fmla="*/ 1151672 h 3837710"/>
                <a:gd name="connsiteX34" fmla="*/ 284703 w 1573156"/>
                <a:gd name="connsiteY34" fmla="*/ 1089617 h 3837710"/>
                <a:gd name="connsiteX35" fmla="*/ 218198 w 1573156"/>
                <a:gd name="connsiteY35" fmla="*/ 1050829 h 3837710"/>
                <a:gd name="connsiteX36" fmla="*/ 259763 w 1573156"/>
                <a:gd name="connsiteY36" fmla="*/ 1019802 h 3837710"/>
                <a:gd name="connsiteX37" fmla="*/ 212657 w 1573156"/>
                <a:gd name="connsiteY37" fmla="*/ 993947 h 3837710"/>
                <a:gd name="connsiteX38" fmla="*/ 212656 w 1573156"/>
                <a:gd name="connsiteY38" fmla="*/ 794845 h 3837710"/>
                <a:gd name="connsiteX39" fmla="*/ 251451 w 1573156"/>
                <a:gd name="connsiteY39" fmla="*/ 779332 h 3837710"/>
                <a:gd name="connsiteX40" fmla="*/ 137838 w 1573156"/>
                <a:gd name="connsiteY40" fmla="*/ 551792 h 3837710"/>
                <a:gd name="connsiteX41" fmla="*/ 135067 w 1573156"/>
                <a:gd name="connsiteY41" fmla="*/ 551792 h 3837710"/>
                <a:gd name="connsiteX42" fmla="*/ 184945 w 1573156"/>
                <a:gd name="connsiteY42" fmla="*/ 469048 h 3837710"/>
                <a:gd name="connsiteX43" fmla="*/ 201571 w 1573156"/>
                <a:gd name="connsiteY43" fmla="*/ 378550 h 3837710"/>
                <a:gd name="connsiteX44" fmla="*/ 126752 w 1573156"/>
                <a:gd name="connsiteY44" fmla="*/ 319079 h 3837710"/>
                <a:gd name="connsiteX45" fmla="*/ 118440 w 1573156"/>
                <a:gd name="connsiteY45" fmla="*/ 251851 h 3837710"/>
                <a:gd name="connsiteX46" fmla="*/ 173860 w 1573156"/>
                <a:gd name="connsiteY46" fmla="*/ 158764 h 3837710"/>
                <a:gd name="connsiteX47" fmla="*/ 193258 w 1573156"/>
                <a:gd name="connsiteY47" fmla="*/ 135494 h 3837710"/>
                <a:gd name="connsiteX48" fmla="*/ 207113 w 1573156"/>
                <a:gd name="connsiteY48" fmla="*/ 117394 h 3837710"/>
                <a:gd name="connsiteX49" fmla="*/ 215426 w 1573156"/>
                <a:gd name="connsiteY49" fmla="*/ 73438 h 3837710"/>
                <a:gd name="connsiteX50" fmla="*/ 240365 w 1573156"/>
                <a:gd name="connsiteY50" fmla="*/ 101880 h 3837710"/>
                <a:gd name="connsiteX51" fmla="*/ 270847 w 1573156"/>
                <a:gd name="connsiteY51" fmla="*/ 88952 h 3837710"/>
                <a:gd name="connsiteX52" fmla="*/ 273617 w 1573156"/>
                <a:gd name="connsiteY52" fmla="*/ 63095 h 3837710"/>
                <a:gd name="connsiteX53" fmla="*/ 281931 w 1573156"/>
                <a:gd name="connsiteY53" fmla="*/ 34652 h 3837710"/>
                <a:gd name="connsiteX54" fmla="*/ 284703 w 1573156"/>
                <a:gd name="connsiteY54" fmla="*/ 3624 h 3837710"/>
                <a:gd name="connsiteX55" fmla="*/ 420483 w 1573156"/>
                <a:gd name="connsiteY55" fmla="*/ 57924 h 3837710"/>
                <a:gd name="connsiteX56" fmla="*/ 450963 w 1573156"/>
                <a:gd name="connsiteY56" fmla="*/ 161352 h 3837710"/>
                <a:gd name="connsiteX57" fmla="*/ 464819 w 1573156"/>
                <a:gd name="connsiteY57" fmla="*/ 184622 h 3837710"/>
                <a:gd name="connsiteX58" fmla="*/ 475903 w 1573156"/>
                <a:gd name="connsiteY58" fmla="*/ 187208 h 3837710"/>
                <a:gd name="connsiteX59" fmla="*/ 589515 w 1573156"/>
                <a:gd name="connsiteY59" fmla="*/ 156181 h 3837710"/>
                <a:gd name="connsiteX60" fmla="*/ 656020 w 1573156"/>
                <a:gd name="connsiteY60" fmla="*/ 166522 h 3837710"/>
                <a:gd name="connsiteX61" fmla="*/ 719754 w 1573156"/>
                <a:gd name="connsiteY61" fmla="*/ 213065 h 3837710"/>
                <a:gd name="connsiteX62" fmla="*/ 733781 w 1573156"/>
                <a:gd name="connsiteY62" fmla="*/ 242621 h 3837710"/>
                <a:gd name="connsiteX63" fmla="*/ 789028 w 1573156"/>
                <a:gd name="connsiteY63" fmla="*/ 277708 h 3837710"/>
                <a:gd name="connsiteX64" fmla="*/ 877702 w 1573156"/>
                <a:gd name="connsiteY64" fmla="*/ 303563 h 3837710"/>
                <a:gd name="connsiteX65" fmla="*/ 949748 w 1573156"/>
                <a:gd name="connsiteY65" fmla="*/ 350106 h 3837710"/>
                <a:gd name="connsiteX66" fmla="*/ 999627 w 1573156"/>
                <a:gd name="connsiteY66" fmla="*/ 401820 h 3837710"/>
                <a:gd name="connsiteX67" fmla="*/ 1024566 w 1573156"/>
                <a:gd name="connsiteY67" fmla="*/ 440606 h 3837710"/>
                <a:gd name="connsiteX68" fmla="*/ 1057819 w 1573156"/>
                <a:gd name="connsiteY68" fmla="*/ 466462 h 3837710"/>
                <a:gd name="connsiteX69" fmla="*/ 1041191 w 1573156"/>
                <a:gd name="connsiteY69" fmla="*/ 691417 h 3837710"/>
                <a:gd name="connsiteX70" fmla="*/ 913725 w 1573156"/>
                <a:gd name="connsiteY70" fmla="*/ 771575 h 3837710"/>
                <a:gd name="connsiteX71" fmla="*/ 800113 w 1573156"/>
                <a:gd name="connsiteY71" fmla="*/ 779331 h 3837710"/>
                <a:gd name="connsiteX72" fmla="*/ 661560 w 1573156"/>
                <a:gd name="connsiteY72" fmla="*/ 758645 h 3837710"/>
                <a:gd name="connsiteX73" fmla="*/ 570116 w 1573156"/>
                <a:gd name="connsiteY73" fmla="*/ 722445 h 3837710"/>
                <a:gd name="connsiteX74" fmla="*/ 550719 w 1573156"/>
                <a:gd name="connsiteY74" fmla="*/ 750888 h 3837710"/>
                <a:gd name="connsiteX75" fmla="*/ 581361 w 1573156"/>
                <a:gd name="connsiteY75" fmla="*/ 824301 h 3837710"/>
                <a:gd name="connsiteX76" fmla="*/ 586902 w 1573156"/>
                <a:gd name="connsiteY76" fmla="*/ 951000 h 3837710"/>
                <a:gd name="connsiteX77" fmla="*/ 559032 w 1573156"/>
                <a:gd name="connsiteY77" fmla="*/ 1012043 h 3837710"/>
                <a:gd name="connsiteX78" fmla="*/ 614451 w 1573156"/>
                <a:gd name="connsiteY78" fmla="*/ 1032728 h 3837710"/>
                <a:gd name="connsiteX79" fmla="*/ 631079 w 1573156"/>
                <a:gd name="connsiteY79" fmla="*/ 1048242 h 3837710"/>
                <a:gd name="connsiteX80" fmla="*/ 656019 w 1573156"/>
                <a:gd name="connsiteY80" fmla="*/ 1074099 h 3837710"/>
                <a:gd name="connsiteX81" fmla="*/ 653248 w 1573156"/>
                <a:gd name="connsiteY81" fmla="*/ 1076685 h 3837710"/>
                <a:gd name="connsiteX82" fmla="*/ 692041 w 1573156"/>
                <a:gd name="connsiteY82" fmla="*/ 1071514 h 3837710"/>
                <a:gd name="connsiteX83" fmla="*/ 700355 w 1573156"/>
                <a:gd name="connsiteY83" fmla="*/ 1035314 h 3837710"/>
                <a:gd name="connsiteX84" fmla="*/ 661560 w 1573156"/>
                <a:gd name="connsiteY84" fmla="*/ 957743 h 3837710"/>
                <a:gd name="connsiteX85" fmla="*/ 730836 w 1573156"/>
                <a:gd name="connsiteY85" fmla="*/ 911200 h 3837710"/>
                <a:gd name="connsiteX86" fmla="*/ 798608 w 1573156"/>
                <a:gd name="connsiteY86" fmla="*/ 918934 h 3837710"/>
                <a:gd name="connsiteX87" fmla="*/ 822441 w 1573156"/>
                <a:gd name="connsiteY87" fmla="*/ 951001 h 3837710"/>
                <a:gd name="connsiteX88" fmla="*/ 978170 w 1573156"/>
                <a:gd name="connsiteY88" fmla="*/ 1007364 h 3837710"/>
                <a:gd name="connsiteX89" fmla="*/ 963762 w 1573156"/>
                <a:gd name="connsiteY89" fmla="*/ 971687 h 3837710"/>
                <a:gd name="connsiteX90" fmla="*/ 930510 w 1573156"/>
                <a:gd name="connsiteY90" fmla="*/ 932901 h 3837710"/>
                <a:gd name="connsiteX91" fmla="*/ 919426 w 1573156"/>
                <a:gd name="connsiteY91" fmla="*/ 881187 h 3837710"/>
                <a:gd name="connsiteX92" fmla="*/ 958221 w 1573156"/>
                <a:gd name="connsiteY92" fmla="*/ 832060 h 3837710"/>
                <a:gd name="connsiteX93" fmla="*/ 985931 w 1573156"/>
                <a:gd name="connsiteY93" fmla="*/ 803617 h 3837710"/>
                <a:gd name="connsiteX94" fmla="*/ 1010871 w 1573156"/>
                <a:gd name="connsiteY94" fmla="*/ 767417 h 3837710"/>
                <a:gd name="connsiteX95" fmla="*/ 1091231 w 1573156"/>
                <a:gd name="connsiteY95" fmla="*/ 762245 h 3837710"/>
                <a:gd name="connsiteX96" fmla="*/ 1096772 w 1573156"/>
                <a:gd name="connsiteY96" fmla="*/ 741560 h 3837710"/>
                <a:gd name="connsiteX97" fmla="*/ 1121712 w 1573156"/>
                <a:gd name="connsiteY97" fmla="*/ 705360 h 3837710"/>
                <a:gd name="connsiteX98" fmla="*/ 1155516 w 1573156"/>
                <a:gd name="connsiteY98" fmla="*/ 687772 h 3837710"/>
                <a:gd name="connsiteX99" fmla="*/ 1213156 w 1573156"/>
                <a:gd name="connsiteY99" fmla="*/ 700189 h 3837710"/>
                <a:gd name="connsiteX100" fmla="*/ 1251949 w 1573156"/>
                <a:gd name="connsiteY100" fmla="*/ 720875 h 3837710"/>
                <a:gd name="connsiteX101" fmla="*/ 1299057 w 1573156"/>
                <a:gd name="connsiteY101" fmla="*/ 728632 h 3837710"/>
                <a:gd name="connsiteX102" fmla="*/ 1299057 w 1573156"/>
                <a:gd name="connsiteY102" fmla="*/ 733803 h 3837710"/>
                <a:gd name="connsiteX103" fmla="*/ 1321226 w 1573156"/>
                <a:gd name="connsiteY103" fmla="*/ 674332 h 3837710"/>
                <a:gd name="connsiteX104" fmla="*/ 1331201 w 1573156"/>
                <a:gd name="connsiteY104" fmla="*/ 640714 h 3837710"/>
                <a:gd name="connsiteX105" fmla="*/ 1337852 w 1573156"/>
                <a:gd name="connsiteY105" fmla="*/ 622618 h 3837710"/>
                <a:gd name="connsiteX106" fmla="*/ 1340789 w 1573156"/>
                <a:gd name="connsiteY106" fmla="*/ 591288 h 3837710"/>
                <a:gd name="connsiteX107" fmla="*/ 1260263 w 1573156"/>
                <a:gd name="connsiteY107" fmla="*/ 545048 h 3837710"/>
                <a:gd name="connsiteX108" fmla="*/ 1246408 w 1573156"/>
                <a:gd name="connsiteY108" fmla="*/ 472648 h 3837710"/>
                <a:gd name="connsiteX109" fmla="*/ 1246408 w 1573156"/>
                <a:gd name="connsiteY109" fmla="*/ 454548 h 3837710"/>
                <a:gd name="connsiteX110" fmla="*/ 1257491 w 1573156"/>
                <a:gd name="connsiteY110" fmla="*/ 431276 h 3837710"/>
                <a:gd name="connsiteX111" fmla="*/ 1260263 w 1573156"/>
                <a:gd name="connsiteY111" fmla="*/ 415762 h 3837710"/>
                <a:gd name="connsiteX112" fmla="*/ 1260262 w 1573156"/>
                <a:gd name="connsiteY112" fmla="*/ 358878 h 3837710"/>
                <a:gd name="connsiteX113" fmla="*/ 1238094 w 1573156"/>
                <a:gd name="connsiteY113" fmla="*/ 335607 h 3837710"/>
                <a:gd name="connsiteX114" fmla="*/ 1210384 w 1573156"/>
                <a:gd name="connsiteY114" fmla="*/ 304578 h 3837710"/>
                <a:gd name="connsiteX115" fmla="*/ 1206216 w 1573156"/>
                <a:gd name="connsiteY115" fmla="*/ 280325 h 3837710"/>
                <a:gd name="connsiteX116" fmla="*/ 1257492 w 1573156"/>
                <a:gd name="connsiteY116" fmla="*/ 258034 h 3837710"/>
                <a:gd name="connsiteX117" fmla="*/ 1311072 w 1573156"/>
                <a:gd name="connsiteY117" fmla="*/ 267906 h 3837710"/>
                <a:gd name="connsiteX118" fmla="*/ 1389856 w 1573156"/>
                <a:gd name="connsiteY118" fmla="*/ 279816 h 3837710"/>
                <a:gd name="connsiteX119" fmla="*/ 1474179 w 1573156"/>
                <a:gd name="connsiteY119" fmla="*/ 349175 h 3837710"/>
                <a:gd name="connsiteX120" fmla="*/ 1536314 w 1573156"/>
                <a:gd name="connsiteY120" fmla="*/ 425271 h 3837710"/>
                <a:gd name="connsiteX121" fmla="*/ 1435343 w 1573156"/>
                <a:gd name="connsiteY121" fmla="*/ 454265 h 3837710"/>
                <a:gd name="connsiteX122" fmla="*/ 1419809 w 1573156"/>
                <a:gd name="connsiteY122" fmla="*/ 501372 h 3837710"/>
                <a:gd name="connsiteX123" fmla="*/ 1477479 w 1573156"/>
                <a:gd name="connsiteY123" fmla="*/ 585862 h 3837710"/>
                <a:gd name="connsiteX124" fmla="*/ 1513013 w 1573156"/>
                <a:gd name="connsiteY124" fmla="*/ 591964 h 3837710"/>
                <a:gd name="connsiteX125" fmla="*/ 1565633 w 1573156"/>
                <a:gd name="connsiteY125" fmla="*/ 598304 h 3837710"/>
                <a:gd name="connsiteX126" fmla="*/ 1560670 w 1573156"/>
                <a:gd name="connsiteY126" fmla="*/ 709079 h 3837710"/>
                <a:gd name="connsiteX127" fmla="*/ 1571739 w 1573156"/>
                <a:gd name="connsiteY127" fmla="*/ 1040047 h 3837710"/>
                <a:gd name="connsiteX128" fmla="*/ 1562871 w 1573156"/>
                <a:gd name="connsiteY128" fmla="*/ 1842646 h 3837710"/>
                <a:gd name="connsiteX129" fmla="*/ 1571738 w 1573156"/>
                <a:gd name="connsiteY129" fmla="*/ 2297728 h 3837710"/>
                <a:gd name="connsiteX130" fmla="*/ 1559146 w 1573156"/>
                <a:gd name="connsiteY130" fmla="*/ 3716291 h 3837710"/>
                <a:gd name="connsiteX131" fmla="*/ 1556603 w 1573156"/>
                <a:gd name="connsiteY131" fmla="*/ 3758050 h 3837710"/>
                <a:gd name="connsiteX132" fmla="*/ 1545518 w 1573156"/>
                <a:gd name="connsiteY132" fmla="*/ 3688238 h 3837710"/>
                <a:gd name="connsiteX133" fmla="*/ 1487327 w 1573156"/>
                <a:gd name="connsiteY133" fmla="*/ 3680478 h 3837710"/>
                <a:gd name="connsiteX134" fmla="*/ 1445761 w 1573156"/>
                <a:gd name="connsiteY134" fmla="*/ 3652040 h 3837710"/>
                <a:gd name="connsiteX135" fmla="*/ 1357089 w 1573156"/>
                <a:gd name="connsiteY135" fmla="*/ 3662380 h 3837710"/>
                <a:gd name="connsiteX136" fmla="*/ 1343234 w 1573156"/>
                <a:gd name="connsiteY136" fmla="*/ 3631352 h 3837710"/>
                <a:gd name="connsiteX137" fmla="*/ 1290584 w 1573156"/>
                <a:gd name="connsiteY137" fmla="*/ 3610666 h 3837710"/>
                <a:gd name="connsiteX138" fmla="*/ 1195420 w 1573156"/>
                <a:gd name="connsiteY138" fmla="*/ 3605469 h 3837710"/>
                <a:gd name="connsiteX139" fmla="*/ 1013482 w 1573156"/>
                <a:gd name="connsiteY139" fmla="*/ 3592567 h 3837710"/>
                <a:gd name="connsiteX140" fmla="*/ 1123928 w 1573156"/>
                <a:gd name="connsiteY140" fmla="*/ 3663387 h 3837710"/>
                <a:gd name="connsiteX141" fmla="*/ 907787 w 1573156"/>
                <a:gd name="connsiteY141" fmla="*/ 3629257 h 3837710"/>
                <a:gd name="connsiteX142" fmla="*/ 776238 w 1573156"/>
                <a:gd name="connsiteY142" fmla="*/ 3504783 h 3837710"/>
                <a:gd name="connsiteX143" fmla="*/ 708669 w 1573156"/>
                <a:gd name="connsiteY143" fmla="*/ 3437426 h 3837710"/>
                <a:gd name="connsiteX144" fmla="*/ 739150 w 1573156"/>
                <a:gd name="connsiteY144" fmla="*/ 3437426 h 3837710"/>
                <a:gd name="connsiteX145" fmla="*/ 750233 w 1573156"/>
                <a:gd name="connsiteY145" fmla="*/ 3408982 h 3837710"/>
                <a:gd name="connsiteX146" fmla="*/ 783486 w 1573156"/>
                <a:gd name="connsiteY146" fmla="*/ 3354683 h 3837710"/>
                <a:gd name="connsiteX147" fmla="*/ 747462 w 1573156"/>
                <a:gd name="connsiteY147" fmla="*/ 3297798 h 3837710"/>
                <a:gd name="connsiteX148" fmla="*/ 836135 w 1573156"/>
                <a:gd name="connsiteY148" fmla="*/ 3225398 h 3837710"/>
                <a:gd name="connsiteX149" fmla="*/ 902641 w 1573156"/>
                <a:gd name="connsiteY149" fmla="*/ 3217642 h 3837710"/>
                <a:gd name="connsiteX150" fmla="*/ 955289 w 1573156"/>
                <a:gd name="connsiteY150" fmla="*/ 3160756 h 3837710"/>
                <a:gd name="connsiteX151" fmla="*/ 1024565 w 1573156"/>
                <a:gd name="connsiteY151" fmla="*/ 3114213 h 3837710"/>
                <a:gd name="connsiteX152" fmla="*/ 1019023 w 1573156"/>
                <a:gd name="connsiteY152" fmla="*/ 3067671 h 3837710"/>
                <a:gd name="connsiteX153" fmla="*/ 1043963 w 1573156"/>
                <a:gd name="connsiteY153" fmla="*/ 3028886 h 3837710"/>
                <a:gd name="connsiteX154" fmla="*/ 1016252 w 1573156"/>
                <a:gd name="connsiteY154" fmla="*/ 3026300 h 3837710"/>
                <a:gd name="connsiteX155" fmla="*/ 1031704 w 1573156"/>
                <a:gd name="connsiteY155" fmla="*/ 2992878 h 3837710"/>
                <a:gd name="connsiteX156" fmla="*/ 914211 w 1573156"/>
                <a:gd name="connsiteY156" fmla="*/ 2928233 h 3837710"/>
                <a:gd name="connsiteX157" fmla="*/ 858304 w 1573156"/>
                <a:gd name="connsiteY157" fmla="*/ 2909943 h 3837710"/>
                <a:gd name="connsiteX158" fmla="*/ 827823 w 1573156"/>
                <a:gd name="connsiteY158" fmla="*/ 2881501 h 3837710"/>
                <a:gd name="connsiteX159" fmla="*/ 761317 w 1573156"/>
                <a:gd name="connsiteY159" fmla="*/ 2897015 h 3837710"/>
                <a:gd name="connsiteX160" fmla="*/ 700355 w 1573156"/>
                <a:gd name="connsiteY160" fmla="*/ 2891844 h 3837710"/>
                <a:gd name="connsiteX161" fmla="*/ 658790 w 1573156"/>
                <a:gd name="connsiteY161" fmla="*/ 2827201 h 3837710"/>
                <a:gd name="connsiteX162" fmla="*/ 656019 w 1573156"/>
                <a:gd name="connsiteY162" fmla="*/ 2785830 h 3837710"/>
                <a:gd name="connsiteX163" fmla="*/ 631080 w 1573156"/>
                <a:gd name="connsiteY163" fmla="*/ 2772902 h 3837710"/>
                <a:gd name="connsiteX164" fmla="*/ 567346 w 1573156"/>
                <a:gd name="connsiteY164" fmla="*/ 2759974 h 3837710"/>
                <a:gd name="connsiteX165" fmla="*/ 586743 w 1573156"/>
                <a:gd name="connsiteY165" fmla="*/ 2721188 h 3837710"/>
                <a:gd name="connsiteX166" fmla="*/ 557777 w 1573156"/>
                <a:gd name="connsiteY166" fmla="*/ 2715007 h 3837710"/>
                <a:gd name="connsiteX167" fmla="*/ 531809 w 1573156"/>
                <a:gd name="connsiteY167" fmla="*/ 2672771 h 3837710"/>
                <a:gd name="connsiteX168" fmla="*/ 414939 w 1573156"/>
                <a:gd name="connsiteY168" fmla="*/ 2682402 h 3837710"/>
                <a:gd name="connsiteX169" fmla="*/ 390000 w 1573156"/>
                <a:gd name="connsiteY169" fmla="*/ 2672059 h 3837710"/>
                <a:gd name="connsiteX170" fmla="*/ 367832 w 1573156"/>
                <a:gd name="connsiteY170" fmla="*/ 2684989 h 3837710"/>
                <a:gd name="connsiteX171" fmla="*/ 351205 w 1573156"/>
                <a:gd name="connsiteY171" fmla="*/ 2622932 h 3837710"/>
                <a:gd name="connsiteX172" fmla="*/ 340121 w 1573156"/>
                <a:gd name="connsiteY172" fmla="*/ 2597075 h 3837710"/>
                <a:gd name="connsiteX173" fmla="*/ 353976 w 1573156"/>
                <a:gd name="connsiteY173" fmla="*/ 2578974 h 3837710"/>
                <a:gd name="connsiteX174" fmla="*/ 381687 w 1573156"/>
                <a:gd name="connsiteY174" fmla="*/ 2581561 h 3837710"/>
                <a:gd name="connsiteX175" fmla="*/ 414939 w 1573156"/>
                <a:gd name="connsiteY175" fmla="*/ 2563461 h 3837710"/>
                <a:gd name="connsiteX176" fmla="*/ 412168 w 1573156"/>
                <a:gd name="connsiteY176" fmla="*/ 2537603 h 3837710"/>
                <a:gd name="connsiteX177" fmla="*/ 362289 w 1573156"/>
                <a:gd name="connsiteY177" fmla="*/ 2501404 h 3837710"/>
                <a:gd name="connsiteX178" fmla="*/ 338946 w 1573156"/>
                <a:gd name="connsiteY178" fmla="*/ 2513491 h 3837710"/>
                <a:gd name="connsiteX179" fmla="*/ 340121 w 1573156"/>
                <a:gd name="connsiteY179" fmla="*/ 2467790 h 3837710"/>
                <a:gd name="connsiteX180" fmla="*/ 306869 w 1573156"/>
                <a:gd name="connsiteY180" fmla="*/ 2429005 h 3837710"/>
                <a:gd name="connsiteX181" fmla="*/ 309641 w 1573156"/>
                <a:gd name="connsiteY181" fmla="*/ 2351433 h 3837710"/>
                <a:gd name="connsiteX182" fmla="*/ 290243 w 1573156"/>
                <a:gd name="connsiteY182" fmla="*/ 2299720 h 3837710"/>
                <a:gd name="connsiteX183" fmla="*/ 256991 w 1573156"/>
                <a:gd name="connsiteY183" fmla="*/ 2266106 h 3837710"/>
                <a:gd name="connsiteX184" fmla="*/ 218196 w 1573156"/>
                <a:gd name="connsiteY184" fmla="*/ 2242835 h 3837710"/>
                <a:gd name="connsiteX185" fmla="*/ 176631 w 1573156"/>
                <a:gd name="connsiteY185" fmla="*/ 2250592 h 3837710"/>
                <a:gd name="connsiteX186" fmla="*/ 122255 w 1573156"/>
                <a:gd name="connsiteY186" fmla="*/ 2214066 h 3837710"/>
                <a:gd name="connsiteX0" fmla="*/ 122255 w 1573156"/>
                <a:gd name="connsiteY0" fmla="*/ 2214066 h 3837710"/>
                <a:gd name="connsiteX1" fmla="*/ 63018 w 1573156"/>
                <a:gd name="connsiteY1" fmla="*/ 2216977 h 3837710"/>
                <a:gd name="connsiteX2" fmla="*/ 60248 w 1573156"/>
                <a:gd name="connsiteY2" fmla="*/ 2118721 h 3837710"/>
                <a:gd name="connsiteX3" fmla="*/ 71333 w 1573156"/>
                <a:gd name="connsiteY3" fmla="*/ 2077350 h 3837710"/>
                <a:gd name="connsiteX4" fmla="*/ 74102 w 1573156"/>
                <a:gd name="connsiteY4" fmla="*/ 2030807 h 3837710"/>
                <a:gd name="connsiteX5" fmla="*/ 76875 w 1573156"/>
                <a:gd name="connsiteY5" fmla="*/ 2020467 h 3837710"/>
                <a:gd name="connsiteX6" fmla="*/ 118439 w 1573156"/>
                <a:gd name="connsiteY6" fmla="*/ 1992023 h 3837710"/>
                <a:gd name="connsiteX7" fmla="*/ 82416 w 1573156"/>
                <a:gd name="connsiteY7" fmla="*/ 1963580 h 3837710"/>
                <a:gd name="connsiteX8" fmla="*/ 51935 w 1573156"/>
                <a:gd name="connsiteY8" fmla="*/ 1927380 h 3837710"/>
                <a:gd name="connsiteX9" fmla="*/ 40850 w 1573156"/>
                <a:gd name="connsiteY9" fmla="*/ 1893766 h 3837710"/>
                <a:gd name="connsiteX10" fmla="*/ 43621 w 1573156"/>
                <a:gd name="connsiteY10" fmla="*/ 1844639 h 3837710"/>
                <a:gd name="connsiteX11" fmla="*/ 82416 w 1573156"/>
                <a:gd name="connsiteY11" fmla="*/ 1826538 h 3837710"/>
                <a:gd name="connsiteX12" fmla="*/ 112899 w 1573156"/>
                <a:gd name="connsiteY12" fmla="*/ 1782581 h 3837710"/>
                <a:gd name="connsiteX13" fmla="*/ 96271 w 1573156"/>
                <a:gd name="connsiteY13" fmla="*/ 1754138 h 3837710"/>
                <a:gd name="connsiteX14" fmla="*/ 40851 w 1573156"/>
                <a:gd name="connsiteY14" fmla="*/ 1746381 h 3837710"/>
                <a:gd name="connsiteX15" fmla="*/ 2057 w 1573156"/>
                <a:gd name="connsiteY15" fmla="*/ 1730867 h 3837710"/>
                <a:gd name="connsiteX16" fmla="*/ 38079 w 1573156"/>
                <a:gd name="connsiteY16" fmla="*/ 1689496 h 3837710"/>
                <a:gd name="connsiteX17" fmla="*/ 18683 w 1573156"/>
                <a:gd name="connsiteY17" fmla="*/ 1679153 h 3837710"/>
                <a:gd name="connsiteX18" fmla="*/ 2055 w 1573156"/>
                <a:gd name="connsiteY18" fmla="*/ 1640367 h 3837710"/>
                <a:gd name="connsiteX19" fmla="*/ 65790 w 1573156"/>
                <a:gd name="connsiteY19" fmla="*/ 1650711 h 3837710"/>
                <a:gd name="connsiteX20" fmla="*/ 93501 w 1573156"/>
                <a:gd name="connsiteY20" fmla="*/ 1627440 h 3837710"/>
                <a:gd name="connsiteX21" fmla="*/ 187716 w 1573156"/>
                <a:gd name="connsiteY21" fmla="*/ 1536941 h 3837710"/>
                <a:gd name="connsiteX22" fmla="*/ 212655 w 1573156"/>
                <a:gd name="connsiteY22" fmla="*/ 1505912 h 3837710"/>
                <a:gd name="connsiteX23" fmla="*/ 198801 w 1573156"/>
                <a:gd name="connsiteY23" fmla="*/ 1555040 h 3837710"/>
                <a:gd name="connsiteX24" fmla="*/ 218197 w 1573156"/>
                <a:gd name="connsiteY24" fmla="*/ 1588655 h 3837710"/>
                <a:gd name="connsiteX25" fmla="*/ 262534 w 1573156"/>
                <a:gd name="connsiteY25" fmla="*/ 1666225 h 3837710"/>
                <a:gd name="connsiteX26" fmla="*/ 331810 w 1573156"/>
                <a:gd name="connsiteY26" fmla="*/ 1653297 h 3837710"/>
                <a:gd name="connsiteX27" fmla="*/ 351206 w 1573156"/>
                <a:gd name="connsiteY27" fmla="*/ 1622268 h 3837710"/>
                <a:gd name="connsiteX28" fmla="*/ 365062 w 1573156"/>
                <a:gd name="connsiteY28" fmla="*/ 1557627 h 3837710"/>
                <a:gd name="connsiteX29" fmla="*/ 304099 w 1573156"/>
                <a:gd name="connsiteY29" fmla="*/ 1511084 h 3837710"/>
                <a:gd name="connsiteX30" fmla="*/ 259763 w 1573156"/>
                <a:gd name="connsiteY30" fmla="*/ 1485227 h 3837710"/>
                <a:gd name="connsiteX31" fmla="*/ 198801 w 1573156"/>
                <a:gd name="connsiteY31" fmla="*/ 1495570 h 3837710"/>
                <a:gd name="connsiteX32" fmla="*/ 376147 w 1573156"/>
                <a:gd name="connsiteY32" fmla="*/ 1299057 h 3837710"/>
                <a:gd name="connsiteX33" fmla="*/ 223740 w 1573156"/>
                <a:gd name="connsiteY33" fmla="*/ 1151672 h 3837710"/>
                <a:gd name="connsiteX34" fmla="*/ 284703 w 1573156"/>
                <a:gd name="connsiteY34" fmla="*/ 1089617 h 3837710"/>
                <a:gd name="connsiteX35" fmla="*/ 218198 w 1573156"/>
                <a:gd name="connsiteY35" fmla="*/ 1050829 h 3837710"/>
                <a:gd name="connsiteX36" fmla="*/ 259763 w 1573156"/>
                <a:gd name="connsiteY36" fmla="*/ 1019802 h 3837710"/>
                <a:gd name="connsiteX37" fmla="*/ 212657 w 1573156"/>
                <a:gd name="connsiteY37" fmla="*/ 993947 h 3837710"/>
                <a:gd name="connsiteX38" fmla="*/ 212656 w 1573156"/>
                <a:gd name="connsiteY38" fmla="*/ 794845 h 3837710"/>
                <a:gd name="connsiteX39" fmla="*/ 251451 w 1573156"/>
                <a:gd name="connsiteY39" fmla="*/ 779332 h 3837710"/>
                <a:gd name="connsiteX40" fmla="*/ 137838 w 1573156"/>
                <a:gd name="connsiteY40" fmla="*/ 551792 h 3837710"/>
                <a:gd name="connsiteX41" fmla="*/ 135067 w 1573156"/>
                <a:gd name="connsiteY41" fmla="*/ 551792 h 3837710"/>
                <a:gd name="connsiteX42" fmla="*/ 184945 w 1573156"/>
                <a:gd name="connsiteY42" fmla="*/ 469048 h 3837710"/>
                <a:gd name="connsiteX43" fmla="*/ 201571 w 1573156"/>
                <a:gd name="connsiteY43" fmla="*/ 378550 h 3837710"/>
                <a:gd name="connsiteX44" fmla="*/ 126752 w 1573156"/>
                <a:gd name="connsiteY44" fmla="*/ 319079 h 3837710"/>
                <a:gd name="connsiteX45" fmla="*/ 118440 w 1573156"/>
                <a:gd name="connsiteY45" fmla="*/ 251851 h 3837710"/>
                <a:gd name="connsiteX46" fmla="*/ 173860 w 1573156"/>
                <a:gd name="connsiteY46" fmla="*/ 158764 h 3837710"/>
                <a:gd name="connsiteX47" fmla="*/ 193258 w 1573156"/>
                <a:gd name="connsiteY47" fmla="*/ 135494 h 3837710"/>
                <a:gd name="connsiteX48" fmla="*/ 207113 w 1573156"/>
                <a:gd name="connsiteY48" fmla="*/ 117394 h 3837710"/>
                <a:gd name="connsiteX49" fmla="*/ 215426 w 1573156"/>
                <a:gd name="connsiteY49" fmla="*/ 73438 h 3837710"/>
                <a:gd name="connsiteX50" fmla="*/ 240365 w 1573156"/>
                <a:gd name="connsiteY50" fmla="*/ 101880 h 3837710"/>
                <a:gd name="connsiteX51" fmla="*/ 270847 w 1573156"/>
                <a:gd name="connsiteY51" fmla="*/ 88952 h 3837710"/>
                <a:gd name="connsiteX52" fmla="*/ 273617 w 1573156"/>
                <a:gd name="connsiteY52" fmla="*/ 63095 h 3837710"/>
                <a:gd name="connsiteX53" fmla="*/ 281931 w 1573156"/>
                <a:gd name="connsiteY53" fmla="*/ 34652 h 3837710"/>
                <a:gd name="connsiteX54" fmla="*/ 284703 w 1573156"/>
                <a:gd name="connsiteY54" fmla="*/ 3624 h 3837710"/>
                <a:gd name="connsiteX55" fmla="*/ 420483 w 1573156"/>
                <a:gd name="connsiteY55" fmla="*/ 57924 h 3837710"/>
                <a:gd name="connsiteX56" fmla="*/ 450963 w 1573156"/>
                <a:gd name="connsiteY56" fmla="*/ 161352 h 3837710"/>
                <a:gd name="connsiteX57" fmla="*/ 464819 w 1573156"/>
                <a:gd name="connsiteY57" fmla="*/ 184622 h 3837710"/>
                <a:gd name="connsiteX58" fmla="*/ 475903 w 1573156"/>
                <a:gd name="connsiteY58" fmla="*/ 187208 h 3837710"/>
                <a:gd name="connsiteX59" fmla="*/ 589515 w 1573156"/>
                <a:gd name="connsiteY59" fmla="*/ 156181 h 3837710"/>
                <a:gd name="connsiteX60" fmla="*/ 656020 w 1573156"/>
                <a:gd name="connsiteY60" fmla="*/ 166522 h 3837710"/>
                <a:gd name="connsiteX61" fmla="*/ 719754 w 1573156"/>
                <a:gd name="connsiteY61" fmla="*/ 213065 h 3837710"/>
                <a:gd name="connsiteX62" fmla="*/ 733781 w 1573156"/>
                <a:gd name="connsiteY62" fmla="*/ 242621 h 3837710"/>
                <a:gd name="connsiteX63" fmla="*/ 789028 w 1573156"/>
                <a:gd name="connsiteY63" fmla="*/ 277708 h 3837710"/>
                <a:gd name="connsiteX64" fmla="*/ 877702 w 1573156"/>
                <a:gd name="connsiteY64" fmla="*/ 303563 h 3837710"/>
                <a:gd name="connsiteX65" fmla="*/ 949748 w 1573156"/>
                <a:gd name="connsiteY65" fmla="*/ 350106 h 3837710"/>
                <a:gd name="connsiteX66" fmla="*/ 999627 w 1573156"/>
                <a:gd name="connsiteY66" fmla="*/ 401820 h 3837710"/>
                <a:gd name="connsiteX67" fmla="*/ 1024566 w 1573156"/>
                <a:gd name="connsiteY67" fmla="*/ 440606 h 3837710"/>
                <a:gd name="connsiteX68" fmla="*/ 1057819 w 1573156"/>
                <a:gd name="connsiteY68" fmla="*/ 466462 h 3837710"/>
                <a:gd name="connsiteX69" fmla="*/ 1041191 w 1573156"/>
                <a:gd name="connsiteY69" fmla="*/ 691417 h 3837710"/>
                <a:gd name="connsiteX70" fmla="*/ 913725 w 1573156"/>
                <a:gd name="connsiteY70" fmla="*/ 771575 h 3837710"/>
                <a:gd name="connsiteX71" fmla="*/ 800113 w 1573156"/>
                <a:gd name="connsiteY71" fmla="*/ 779331 h 3837710"/>
                <a:gd name="connsiteX72" fmla="*/ 661560 w 1573156"/>
                <a:gd name="connsiteY72" fmla="*/ 758645 h 3837710"/>
                <a:gd name="connsiteX73" fmla="*/ 570116 w 1573156"/>
                <a:gd name="connsiteY73" fmla="*/ 722445 h 3837710"/>
                <a:gd name="connsiteX74" fmla="*/ 550719 w 1573156"/>
                <a:gd name="connsiteY74" fmla="*/ 750888 h 3837710"/>
                <a:gd name="connsiteX75" fmla="*/ 581361 w 1573156"/>
                <a:gd name="connsiteY75" fmla="*/ 824301 h 3837710"/>
                <a:gd name="connsiteX76" fmla="*/ 586902 w 1573156"/>
                <a:gd name="connsiteY76" fmla="*/ 951000 h 3837710"/>
                <a:gd name="connsiteX77" fmla="*/ 559032 w 1573156"/>
                <a:gd name="connsiteY77" fmla="*/ 1012043 h 3837710"/>
                <a:gd name="connsiteX78" fmla="*/ 614451 w 1573156"/>
                <a:gd name="connsiteY78" fmla="*/ 1032728 h 3837710"/>
                <a:gd name="connsiteX79" fmla="*/ 631079 w 1573156"/>
                <a:gd name="connsiteY79" fmla="*/ 1048242 h 3837710"/>
                <a:gd name="connsiteX80" fmla="*/ 656019 w 1573156"/>
                <a:gd name="connsiteY80" fmla="*/ 1074099 h 3837710"/>
                <a:gd name="connsiteX81" fmla="*/ 653248 w 1573156"/>
                <a:gd name="connsiteY81" fmla="*/ 1076685 h 3837710"/>
                <a:gd name="connsiteX82" fmla="*/ 692041 w 1573156"/>
                <a:gd name="connsiteY82" fmla="*/ 1071514 h 3837710"/>
                <a:gd name="connsiteX83" fmla="*/ 700355 w 1573156"/>
                <a:gd name="connsiteY83" fmla="*/ 1035314 h 3837710"/>
                <a:gd name="connsiteX84" fmla="*/ 661560 w 1573156"/>
                <a:gd name="connsiteY84" fmla="*/ 957743 h 3837710"/>
                <a:gd name="connsiteX85" fmla="*/ 730836 w 1573156"/>
                <a:gd name="connsiteY85" fmla="*/ 911200 h 3837710"/>
                <a:gd name="connsiteX86" fmla="*/ 798608 w 1573156"/>
                <a:gd name="connsiteY86" fmla="*/ 918934 h 3837710"/>
                <a:gd name="connsiteX87" fmla="*/ 822441 w 1573156"/>
                <a:gd name="connsiteY87" fmla="*/ 951001 h 3837710"/>
                <a:gd name="connsiteX88" fmla="*/ 978170 w 1573156"/>
                <a:gd name="connsiteY88" fmla="*/ 1007364 h 3837710"/>
                <a:gd name="connsiteX89" fmla="*/ 963762 w 1573156"/>
                <a:gd name="connsiteY89" fmla="*/ 971687 h 3837710"/>
                <a:gd name="connsiteX90" fmla="*/ 930510 w 1573156"/>
                <a:gd name="connsiteY90" fmla="*/ 932901 h 3837710"/>
                <a:gd name="connsiteX91" fmla="*/ 919426 w 1573156"/>
                <a:gd name="connsiteY91" fmla="*/ 881187 h 3837710"/>
                <a:gd name="connsiteX92" fmla="*/ 958221 w 1573156"/>
                <a:gd name="connsiteY92" fmla="*/ 832060 h 3837710"/>
                <a:gd name="connsiteX93" fmla="*/ 985931 w 1573156"/>
                <a:gd name="connsiteY93" fmla="*/ 803617 h 3837710"/>
                <a:gd name="connsiteX94" fmla="*/ 1010871 w 1573156"/>
                <a:gd name="connsiteY94" fmla="*/ 767417 h 3837710"/>
                <a:gd name="connsiteX95" fmla="*/ 1091231 w 1573156"/>
                <a:gd name="connsiteY95" fmla="*/ 762245 h 3837710"/>
                <a:gd name="connsiteX96" fmla="*/ 1096772 w 1573156"/>
                <a:gd name="connsiteY96" fmla="*/ 741560 h 3837710"/>
                <a:gd name="connsiteX97" fmla="*/ 1121712 w 1573156"/>
                <a:gd name="connsiteY97" fmla="*/ 705360 h 3837710"/>
                <a:gd name="connsiteX98" fmla="*/ 1155516 w 1573156"/>
                <a:gd name="connsiteY98" fmla="*/ 687772 h 3837710"/>
                <a:gd name="connsiteX99" fmla="*/ 1213156 w 1573156"/>
                <a:gd name="connsiteY99" fmla="*/ 700189 h 3837710"/>
                <a:gd name="connsiteX100" fmla="*/ 1251949 w 1573156"/>
                <a:gd name="connsiteY100" fmla="*/ 720875 h 3837710"/>
                <a:gd name="connsiteX101" fmla="*/ 1299057 w 1573156"/>
                <a:gd name="connsiteY101" fmla="*/ 728632 h 3837710"/>
                <a:gd name="connsiteX102" fmla="*/ 1299057 w 1573156"/>
                <a:gd name="connsiteY102" fmla="*/ 733803 h 3837710"/>
                <a:gd name="connsiteX103" fmla="*/ 1321226 w 1573156"/>
                <a:gd name="connsiteY103" fmla="*/ 674332 h 3837710"/>
                <a:gd name="connsiteX104" fmla="*/ 1331201 w 1573156"/>
                <a:gd name="connsiteY104" fmla="*/ 640714 h 3837710"/>
                <a:gd name="connsiteX105" fmla="*/ 1337852 w 1573156"/>
                <a:gd name="connsiteY105" fmla="*/ 622618 h 3837710"/>
                <a:gd name="connsiteX106" fmla="*/ 1340789 w 1573156"/>
                <a:gd name="connsiteY106" fmla="*/ 591288 h 3837710"/>
                <a:gd name="connsiteX107" fmla="*/ 1260263 w 1573156"/>
                <a:gd name="connsiteY107" fmla="*/ 545048 h 3837710"/>
                <a:gd name="connsiteX108" fmla="*/ 1246408 w 1573156"/>
                <a:gd name="connsiteY108" fmla="*/ 472648 h 3837710"/>
                <a:gd name="connsiteX109" fmla="*/ 1246408 w 1573156"/>
                <a:gd name="connsiteY109" fmla="*/ 454548 h 3837710"/>
                <a:gd name="connsiteX110" fmla="*/ 1257491 w 1573156"/>
                <a:gd name="connsiteY110" fmla="*/ 431276 h 3837710"/>
                <a:gd name="connsiteX111" fmla="*/ 1260263 w 1573156"/>
                <a:gd name="connsiteY111" fmla="*/ 415762 h 3837710"/>
                <a:gd name="connsiteX112" fmla="*/ 1260262 w 1573156"/>
                <a:gd name="connsiteY112" fmla="*/ 358878 h 3837710"/>
                <a:gd name="connsiteX113" fmla="*/ 1238094 w 1573156"/>
                <a:gd name="connsiteY113" fmla="*/ 335607 h 3837710"/>
                <a:gd name="connsiteX114" fmla="*/ 1210384 w 1573156"/>
                <a:gd name="connsiteY114" fmla="*/ 304578 h 3837710"/>
                <a:gd name="connsiteX115" fmla="*/ 1206216 w 1573156"/>
                <a:gd name="connsiteY115" fmla="*/ 280325 h 3837710"/>
                <a:gd name="connsiteX116" fmla="*/ 1257492 w 1573156"/>
                <a:gd name="connsiteY116" fmla="*/ 258034 h 3837710"/>
                <a:gd name="connsiteX117" fmla="*/ 1311072 w 1573156"/>
                <a:gd name="connsiteY117" fmla="*/ 267906 h 3837710"/>
                <a:gd name="connsiteX118" fmla="*/ 1389856 w 1573156"/>
                <a:gd name="connsiteY118" fmla="*/ 279816 h 3837710"/>
                <a:gd name="connsiteX119" fmla="*/ 1474179 w 1573156"/>
                <a:gd name="connsiteY119" fmla="*/ 349175 h 3837710"/>
                <a:gd name="connsiteX120" fmla="*/ 1536314 w 1573156"/>
                <a:gd name="connsiteY120" fmla="*/ 425271 h 3837710"/>
                <a:gd name="connsiteX121" fmla="*/ 1435343 w 1573156"/>
                <a:gd name="connsiteY121" fmla="*/ 454265 h 3837710"/>
                <a:gd name="connsiteX122" fmla="*/ 1419809 w 1573156"/>
                <a:gd name="connsiteY122" fmla="*/ 501372 h 3837710"/>
                <a:gd name="connsiteX123" fmla="*/ 1477479 w 1573156"/>
                <a:gd name="connsiteY123" fmla="*/ 585862 h 3837710"/>
                <a:gd name="connsiteX124" fmla="*/ 1513013 w 1573156"/>
                <a:gd name="connsiteY124" fmla="*/ 591964 h 3837710"/>
                <a:gd name="connsiteX125" fmla="*/ 1565633 w 1573156"/>
                <a:gd name="connsiteY125" fmla="*/ 598304 h 3837710"/>
                <a:gd name="connsiteX126" fmla="*/ 1560670 w 1573156"/>
                <a:gd name="connsiteY126" fmla="*/ 709079 h 3837710"/>
                <a:gd name="connsiteX127" fmla="*/ 1571739 w 1573156"/>
                <a:gd name="connsiteY127" fmla="*/ 1040047 h 3837710"/>
                <a:gd name="connsiteX128" fmla="*/ 1562871 w 1573156"/>
                <a:gd name="connsiteY128" fmla="*/ 1842646 h 3837710"/>
                <a:gd name="connsiteX129" fmla="*/ 1571738 w 1573156"/>
                <a:gd name="connsiteY129" fmla="*/ 2297728 h 3837710"/>
                <a:gd name="connsiteX130" fmla="*/ 1559146 w 1573156"/>
                <a:gd name="connsiteY130" fmla="*/ 3716291 h 3837710"/>
                <a:gd name="connsiteX131" fmla="*/ 1556603 w 1573156"/>
                <a:gd name="connsiteY131" fmla="*/ 3758050 h 3837710"/>
                <a:gd name="connsiteX132" fmla="*/ 1545518 w 1573156"/>
                <a:gd name="connsiteY132" fmla="*/ 3688238 h 3837710"/>
                <a:gd name="connsiteX133" fmla="*/ 1487327 w 1573156"/>
                <a:gd name="connsiteY133" fmla="*/ 3680478 h 3837710"/>
                <a:gd name="connsiteX134" fmla="*/ 1445761 w 1573156"/>
                <a:gd name="connsiteY134" fmla="*/ 3652040 h 3837710"/>
                <a:gd name="connsiteX135" fmla="*/ 1401425 w 1573156"/>
                <a:gd name="connsiteY135" fmla="*/ 3670138 h 3837710"/>
                <a:gd name="connsiteX136" fmla="*/ 1357089 w 1573156"/>
                <a:gd name="connsiteY136" fmla="*/ 3662380 h 3837710"/>
                <a:gd name="connsiteX137" fmla="*/ 1343234 w 1573156"/>
                <a:gd name="connsiteY137" fmla="*/ 3631352 h 3837710"/>
                <a:gd name="connsiteX138" fmla="*/ 1290584 w 1573156"/>
                <a:gd name="connsiteY138" fmla="*/ 3610666 h 3837710"/>
                <a:gd name="connsiteX139" fmla="*/ 1195420 w 1573156"/>
                <a:gd name="connsiteY139" fmla="*/ 3605469 h 3837710"/>
                <a:gd name="connsiteX140" fmla="*/ 1013482 w 1573156"/>
                <a:gd name="connsiteY140" fmla="*/ 3592567 h 3837710"/>
                <a:gd name="connsiteX141" fmla="*/ 1123928 w 1573156"/>
                <a:gd name="connsiteY141" fmla="*/ 3663387 h 3837710"/>
                <a:gd name="connsiteX142" fmla="*/ 907787 w 1573156"/>
                <a:gd name="connsiteY142" fmla="*/ 3629257 h 3837710"/>
                <a:gd name="connsiteX143" fmla="*/ 776238 w 1573156"/>
                <a:gd name="connsiteY143" fmla="*/ 3504783 h 3837710"/>
                <a:gd name="connsiteX144" fmla="*/ 708669 w 1573156"/>
                <a:gd name="connsiteY144" fmla="*/ 3437426 h 3837710"/>
                <a:gd name="connsiteX145" fmla="*/ 739150 w 1573156"/>
                <a:gd name="connsiteY145" fmla="*/ 3437426 h 3837710"/>
                <a:gd name="connsiteX146" fmla="*/ 750233 w 1573156"/>
                <a:gd name="connsiteY146" fmla="*/ 3408982 h 3837710"/>
                <a:gd name="connsiteX147" fmla="*/ 783486 w 1573156"/>
                <a:gd name="connsiteY147" fmla="*/ 3354683 h 3837710"/>
                <a:gd name="connsiteX148" fmla="*/ 747462 w 1573156"/>
                <a:gd name="connsiteY148" fmla="*/ 3297798 h 3837710"/>
                <a:gd name="connsiteX149" fmla="*/ 836135 w 1573156"/>
                <a:gd name="connsiteY149" fmla="*/ 3225398 h 3837710"/>
                <a:gd name="connsiteX150" fmla="*/ 902641 w 1573156"/>
                <a:gd name="connsiteY150" fmla="*/ 3217642 h 3837710"/>
                <a:gd name="connsiteX151" fmla="*/ 955289 w 1573156"/>
                <a:gd name="connsiteY151" fmla="*/ 3160756 h 3837710"/>
                <a:gd name="connsiteX152" fmla="*/ 1024565 w 1573156"/>
                <a:gd name="connsiteY152" fmla="*/ 3114213 h 3837710"/>
                <a:gd name="connsiteX153" fmla="*/ 1019023 w 1573156"/>
                <a:gd name="connsiteY153" fmla="*/ 3067671 h 3837710"/>
                <a:gd name="connsiteX154" fmla="*/ 1043963 w 1573156"/>
                <a:gd name="connsiteY154" fmla="*/ 3028886 h 3837710"/>
                <a:gd name="connsiteX155" fmla="*/ 1016252 w 1573156"/>
                <a:gd name="connsiteY155" fmla="*/ 3026300 h 3837710"/>
                <a:gd name="connsiteX156" fmla="*/ 1031704 w 1573156"/>
                <a:gd name="connsiteY156" fmla="*/ 2992878 h 3837710"/>
                <a:gd name="connsiteX157" fmla="*/ 914211 w 1573156"/>
                <a:gd name="connsiteY157" fmla="*/ 2928233 h 3837710"/>
                <a:gd name="connsiteX158" fmla="*/ 858304 w 1573156"/>
                <a:gd name="connsiteY158" fmla="*/ 2909943 h 3837710"/>
                <a:gd name="connsiteX159" fmla="*/ 827823 w 1573156"/>
                <a:gd name="connsiteY159" fmla="*/ 2881501 h 3837710"/>
                <a:gd name="connsiteX160" fmla="*/ 761317 w 1573156"/>
                <a:gd name="connsiteY160" fmla="*/ 2897015 h 3837710"/>
                <a:gd name="connsiteX161" fmla="*/ 700355 w 1573156"/>
                <a:gd name="connsiteY161" fmla="*/ 2891844 h 3837710"/>
                <a:gd name="connsiteX162" fmla="*/ 658790 w 1573156"/>
                <a:gd name="connsiteY162" fmla="*/ 2827201 h 3837710"/>
                <a:gd name="connsiteX163" fmla="*/ 656019 w 1573156"/>
                <a:gd name="connsiteY163" fmla="*/ 2785830 h 3837710"/>
                <a:gd name="connsiteX164" fmla="*/ 631080 w 1573156"/>
                <a:gd name="connsiteY164" fmla="*/ 2772902 h 3837710"/>
                <a:gd name="connsiteX165" fmla="*/ 567346 w 1573156"/>
                <a:gd name="connsiteY165" fmla="*/ 2759974 h 3837710"/>
                <a:gd name="connsiteX166" fmla="*/ 586743 w 1573156"/>
                <a:gd name="connsiteY166" fmla="*/ 2721188 h 3837710"/>
                <a:gd name="connsiteX167" fmla="*/ 557777 w 1573156"/>
                <a:gd name="connsiteY167" fmla="*/ 2715007 h 3837710"/>
                <a:gd name="connsiteX168" fmla="*/ 531809 w 1573156"/>
                <a:gd name="connsiteY168" fmla="*/ 2672771 h 3837710"/>
                <a:gd name="connsiteX169" fmla="*/ 414939 w 1573156"/>
                <a:gd name="connsiteY169" fmla="*/ 2682402 h 3837710"/>
                <a:gd name="connsiteX170" fmla="*/ 390000 w 1573156"/>
                <a:gd name="connsiteY170" fmla="*/ 2672059 h 3837710"/>
                <a:gd name="connsiteX171" fmla="*/ 367832 w 1573156"/>
                <a:gd name="connsiteY171" fmla="*/ 2684989 h 3837710"/>
                <a:gd name="connsiteX172" fmla="*/ 351205 w 1573156"/>
                <a:gd name="connsiteY172" fmla="*/ 2622932 h 3837710"/>
                <a:gd name="connsiteX173" fmla="*/ 340121 w 1573156"/>
                <a:gd name="connsiteY173" fmla="*/ 2597075 h 3837710"/>
                <a:gd name="connsiteX174" fmla="*/ 353976 w 1573156"/>
                <a:gd name="connsiteY174" fmla="*/ 2578974 h 3837710"/>
                <a:gd name="connsiteX175" fmla="*/ 381687 w 1573156"/>
                <a:gd name="connsiteY175" fmla="*/ 2581561 h 3837710"/>
                <a:gd name="connsiteX176" fmla="*/ 414939 w 1573156"/>
                <a:gd name="connsiteY176" fmla="*/ 2563461 h 3837710"/>
                <a:gd name="connsiteX177" fmla="*/ 412168 w 1573156"/>
                <a:gd name="connsiteY177" fmla="*/ 2537603 h 3837710"/>
                <a:gd name="connsiteX178" fmla="*/ 362289 w 1573156"/>
                <a:gd name="connsiteY178" fmla="*/ 2501404 h 3837710"/>
                <a:gd name="connsiteX179" fmla="*/ 338946 w 1573156"/>
                <a:gd name="connsiteY179" fmla="*/ 2513491 h 3837710"/>
                <a:gd name="connsiteX180" fmla="*/ 340121 w 1573156"/>
                <a:gd name="connsiteY180" fmla="*/ 2467790 h 3837710"/>
                <a:gd name="connsiteX181" fmla="*/ 306869 w 1573156"/>
                <a:gd name="connsiteY181" fmla="*/ 2429005 h 3837710"/>
                <a:gd name="connsiteX182" fmla="*/ 309641 w 1573156"/>
                <a:gd name="connsiteY182" fmla="*/ 2351433 h 3837710"/>
                <a:gd name="connsiteX183" fmla="*/ 290243 w 1573156"/>
                <a:gd name="connsiteY183" fmla="*/ 2299720 h 3837710"/>
                <a:gd name="connsiteX184" fmla="*/ 256991 w 1573156"/>
                <a:gd name="connsiteY184" fmla="*/ 2266106 h 3837710"/>
                <a:gd name="connsiteX185" fmla="*/ 218196 w 1573156"/>
                <a:gd name="connsiteY185" fmla="*/ 2242835 h 3837710"/>
                <a:gd name="connsiteX186" fmla="*/ 176631 w 1573156"/>
                <a:gd name="connsiteY186" fmla="*/ 2250592 h 3837710"/>
                <a:gd name="connsiteX187" fmla="*/ 122255 w 1573156"/>
                <a:gd name="connsiteY187" fmla="*/ 2214066 h 3837710"/>
                <a:gd name="connsiteX0" fmla="*/ 122255 w 1573156"/>
                <a:gd name="connsiteY0" fmla="*/ 2214066 h 3837710"/>
                <a:gd name="connsiteX1" fmla="*/ 63018 w 1573156"/>
                <a:gd name="connsiteY1" fmla="*/ 2216977 h 3837710"/>
                <a:gd name="connsiteX2" fmla="*/ 60248 w 1573156"/>
                <a:gd name="connsiteY2" fmla="*/ 2118721 h 3837710"/>
                <a:gd name="connsiteX3" fmla="*/ 71333 w 1573156"/>
                <a:gd name="connsiteY3" fmla="*/ 2077350 h 3837710"/>
                <a:gd name="connsiteX4" fmla="*/ 74102 w 1573156"/>
                <a:gd name="connsiteY4" fmla="*/ 2030807 h 3837710"/>
                <a:gd name="connsiteX5" fmla="*/ 76875 w 1573156"/>
                <a:gd name="connsiteY5" fmla="*/ 2020467 h 3837710"/>
                <a:gd name="connsiteX6" fmla="*/ 118439 w 1573156"/>
                <a:gd name="connsiteY6" fmla="*/ 1992023 h 3837710"/>
                <a:gd name="connsiteX7" fmla="*/ 82416 w 1573156"/>
                <a:gd name="connsiteY7" fmla="*/ 1963580 h 3837710"/>
                <a:gd name="connsiteX8" fmla="*/ 51935 w 1573156"/>
                <a:gd name="connsiteY8" fmla="*/ 1927380 h 3837710"/>
                <a:gd name="connsiteX9" fmla="*/ 40850 w 1573156"/>
                <a:gd name="connsiteY9" fmla="*/ 1893766 h 3837710"/>
                <a:gd name="connsiteX10" fmla="*/ 43621 w 1573156"/>
                <a:gd name="connsiteY10" fmla="*/ 1844639 h 3837710"/>
                <a:gd name="connsiteX11" fmla="*/ 82416 w 1573156"/>
                <a:gd name="connsiteY11" fmla="*/ 1826538 h 3837710"/>
                <a:gd name="connsiteX12" fmla="*/ 112899 w 1573156"/>
                <a:gd name="connsiteY12" fmla="*/ 1782581 h 3837710"/>
                <a:gd name="connsiteX13" fmla="*/ 96271 w 1573156"/>
                <a:gd name="connsiteY13" fmla="*/ 1754138 h 3837710"/>
                <a:gd name="connsiteX14" fmla="*/ 40851 w 1573156"/>
                <a:gd name="connsiteY14" fmla="*/ 1746381 h 3837710"/>
                <a:gd name="connsiteX15" fmla="*/ 2057 w 1573156"/>
                <a:gd name="connsiteY15" fmla="*/ 1730867 h 3837710"/>
                <a:gd name="connsiteX16" fmla="*/ 38079 w 1573156"/>
                <a:gd name="connsiteY16" fmla="*/ 1689496 h 3837710"/>
                <a:gd name="connsiteX17" fmla="*/ 18683 w 1573156"/>
                <a:gd name="connsiteY17" fmla="*/ 1679153 h 3837710"/>
                <a:gd name="connsiteX18" fmla="*/ 2055 w 1573156"/>
                <a:gd name="connsiteY18" fmla="*/ 1640367 h 3837710"/>
                <a:gd name="connsiteX19" fmla="*/ 65790 w 1573156"/>
                <a:gd name="connsiteY19" fmla="*/ 1650711 h 3837710"/>
                <a:gd name="connsiteX20" fmla="*/ 93501 w 1573156"/>
                <a:gd name="connsiteY20" fmla="*/ 1627440 h 3837710"/>
                <a:gd name="connsiteX21" fmla="*/ 187716 w 1573156"/>
                <a:gd name="connsiteY21" fmla="*/ 1536941 h 3837710"/>
                <a:gd name="connsiteX22" fmla="*/ 212655 w 1573156"/>
                <a:gd name="connsiteY22" fmla="*/ 1505912 h 3837710"/>
                <a:gd name="connsiteX23" fmla="*/ 198801 w 1573156"/>
                <a:gd name="connsiteY23" fmla="*/ 1555040 h 3837710"/>
                <a:gd name="connsiteX24" fmla="*/ 218197 w 1573156"/>
                <a:gd name="connsiteY24" fmla="*/ 1588655 h 3837710"/>
                <a:gd name="connsiteX25" fmla="*/ 262534 w 1573156"/>
                <a:gd name="connsiteY25" fmla="*/ 1666225 h 3837710"/>
                <a:gd name="connsiteX26" fmla="*/ 331810 w 1573156"/>
                <a:gd name="connsiteY26" fmla="*/ 1653297 h 3837710"/>
                <a:gd name="connsiteX27" fmla="*/ 351206 w 1573156"/>
                <a:gd name="connsiteY27" fmla="*/ 1622268 h 3837710"/>
                <a:gd name="connsiteX28" fmla="*/ 365062 w 1573156"/>
                <a:gd name="connsiteY28" fmla="*/ 1557627 h 3837710"/>
                <a:gd name="connsiteX29" fmla="*/ 304099 w 1573156"/>
                <a:gd name="connsiteY29" fmla="*/ 1511084 h 3837710"/>
                <a:gd name="connsiteX30" fmla="*/ 259763 w 1573156"/>
                <a:gd name="connsiteY30" fmla="*/ 1485227 h 3837710"/>
                <a:gd name="connsiteX31" fmla="*/ 198801 w 1573156"/>
                <a:gd name="connsiteY31" fmla="*/ 1495570 h 3837710"/>
                <a:gd name="connsiteX32" fmla="*/ 376147 w 1573156"/>
                <a:gd name="connsiteY32" fmla="*/ 1299057 h 3837710"/>
                <a:gd name="connsiteX33" fmla="*/ 223740 w 1573156"/>
                <a:gd name="connsiteY33" fmla="*/ 1151672 h 3837710"/>
                <a:gd name="connsiteX34" fmla="*/ 284703 w 1573156"/>
                <a:gd name="connsiteY34" fmla="*/ 1089617 h 3837710"/>
                <a:gd name="connsiteX35" fmla="*/ 218198 w 1573156"/>
                <a:gd name="connsiteY35" fmla="*/ 1050829 h 3837710"/>
                <a:gd name="connsiteX36" fmla="*/ 259763 w 1573156"/>
                <a:gd name="connsiteY36" fmla="*/ 1019802 h 3837710"/>
                <a:gd name="connsiteX37" fmla="*/ 212657 w 1573156"/>
                <a:gd name="connsiteY37" fmla="*/ 993947 h 3837710"/>
                <a:gd name="connsiteX38" fmla="*/ 212656 w 1573156"/>
                <a:gd name="connsiteY38" fmla="*/ 794845 h 3837710"/>
                <a:gd name="connsiteX39" fmla="*/ 251451 w 1573156"/>
                <a:gd name="connsiteY39" fmla="*/ 779332 h 3837710"/>
                <a:gd name="connsiteX40" fmla="*/ 137838 w 1573156"/>
                <a:gd name="connsiteY40" fmla="*/ 551792 h 3837710"/>
                <a:gd name="connsiteX41" fmla="*/ 135067 w 1573156"/>
                <a:gd name="connsiteY41" fmla="*/ 551792 h 3837710"/>
                <a:gd name="connsiteX42" fmla="*/ 184945 w 1573156"/>
                <a:gd name="connsiteY42" fmla="*/ 469048 h 3837710"/>
                <a:gd name="connsiteX43" fmla="*/ 201571 w 1573156"/>
                <a:gd name="connsiteY43" fmla="*/ 378550 h 3837710"/>
                <a:gd name="connsiteX44" fmla="*/ 126752 w 1573156"/>
                <a:gd name="connsiteY44" fmla="*/ 319079 h 3837710"/>
                <a:gd name="connsiteX45" fmla="*/ 118440 w 1573156"/>
                <a:gd name="connsiteY45" fmla="*/ 251851 h 3837710"/>
                <a:gd name="connsiteX46" fmla="*/ 173860 w 1573156"/>
                <a:gd name="connsiteY46" fmla="*/ 158764 h 3837710"/>
                <a:gd name="connsiteX47" fmla="*/ 193258 w 1573156"/>
                <a:gd name="connsiteY47" fmla="*/ 135494 h 3837710"/>
                <a:gd name="connsiteX48" fmla="*/ 207113 w 1573156"/>
                <a:gd name="connsiteY48" fmla="*/ 117394 h 3837710"/>
                <a:gd name="connsiteX49" fmla="*/ 215426 w 1573156"/>
                <a:gd name="connsiteY49" fmla="*/ 73438 h 3837710"/>
                <a:gd name="connsiteX50" fmla="*/ 240365 w 1573156"/>
                <a:gd name="connsiteY50" fmla="*/ 101880 h 3837710"/>
                <a:gd name="connsiteX51" fmla="*/ 270847 w 1573156"/>
                <a:gd name="connsiteY51" fmla="*/ 88952 h 3837710"/>
                <a:gd name="connsiteX52" fmla="*/ 273617 w 1573156"/>
                <a:gd name="connsiteY52" fmla="*/ 63095 h 3837710"/>
                <a:gd name="connsiteX53" fmla="*/ 281931 w 1573156"/>
                <a:gd name="connsiteY53" fmla="*/ 34652 h 3837710"/>
                <a:gd name="connsiteX54" fmla="*/ 284703 w 1573156"/>
                <a:gd name="connsiteY54" fmla="*/ 3624 h 3837710"/>
                <a:gd name="connsiteX55" fmla="*/ 420483 w 1573156"/>
                <a:gd name="connsiteY55" fmla="*/ 57924 h 3837710"/>
                <a:gd name="connsiteX56" fmla="*/ 450963 w 1573156"/>
                <a:gd name="connsiteY56" fmla="*/ 161352 h 3837710"/>
                <a:gd name="connsiteX57" fmla="*/ 464819 w 1573156"/>
                <a:gd name="connsiteY57" fmla="*/ 184622 h 3837710"/>
                <a:gd name="connsiteX58" fmla="*/ 475903 w 1573156"/>
                <a:gd name="connsiteY58" fmla="*/ 187208 h 3837710"/>
                <a:gd name="connsiteX59" fmla="*/ 589515 w 1573156"/>
                <a:gd name="connsiteY59" fmla="*/ 156181 h 3837710"/>
                <a:gd name="connsiteX60" fmla="*/ 656020 w 1573156"/>
                <a:gd name="connsiteY60" fmla="*/ 166522 h 3837710"/>
                <a:gd name="connsiteX61" fmla="*/ 719754 w 1573156"/>
                <a:gd name="connsiteY61" fmla="*/ 213065 h 3837710"/>
                <a:gd name="connsiteX62" fmla="*/ 733781 w 1573156"/>
                <a:gd name="connsiteY62" fmla="*/ 242621 h 3837710"/>
                <a:gd name="connsiteX63" fmla="*/ 789028 w 1573156"/>
                <a:gd name="connsiteY63" fmla="*/ 277708 h 3837710"/>
                <a:gd name="connsiteX64" fmla="*/ 877702 w 1573156"/>
                <a:gd name="connsiteY64" fmla="*/ 303563 h 3837710"/>
                <a:gd name="connsiteX65" fmla="*/ 949748 w 1573156"/>
                <a:gd name="connsiteY65" fmla="*/ 350106 h 3837710"/>
                <a:gd name="connsiteX66" fmla="*/ 999627 w 1573156"/>
                <a:gd name="connsiteY66" fmla="*/ 401820 h 3837710"/>
                <a:gd name="connsiteX67" fmla="*/ 1024566 w 1573156"/>
                <a:gd name="connsiteY67" fmla="*/ 440606 h 3837710"/>
                <a:gd name="connsiteX68" fmla="*/ 1057819 w 1573156"/>
                <a:gd name="connsiteY68" fmla="*/ 466462 h 3837710"/>
                <a:gd name="connsiteX69" fmla="*/ 1041191 w 1573156"/>
                <a:gd name="connsiteY69" fmla="*/ 691417 h 3837710"/>
                <a:gd name="connsiteX70" fmla="*/ 913725 w 1573156"/>
                <a:gd name="connsiteY70" fmla="*/ 771575 h 3837710"/>
                <a:gd name="connsiteX71" fmla="*/ 800113 w 1573156"/>
                <a:gd name="connsiteY71" fmla="*/ 779331 h 3837710"/>
                <a:gd name="connsiteX72" fmla="*/ 661560 w 1573156"/>
                <a:gd name="connsiteY72" fmla="*/ 758645 h 3837710"/>
                <a:gd name="connsiteX73" fmla="*/ 570116 w 1573156"/>
                <a:gd name="connsiteY73" fmla="*/ 722445 h 3837710"/>
                <a:gd name="connsiteX74" fmla="*/ 550719 w 1573156"/>
                <a:gd name="connsiteY74" fmla="*/ 750888 h 3837710"/>
                <a:gd name="connsiteX75" fmla="*/ 581361 w 1573156"/>
                <a:gd name="connsiteY75" fmla="*/ 824301 h 3837710"/>
                <a:gd name="connsiteX76" fmla="*/ 586902 w 1573156"/>
                <a:gd name="connsiteY76" fmla="*/ 951000 h 3837710"/>
                <a:gd name="connsiteX77" fmla="*/ 559032 w 1573156"/>
                <a:gd name="connsiteY77" fmla="*/ 1012043 h 3837710"/>
                <a:gd name="connsiteX78" fmla="*/ 614451 w 1573156"/>
                <a:gd name="connsiteY78" fmla="*/ 1032728 h 3837710"/>
                <a:gd name="connsiteX79" fmla="*/ 631079 w 1573156"/>
                <a:gd name="connsiteY79" fmla="*/ 1048242 h 3837710"/>
                <a:gd name="connsiteX80" fmla="*/ 656019 w 1573156"/>
                <a:gd name="connsiteY80" fmla="*/ 1074099 h 3837710"/>
                <a:gd name="connsiteX81" fmla="*/ 653248 w 1573156"/>
                <a:gd name="connsiteY81" fmla="*/ 1076685 h 3837710"/>
                <a:gd name="connsiteX82" fmla="*/ 692041 w 1573156"/>
                <a:gd name="connsiteY82" fmla="*/ 1071514 h 3837710"/>
                <a:gd name="connsiteX83" fmla="*/ 700355 w 1573156"/>
                <a:gd name="connsiteY83" fmla="*/ 1035314 h 3837710"/>
                <a:gd name="connsiteX84" fmla="*/ 661560 w 1573156"/>
                <a:gd name="connsiteY84" fmla="*/ 957743 h 3837710"/>
                <a:gd name="connsiteX85" fmla="*/ 730836 w 1573156"/>
                <a:gd name="connsiteY85" fmla="*/ 911200 h 3837710"/>
                <a:gd name="connsiteX86" fmla="*/ 798608 w 1573156"/>
                <a:gd name="connsiteY86" fmla="*/ 918934 h 3837710"/>
                <a:gd name="connsiteX87" fmla="*/ 822441 w 1573156"/>
                <a:gd name="connsiteY87" fmla="*/ 951001 h 3837710"/>
                <a:gd name="connsiteX88" fmla="*/ 978170 w 1573156"/>
                <a:gd name="connsiteY88" fmla="*/ 1007364 h 3837710"/>
                <a:gd name="connsiteX89" fmla="*/ 963762 w 1573156"/>
                <a:gd name="connsiteY89" fmla="*/ 971687 h 3837710"/>
                <a:gd name="connsiteX90" fmla="*/ 930510 w 1573156"/>
                <a:gd name="connsiteY90" fmla="*/ 932901 h 3837710"/>
                <a:gd name="connsiteX91" fmla="*/ 919426 w 1573156"/>
                <a:gd name="connsiteY91" fmla="*/ 881187 h 3837710"/>
                <a:gd name="connsiteX92" fmla="*/ 958221 w 1573156"/>
                <a:gd name="connsiteY92" fmla="*/ 832060 h 3837710"/>
                <a:gd name="connsiteX93" fmla="*/ 985931 w 1573156"/>
                <a:gd name="connsiteY93" fmla="*/ 803617 h 3837710"/>
                <a:gd name="connsiteX94" fmla="*/ 1010871 w 1573156"/>
                <a:gd name="connsiteY94" fmla="*/ 767417 h 3837710"/>
                <a:gd name="connsiteX95" fmla="*/ 1091231 w 1573156"/>
                <a:gd name="connsiteY95" fmla="*/ 762245 h 3837710"/>
                <a:gd name="connsiteX96" fmla="*/ 1096772 w 1573156"/>
                <a:gd name="connsiteY96" fmla="*/ 741560 h 3837710"/>
                <a:gd name="connsiteX97" fmla="*/ 1121712 w 1573156"/>
                <a:gd name="connsiteY97" fmla="*/ 705360 h 3837710"/>
                <a:gd name="connsiteX98" fmla="*/ 1155516 w 1573156"/>
                <a:gd name="connsiteY98" fmla="*/ 687772 h 3837710"/>
                <a:gd name="connsiteX99" fmla="*/ 1213156 w 1573156"/>
                <a:gd name="connsiteY99" fmla="*/ 700189 h 3837710"/>
                <a:gd name="connsiteX100" fmla="*/ 1251949 w 1573156"/>
                <a:gd name="connsiteY100" fmla="*/ 720875 h 3837710"/>
                <a:gd name="connsiteX101" fmla="*/ 1299057 w 1573156"/>
                <a:gd name="connsiteY101" fmla="*/ 728632 h 3837710"/>
                <a:gd name="connsiteX102" fmla="*/ 1299057 w 1573156"/>
                <a:gd name="connsiteY102" fmla="*/ 733803 h 3837710"/>
                <a:gd name="connsiteX103" fmla="*/ 1321226 w 1573156"/>
                <a:gd name="connsiteY103" fmla="*/ 674332 h 3837710"/>
                <a:gd name="connsiteX104" fmla="*/ 1331201 w 1573156"/>
                <a:gd name="connsiteY104" fmla="*/ 640714 h 3837710"/>
                <a:gd name="connsiteX105" fmla="*/ 1337852 w 1573156"/>
                <a:gd name="connsiteY105" fmla="*/ 622618 h 3837710"/>
                <a:gd name="connsiteX106" fmla="*/ 1340789 w 1573156"/>
                <a:gd name="connsiteY106" fmla="*/ 591288 h 3837710"/>
                <a:gd name="connsiteX107" fmla="*/ 1260263 w 1573156"/>
                <a:gd name="connsiteY107" fmla="*/ 545048 h 3837710"/>
                <a:gd name="connsiteX108" fmla="*/ 1246408 w 1573156"/>
                <a:gd name="connsiteY108" fmla="*/ 472648 h 3837710"/>
                <a:gd name="connsiteX109" fmla="*/ 1246408 w 1573156"/>
                <a:gd name="connsiteY109" fmla="*/ 454548 h 3837710"/>
                <a:gd name="connsiteX110" fmla="*/ 1257491 w 1573156"/>
                <a:gd name="connsiteY110" fmla="*/ 431276 h 3837710"/>
                <a:gd name="connsiteX111" fmla="*/ 1260263 w 1573156"/>
                <a:gd name="connsiteY111" fmla="*/ 415762 h 3837710"/>
                <a:gd name="connsiteX112" fmla="*/ 1260262 w 1573156"/>
                <a:gd name="connsiteY112" fmla="*/ 358878 h 3837710"/>
                <a:gd name="connsiteX113" fmla="*/ 1238094 w 1573156"/>
                <a:gd name="connsiteY113" fmla="*/ 335607 h 3837710"/>
                <a:gd name="connsiteX114" fmla="*/ 1210384 w 1573156"/>
                <a:gd name="connsiteY114" fmla="*/ 304578 h 3837710"/>
                <a:gd name="connsiteX115" fmla="*/ 1206216 w 1573156"/>
                <a:gd name="connsiteY115" fmla="*/ 280325 h 3837710"/>
                <a:gd name="connsiteX116" fmla="*/ 1257492 w 1573156"/>
                <a:gd name="connsiteY116" fmla="*/ 258034 h 3837710"/>
                <a:gd name="connsiteX117" fmla="*/ 1311072 w 1573156"/>
                <a:gd name="connsiteY117" fmla="*/ 267906 h 3837710"/>
                <a:gd name="connsiteX118" fmla="*/ 1389856 w 1573156"/>
                <a:gd name="connsiteY118" fmla="*/ 279816 h 3837710"/>
                <a:gd name="connsiteX119" fmla="*/ 1474179 w 1573156"/>
                <a:gd name="connsiteY119" fmla="*/ 349175 h 3837710"/>
                <a:gd name="connsiteX120" fmla="*/ 1536314 w 1573156"/>
                <a:gd name="connsiteY120" fmla="*/ 425271 h 3837710"/>
                <a:gd name="connsiteX121" fmla="*/ 1435343 w 1573156"/>
                <a:gd name="connsiteY121" fmla="*/ 454265 h 3837710"/>
                <a:gd name="connsiteX122" fmla="*/ 1419809 w 1573156"/>
                <a:gd name="connsiteY122" fmla="*/ 501372 h 3837710"/>
                <a:gd name="connsiteX123" fmla="*/ 1477479 w 1573156"/>
                <a:gd name="connsiteY123" fmla="*/ 585862 h 3837710"/>
                <a:gd name="connsiteX124" fmla="*/ 1513013 w 1573156"/>
                <a:gd name="connsiteY124" fmla="*/ 591964 h 3837710"/>
                <a:gd name="connsiteX125" fmla="*/ 1565633 w 1573156"/>
                <a:gd name="connsiteY125" fmla="*/ 598304 h 3837710"/>
                <a:gd name="connsiteX126" fmla="*/ 1560670 w 1573156"/>
                <a:gd name="connsiteY126" fmla="*/ 709079 h 3837710"/>
                <a:gd name="connsiteX127" fmla="*/ 1571739 w 1573156"/>
                <a:gd name="connsiteY127" fmla="*/ 1040047 h 3837710"/>
                <a:gd name="connsiteX128" fmla="*/ 1562871 w 1573156"/>
                <a:gd name="connsiteY128" fmla="*/ 1842646 h 3837710"/>
                <a:gd name="connsiteX129" fmla="*/ 1571738 w 1573156"/>
                <a:gd name="connsiteY129" fmla="*/ 2297728 h 3837710"/>
                <a:gd name="connsiteX130" fmla="*/ 1559146 w 1573156"/>
                <a:gd name="connsiteY130" fmla="*/ 3716291 h 3837710"/>
                <a:gd name="connsiteX131" fmla="*/ 1556603 w 1573156"/>
                <a:gd name="connsiteY131" fmla="*/ 3758050 h 3837710"/>
                <a:gd name="connsiteX132" fmla="*/ 1545518 w 1573156"/>
                <a:gd name="connsiteY132" fmla="*/ 3688238 h 3837710"/>
                <a:gd name="connsiteX133" fmla="*/ 1487327 w 1573156"/>
                <a:gd name="connsiteY133" fmla="*/ 3680478 h 3837710"/>
                <a:gd name="connsiteX134" fmla="*/ 1445761 w 1573156"/>
                <a:gd name="connsiteY134" fmla="*/ 3652040 h 3837710"/>
                <a:gd name="connsiteX135" fmla="*/ 1401425 w 1573156"/>
                <a:gd name="connsiteY135" fmla="*/ 3670138 h 3837710"/>
                <a:gd name="connsiteX136" fmla="*/ 1357089 w 1573156"/>
                <a:gd name="connsiteY136" fmla="*/ 3662380 h 3837710"/>
                <a:gd name="connsiteX137" fmla="*/ 1343234 w 1573156"/>
                <a:gd name="connsiteY137" fmla="*/ 3631352 h 3837710"/>
                <a:gd name="connsiteX138" fmla="*/ 1304439 w 1573156"/>
                <a:gd name="connsiteY138" fmla="*/ 3641695 h 3837710"/>
                <a:gd name="connsiteX139" fmla="*/ 1290584 w 1573156"/>
                <a:gd name="connsiteY139" fmla="*/ 3610666 h 3837710"/>
                <a:gd name="connsiteX140" fmla="*/ 1195420 w 1573156"/>
                <a:gd name="connsiteY140" fmla="*/ 3605469 h 3837710"/>
                <a:gd name="connsiteX141" fmla="*/ 1013482 w 1573156"/>
                <a:gd name="connsiteY141" fmla="*/ 3592567 h 3837710"/>
                <a:gd name="connsiteX142" fmla="*/ 1123928 w 1573156"/>
                <a:gd name="connsiteY142" fmla="*/ 3663387 h 3837710"/>
                <a:gd name="connsiteX143" fmla="*/ 907787 w 1573156"/>
                <a:gd name="connsiteY143" fmla="*/ 3629257 h 3837710"/>
                <a:gd name="connsiteX144" fmla="*/ 776238 w 1573156"/>
                <a:gd name="connsiteY144" fmla="*/ 3504783 h 3837710"/>
                <a:gd name="connsiteX145" fmla="*/ 708669 w 1573156"/>
                <a:gd name="connsiteY145" fmla="*/ 3437426 h 3837710"/>
                <a:gd name="connsiteX146" fmla="*/ 739150 w 1573156"/>
                <a:gd name="connsiteY146" fmla="*/ 3437426 h 3837710"/>
                <a:gd name="connsiteX147" fmla="*/ 750233 w 1573156"/>
                <a:gd name="connsiteY147" fmla="*/ 3408982 h 3837710"/>
                <a:gd name="connsiteX148" fmla="*/ 783486 w 1573156"/>
                <a:gd name="connsiteY148" fmla="*/ 3354683 h 3837710"/>
                <a:gd name="connsiteX149" fmla="*/ 747462 w 1573156"/>
                <a:gd name="connsiteY149" fmla="*/ 3297798 h 3837710"/>
                <a:gd name="connsiteX150" fmla="*/ 836135 w 1573156"/>
                <a:gd name="connsiteY150" fmla="*/ 3225398 h 3837710"/>
                <a:gd name="connsiteX151" fmla="*/ 902641 w 1573156"/>
                <a:gd name="connsiteY151" fmla="*/ 3217642 h 3837710"/>
                <a:gd name="connsiteX152" fmla="*/ 955289 w 1573156"/>
                <a:gd name="connsiteY152" fmla="*/ 3160756 h 3837710"/>
                <a:gd name="connsiteX153" fmla="*/ 1024565 w 1573156"/>
                <a:gd name="connsiteY153" fmla="*/ 3114213 h 3837710"/>
                <a:gd name="connsiteX154" fmla="*/ 1019023 w 1573156"/>
                <a:gd name="connsiteY154" fmla="*/ 3067671 h 3837710"/>
                <a:gd name="connsiteX155" fmla="*/ 1043963 w 1573156"/>
                <a:gd name="connsiteY155" fmla="*/ 3028886 h 3837710"/>
                <a:gd name="connsiteX156" fmla="*/ 1016252 w 1573156"/>
                <a:gd name="connsiteY156" fmla="*/ 3026300 h 3837710"/>
                <a:gd name="connsiteX157" fmla="*/ 1031704 w 1573156"/>
                <a:gd name="connsiteY157" fmla="*/ 2992878 h 3837710"/>
                <a:gd name="connsiteX158" fmla="*/ 914211 w 1573156"/>
                <a:gd name="connsiteY158" fmla="*/ 2928233 h 3837710"/>
                <a:gd name="connsiteX159" fmla="*/ 858304 w 1573156"/>
                <a:gd name="connsiteY159" fmla="*/ 2909943 h 3837710"/>
                <a:gd name="connsiteX160" fmla="*/ 827823 w 1573156"/>
                <a:gd name="connsiteY160" fmla="*/ 2881501 h 3837710"/>
                <a:gd name="connsiteX161" fmla="*/ 761317 w 1573156"/>
                <a:gd name="connsiteY161" fmla="*/ 2897015 h 3837710"/>
                <a:gd name="connsiteX162" fmla="*/ 700355 w 1573156"/>
                <a:gd name="connsiteY162" fmla="*/ 2891844 h 3837710"/>
                <a:gd name="connsiteX163" fmla="*/ 658790 w 1573156"/>
                <a:gd name="connsiteY163" fmla="*/ 2827201 h 3837710"/>
                <a:gd name="connsiteX164" fmla="*/ 656019 w 1573156"/>
                <a:gd name="connsiteY164" fmla="*/ 2785830 h 3837710"/>
                <a:gd name="connsiteX165" fmla="*/ 631080 w 1573156"/>
                <a:gd name="connsiteY165" fmla="*/ 2772902 h 3837710"/>
                <a:gd name="connsiteX166" fmla="*/ 567346 w 1573156"/>
                <a:gd name="connsiteY166" fmla="*/ 2759974 h 3837710"/>
                <a:gd name="connsiteX167" fmla="*/ 586743 w 1573156"/>
                <a:gd name="connsiteY167" fmla="*/ 2721188 h 3837710"/>
                <a:gd name="connsiteX168" fmla="*/ 557777 w 1573156"/>
                <a:gd name="connsiteY168" fmla="*/ 2715007 h 3837710"/>
                <a:gd name="connsiteX169" fmla="*/ 531809 w 1573156"/>
                <a:gd name="connsiteY169" fmla="*/ 2672771 h 3837710"/>
                <a:gd name="connsiteX170" fmla="*/ 414939 w 1573156"/>
                <a:gd name="connsiteY170" fmla="*/ 2682402 h 3837710"/>
                <a:gd name="connsiteX171" fmla="*/ 390000 w 1573156"/>
                <a:gd name="connsiteY171" fmla="*/ 2672059 h 3837710"/>
                <a:gd name="connsiteX172" fmla="*/ 367832 w 1573156"/>
                <a:gd name="connsiteY172" fmla="*/ 2684989 h 3837710"/>
                <a:gd name="connsiteX173" fmla="*/ 351205 w 1573156"/>
                <a:gd name="connsiteY173" fmla="*/ 2622932 h 3837710"/>
                <a:gd name="connsiteX174" fmla="*/ 340121 w 1573156"/>
                <a:gd name="connsiteY174" fmla="*/ 2597075 h 3837710"/>
                <a:gd name="connsiteX175" fmla="*/ 353976 w 1573156"/>
                <a:gd name="connsiteY175" fmla="*/ 2578974 h 3837710"/>
                <a:gd name="connsiteX176" fmla="*/ 381687 w 1573156"/>
                <a:gd name="connsiteY176" fmla="*/ 2581561 h 3837710"/>
                <a:gd name="connsiteX177" fmla="*/ 414939 w 1573156"/>
                <a:gd name="connsiteY177" fmla="*/ 2563461 h 3837710"/>
                <a:gd name="connsiteX178" fmla="*/ 412168 w 1573156"/>
                <a:gd name="connsiteY178" fmla="*/ 2537603 h 3837710"/>
                <a:gd name="connsiteX179" fmla="*/ 362289 w 1573156"/>
                <a:gd name="connsiteY179" fmla="*/ 2501404 h 3837710"/>
                <a:gd name="connsiteX180" fmla="*/ 338946 w 1573156"/>
                <a:gd name="connsiteY180" fmla="*/ 2513491 h 3837710"/>
                <a:gd name="connsiteX181" fmla="*/ 340121 w 1573156"/>
                <a:gd name="connsiteY181" fmla="*/ 2467790 h 3837710"/>
                <a:gd name="connsiteX182" fmla="*/ 306869 w 1573156"/>
                <a:gd name="connsiteY182" fmla="*/ 2429005 h 3837710"/>
                <a:gd name="connsiteX183" fmla="*/ 309641 w 1573156"/>
                <a:gd name="connsiteY183" fmla="*/ 2351433 h 3837710"/>
                <a:gd name="connsiteX184" fmla="*/ 290243 w 1573156"/>
                <a:gd name="connsiteY184" fmla="*/ 2299720 h 3837710"/>
                <a:gd name="connsiteX185" fmla="*/ 256991 w 1573156"/>
                <a:gd name="connsiteY185" fmla="*/ 2266106 h 3837710"/>
                <a:gd name="connsiteX186" fmla="*/ 218196 w 1573156"/>
                <a:gd name="connsiteY186" fmla="*/ 2242835 h 3837710"/>
                <a:gd name="connsiteX187" fmla="*/ 176631 w 1573156"/>
                <a:gd name="connsiteY187" fmla="*/ 2250592 h 3837710"/>
                <a:gd name="connsiteX188" fmla="*/ 122255 w 1573156"/>
                <a:gd name="connsiteY188" fmla="*/ 2214066 h 3837710"/>
                <a:gd name="connsiteX0" fmla="*/ 122255 w 1573156"/>
                <a:gd name="connsiteY0" fmla="*/ 2214066 h 3837710"/>
                <a:gd name="connsiteX1" fmla="*/ 63018 w 1573156"/>
                <a:gd name="connsiteY1" fmla="*/ 2216977 h 3837710"/>
                <a:gd name="connsiteX2" fmla="*/ 60248 w 1573156"/>
                <a:gd name="connsiteY2" fmla="*/ 2118721 h 3837710"/>
                <a:gd name="connsiteX3" fmla="*/ 71333 w 1573156"/>
                <a:gd name="connsiteY3" fmla="*/ 2077350 h 3837710"/>
                <a:gd name="connsiteX4" fmla="*/ 74102 w 1573156"/>
                <a:gd name="connsiteY4" fmla="*/ 2030807 h 3837710"/>
                <a:gd name="connsiteX5" fmla="*/ 76875 w 1573156"/>
                <a:gd name="connsiteY5" fmla="*/ 2020467 h 3837710"/>
                <a:gd name="connsiteX6" fmla="*/ 118439 w 1573156"/>
                <a:gd name="connsiteY6" fmla="*/ 1992023 h 3837710"/>
                <a:gd name="connsiteX7" fmla="*/ 82416 w 1573156"/>
                <a:gd name="connsiteY7" fmla="*/ 1963580 h 3837710"/>
                <a:gd name="connsiteX8" fmla="*/ 51935 w 1573156"/>
                <a:gd name="connsiteY8" fmla="*/ 1927380 h 3837710"/>
                <a:gd name="connsiteX9" fmla="*/ 40850 w 1573156"/>
                <a:gd name="connsiteY9" fmla="*/ 1893766 h 3837710"/>
                <a:gd name="connsiteX10" fmla="*/ 43621 w 1573156"/>
                <a:gd name="connsiteY10" fmla="*/ 1844639 h 3837710"/>
                <a:gd name="connsiteX11" fmla="*/ 82416 w 1573156"/>
                <a:gd name="connsiteY11" fmla="*/ 1826538 h 3837710"/>
                <a:gd name="connsiteX12" fmla="*/ 112899 w 1573156"/>
                <a:gd name="connsiteY12" fmla="*/ 1782581 h 3837710"/>
                <a:gd name="connsiteX13" fmla="*/ 96271 w 1573156"/>
                <a:gd name="connsiteY13" fmla="*/ 1754138 h 3837710"/>
                <a:gd name="connsiteX14" fmla="*/ 40851 w 1573156"/>
                <a:gd name="connsiteY14" fmla="*/ 1746381 h 3837710"/>
                <a:gd name="connsiteX15" fmla="*/ 2057 w 1573156"/>
                <a:gd name="connsiteY15" fmla="*/ 1730867 h 3837710"/>
                <a:gd name="connsiteX16" fmla="*/ 38079 w 1573156"/>
                <a:gd name="connsiteY16" fmla="*/ 1689496 h 3837710"/>
                <a:gd name="connsiteX17" fmla="*/ 18683 w 1573156"/>
                <a:gd name="connsiteY17" fmla="*/ 1679153 h 3837710"/>
                <a:gd name="connsiteX18" fmla="*/ 2055 w 1573156"/>
                <a:gd name="connsiteY18" fmla="*/ 1640367 h 3837710"/>
                <a:gd name="connsiteX19" fmla="*/ 65790 w 1573156"/>
                <a:gd name="connsiteY19" fmla="*/ 1650711 h 3837710"/>
                <a:gd name="connsiteX20" fmla="*/ 93501 w 1573156"/>
                <a:gd name="connsiteY20" fmla="*/ 1627440 h 3837710"/>
                <a:gd name="connsiteX21" fmla="*/ 187716 w 1573156"/>
                <a:gd name="connsiteY21" fmla="*/ 1536941 h 3837710"/>
                <a:gd name="connsiteX22" fmla="*/ 212655 w 1573156"/>
                <a:gd name="connsiteY22" fmla="*/ 1505912 h 3837710"/>
                <a:gd name="connsiteX23" fmla="*/ 198801 w 1573156"/>
                <a:gd name="connsiteY23" fmla="*/ 1555040 h 3837710"/>
                <a:gd name="connsiteX24" fmla="*/ 218197 w 1573156"/>
                <a:gd name="connsiteY24" fmla="*/ 1588655 h 3837710"/>
                <a:gd name="connsiteX25" fmla="*/ 262534 w 1573156"/>
                <a:gd name="connsiteY25" fmla="*/ 1666225 h 3837710"/>
                <a:gd name="connsiteX26" fmla="*/ 331810 w 1573156"/>
                <a:gd name="connsiteY26" fmla="*/ 1653297 h 3837710"/>
                <a:gd name="connsiteX27" fmla="*/ 351206 w 1573156"/>
                <a:gd name="connsiteY27" fmla="*/ 1622268 h 3837710"/>
                <a:gd name="connsiteX28" fmla="*/ 365062 w 1573156"/>
                <a:gd name="connsiteY28" fmla="*/ 1557627 h 3837710"/>
                <a:gd name="connsiteX29" fmla="*/ 304099 w 1573156"/>
                <a:gd name="connsiteY29" fmla="*/ 1511084 h 3837710"/>
                <a:gd name="connsiteX30" fmla="*/ 259763 w 1573156"/>
                <a:gd name="connsiteY30" fmla="*/ 1485227 h 3837710"/>
                <a:gd name="connsiteX31" fmla="*/ 198801 w 1573156"/>
                <a:gd name="connsiteY31" fmla="*/ 1495570 h 3837710"/>
                <a:gd name="connsiteX32" fmla="*/ 376147 w 1573156"/>
                <a:gd name="connsiteY32" fmla="*/ 1299057 h 3837710"/>
                <a:gd name="connsiteX33" fmla="*/ 223740 w 1573156"/>
                <a:gd name="connsiteY33" fmla="*/ 1151672 h 3837710"/>
                <a:gd name="connsiteX34" fmla="*/ 284703 w 1573156"/>
                <a:gd name="connsiteY34" fmla="*/ 1089617 h 3837710"/>
                <a:gd name="connsiteX35" fmla="*/ 218198 w 1573156"/>
                <a:gd name="connsiteY35" fmla="*/ 1050829 h 3837710"/>
                <a:gd name="connsiteX36" fmla="*/ 259763 w 1573156"/>
                <a:gd name="connsiteY36" fmla="*/ 1019802 h 3837710"/>
                <a:gd name="connsiteX37" fmla="*/ 212657 w 1573156"/>
                <a:gd name="connsiteY37" fmla="*/ 993947 h 3837710"/>
                <a:gd name="connsiteX38" fmla="*/ 212656 w 1573156"/>
                <a:gd name="connsiteY38" fmla="*/ 794845 h 3837710"/>
                <a:gd name="connsiteX39" fmla="*/ 251451 w 1573156"/>
                <a:gd name="connsiteY39" fmla="*/ 779332 h 3837710"/>
                <a:gd name="connsiteX40" fmla="*/ 137838 w 1573156"/>
                <a:gd name="connsiteY40" fmla="*/ 551792 h 3837710"/>
                <a:gd name="connsiteX41" fmla="*/ 135067 w 1573156"/>
                <a:gd name="connsiteY41" fmla="*/ 551792 h 3837710"/>
                <a:gd name="connsiteX42" fmla="*/ 184945 w 1573156"/>
                <a:gd name="connsiteY42" fmla="*/ 469048 h 3837710"/>
                <a:gd name="connsiteX43" fmla="*/ 201571 w 1573156"/>
                <a:gd name="connsiteY43" fmla="*/ 378550 h 3837710"/>
                <a:gd name="connsiteX44" fmla="*/ 126752 w 1573156"/>
                <a:gd name="connsiteY44" fmla="*/ 319079 h 3837710"/>
                <a:gd name="connsiteX45" fmla="*/ 118440 w 1573156"/>
                <a:gd name="connsiteY45" fmla="*/ 251851 h 3837710"/>
                <a:gd name="connsiteX46" fmla="*/ 173860 w 1573156"/>
                <a:gd name="connsiteY46" fmla="*/ 158764 h 3837710"/>
                <a:gd name="connsiteX47" fmla="*/ 193258 w 1573156"/>
                <a:gd name="connsiteY47" fmla="*/ 135494 h 3837710"/>
                <a:gd name="connsiteX48" fmla="*/ 207113 w 1573156"/>
                <a:gd name="connsiteY48" fmla="*/ 117394 h 3837710"/>
                <a:gd name="connsiteX49" fmla="*/ 215426 w 1573156"/>
                <a:gd name="connsiteY49" fmla="*/ 73438 h 3837710"/>
                <a:gd name="connsiteX50" fmla="*/ 240365 w 1573156"/>
                <a:gd name="connsiteY50" fmla="*/ 101880 h 3837710"/>
                <a:gd name="connsiteX51" fmla="*/ 270847 w 1573156"/>
                <a:gd name="connsiteY51" fmla="*/ 88952 h 3837710"/>
                <a:gd name="connsiteX52" fmla="*/ 273617 w 1573156"/>
                <a:gd name="connsiteY52" fmla="*/ 63095 h 3837710"/>
                <a:gd name="connsiteX53" fmla="*/ 281931 w 1573156"/>
                <a:gd name="connsiteY53" fmla="*/ 34652 h 3837710"/>
                <a:gd name="connsiteX54" fmla="*/ 284703 w 1573156"/>
                <a:gd name="connsiteY54" fmla="*/ 3624 h 3837710"/>
                <a:gd name="connsiteX55" fmla="*/ 420483 w 1573156"/>
                <a:gd name="connsiteY55" fmla="*/ 57924 h 3837710"/>
                <a:gd name="connsiteX56" fmla="*/ 450963 w 1573156"/>
                <a:gd name="connsiteY56" fmla="*/ 161352 h 3837710"/>
                <a:gd name="connsiteX57" fmla="*/ 464819 w 1573156"/>
                <a:gd name="connsiteY57" fmla="*/ 184622 h 3837710"/>
                <a:gd name="connsiteX58" fmla="*/ 475903 w 1573156"/>
                <a:gd name="connsiteY58" fmla="*/ 187208 h 3837710"/>
                <a:gd name="connsiteX59" fmla="*/ 589515 w 1573156"/>
                <a:gd name="connsiteY59" fmla="*/ 156181 h 3837710"/>
                <a:gd name="connsiteX60" fmla="*/ 656020 w 1573156"/>
                <a:gd name="connsiteY60" fmla="*/ 166522 h 3837710"/>
                <a:gd name="connsiteX61" fmla="*/ 719754 w 1573156"/>
                <a:gd name="connsiteY61" fmla="*/ 213065 h 3837710"/>
                <a:gd name="connsiteX62" fmla="*/ 733781 w 1573156"/>
                <a:gd name="connsiteY62" fmla="*/ 242621 h 3837710"/>
                <a:gd name="connsiteX63" fmla="*/ 789028 w 1573156"/>
                <a:gd name="connsiteY63" fmla="*/ 277708 h 3837710"/>
                <a:gd name="connsiteX64" fmla="*/ 877702 w 1573156"/>
                <a:gd name="connsiteY64" fmla="*/ 303563 h 3837710"/>
                <a:gd name="connsiteX65" fmla="*/ 949748 w 1573156"/>
                <a:gd name="connsiteY65" fmla="*/ 350106 h 3837710"/>
                <a:gd name="connsiteX66" fmla="*/ 999627 w 1573156"/>
                <a:gd name="connsiteY66" fmla="*/ 401820 h 3837710"/>
                <a:gd name="connsiteX67" fmla="*/ 1024566 w 1573156"/>
                <a:gd name="connsiteY67" fmla="*/ 440606 h 3837710"/>
                <a:gd name="connsiteX68" fmla="*/ 1057819 w 1573156"/>
                <a:gd name="connsiteY68" fmla="*/ 466462 h 3837710"/>
                <a:gd name="connsiteX69" fmla="*/ 1041191 w 1573156"/>
                <a:gd name="connsiteY69" fmla="*/ 691417 h 3837710"/>
                <a:gd name="connsiteX70" fmla="*/ 913725 w 1573156"/>
                <a:gd name="connsiteY70" fmla="*/ 771575 h 3837710"/>
                <a:gd name="connsiteX71" fmla="*/ 800113 w 1573156"/>
                <a:gd name="connsiteY71" fmla="*/ 779331 h 3837710"/>
                <a:gd name="connsiteX72" fmla="*/ 661560 w 1573156"/>
                <a:gd name="connsiteY72" fmla="*/ 758645 h 3837710"/>
                <a:gd name="connsiteX73" fmla="*/ 570116 w 1573156"/>
                <a:gd name="connsiteY73" fmla="*/ 722445 h 3837710"/>
                <a:gd name="connsiteX74" fmla="*/ 550719 w 1573156"/>
                <a:gd name="connsiteY74" fmla="*/ 750888 h 3837710"/>
                <a:gd name="connsiteX75" fmla="*/ 581361 w 1573156"/>
                <a:gd name="connsiteY75" fmla="*/ 824301 h 3837710"/>
                <a:gd name="connsiteX76" fmla="*/ 586902 w 1573156"/>
                <a:gd name="connsiteY76" fmla="*/ 951000 h 3837710"/>
                <a:gd name="connsiteX77" fmla="*/ 559032 w 1573156"/>
                <a:gd name="connsiteY77" fmla="*/ 1012043 h 3837710"/>
                <a:gd name="connsiteX78" fmla="*/ 614451 w 1573156"/>
                <a:gd name="connsiteY78" fmla="*/ 1032728 h 3837710"/>
                <a:gd name="connsiteX79" fmla="*/ 631079 w 1573156"/>
                <a:gd name="connsiteY79" fmla="*/ 1048242 h 3837710"/>
                <a:gd name="connsiteX80" fmla="*/ 656019 w 1573156"/>
                <a:gd name="connsiteY80" fmla="*/ 1074099 h 3837710"/>
                <a:gd name="connsiteX81" fmla="*/ 653248 w 1573156"/>
                <a:gd name="connsiteY81" fmla="*/ 1076685 h 3837710"/>
                <a:gd name="connsiteX82" fmla="*/ 692041 w 1573156"/>
                <a:gd name="connsiteY82" fmla="*/ 1071514 h 3837710"/>
                <a:gd name="connsiteX83" fmla="*/ 700355 w 1573156"/>
                <a:gd name="connsiteY83" fmla="*/ 1035314 h 3837710"/>
                <a:gd name="connsiteX84" fmla="*/ 661560 w 1573156"/>
                <a:gd name="connsiteY84" fmla="*/ 957743 h 3837710"/>
                <a:gd name="connsiteX85" fmla="*/ 730836 w 1573156"/>
                <a:gd name="connsiteY85" fmla="*/ 911200 h 3837710"/>
                <a:gd name="connsiteX86" fmla="*/ 798608 w 1573156"/>
                <a:gd name="connsiteY86" fmla="*/ 918934 h 3837710"/>
                <a:gd name="connsiteX87" fmla="*/ 822441 w 1573156"/>
                <a:gd name="connsiteY87" fmla="*/ 951001 h 3837710"/>
                <a:gd name="connsiteX88" fmla="*/ 978170 w 1573156"/>
                <a:gd name="connsiteY88" fmla="*/ 1007364 h 3837710"/>
                <a:gd name="connsiteX89" fmla="*/ 963762 w 1573156"/>
                <a:gd name="connsiteY89" fmla="*/ 971687 h 3837710"/>
                <a:gd name="connsiteX90" fmla="*/ 930510 w 1573156"/>
                <a:gd name="connsiteY90" fmla="*/ 932901 h 3837710"/>
                <a:gd name="connsiteX91" fmla="*/ 919426 w 1573156"/>
                <a:gd name="connsiteY91" fmla="*/ 881187 h 3837710"/>
                <a:gd name="connsiteX92" fmla="*/ 958221 w 1573156"/>
                <a:gd name="connsiteY92" fmla="*/ 832060 h 3837710"/>
                <a:gd name="connsiteX93" fmla="*/ 985931 w 1573156"/>
                <a:gd name="connsiteY93" fmla="*/ 803617 h 3837710"/>
                <a:gd name="connsiteX94" fmla="*/ 1010871 w 1573156"/>
                <a:gd name="connsiteY94" fmla="*/ 767417 h 3837710"/>
                <a:gd name="connsiteX95" fmla="*/ 1091231 w 1573156"/>
                <a:gd name="connsiteY95" fmla="*/ 762245 h 3837710"/>
                <a:gd name="connsiteX96" fmla="*/ 1096772 w 1573156"/>
                <a:gd name="connsiteY96" fmla="*/ 741560 h 3837710"/>
                <a:gd name="connsiteX97" fmla="*/ 1121712 w 1573156"/>
                <a:gd name="connsiteY97" fmla="*/ 705360 h 3837710"/>
                <a:gd name="connsiteX98" fmla="*/ 1155516 w 1573156"/>
                <a:gd name="connsiteY98" fmla="*/ 687772 h 3837710"/>
                <a:gd name="connsiteX99" fmla="*/ 1213156 w 1573156"/>
                <a:gd name="connsiteY99" fmla="*/ 700189 h 3837710"/>
                <a:gd name="connsiteX100" fmla="*/ 1251949 w 1573156"/>
                <a:gd name="connsiteY100" fmla="*/ 720875 h 3837710"/>
                <a:gd name="connsiteX101" fmla="*/ 1299057 w 1573156"/>
                <a:gd name="connsiteY101" fmla="*/ 728632 h 3837710"/>
                <a:gd name="connsiteX102" fmla="*/ 1299057 w 1573156"/>
                <a:gd name="connsiteY102" fmla="*/ 733803 h 3837710"/>
                <a:gd name="connsiteX103" fmla="*/ 1321226 w 1573156"/>
                <a:gd name="connsiteY103" fmla="*/ 674332 h 3837710"/>
                <a:gd name="connsiteX104" fmla="*/ 1331201 w 1573156"/>
                <a:gd name="connsiteY104" fmla="*/ 640714 h 3837710"/>
                <a:gd name="connsiteX105" fmla="*/ 1337852 w 1573156"/>
                <a:gd name="connsiteY105" fmla="*/ 622618 h 3837710"/>
                <a:gd name="connsiteX106" fmla="*/ 1340789 w 1573156"/>
                <a:gd name="connsiteY106" fmla="*/ 591288 h 3837710"/>
                <a:gd name="connsiteX107" fmla="*/ 1260263 w 1573156"/>
                <a:gd name="connsiteY107" fmla="*/ 545048 h 3837710"/>
                <a:gd name="connsiteX108" fmla="*/ 1246408 w 1573156"/>
                <a:gd name="connsiteY108" fmla="*/ 472648 h 3837710"/>
                <a:gd name="connsiteX109" fmla="*/ 1246408 w 1573156"/>
                <a:gd name="connsiteY109" fmla="*/ 454548 h 3837710"/>
                <a:gd name="connsiteX110" fmla="*/ 1257491 w 1573156"/>
                <a:gd name="connsiteY110" fmla="*/ 431276 h 3837710"/>
                <a:gd name="connsiteX111" fmla="*/ 1260263 w 1573156"/>
                <a:gd name="connsiteY111" fmla="*/ 415762 h 3837710"/>
                <a:gd name="connsiteX112" fmla="*/ 1260262 w 1573156"/>
                <a:gd name="connsiteY112" fmla="*/ 358878 h 3837710"/>
                <a:gd name="connsiteX113" fmla="*/ 1238094 w 1573156"/>
                <a:gd name="connsiteY113" fmla="*/ 335607 h 3837710"/>
                <a:gd name="connsiteX114" fmla="*/ 1210384 w 1573156"/>
                <a:gd name="connsiteY114" fmla="*/ 304578 h 3837710"/>
                <a:gd name="connsiteX115" fmla="*/ 1206216 w 1573156"/>
                <a:gd name="connsiteY115" fmla="*/ 280325 h 3837710"/>
                <a:gd name="connsiteX116" fmla="*/ 1257492 w 1573156"/>
                <a:gd name="connsiteY116" fmla="*/ 258034 h 3837710"/>
                <a:gd name="connsiteX117" fmla="*/ 1311072 w 1573156"/>
                <a:gd name="connsiteY117" fmla="*/ 267906 h 3837710"/>
                <a:gd name="connsiteX118" fmla="*/ 1389856 w 1573156"/>
                <a:gd name="connsiteY118" fmla="*/ 279816 h 3837710"/>
                <a:gd name="connsiteX119" fmla="*/ 1474179 w 1573156"/>
                <a:gd name="connsiteY119" fmla="*/ 349175 h 3837710"/>
                <a:gd name="connsiteX120" fmla="*/ 1536314 w 1573156"/>
                <a:gd name="connsiteY120" fmla="*/ 425271 h 3837710"/>
                <a:gd name="connsiteX121" fmla="*/ 1435343 w 1573156"/>
                <a:gd name="connsiteY121" fmla="*/ 454265 h 3837710"/>
                <a:gd name="connsiteX122" fmla="*/ 1419809 w 1573156"/>
                <a:gd name="connsiteY122" fmla="*/ 501372 h 3837710"/>
                <a:gd name="connsiteX123" fmla="*/ 1477479 w 1573156"/>
                <a:gd name="connsiteY123" fmla="*/ 585862 h 3837710"/>
                <a:gd name="connsiteX124" fmla="*/ 1513013 w 1573156"/>
                <a:gd name="connsiteY124" fmla="*/ 591964 h 3837710"/>
                <a:gd name="connsiteX125" fmla="*/ 1565633 w 1573156"/>
                <a:gd name="connsiteY125" fmla="*/ 598304 h 3837710"/>
                <a:gd name="connsiteX126" fmla="*/ 1560670 w 1573156"/>
                <a:gd name="connsiteY126" fmla="*/ 709079 h 3837710"/>
                <a:gd name="connsiteX127" fmla="*/ 1571739 w 1573156"/>
                <a:gd name="connsiteY127" fmla="*/ 1040047 h 3837710"/>
                <a:gd name="connsiteX128" fmla="*/ 1562871 w 1573156"/>
                <a:gd name="connsiteY128" fmla="*/ 1842646 h 3837710"/>
                <a:gd name="connsiteX129" fmla="*/ 1571738 w 1573156"/>
                <a:gd name="connsiteY129" fmla="*/ 2297728 h 3837710"/>
                <a:gd name="connsiteX130" fmla="*/ 1559146 w 1573156"/>
                <a:gd name="connsiteY130" fmla="*/ 3716291 h 3837710"/>
                <a:gd name="connsiteX131" fmla="*/ 1556603 w 1573156"/>
                <a:gd name="connsiteY131" fmla="*/ 3758050 h 3837710"/>
                <a:gd name="connsiteX132" fmla="*/ 1545518 w 1573156"/>
                <a:gd name="connsiteY132" fmla="*/ 3688238 h 3837710"/>
                <a:gd name="connsiteX133" fmla="*/ 1487327 w 1573156"/>
                <a:gd name="connsiteY133" fmla="*/ 3680478 h 3837710"/>
                <a:gd name="connsiteX134" fmla="*/ 1445761 w 1573156"/>
                <a:gd name="connsiteY134" fmla="*/ 3652040 h 3837710"/>
                <a:gd name="connsiteX135" fmla="*/ 1393112 w 1573156"/>
                <a:gd name="connsiteY135" fmla="*/ 3644281 h 3837710"/>
                <a:gd name="connsiteX136" fmla="*/ 1357089 w 1573156"/>
                <a:gd name="connsiteY136" fmla="*/ 3662380 h 3837710"/>
                <a:gd name="connsiteX137" fmla="*/ 1343234 w 1573156"/>
                <a:gd name="connsiteY137" fmla="*/ 3631352 h 3837710"/>
                <a:gd name="connsiteX138" fmla="*/ 1304439 w 1573156"/>
                <a:gd name="connsiteY138" fmla="*/ 3641695 h 3837710"/>
                <a:gd name="connsiteX139" fmla="*/ 1290584 w 1573156"/>
                <a:gd name="connsiteY139" fmla="*/ 3610666 h 3837710"/>
                <a:gd name="connsiteX140" fmla="*/ 1195420 w 1573156"/>
                <a:gd name="connsiteY140" fmla="*/ 3605469 h 3837710"/>
                <a:gd name="connsiteX141" fmla="*/ 1013482 w 1573156"/>
                <a:gd name="connsiteY141" fmla="*/ 3592567 h 3837710"/>
                <a:gd name="connsiteX142" fmla="*/ 1123928 w 1573156"/>
                <a:gd name="connsiteY142" fmla="*/ 3663387 h 3837710"/>
                <a:gd name="connsiteX143" fmla="*/ 907787 w 1573156"/>
                <a:gd name="connsiteY143" fmla="*/ 3629257 h 3837710"/>
                <a:gd name="connsiteX144" fmla="*/ 776238 w 1573156"/>
                <a:gd name="connsiteY144" fmla="*/ 3504783 h 3837710"/>
                <a:gd name="connsiteX145" fmla="*/ 708669 w 1573156"/>
                <a:gd name="connsiteY145" fmla="*/ 3437426 h 3837710"/>
                <a:gd name="connsiteX146" fmla="*/ 739150 w 1573156"/>
                <a:gd name="connsiteY146" fmla="*/ 3437426 h 3837710"/>
                <a:gd name="connsiteX147" fmla="*/ 750233 w 1573156"/>
                <a:gd name="connsiteY147" fmla="*/ 3408982 h 3837710"/>
                <a:gd name="connsiteX148" fmla="*/ 783486 w 1573156"/>
                <a:gd name="connsiteY148" fmla="*/ 3354683 h 3837710"/>
                <a:gd name="connsiteX149" fmla="*/ 747462 w 1573156"/>
                <a:gd name="connsiteY149" fmla="*/ 3297798 h 3837710"/>
                <a:gd name="connsiteX150" fmla="*/ 836135 w 1573156"/>
                <a:gd name="connsiteY150" fmla="*/ 3225398 h 3837710"/>
                <a:gd name="connsiteX151" fmla="*/ 902641 w 1573156"/>
                <a:gd name="connsiteY151" fmla="*/ 3217642 h 3837710"/>
                <a:gd name="connsiteX152" fmla="*/ 955289 w 1573156"/>
                <a:gd name="connsiteY152" fmla="*/ 3160756 h 3837710"/>
                <a:gd name="connsiteX153" fmla="*/ 1024565 w 1573156"/>
                <a:gd name="connsiteY153" fmla="*/ 3114213 h 3837710"/>
                <a:gd name="connsiteX154" fmla="*/ 1019023 w 1573156"/>
                <a:gd name="connsiteY154" fmla="*/ 3067671 h 3837710"/>
                <a:gd name="connsiteX155" fmla="*/ 1043963 w 1573156"/>
                <a:gd name="connsiteY155" fmla="*/ 3028886 h 3837710"/>
                <a:gd name="connsiteX156" fmla="*/ 1016252 w 1573156"/>
                <a:gd name="connsiteY156" fmla="*/ 3026300 h 3837710"/>
                <a:gd name="connsiteX157" fmla="*/ 1031704 w 1573156"/>
                <a:gd name="connsiteY157" fmla="*/ 2992878 h 3837710"/>
                <a:gd name="connsiteX158" fmla="*/ 914211 w 1573156"/>
                <a:gd name="connsiteY158" fmla="*/ 2928233 h 3837710"/>
                <a:gd name="connsiteX159" fmla="*/ 858304 w 1573156"/>
                <a:gd name="connsiteY159" fmla="*/ 2909943 h 3837710"/>
                <a:gd name="connsiteX160" fmla="*/ 827823 w 1573156"/>
                <a:gd name="connsiteY160" fmla="*/ 2881501 h 3837710"/>
                <a:gd name="connsiteX161" fmla="*/ 761317 w 1573156"/>
                <a:gd name="connsiteY161" fmla="*/ 2897015 h 3837710"/>
                <a:gd name="connsiteX162" fmla="*/ 700355 w 1573156"/>
                <a:gd name="connsiteY162" fmla="*/ 2891844 h 3837710"/>
                <a:gd name="connsiteX163" fmla="*/ 658790 w 1573156"/>
                <a:gd name="connsiteY163" fmla="*/ 2827201 h 3837710"/>
                <a:gd name="connsiteX164" fmla="*/ 656019 w 1573156"/>
                <a:gd name="connsiteY164" fmla="*/ 2785830 h 3837710"/>
                <a:gd name="connsiteX165" fmla="*/ 631080 w 1573156"/>
                <a:gd name="connsiteY165" fmla="*/ 2772902 h 3837710"/>
                <a:gd name="connsiteX166" fmla="*/ 567346 w 1573156"/>
                <a:gd name="connsiteY166" fmla="*/ 2759974 h 3837710"/>
                <a:gd name="connsiteX167" fmla="*/ 586743 w 1573156"/>
                <a:gd name="connsiteY167" fmla="*/ 2721188 h 3837710"/>
                <a:gd name="connsiteX168" fmla="*/ 557777 w 1573156"/>
                <a:gd name="connsiteY168" fmla="*/ 2715007 h 3837710"/>
                <a:gd name="connsiteX169" fmla="*/ 531809 w 1573156"/>
                <a:gd name="connsiteY169" fmla="*/ 2672771 h 3837710"/>
                <a:gd name="connsiteX170" fmla="*/ 414939 w 1573156"/>
                <a:gd name="connsiteY170" fmla="*/ 2682402 h 3837710"/>
                <a:gd name="connsiteX171" fmla="*/ 390000 w 1573156"/>
                <a:gd name="connsiteY171" fmla="*/ 2672059 h 3837710"/>
                <a:gd name="connsiteX172" fmla="*/ 367832 w 1573156"/>
                <a:gd name="connsiteY172" fmla="*/ 2684989 h 3837710"/>
                <a:gd name="connsiteX173" fmla="*/ 351205 w 1573156"/>
                <a:gd name="connsiteY173" fmla="*/ 2622932 h 3837710"/>
                <a:gd name="connsiteX174" fmla="*/ 340121 w 1573156"/>
                <a:gd name="connsiteY174" fmla="*/ 2597075 h 3837710"/>
                <a:gd name="connsiteX175" fmla="*/ 353976 w 1573156"/>
                <a:gd name="connsiteY175" fmla="*/ 2578974 h 3837710"/>
                <a:gd name="connsiteX176" fmla="*/ 381687 w 1573156"/>
                <a:gd name="connsiteY176" fmla="*/ 2581561 h 3837710"/>
                <a:gd name="connsiteX177" fmla="*/ 414939 w 1573156"/>
                <a:gd name="connsiteY177" fmla="*/ 2563461 h 3837710"/>
                <a:gd name="connsiteX178" fmla="*/ 412168 w 1573156"/>
                <a:gd name="connsiteY178" fmla="*/ 2537603 h 3837710"/>
                <a:gd name="connsiteX179" fmla="*/ 362289 w 1573156"/>
                <a:gd name="connsiteY179" fmla="*/ 2501404 h 3837710"/>
                <a:gd name="connsiteX180" fmla="*/ 338946 w 1573156"/>
                <a:gd name="connsiteY180" fmla="*/ 2513491 h 3837710"/>
                <a:gd name="connsiteX181" fmla="*/ 340121 w 1573156"/>
                <a:gd name="connsiteY181" fmla="*/ 2467790 h 3837710"/>
                <a:gd name="connsiteX182" fmla="*/ 306869 w 1573156"/>
                <a:gd name="connsiteY182" fmla="*/ 2429005 h 3837710"/>
                <a:gd name="connsiteX183" fmla="*/ 309641 w 1573156"/>
                <a:gd name="connsiteY183" fmla="*/ 2351433 h 3837710"/>
                <a:gd name="connsiteX184" fmla="*/ 290243 w 1573156"/>
                <a:gd name="connsiteY184" fmla="*/ 2299720 h 3837710"/>
                <a:gd name="connsiteX185" fmla="*/ 256991 w 1573156"/>
                <a:gd name="connsiteY185" fmla="*/ 2266106 h 3837710"/>
                <a:gd name="connsiteX186" fmla="*/ 218196 w 1573156"/>
                <a:gd name="connsiteY186" fmla="*/ 2242835 h 3837710"/>
                <a:gd name="connsiteX187" fmla="*/ 176631 w 1573156"/>
                <a:gd name="connsiteY187" fmla="*/ 2250592 h 3837710"/>
                <a:gd name="connsiteX188" fmla="*/ 122255 w 1573156"/>
                <a:gd name="connsiteY188" fmla="*/ 2214066 h 3837710"/>
                <a:gd name="connsiteX0" fmla="*/ 122255 w 1573156"/>
                <a:gd name="connsiteY0" fmla="*/ 2214066 h 3837710"/>
                <a:gd name="connsiteX1" fmla="*/ 63018 w 1573156"/>
                <a:gd name="connsiteY1" fmla="*/ 2216977 h 3837710"/>
                <a:gd name="connsiteX2" fmla="*/ 60248 w 1573156"/>
                <a:gd name="connsiteY2" fmla="*/ 2118721 h 3837710"/>
                <a:gd name="connsiteX3" fmla="*/ 71333 w 1573156"/>
                <a:gd name="connsiteY3" fmla="*/ 2077350 h 3837710"/>
                <a:gd name="connsiteX4" fmla="*/ 74102 w 1573156"/>
                <a:gd name="connsiteY4" fmla="*/ 2030807 h 3837710"/>
                <a:gd name="connsiteX5" fmla="*/ 76875 w 1573156"/>
                <a:gd name="connsiteY5" fmla="*/ 2020467 h 3837710"/>
                <a:gd name="connsiteX6" fmla="*/ 118439 w 1573156"/>
                <a:gd name="connsiteY6" fmla="*/ 1992023 h 3837710"/>
                <a:gd name="connsiteX7" fmla="*/ 82416 w 1573156"/>
                <a:gd name="connsiteY7" fmla="*/ 1963580 h 3837710"/>
                <a:gd name="connsiteX8" fmla="*/ 51935 w 1573156"/>
                <a:gd name="connsiteY8" fmla="*/ 1927380 h 3837710"/>
                <a:gd name="connsiteX9" fmla="*/ 40850 w 1573156"/>
                <a:gd name="connsiteY9" fmla="*/ 1893766 h 3837710"/>
                <a:gd name="connsiteX10" fmla="*/ 43621 w 1573156"/>
                <a:gd name="connsiteY10" fmla="*/ 1844639 h 3837710"/>
                <a:gd name="connsiteX11" fmla="*/ 82416 w 1573156"/>
                <a:gd name="connsiteY11" fmla="*/ 1826538 h 3837710"/>
                <a:gd name="connsiteX12" fmla="*/ 112899 w 1573156"/>
                <a:gd name="connsiteY12" fmla="*/ 1782581 h 3837710"/>
                <a:gd name="connsiteX13" fmla="*/ 96271 w 1573156"/>
                <a:gd name="connsiteY13" fmla="*/ 1754138 h 3837710"/>
                <a:gd name="connsiteX14" fmla="*/ 40851 w 1573156"/>
                <a:gd name="connsiteY14" fmla="*/ 1746381 h 3837710"/>
                <a:gd name="connsiteX15" fmla="*/ 2057 w 1573156"/>
                <a:gd name="connsiteY15" fmla="*/ 1730867 h 3837710"/>
                <a:gd name="connsiteX16" fmla="*/ 38079 w 1573156"/>
                <a:gd name="connsiteY16" fmla="*/ 1689496 h 3837710"/>
                <a:gd name="connsiteX17" fmla="*/ 18683 w 1573156"/>
                <a:gd name="connsiteY17" fmla="*/ 1679153 h 3837710"/>
                <a:gd name="connsiteX18" fmla="*/ 2055 w 1573156"/>
                <a:gd name="connsiteY18" fmla="*/ 1640367 h 3837710"/>
                <a:gd name="connsiteX19" fmla="*/ 65790 w 1573156"/>
                <a:gd name="connsiteY19" fmla="*/ 1650711 h 3837710"/>
                <a:gd name="connsiteX20" fmla="*/ 93501 w 1573156"/>
                <a:gd name="connsiteY20" fmla="*/ 1627440 h 3837710"/>
                <a:gd name="connsiteX21" fmla="*/ 187716 w 1573156"/>
                <a:gd name="connsiteY21" fmla="*/ 1536941 h 3837710"/>
                <a:gd name="connsiteX22" fmla="*/ 212655 w 1573156"/>
                <a:gd name="connsiteY22" fmla="*/ 1505912 h 3837710"/>
                <a:gd name="connsiteX23" fmla="*/ 198801 w 1573156"/>
                <a:gd name="connsiteY23" fmla="*/ 1555040 h 3837710"/>
                <a:gd name="connsiteX24" fmla="*/ 218197 w 1573156"/>
                <a:gd name="connsiteY24" fmla="*/ 1588655 h 3837710"/>
                <a:gd name="connsiteX25" fmla="*/ 262534 w 1573156"/>
                <a:gd name="connsiteY25" fmla="*/ 1666225 h 3837710"/>
                <a:gd name="connsiteX26" fmla="*/ 331810 w 1573156"/>
                <a:gd name="connsiteY26" fmla="*/ 1653297 h 3837710"/>
                <a:gd name="connsiteX27" fmla="*/ 351206 w 1573156"/>
                <a:gd name="connsiteY27" fmla="*/ 1622268 h 3837710"/>
                <a:gd name="connsiteX28" fmla="*/ 365062 w 1573156"/>
                <a:gd name="connsiteY28" fmla="*/ 1557627 h 3837710"/>
                <a:gd name="connsiteX29" fmla="*/ 304099 w 1573156"/>
                <a:gd name="connsiteY29" fmla="*/ 1511084 h 3837710"/>
                <a:gd name="connsiteX30" fmla="*/ 259763 w 1573156"/>
                <a:gd name="connsiteY30" fmla="*/ 1485227 h 3837710"/>
                <a:gd name="connsiteX31" fmla="*/ 198801 w 1573156"/>
                <a:gd name="connsiteY31" fmla="*/ 1495570 h 3837710"/>
                <a:gd name="connsiteX32" fmla="*/ 376147 w 1573156"/>
                <a:gd name="connsiteY32" fmla="*/ 1299057 h 3837710"/>
                <a:gd name="connsiteX33" fmla="*/ 223740 w 1573156"/>
                <a:gd name="connsiteY33" fmla="*/ 1151672 h 3837710"/>
                <a:gd name="connsiteX34" fmla="*/ 284703 w 1573156"/>
                <a:gd name="connsiteY34" fmla="*/ 1089617 h 3837710"/>
                <a:gd name="connsiteX35" fmla="*/ 218198 w 1573156"/>
                <a:gd name="connsiteY35" fmla="*/ 1050829 h 3837710"/>
                <a:gd name="connsiteX36" fmla="*/ 259763 w 1573156"/>
                <a:gd name="connsiteY36" fmla="*/ 1019802 h 3837710"/>
                <a:gd name="connsiteX37" fmla="*/ 212657 w 1573156"/>
                <a:gd name="connsiteY37" fmla="*/ 993947 h 3837710"/>
                <a:gd name="connsiteX38" fmla="*/ 212656 w 1573156"/>
                <a:gd name="connsiteY38" fmla="*/ 794845 h 3837710"/>
                <a:gd name="connsiteX39" fmla="*/ 251451 w 1573156"/>
                <a:gd name="connsiteY39" fmla="*/ 779332 h 3837710"/>
                <a:gd name="connsiteX40" fmla="*/ 137838 w 1573156"/>
                <a:gd name="connsiteY40" fmla="*/ 551792 h 3837710"/>
                <a:gd name="connsiteX41" fmla="*/ 135067 w 1573156"/>
                <a:gd name="connsiteY41" fmla="*/ 551792 h 3837710"/>
                <a:gd name="connsiteX42" fmla="*/ 184945 w 1573156"/>
                <a:gd name="connsiteY42" fmla="*/ 469048 h 3837710"/>
                <a:gd name="connsiteX43" fmla="*/ 201571 w 1573156"/>
                <a:gd name="connsiteY43" fmla="*/ 378550 h 3837710"/>
                <a:gd name="connsiteX44" fmla="*/ 126752 w 1573156"/>
                <a:gd name="connsiteY44" fmla="*/ 319079 h 3837710"/>
                <a:gd name="connsiteX45" fmla="*/ 118440 w 1573156"/>
                <a:gd name="connsiteY45" fmla="*/ 251851 h 3837710"/>
                <a:gd name="connsiteX46" fmla="*/ 173860 w 1573156"/>
                <a:gd name="connsiteY46" fmla="*/ 158764 h 3837710"/>
                <a:gd name="connsiteX47" fmla="*/ 193258 w 1573156"/>
                <a:gd name="connsiteY47" fmla="*/ 135494 h 3837710"/>
                <a:gd name="connsiteX48" fmla="*/ 207113 w 1573156"/>
                <a:gd name="connsiteY48" fmla="*/ 117394 h 3837710"/>
                <a:gd name="connsiteX49" fmla="*/ 215426 w 1573156"/>
                <a:gd name="connsiteY49" fmla="*/ 73438 h 3837710"/>
                <a:gd name="connsiteX50" fmla="*/ 240365 w 1573156"/>
                <a:gd name="connsiteY50" fmla="*/ 101880 h 3837710"/>
                <a:gd name="connsiteX51" fmla="*/ 270847 w 1573156"/>
                <a:gd name="connsiteY51" fmla="*/ 88952 h 3837710"/>
                <a:gd name="connsiteX52" fmla="*/ 273617 w 1573156"/>
                <a:gd name="connsiteY52" fmla="*/ 63095 h 3837710"/>
                <a:gd name="connsiteX53" fmla="*/ 281931 w 1573156"/>
                <a:gd name="connsiteY53" fmla="*/ 34652 h 3837710"/>
                <a:gd name="connsiteX54" fmla="*/ 284703 w 1573156"/>
                <a:gd name="connsiteY54" fmla="*/ 3624 h 3837710"/>
                <a:gd name="connsiteX55" fmla="*/ 420483 w 1573156"/>
                <a:gd name="connsiteY55" fmla="*/ 57924 h 3837710"/>
                <a:gd name="connsiteX56" fmla="*/ 450963 w 1573156"/>
                <a:gd name="connsiteY56" fmla="*/ 161352 h 3837710"/>
                <a:gd name="connsiteX57" fmla="*/ 464819 w 1573156"/>
                <a:gd name="connsiteY57" fmla="*/ 184622 h 3837710"/>
                <a:gd name="connsiteX58" fmla="*/ 475903 w 1573156"/>
                <a:gd name="connsiteY58" fmla="*/ 187208 h 3837710"/>
                <a:gd name="connsiteX59" fmla="*/ 589515 w 1573156"/>
                <a:gd name="connsiteY59" fmla="*/ 156181 h 3837710"/>
                <a:gd name="connsiteX60" fmla="*/ 656020 w 1573156"/>
                <a:gd name="connsiteY60" fmla="*/ 166522 h 3837710"/>
                <a:gd name="connsiteX61" fmla="*/ 719754 w 1573156"/>
                <a:gd name="connsiteY61" fmla="*/ 213065 h 3837710"/>
                <a:gd name="connsiteX62" fmla="*/ 733781 w 1573156"/>
                <a:gd name="connsiteY62" fmla="*/ 242621 h 3837710"/>
                <a:gd name="connsiteX63" fmla="*/ 789028 w 1573156"/>
                <a:gd name="connsiteY63" fmla="*/ 277708 h 3837710"/>
                <a:gd name="connsiteX64" fmla="*/ 877702 w 1573156"/>
                <a:gd name="connsiteY64" fmla="*/ 303563 h 3837710"/>
                <a:gd name="connsiteX65" fmla="*/ 949748 w 1573156"/>
                <a:gd name="connsiteY65" fmla="*/ 350106 h 3837710"/>
                <a:gd name="connsiteX66" fmla="*/ 999627 w 1573156"/>
                <a:gd name="connsiteY66" fmla="*/ 401820 h 3837710"/>
                <a:gd name="connsiteX67" fmla="*/ 1024566 w 1573156"/>
                <a:gd name="connsiteY67" fmla="*/ 440606 h 3837710"/>
                <a:gd name="connsiteX68" fmla="*/ 1057819 w 1573156"/>
                <a:gd name="connsiteY68" fmla="*/ 466462 h 3837710"/>
                <a:gd name="connsiteX69" fmla="*/ 1041191 w 1573156"/>
                <a:gd name="connsiteY69" fmla="*/ 691417 h 3837710"/>
                <a:gd name="connsiteX70" fmla="*/ 913725 w 1573156"/>
                <a:gd name="connsiteY70" fmla="*/ 771575 h 3837710"/>
                <a:gd name="connsiteX71" fmla="*/ 800113 w 1573156"/>
                <a:gd name="connsiteY71" fmla="*/ 779331 h 3837710"/>
                <a:gd name="connsiteX72" fmla="*/ 661560 w 1573156"/>
                <a:gd name="connsiteY72" fmla="*/ 758645 h 3837710"/>
                <a:gd name="connsiteX73" fmla="*/ 570116 w 1573156"/>
                <a:gd name="connsiteY73" fmla="*/ 722445 h 3837710"/>
                <a:gd name="connsiteX74" fmla="*/ 550719 w 1573156"/>
                <a:gd name="connsiteY74" fmla="*/ 750888 h 3837710"/>
                <a:gd name="connsiteX75" fmla="*/ 581361 w 1573156"/>
                <a:gd name="connsiteY75" fmla="*/ 824301 h 3837710"/>
                <a:gd name="connsiteX76" fmla="*/ 586902 w 1573156"/>
                <a:gd name="connsiteY76" fmla="*/ 951000 h 3837710"/>
                <a:gd name="connsiteX77" fmla="*/ 559032 w 1573156"/>
                <a:gd name="connsiteY77" fmla="*/ 1012043 h 3837710"/>
                <a:gd name="connsiteX78" fmla="*/ 614451 w 1573156"/>
                <a:gd name="connsiteY78" fmla="*/ 1032728 h 3837710"/>
                <a:gd name="connsiteX79" fmla="*/ 631079 w 1573156"/>
                <a:gd name="connsiteY79" fmla="*/ 1048242 h 3837710"/>
                <a:gd name="connsiteX80" fmla="*/ 656019 w 1573156"/>
                <a:gd name="connsiteY80" fmla="*/ 1074099 h 3837710"/>
                <a:gd name="connsiteX81" fmla="*/ 653248 w 1573156"/>
                <a:gd name="connsiteY81" fmla="*/ 1076685 h 3837710"/>
                <a:gd name="connsiteX82" fmla="*/ 692041 w 1573156"/>
                <a:gd name="connsiteY82" fmla="*/ 1071514 h 3837710"/>
                <a:gd name="connsiteX83" fmla="*/ 700355 w 1573156"/>
                <a:gd name="connsiteY83" fmla="*/ 1035314 h 3837710"/>
                <a:gd name="connsiteX84" fmla="*/ 661560 w 1573156"/>
                <a:gd name="connsiteY84" fmla="*/ 957743 h 3837710"/>
                <a:gd name="connsiteX85" fmla="*/ 730836 w 1573156"/>
                <a:gd name="connsiteY85" fmla="*/ 911200 h 3837710"/>
                <a:gd name="connsiteX86" fmla="*/ 798608 w 1573156"/>
                <a:gd name="connsiteY86" fmla="*/ 918934 h 3837710"/>
                <a:gd name="connsiteX87" fmla="*/ 822441 w 1573156"/>
                <a:gd name="connsiteY87" fmla="*/ 951001 h 3837710"/>
                <a:gd name="connsiteX88" fmla="*/ 978170 w 1573156"/>
                <a:gd name="connsiteY88" fmla="*/ 1007364 h 3837710"/>
                <a:gd name="connsiteX89" fmla="*/ 963762 w 1573156"/>
                <a:gd name="connsiteY89" fmla="*/ 971687 h 3837710"/>
                <a:gd name="connsiteX90" fmla="*/ 930510 w 1573156"/>
                <a:gd name="connsiteY90" fmla="*/ 932901 h 3837710"/>
                <a:gd name="connsiteX91" fmla="*/ 919426 w 1573156"/>
                <a:gd name="connsiteY91" fmla="*/ 881187 h 3837710"/>
                <a:gd name="connsiteX92" fmla="*/ 958221 w 1573156"/>
                <a:gd name="connsiteY92" fmla="*/ 832060 h 3837710"/>
                <a:gd name="connsiteX93" fmla="*/ 985931 w 1573156"/>
                <a:gd name="connsiteY93" fmla="*/ 803617 h 3837710"/>
                <a:gd name="connsiteX94" fmla="*/ 1010871 w 1573156"/>
                <a:gd name="connsiteY94" fmla="*/ 767417 h 3837710"/>
                <a:gd name="connsiteX95" fmla="*/ 1091231 w 1573156"/>
                <a:gd name="connsiteY95" fmla="*/ 762245 h 3837710"/>
                <a:gd name="connsiteX96" fmla="*/ 1096772 w 1573156"/>
                <a:gd name="connsiteY96" fmla="*/ 741560 h 3837710"/>
                <a:gd name="connsiteX97" fmla="*/ 1121712 w 1573156"/>
                <a:gd name="connsiteY97" fmla="*/ 705360 h 3837710"/>
                <a:gd name="connsiteX98" fmla="*/ 1155516 w 1573156"/>
                <a:gd name="connsiteY98" fmla="*/ 687772 h 3837710"/>
                <a:gd name="connsiteX99" fmla="*/ 1213156 w 1573156"/>
                <a:gd name="connsiteY99" fmla="*/ 700189 h 3837710"/>
                <a:gd name="connsiteX100" fmla="*/ 1251949 w 1573156"/>
                <a:gd name="connsiteY100" fmla="*/ 720875 h 3837710"/>
                <a:gd name="connsiteX101" fmla="*/ 1299057 w 1573156"/>
                <a:gd name="connsiteY101" fmla="*/ 728632 h 3837710"/>
                <a:gd name="connsiteX102" fmla="*/ 1299057 w 1573156"/>
                <a:gd name="connsiteY102" fmla="*/ 733803 h 3837710"/>
                <a:gd name="connsiteX103" fmla="*/ 1321226 w 1573156"/>
                <a:gd name="connsiteY103" fmla="*/ 674332 h 3837710"/>
                <a:gd name="connsiteX104" fmla="*/ 1331201 w 1573156"/>
                <a:gd name="connsiteY104" fmla="*/ 640714 h 3837710"/>
                <a:gd name="connsiteX105" fmla="*/ 1337852 w 1573156"/>
                <a:gd name="connsiteY105" fmla="*/ 622618 h 3837710"/>
                <a:gd name="connsiteX106" fmla="*/ 1340789 w 1573156"/>
                <a:gd name="connsiteY106" fmla="*/ 591288 h 3837710"/>
                <a:gd name="connsiteX107" fmla="*/ 1260263 w 1573156"/>
                <a:gd name="connsiteY107" fmla="*/ 545048 h 3837710"/>
                <a:gd name="connsiteX108" fmla="*/ 1246408 w 1573156"/>
                <a:gd name="connsiteY108" fmla="*/ 472648 h 3837710"/>
                <a:gd name="connsiteX109" fmla="*/ 1246408 w 1573156"/>
                <a:gd name="connsiteY109" fmla="*/ 454548 h 3837710"/>
                <a:gd name="connsiteX110" fmla="*/ 1257491 w 1573156"/>
                <a:gd name="connsiteY110" fmla="*/ 431276 h 3837710"/>
                <a:gd name="connsiteX111" fmla="*/ 1260263 w 1573156"/>
                <a:gd name="connsiteY111" fmla="*/ 415762 h 3837710"/>
                <a:gd name="connsiteX112" fmla="*/ 1260262 w 1573156"/>
                <a:gd name="connsiteY112" fmla="*/ 358878 h 3837710"/>
                <a:gd name="connsiteX113" fmla="*/ 1238094 w 1573156"/>
                <a:gd name="connsiteY113" fmla="*/ 335607 h 3837710"/>
                <a:gd name="connsiteX114" fmla="*/ 1210384 w 1573156"/>
                <a:gd name="connsiteY114" fmla="*/ 304578 h 3837710"/>
                <a:gd name="connsiteX115" fmla="*/ 1206216 w 1573156"/>
                <a:gd name="connsiteY115" fmla="*/ 280325 h 3837710"/>
                <a:gd name="connsiteX116" fmla="*/ 1257492 w 1573156"/>
                <a:gd name="connsiteY116" fmla="*/ 258034 h 3837710"/>
                <a:gd name="connsiteX117" fmla="*/ 1311072 w 1573156"/>
                <a:gd name="connsiteY117" fmla="*/ 267906 h 3837710"/>
                <a:gd name="connsiteX118" fmla="*/ 1389856 w 1573156"/>
                <a:gd name="connsiteY118" fmla="*/ 279816 h 3837710"/>
                <a:gd name="connsiteX119" fmla="*/ 1474179 w 1573156"/>
                <a:gd name="connsiteY119" fmla="*/ 349175 h 3837710"/>
                <a:gd name="connsiteX120" fmla="*/ 1536314 w 1573156"/>
                <a:gd name="connsiteY120" fmla="*/ 425271 h 3837710"/>
                <a:gd name="connsiteX121" fmla="*/ 1435343 w 1573156"/>
                <a:gd name="connsiteY121" fmla="*/ 454265 h 3837710"/>
                <a:gd name="connsiteX122" fmla="*/ 1419809 w 1573156"/>
                <a:gd name="connsiteY122" fmla="*/ 501372 h 3837710"/>
                <a:gd name="connsiteX123" fmla="*/ 1477479 w 1573156"/>
                <a:gd name="connsiteY123" fmla="*/ 585862 h 3837710"/>
                <a:gd name="connsiteX124" fmla="*/ 1513013 w 1573156"/>
                <a:gd name="connsiteY124" fmla="*/ 591964 h 3837710"/>
                <a:gd name="connsiteX125" fmla="*/ 1565633 w 1573156"/>
                <a:gd name="connsiteY125" fmla="*/ 598304 h 3837710"/>
                <a:gd name="connsiteX126" fmla="*/ 1560670 w 1573156"/>
                <a:gd name="connsiteY126" fmla="*/ 709079 h 3837710"/>
                <a:gd name="connsiteX127" fmla="*/ 1571739 w 1573156"/>
                <a:gd name="connsiteY127" fmla="*/ 1040047 h 3837710"/>
                <a:gd name="connsiteX128" fmla="*/ 1562871 w 1573156"/>
                <a:gd name="connsiteY128" fmla="*/ 1842646 h 3837710"/>
                <a:gd name="connsiteX129" fmla="*/ 1571738 w 1573156"/>
                <a:gd name="connsiteY129" fmla="*/ 2297728 h 3837710"/>
                <a:gd name="connsiteX130" fmla="*/ 1559146 w 1573156"/>
                <a:gd name="connsiteY130" fmla="*/ 3716291 h 3837710"/>
                <a:gd name="connsiteX131" fmla="*/ 1556603 w 1573156"/>
                <a:gd name="connsiteY131" fmla="*/ 3758050 h 3837710"/>
                <a:gd name="connsiteX132" fmla="*/ 1545518 w 1573156"/>
                <a:gd name="connsiteY132" fmla="*/ 3688238 h 3837710"/>
                <a:gd name="connsiteX133" fmla="*/ 1487327 w 1573156"/>
                <a:gd name="connsiteY133" fmla="*/ 3680478 h 3837710"/>
                <a:gd name="connsiteX134" fmla="*/ 1445761 w 1573156"/>
                <a:gd name="connsiteY134" fmla="*/ 3652040 h 3837710"/>
                <a:gd name="connsiteX135" fmla="*/ 1398654 w 1573156"/>
                <a:gd name="connsiteY135" fmla="*/ 3659796 h 3837710"/>
                <a:gd name="connsiteX136" fmla="*/ 1357089 w 1573156"/>
                <a:gd name="connsiteY136" fmla="*/ 3662380 h 3837710"/>
                <a:gd name="connsiteX137" fmla="*/ 1343234 w 1573156"/>
                <a:gd name="connsiteY137" fmla="*/ 3631352 h 3837710"/>
                <a:gd name="connsiteX138" fmla="*/ 1304439 w 1573156"/>
                <a:gd name="connsiteY138" fmla="*/ 3641695 h 3837710"/>
                <a:gd name="connsiteX139" fmla="*/ 1290584 w 1573156"/>
                <a:gd name="connsiteY139" fmla="*/ 3610666 h 3837710"/>
                <a:gd name="connsiteX140" fmla="*/ 1195420 w 1573156"/>
                <a:gd name="connsiteY140" fmla="*/ 3605469 h 3837710"/>
                <a:gd name="connsiteX141" fmla="*/ 1013482 w 1573156"/>
                <a:gd name="connsiteY141" fmla="*/ 3592567 h 3837710"/>
                <a:gd name="connsiteX142" fmla="*/ 1123928 w 1573156"/>
                <a:gd name="connsiteY142" fmla="*/ 3663387 h 3837710"/>
                <a:gd name="connsiteX143" fmla="*/ 907787 w 1573156"/>
                <a:gd name="connsiteY143" fmla="*/ 3629257 h 3837710"/>
                <a:gd name="connsiteX144" fmla="*/ 776238 w 1573156"/>
                <a:gd name="connsiteY144" fmla="*/ 3504783 h 3837710"/>
                <a:gd name="connsiteX145" fmla="*/ 708669 w 1573156"/>
                <a:gd name="connsiteY145" fmla="*/ 3437426 h 3837710"/>
                <a:gd name="connsiteX146" fmla="*/ 739150 w 1573156"/>
                <a:gd name="connsiteY146" fmla="*/ 3437426 h 3837710"/>
                <a:gd name="connsiteX147" fmla="*/ 750233 w 1573156"/>
                <a:gd name="connsiteY147" fmla="*/ 3408982 h 3837710"/>
                <a:gd name="connsiteX148" fmla="*/ 783486 w 1573156"/>
                <a:gd name="connsiteY148" fmla="*/ 3354683 h 3837710"/>
                <a:gd name="connsiteX149" fmla="*/ 747462 w 1573156"/>
                <a:gd name="connsiteY149" fmla="*/ 3297798 h 3837710"/>
                <a:gd name="connsiteX150" fmla="*/ 836135 w 1573156"/>
                <a:gd name="connsiteY150" fmla="*/ 3225398 h 3837710"/>
                <a:gd name="connsiteX151" fmla="*/ 902641 w 1573156"/>
                <a:gd name="connsiteY151" fmla="*/ 3217642 h 3837710"/>
                <a:gd name="connsiteX152" fmla="*/ 955289 w 1573156"/>
                <a:gd name="connsiteY152" fmla="*/ 3160756 h 3837710"/>
                <a:gd name="connsiteX153" fmla="*/ 1024565 w 1573156"/>
                <a:gd name="connsiteY153" fmla="*/ 3114213 h 3837710"/>
                <a:gd name="connsiteX154" fmla="*/ 1019023 w 1573156"/>
                <a:gd name="connsiteY154" fmla="*/ 3067671 h 3837710"/>
                <a:gd name="connsiteX155" fmla="*/ 1043963 w 1573156"/>
                <a:gd name="connsiteY155" fmla="*/ 3028886 h 3837710"/>
                <a:gd name="connsiteX156" fmla="*/ 1016252 w 1573156"/>
                <a:gd name="connsiteY156" fmla="*/ 3026300 h 3837710"/>
                <a:gd name="connsiteX157" fmla="*/ 1031704 w 1573156"/>
                <a:gd name="connsiteY157" fmla="*/ 2992878 h 3837710"/>
                <a:gd name="connsiteX158" fmla="*/ 914211 w 1573156"/>
                <a:gd name="connsiteY158" fmla="*/ 2928233 h 3837710"/>
                <a:gd name="connsiteX159" fmla="*/ 858304 w 1573156"/>
                <a:gd name="connsiteY159" fmla="*/ 2909943 h 3837710"/>
                <a:gd name="connsiteX160" fmla="*/ 827823 w 1573156"/>
                <a:gd name="connsiteY160" fmla="*/ 2881501 h 3837710"/>
                <a:gd name="connsiteX161" fmla="*/ 761317 w 1573156"/>
                <a:gd name="connsiteY161" fmla="*/ 2897015 h 3837710"/>
                <a:gd name="connsiteX162" fmla="*/ 700355 w 1573156"/>
                <a:gd name="connsiteY162" fmla="*/ 2891844 h 3837710"/>
                <a:gd name="connsiteX163" fmla="*/ 658790 w 1573156"/>
                <a:gd name="connsiteY163" fmla="*/ 2827201 h 3837710"/>
                <a:gd name="connsiteX164" fmla="*/ 656019 w 1573156"/>
                <a:gd name="connsiteY164" fmla="*/ 2785830 h 3837710"/>
                <a:gd name="connsiteX165" fmla="*/ 631080 w 1573156"/>
                <a:gd name="connsiteY165" fmla="*/ 2772902 h 3837710"/>
                <a:gd name="connsiteX166" fmla="*/ 567346 w 1573156"/>
                <a:gd name="connsiteY166" fmla="*/ 2759974 h 3837710"/>
                <a:gd name="connsiteX167" fmla="*/ 586743 w 1573156"/>
                <a:gd name="connsiteY167" fmla="*/ 2721188 h 3837710"/>
                <a:gd name="connsiteX168" fmla="*/ 557777 w 1573156"/>
                <a:gd name="connsiteY168" fmla="*/ 2715007 h 3837710"/>
                <a:gd name="connsiteX169" fmla="*/ 531809 w 1573156"/>
                <a:gd name="connsiteY169" fmla="*/ 2672771 h 3837710"/>
                <a:gd name="connsiteX170" fmla="*/ 414939 w 1573156"/>
                <a:gd name="connsiteY170" fmla="*/ 2682402 h 3837710"/>
                <a:gd name="connsiteX171" fmla="*/ 390000 w 1573156"/>
                <a:gd name="connsiteY171" fmla="*/ 2672059 h 3837710"/>
                <a:gd name="connsiteX172" fmla="*/ 367832 w 1573156"/>
                <a:gd name="connsiteY172" fmla="*/ 2684989 h 3837710"/>
                <a:gd name="connsiteX173" fmla="*/ 351205 w 1573156"/>
                <a:gd name="connsiteY173" fmla="*/ 2622932 h 3837710"/>
                <a:gd name="connsiteX174" fmla="*/ 340121 w 1573156"/>
                <a:gd name="connsiteY174" fmla="*/ 2597075 h 3837710"/>
                <a:gd name="connsiteX175" fmla="*/ 353976 w 1573156"/>
                <a:gd name="connsiteY175" fmla="*/ 2578974 h 3837710"/>
                <a:gd name="connsiteX176" fmla="*/ 381687 w 1573156"/>
                <a:gd name="connsiteY176" fmla="*/ 2581561 h 3837710"/>
                <a:gd name="connsiteX177" fmla="*/ 414939 w 1573156"/>
                <a:gd name="connsiteY177" fmla="*/ 2563461 h 3837710"/>
                <a:gd name="connsiteX178" fmla="*/ 412168 w 1573156"/>
                <a:gd name="connsiteY178" fmla="*/ 2537603 h 3837710"/>
                <a:gd name="connsiteX179" fmla="*/ 362289 w 1573156"/>
                <a:gd name="connsiteY179" fmla="*/ 2501404 h 3837710"/>
                <a:gd name="connsiteX180" fmla="*/ 338946 w 1573156"/>
                <a:gd name="connsiteY180" fmla="*/ 2513491 h 3837710"/>
                <a:gd name="connsiteX181" fmla="*/ 340121 w 1573156"/>
                <a:gd name="connsiteY181" fmla="*/ 2467790 h 3837710"/>
                <a:gd name="connsiteX182" fmla="*/ 306869 w 1573156"/>
                <a:gd name="connsiteY182" fmla="*/ 2429005 h 3837710"/>
                <a:gd name="connsiteX183" fmla="*/ 309641 w 1573156"/>
                <a:gd name="connsiteY183" fmla="*/ 2351433 h 3837710"/>
                <a:gd name="connsiteX184" fmla="*/ 290243 w 1573156"/>
                <a:gd name="connsiteY184" fmla="*/ 2299720 h 3837710"/>
                <a:gd name="connsiteX185" fmla="*/ 256991 w 1573156"/>
                <a:gd name="connsiteY185" fmla="*/ 2266106 h 3837710"/>
                <a:gd name="connsiteX186" fmla="*/ 218196 w 1573156"/>
                <a:gd name="connsiteY186" fmla="*/ 2242835 h 3837710"/>
                <a:gd name="connsiteX187" fmla="*/ 176631 w 1573156"/>
                <a:gd name="connsiteY187" fmla="*/ 2250592 h 3837710"/>
                <a:gd name="connsiteX188" fmla="*/ 122255 w 1573156"/>
                <a:gd name="connsiteY188" fmla="*/ 2214066 h 3837710"/>
                <a:gd name="connsiteX0" fmla="*/ 122255 w 1573156"/>
                <a:gd name="connsiteY0" fmla="*/ 2214066 h 3837710"/>
                <a:gd name="connsiteX1" fmla="*/ 63018 w 1573156"/>
                <a:gd name="connsiteY1" fmla="*/ 2216977 h 3837710"/>
                <a:gd name="connsiteX2" fmla="*/ 60248 w 1573156"/>
                <a:gd name="connsiteY2" fmla="*/ 2118721 h 3837710"/>
                <a:gd name="connsiteX3" fmla="*/ 71333 w 1573156"/>
                <a:gd name="connsiteY3" fmla="*/ 2077350 h 3837710"/>
                <a:gd name="connsiteX4" fmla="*/ 74102 w 1573156"/>
                <a:gd name="connsiteY4" fmla="*/ 2030807 h 3837710"/>
                <a:gd name="connsiteX5" fmla="*/ 76875 w 1573156"/>
                <a:gd name="connsiteY5" fmla="*/ 2020467 h 3837710"/>
                <a:gd name="connsiteX6" fmla="*/ 118439 w 1573156"/>
                <a:gd name="connsiteY6" fmla="*/ 1992023 h 3837710"/>
                <a:gd name="connsiteX7" fmla="*/ 82416 w 1573156"/>
                <a:gd name="connsiteY7" fmla="*/ 1963580 h 3837710"/>
                <a:gd name="connsiteX8" fmla="*/ 51935 w 1573156"/>
                <a:gd name="connsiteY8" fmla="*/ 1927380 h 3837710"/>
                <a:gd name="connsiteX9" fmla="*/ 40850 w 1573156"/>
                <a:gd name="connsiteY9" fmla="*/ 1893766 h 3837710"/>
                <a:gd name="connsiteX10" fmla="*/ 43621 w 1573156"/>
                <a:gd name="connsiteY10" fmla="*/ 1844639 h 3837710"/>
                <a:gd name="connsiteX11" fmla="*/ 82416 w 1573156"/>
                <a:gd name="connsiteY11" fmla="*/ 1826538 h 3837710"/>
                <a:gd name="connsiteX12" fmla="*/ 112899 w 1573156"/>
                <a:gd name="connsiteY12" fmla="*/ 1782581 h 3837710"/>
                <a:gd name="connsiteX13" fmla="*/ 96271 w 1573156"/>
                <a:gd name="connsiteY13" fmla="*/ 1754138 h 3837710"/>
                <a:gd name="connsiteX14" fmla="*/ 40851 w 1573156"/>
                <a:gd name="connsiteY14" fmla="*/ 1746381 h 3837710"/>
                <a:gd name="connsiteX15" fmla="*/ 2057 w 1573156"/>
                <a:gd name="connsiteY15" fmla="*/ 1730867 h 3837710"/>
                <a:gd name="connsiteX16" fmla="*/ 38079 w 1573156"/>
                <a:gd name="connsiteY16" fmla="*/ 1689496 h 3837710"/>
                <a:gd name="connsiteX17" fmla="*/ 18683 w 1573156"/>
                <a:gd name="connsiteY17" fmla="*/ 1679153 h 3837710"/>
                <a:gd name="connsiteX18" fmla="*/ 2055 w 1573156"/>
                <a:gd name="connsiteY18" fmla="*/ 1640367 h 3837710"/>
                <a:gd name="connsiteX19" fmla="*/ 65790 w 1573156"/>
                <a:gd name="connsiteY19" fmla="*/ 1650711 h 3837710"/>
                <a:gd name="connsiteX20" fmla="*/ 93501 w 1573156"/>
                <a:gd name="connsiteY20" fmla="*/ 1627440 h 3837710"/>
                <a:gd name="connsiteX21" fmla="*/ 187716 w 1573156"/>
                <a:gd name="connsiteY21" fmla="*/ 1536941 h 3837710"/>
                <a:gd name="connsiteX22" fmla="*/ 212655 w 1573156"/>
                <a:gd name="connsiteY22" fmla="*/ 1505912 h 3837710"/>
                <a:gd name="connsiteX23" fmla="*/ 198801 w 1573156"/>
                <a:gd name="connsiteY23" fmla="*/ 1555040 h 3837710"/>
                <a:gd name="connsiteX24" fmla="*/ 218197 w 1573156"/>
                <a:gd name="connsiteY24" fmla="*/ 1588655 h 3837710"/>
                <a:gd name="connsiteX25" fmla="*/ 262534 w 1573156"/>
                <a:gd name="connsiteY25" fmla="*/ 1666225 h 3837710"/>
                <a:gd name="connsiteX26" fmla="*/ 331810 w 1573156"/>
                <a:gd name="connsiteY26" fmla="*/ 1653297 h 3837710"/>
                <a:gd name="connsiteX27" fmla="*/ 351206 w 1573156"/>
                <a:gd name="connsiteY27" fmla="*/ 1622268 h 3837710"/>
                <a:gd name="connsiteX28" fmla="*/ 365062 w 1573156"/>
                <a:gd name="connsiteY28" fmla="*/ 1557627 h 3837710"/>
                <a:gd name="connsiteX29" fmla="*/ 304099 w 1573156"/>
                <a:gd name="connsiteY29" fmla="*/ 1511084 h 3837710"/>
                <a:gd name="connsiteX30" fmla="*/ 259763 w 1573156"/>
                <a:gd name="connsiteY30" fmla="*/ 1485227 h 3837710"/>
                <a:gd name="connsiteX31" fmla="*/ 198801 w 1573156"/>
                <a:gd name="connsiteY31" fmla="*/ 1495570 h 3837710"/>
                <a:gd name="connsiteX32" fmla="*/ 376147 w 1573156"/>
                <a:gd name="connsiteY32" fmla="*/ 1299057 h 3837710"/>
                <a:gd name="connsiteX33" fmla="*/ 223740 w 1573156"/>
                <a:gd name="connsiteY33" fmla="*/ 1151672 h 3837710"/>
                <a:gd name="connsiteX34" fmla="*/ 284703 w 1573156"/>
                <a:gd name="connsiteY34" fmla="*/ 1089617 h 3837710"/>
                <a:gd name="connsiteX35" fmla="*/ 218198 w 1573156"/>
                <a:gd name="connsiteY35" fmla="*/ 1050829 h 3837710"/>
                <a:gd name="connsiteX36" fmla="*/ 259763 w 1573156"/>
                <a:gd name="connsiteY36" fmla="*/ 1019802 h 3837710"/>
                <a:gd name="connsiteX37" fmla="*/ 212657 w 1573156"/>
                <a:gd name="connsiteY37" fmla="*/ 993947 h 3837710"/>
                <a:gd name="connsiteX38" fmla="*/ 212656 w 1573156"/>
                <a:gd name="connsiteY38" fmla="*/ 794845 h 3837710"/>
                <a:gd name="connsiteX39" fmla="*/ 251451 w 1573156"/>
                <a:gd name="connsiteY39" fmla="*/ 779332 h 3837710"/>
                <a:gd name="connsiteX40" fmla="*/ 137838 w 1573156"/>
                <a:gd name="connsiteY40" fmla="*/ 551792 h 3837710"/>
                <a:gd name="connsiteX41" fmla="*/ 135067 w 1573156"/>
                <a:gd name="connsiteY41" fmla="*/ 551792 h 3837710"/>
                <a:gd name="connsiteX42" fmla="*/ 184945 w 1573156"/>
                <a:gd name="connsiteY42" fmla="*/ 469048 h 3837710"/>
                <a:gd name="connsiteX43" fmla="*/ 201571 w 1573156"/>
                <a:gd name="connsiteY43" fmla="*/ 378550 h 3837710"/>
                <a:gd name="connsiteX44" fmla="*/ 126752 w 1573156"/>
                <a:gd name="connsiteY44" fmla="*/ 319079 h 3837710"/>
                <a:gd name="connsiteX45" fmla="*/ 118440 w 1573156"/>
                <a:gd name="connsiteY45" fmla="*/ 251851 h 3837710"/>
                <a:gd name="connsiteX46" fmla="*/ 173860 w 1573156"/>
                <a:gd name="connsiteY46" fmla="*/ 158764 h 3837710"/>
                <a:gd name="connsiteX47" fmla="*/ 193258 w 1573156"/>
                <a:gd name="connsiteY47" fmla="*/ 135494 h 3837710"/>
                <a:gd name="connsiteX48" fmla="*/ 207113 w 1573156"/>
                <a:gd name="connsiteY48" fmla="*/ 117394 h 3837710"/>
                <a:gd name="connsiteX49" fmla="*/ 215426 w 1573156"/>
                <a:gd name="connsiteY49" fmla="*/ 73438 h 3837710"/>
                <a:gd name="connsiteX50" fmla="*/ 240365 w 1573156"/>
                <a:gd name="connsiteY50" fmla="*/ 101880 h 3837710"/>
                <a:gd name="connsiteX51" fmla="*/ 270847 w 1573156"/>
                <a:gd name="connsiteY51" fmla="*/ 88952 h 3837710"/>
                <a:gd name="connsiteX52" fmla="*/ 273617 w 1573156"/>
                <a:gd name="connsiteY52" fmla="*/ 63095 h 3837710"/>
                <a:gd name="connsiteX53" fmla="*/ 281931 w 1573156"/>
                <a:gd name="connsiteY53" fmla="*/ 34652 h 3837710"/>
                <a:gd name="connsiteX54" fmla="*/ 284703 w 1573156"/>
                <a:gd name="connsiteY54" fmla="*/ 3624 h 3837710"/>
                <a:gd name="connsiteX55" fmla="*/ 420483 w 1573156"/>
                <a:gd name="connsiteY55" fmla="*/ 57924 h 3837710"/>
                <a:gd name="connsiteX56" fmla="*/ 450963 w 1573156"/>
                <a:gd name="connsiteY56" fmla="*/ 161352 h 3837710"/>
                <a:gd name="connsiteX57" fmla="*/ 464819 w 1573156"/>
                <a:gd name="connsiteY57" fmla="*/ 184622 h 3837710"/>
                <a:gd name="connsiteX58" fmla="*/ 475903 w 1573156"/>
                <a:gd name="connsiteY58" fmla="*/ 187208 h 3837710"/>
                <a:gd name="connsiteX59" fmla="*/ 589515 w 1573156"/>
                <a:gd name="connsiteY59" fmla="*/ 156181 h 3837710"/>
                <a:gd name="connsiteX60" fmla="*/ 656020 w 1573156"/>
                <a:gd name="connsiteY60" fmla="*/ 166522 h 3837710"/>
                <a:gd name="connsiteX61" fmla="*/ 719754 w 1573156"/>
                <a:gd name="connsiteY61" fmla="*/ 213065 h 3837710"/>
                <a:gd name="connsiteX62" fmla="*/ 733781 w 1573156"/>
                <a:gd name="connsiteY62" fmla="*/ 242621 h 3837710"/>
                <a:gd name="connsiteX63" fmla="*/ 789028 w 1573156"/>
                <a:gd name="connsiteY63" fmla="*/ 277708 h 3837710"/>
                <a:gd name="connsiteX64" fmla="*/ 877702 w 1573156"/>
                <a:gd name="connsiteY64" fmla="*/ 303563 h 3837710"/>
                <a:gd name="connsiteX65" fmla="*/ 949748 w 1573156"/>
                <a:gd name="connsiteY65" fmla="*/ 350106 h 3837710"/>
                <a:gd name="connsiteX66" fmla="*/ 999627 w 1573156"/>
                <a:gd name="connsiteY66" fmla="*/ 401820 h 3837710"/>
                <a:gd name="connsiteX67" fmla="*/ 1024566 w 1573156"/>
                <a:gd name="connsiteY67" fmla="*/ 440606 h 3837710"/>
                <a:gd name="connsiteX68" fmla="*/ 1057819 w 1573156"/>
                <a:gd name="connsiteY68" fmla="*/ 466462 h 3837710"/>
                <a:gd name="connsiteX69" fmla="*/ 1041191 w 1573156"/>
                <a:gd name="connsiteY69" fmla="*/ 691417 h 3837710"/>
                <a:gd name="connsiteX70" fmla="*/ 913725 w 1573156"/>
                <a:gd name="connsiteY70" fmla="*/ 771575 h 3837710"/>
                <a:gd name="connsiteX71" fmla="*/ 800113 w 1573156"/>
                <a:gd name="connsiteY71" fmla="*/ 779331 h 3837710"/>
                <a:gd name="connsiteX72" fmla="*/ 661560 w 1573156"/>
                <a:gd name="connsiteY72" fmla="*/ 758645 h 3837710"/>
                <a:gd name="connsiteX73" fmla="*/ 570116 w 1573156"/>
                <a:gd name="connsiteY73" fmla="*/ 722445 h 3837710"/>
                <a:gd name="connsiteX74" fmla="*/ 550719 w 1573156"/>
                <a:gd name="connsiteY74" fmla="*/ 750888 h 3837710"/>
                <a:gd name="connsiteX75" fmla="*/ 581361 w 1573156"/>
                <a:gd name="connsiteY75" fmla="*/ 824301 h 3837710"/>
                <a:gd name="connsiteX76" fmla="*/ 586902 w 1573156"/>
                <a:gd name="connsiteY76" fmla="*/ 951000 h 3837710"/>
                <a:gd name="connsiteX77" fmla="*/ 559032 w 1573156"/>
                <a:gd name="connsiteY77" fmla="*/ 1012043 h 3837710"/>
                <a:gd name="connsiteX78" fmla="*/ 614451 w 1573156"/>
                <a:gd name="connsiteY78" fmla="*/ 1032728 h 3837710"/>
                <a:gd name="connsiteX79" fmla="*/ 631079 w 1573156"/>
                <a:gd name="connsiteY79" fmla="*/ 1048242 h 3837710"/>
                <a:gd name="connsiteX80" fmla="*/ 656019 w 1573156"/>
                <a:gd name="connsiteY80" fmla="*/ 1074099 h 3837710"/>
                <a:gd name="connsiteX81" fmla="*/ 653248 w 1573156"/>
                <a:gd name="connsiteY81" fmla="*/ 1076685 h 3837710"/>
                <a:gd name="connsiteX82" fmla="*/ 692041 w 1573156"/>
                <a:gd name="connsiteY82" fmla="*/ 1071514 h 3837710"/>
                <a:gd name="connsiteX83" fmla="*/ 700355 w 1573156"/>
                <a:gd name="connsiteY83" fmla="*/ 1035314 h 3837710"/>
                <a:gd name="connsiteX84" fmla="*/ 661560 w 1573156"/>
                <a:gd name="connsiteY84" fmla="*/ 957743 h 3837710"/>
                <a:gd name="connsiteX85" fmla="*/ 730836 w 1573156"/>
                <a:gd name="connsiteY85" fmla="*/ 911200 h 3837710"/>
                <a:gd name="connsiteX86" fmla="*/ 798608 w 1573156"/>
                <a:gd name="connsiteY86" fmla="*/ 918934 h 3837710"/>
                <a:gd name="connsiteX87" fmla="*/ 822441 w 1573156"/>
                <a:gd name="connsiteY87" fmla="*/ 951001 h 3837710"/>
                <a:gd name="connsiteX88" fmla="*/ 978170 w 1573156"/>
                <a:gd name="connsiteY88" fmla="*/ 1007364 h 3837710"/>
                <a:gd name="connsiteX89" fmla="*/ 963762 w 1573156"/>
                <a:gd name="connsiteY89" fmla="*/ 971687 h 3837710"/>
                <a:gd name="connsiteX90" fmla="*/ 930510 w 1573156"/>
                <a:gd name="connsiteY90" fmla="*/ 932901 h 3837710"/>
                <a:gd name="connsiteX91" fmla="*/ 919426 w 1573156"/>
                <a:gd name="connsiteY91" fmla="*/ 881187 h 3837710"/>
                <a:gd name="connsiteX92" fmla="*/ 958221 w 1573156"/>
                <a:gd name="connsiteY92" fmla="*/ 832060 h 3837710"/>
                <a:gd name="connsiteX93" fmla="*/ 985931 w 1573156"/>
                <a:gd name="connsiteY93" fmla="*/ 803617 h 3837710"/>
                <a:gd name="connsiteX94" fmla="*/ 1010871 w 1573156"/>
                <a:gd name="connsiteY94" fmla="*/ 767417 h 3837710"/>
                <a:gd name="connsiteX95" fmla="*/ 1091231 w 1573156"/>
                <a:gd name="connsiteY95" fmla="*/ 762245 h 3837710"/>
                <a:gd name="connsiteX96" fmla="*/ 1096772 w 1573156"/>
                <a:gd name="connsiteY96" fmla="*/ 741560 h 3837710"/>
                <a:gd name="connsiteX97" fmla="*/ 1121712 w 1573156"/>
                <a:gd name="connsiteY97" fmla="*/ 705360 h 3837710"/>
                <a:gd name="connsiteX98" fmla="*/ 1155516 w 1573156"/>
                <a:gd name="connsiteY98" fmla="*/ 687772 h 3837710"/>
                <a:gd name="connsiteX99" fmla="*/ 1213156 w 1573156"/>
                <a:gd name="connsiteY99" fmla="*/ 700189 h 3837710"/>
                <a:gd name="connsiteX100" fmla="*/ 1251949 w 1573156"/>
                <a:gd name="connsiteY100" fmla="*/ 720875 h 3837710"/>
                <a:gd name="connsiteX101" fmla="*/ 1299057 w 1573156"/>
                <a:gd name="connsiteY101" fmla="*/ 728632 h 3837710"/>
                <a:gd name="connsiteX102" fmla="*/ 1299057 w 1573156"/>
                <a:gd name="connsiteY102" fmla="*/ 733803 h 3837710"/>
                <a:gd name="connsiteX103" fmla="*/ 1321226 w 1573156"/>
                <a:gd name="connsiteY103" fmla="*/ 674332 h 3837710"/>
                <a:gd name="connsiteX104" fmla="*/ 1331201 w 1573156"/>
                <a:gd name="connsiteY104" fmla="*/ 640714 h 3837710"/>
                <a:gd name="connsiteX105" fmla="*/ 1337852 w 1573156"/>
                <a:gd name="connsiteY105" fmla="*/ 622618 h 3837710"/>
                <a:gd name="connsiteX106" fmla="*/ 1340789 w 1573156"/>
                <a:gd name="connsiteY106" fmla="*/ 591288 h 3837710"/>
                <a:gd name="connsiteX107" fmla="*/ 1260263 w 1573156"/>
                <a:gd name="connsiteY107" fmla="*/ 545048 h 3837710"/>
                <a:gd name="connsiteX108" fmla="*/ 1246408 w 1573156"/>
                <a:gd name="connsiteY108" fmla="*/ 472648 h 3837710"/>
                <a:gd name="connsiteX109" fmla="*/ 1246408 w 1573156"/>
                <a:gd name="connsiteY109" fmla="*/ 454548 h 3837710"/>
                <a:gd name="connsiteX110" fmla="*/ 1257491 w 1573156"/>
                <a:gd name="connsiteY110" fmla="*/ 431276 h 3837710"/>
                <a:gd name="connsiteX111" fmla="*/ 1260263 w 1573156"/>
                <a:gd name="connsiteY111" fmla="*/ 415762 h 3837710"/>
                <a:gd name="connsiteX112" fmla="*/ 1260262 w 1573156"/>
                <a:gd name="connsiteY112" fmla="*/ 358878 h 3837710"/>
                <a:gd name="connsiteX113" fmla="*/ 1238094 w 1573156"/>
                <a:gd name="connsiteY113" fmla="*/ 335607 h 3837710"/>
                <a:gd name="connsiteX114" fmla="*/ 1210384 w 1573156"/>
                <a:gd name="connsiteY114" fmla="*/ 304578 h 3837710"/>
                <a:gd name="connsiteX115" fmla="*/ 1206216 w 1573156"/>
                <a:gd name="connsiteY115" fmla="*/ 280325 h 3837710"/>
                <a:gd name="connsiteX116" fmla="*/ 1257492 w 1573156"/>
                <a:gd name="connsiteY116" fmla="*/ 258034 h 3837710"/>
                <a:gd name="connsiteX117" fmla="*/ 1311072 w 1573156"/>
                <a:gd name="connsiteY117" fmla="*/ 267906 h 3837710"/>
                <a:gd name="connsiteX118" fmla="*/ 1389856 w 1573156"/>
                <a:gd name="connsiteY118" fmla="*/ 279816 h 3837710"/>
                <a:gd name="connsiteX119" fmla="*/ 1474179 w 1573156"/>
                <a:gd name="connsiteY119" fmla="*/ 349175 h 3837710"/>
                <a:gd name="connsiteX120" fmla="*/ 1536314 w 1573156"/>
                <a:gd name="connsiteY120" fmla="*/ 425271 h 3837710"/>
                <a:gd name="connsiteX121" fmla="*/ 1435343 w 1573156"/>
                <a:gd name="connsiteY121" fmla="*/ 454265 h 3837710"/>
                <a:gd name="connsiteX122" fmla="*/ 1419809 w 1573156"/>
                <a:gd name="connsiteY122" fmla="*/ 501372 h 3837710"/>
                <a:gd name="connsiteX123" fmla="*/ 1477479 w 1573156"/>
                <a:gd name="connsiteY123" fmla="*/ 585862 h 3837710"/>
                <a:gd name="connsiteX124" fmla="*/ 1513013 w 1573156"/>
                <a:gd name="connsiteY124" fmla="*/ 591964 h 3837710"/>
                <a:gd name="connsiteX125" fmla="*/ 1565633 w 1573156"/>
                <a:gd name="connsiteY125" fmla="*/ 598304 h 3837710"/>
                <a:gd name="connsiteX126" fmla="*/ 1560670 w 1573156"/>
                <a:gd name="connsiteY126" fmla="*/ 709079 h 3837710"/>
                <a:gd name="connsiteX127" fmla="*/ 1571739 w 1573156"/>
                <a:gd name="connsiteY127" fmla="*/ 1040047 h 3837710"/>
                <a:gd name="connsiteX128" fmla="*/ 1562871 w 1573156"/>
                <a:gd name="connsiteY128" fmla="*/ 1842646 h 3837710"/>
                <a:gd name="connsiteX129" fmla="*/ 1571738 w 1573156"/>
                <a:gd name="connsiteY129" fmla="*/ 2297728 h 3837710"/>
                <a:gd name="connsiteX130" fmla="*/ 1559146 w 1573156"/>
                <a:gd name="connsiteY130" fmla="*/ 3716291 h 3837710"/>
                <a:gd name="connsiteX131" fmla="*/ 1556603 w 1573156"/>
                <a:gd name="connsiteY131" fmla="*/ 3758050 h 3837710"/>
                <a:gd name="connsiteX132" fmla="*/ 1545518 w 1573156"/>
                <a:gd name="connsiteY132" fmla="*/ 3688238 h 3837710"/>
                <a:gd name="connsiteX133" fmla="*/ 1473471 w 1573156"/>
                <a:gd name="connsiteY133" fmla="*/ 3685650 h 3837710"/>
                <a:gd name="connsiteX134" fmla="*/ 1445761 w 1573156"/>
                <a:gd name="connsiteY134" fmla="*/ 3652040 h 3837710"/>
                <a:gd name="connsiteX135" fmla="*/ 1398654 w 1573156"/>
                <a:gd name="connsiteY135" fmla="*/ 3659796 h 3837710"/>
                <a:gd name="connsiteX136" fmla="*/ 1357089 w 1573156"/>
                <a:gd name="connsiteY136" fmla="*/ 3662380 h 3837710"/>
                <a:gd name="connsiteX137" fmla="*/ 1343234 w 1573156"/>
                <a:gd name="connsiteY137" fmla="*/ 3631352 h 3837710"/>
                <a:gd name="connsiteX138" fmla="*/ 1304439 w 1573156"/>
                <a:gd name="connsiteY138" fmla="*/ 3641695 h 3837710"/>
                <a:gd name="connsiteX139" fmla="*/ 1290584 w 1573156"/>
                <a:gd name="connsiteY139" fmla="*/ 3610666 h 3837710"/>
                <a:gd name="connsiteX140" fmla="*/ 1195420 w 1573156"/>
                <a:gd name="connsiteY140" fmla="*/ 3605469 h 3837710"/>
                <a:gd name="connsiteX141" fmla="*/ 1013482 w 1573156"/>
                <a:gd name="connsiteY141" fmla="*/ 3592567 h 3837710"/>
                <a:gd name="connsiteX142" fmla="*/ 1123928 w 1573156"/>
                <a:gd name="connsiteY142" fmla="*/ 3663387 h 3837710"/>
                <a:gd name="connsiteX143" fmla="*/ 907787 w 1573156"/>
                <a:gd name="connsiteY143" fmla="*/ 3629257 h 3837710"/>
                <a:gd name="connsiteX144" fmla="*/ 776238 w 1573156"/>
                <a:gd name="connsiteY144" fmla="*/ 3504783 h 3837710"/>
                <a:gd name="connsiteX145" fmla="*/ 708669 w 1573156"/>
                <a:gd name="connsiteY145" fmla="*/ 3437426 h 3837710"/>
                <a:gd name="connsiteX146" fmla="*/ 739150 w 1573156"/>
                <a:gd name="connsiteY146" fmla="*/ 3437426 h 3837710"/>
                <a:gd name="connsiteX147" fmla="*/ 750233 w 1573156"/>
                <a:gd name="connsiteY147" fmla="*/ 3408982 h 3837710"/>
                <a:gd name="connsiteX148" fmla="*/ 783486 w 1573156"/>
                <a:gd name="connsiteY148" fmla="*/ 3354683 h 3837710"/>
                <a:gd name="connsiteX149" fmla="*/ 747462 w 1573156"/>
                <a:gd name="connsiteY149" fmla="*/ 3297798 h 3837710"/>
                <a:gd name="connsiteX150" fmla="*/ 836135 w 1573156"/>
                <a:gd name="connsiteY150" fmla="*/ 3225398 h 3837710"/>
                <a:gd name="connsiteX151" fmla="*/ 902641 w 1573156"/>
                <a:gd name="connsiteY151" fmla="*/ 3217642 h 3837710"/>
                <a:gd name="connsiteX152" fmla="*/ 955289 w 1573156"/>
                <a:gd name="connsiteY152" fmla="*/ 3160756 h 3837710"/>
                <a:gd name="connsiteX153" fmla="*/ 1024565 w 1573156"/>
                <a:gd name="connsiteY153" fmla="*/ 3114213 h 3837710"/>
                <a:gd name="connsiteX154" fmla="*/ 1019023 w 1573156"/>
                <a:gd name="connsiteY154" fmla="*/ 3067671 h 3837710"/>
                <a:gd name="connsiteX155" fmla="*/ 1043963 w 1573156"/>
                <a:gd name="connsiteY155" fmla="*/ 3028886 h 3837710"/>
                <a:gd name="connsiteX156" fmla="*/ 1016252 w 1573156"/>
                <a:gd name="connsiteY156" fmla="*/ 3026300 h 3837710"/>
                <a:gd name="connsiteX157" fmla="*/ 1031704 w 1573156"/>
                <a:gd name="connsiteY157" fmla="*/ 2992878 h 3837710"/>
                <a:gd name="connsiteX158" fmla="*/ 914211 w 1573156"/>
                <a:gd name="connsiteY158" fmla="*/ 2928233 h 3837710"/>
                <a:gd name="connsiteX159" fmla="*/ 858304 w 1573156"/>
                <a:gd name="connsiteY159" fmla="*/ 2909943 h 3837710"/>
                <a:gd name="connsiteX160" fmla="*/ 827823 w 1573156"/>
                <a:gd name="connsiteY160" fmla="*/ 2881501 h 3837710"/>
                <a:gd name="connsiteX161" fmla="*/ 761317 w 1573156"/>
                <a:gd name="connsiteY161" fmla="*/ 2897015 h 3837710"/>
                <a:gd name="connsiteX162" fmla="*/ 700355 w 1573156"/>
                <a:gd name="connsiteY162" fmla="*/ 2891844 h 3837710"/>
                <a:gd name="connsiteX163" fmla="*/ 658790 w 1573156"/>
                <a:gd name="connsiteY163" fmla="*/ 2827201 h 3837710"/>
                <a:gd name="connsiteX164" fmla="*/ 656019 w 1573156"/>
                <a:gd name="connsiteY164" fmla="*/ 2785830 h 3837710"/>
                <a:gd name="connsiteX165" fmla="*/ 631080 w 1573156"/>
                <a:gd name="connsiteY165" fmla="*/ 2772902 h 3837710"/>
                <a:gd name="connsiteX166" fmla="*/ 567346 w 1573156"/>
                <a:gd name="connsiteY166" fmla="*/ 2759974 h 3837710"/>
                <a:gd name="connsiteX167" fmla="*/ 586743 w 1573156"/>
                <a:gd name="connsiteY167" fmla="*/ 2721188 h 3837710"/>
                <a:gd name="connsiteX168" fmla="*/ 557777 w 1573156"/>
                <a:gd name="connsiteY168" fmla="*/ 2715007 h 3837710"/>
                <a:gd name="connsiteX169" fmla="*/ 531809 w 1573156"/>
                <a:gd name="connsiteY169" fmla="*/ 2672771 h 3837710"/>
                <a:gd name="connsiteX170" fmla="*/ 414939 w 1573156"/>
                <a:gd name="connsiteY170" fmla="*/ 2682402 h 3837710"/>
                <a:gd name="connsiteX171" fmla="*/ 390000 w 1573156"/>
                <a:gd name="connsiteY171" fmla="*/ 2672059 h 3837710"/>
                <a:gd name="connsiteX172" fmla="*/ 367832 w 1573156"/>
                <a:gd name="connsiteY172" fmla="*/ 2684989 h 3837710"/>
                <a:gd name="connsiteX173" fmla="*/ 351205 w 1573156"/>
                <a:gd name="connsiteY173" fmla="*/ 2622932 h 3837710"/>
                <a:gd name="connsiteX174" fmla="*/ 340121 w 1573156"/>
                <a:gd name="connsiteY174" fmla="*/ 2597075 h 3837710"/>
                <a:gd name="connsiteX175" fmla="*/ 353976 w 1573156"/>
                <a:gd name="connsiteY175" fmla="*/ 2578974 h 3837710"/>
                <a:gd name="connsiteX176" fmla="*/ 381687 w 1573156"/>
                <a:gd name="connsiteY176" fmla="*/ 2581561 h 3837710"/>
                <a:gd name="connsiteX177" fmla="*/ 414939 w 1573156"/>
                <a:gd name="connsiteY177" fmla="*/ 2563461 h 3837710"/>
                <a:gd name="connsiteX178" fmla="*/ 412168 w 1573156"/>
                <a:gd name="connsiteY178" fmla="*/ 2537603 h 3837710"/>
                <a:gd name="connsiteX179" fmla="*/ 362289 w 1573156"/>
                <a:gd name="connsiteY179" fmla="*/ 2501404 h 3837710"/>
                <a:gd name="connsiteX180" fmla="*/ 338946 w 1573156"/>
                <a:gd name="connsiteY180" fmla="*/ 2513491 h 3837710"/>
                <a:gd name="connsiteX181" fmla="*/ 340121 w 1573156"/>
                <a:gd name="connsiteY181" fmla="*/ 2467790 h 3837710"/>
                <a:gd name="connsiteX182" fmla="*/ 306869 w 1573156"/>
                <a:gd name="connsiteY182" fmla="*/ 2429005 h 3837710"/>
                <a:gd name="connsiteX183" fmla="*/ 309641 w 1573156"/>
                <a:gd name="connsiteY183" fmla="*/ 2351433 h 3837710"/>
                <a:gd name="connsiteX184" fmla="*/ 290243 w 1573156"/>
                <a:gd name="connsiteY184" fmla="*/ 2299720 h 3837710"/>
                <a:gd name="connsiteX185" fmla="*/ 256991 w 1573156"/>
                <a:gd name="connsiteY185" fmla="*/ 2266106 h 3837710"/>
                <a:gd name="connsiteX186" fmla="*/ 218196 w 1573156"/>
                <a:gd name="connsiteY186" fmla="*/ 2242835 h 3837710"/>
                <a:gd name="connsiteX187" fmla="*/ 176631 w 1573156"/>
                <a:gd name="connsiteY187" fmla="*/ 2250592 h 3837710"/>
                <a:gd name="connsiteX188" fmla="*/ 122255 w 1573156"/>
                <a:gd name="connsiteY188" fmla="*/ 2214066 h 3837710"/>
                <a:gd name="connsiteX0" fmla="*/ 122255 w 1573156"/>
                <a:gd name="connsiteY0" fmla="*/ 2214066 h 3837710"/>
                <a:gd name="connsiteX1" fmla="*/ 63018 w 1573156"/>
                <a:gd name="connsiteY1" fmla="*/ 2216977 h 3837710"/>
                <a:gd name="connsiteX2" fmla="*/ 60248 w 1573156"/>
                <a:gd name="connsiteY2" fmla="*/ 2118721 h 3837710"/>
                <a:gd name="connsiteX3" fmla="*/ 71333 w 1573156"/>
                <a:gd name="connsiteY3" fmla="*/ 2077350 h 3837710"/>
                <a:gd name="connsiteX4" fmla="*/ 74102 w 1573156"/>
                <a:gd name="connsiteY4" fmla="*/ 2030807 h 3837710"/>
                <a:gd name="connsiteX5" fmla="*/ 76875 w 1573156"/>
                <a:gd name="connsiteY5" fmla="*/ 2020467 h 3837710"/>
                <a:gd name="connsiteX6" fmla="*/ 118439 w 1573156"/>
                <a:gd name="connsiteY6" fmla="*/ 1992023 h 3837710"/>
                <a:gd name="connsiteX7" fmla="*/ 82416 w 1573156"/>
                <a:gd name="connsiteY7" fmla="*/ 1963580 h 3837710"/>
                <a:gd name="connsiteX8" fmla="*/ 51935 w 1573156"/>
                <a:gd name="connsiteY8" fmla="*/ 1927380 h 3837710"/>
                <a:gd name="connsiteX9" fmla="*/ 40850 w 1573156"/>
                <a:gd name="connsiteY9" fmla="*/ 1893766 h 3837710"/>
                <a:gd name="connsiteX10" fmla="*/ 43621 w 1573156"/>
                <a:gd name="connsiteY10" fmla="*/ 1844639 h 3837710"/>
                <a:gd name="connsiteX11" fmla="*/ 82416 w 1573156"/>
                <a:gd name="connsiteY11" fmla="*/ 1826538 h 3837710"/>
                <a:gd name="connsiteX12" fmla="*/ 112899 w 1573156"/>
                <a:gd name="connsiteY12" fmla="*/ 1782581 h 3837710"/>
                <a:gd name="connsiteX13" fmla="*/ 96271 w 1573156"/>
                <a:gd name="connsiteY13" fmla="*/ 1754138 h 3837710"/>
                <a:gd name="connsiteX14" fmla="*/ 40851 w 1573156"/>
                <a:gd name="connsiteY14" fmla="*/ 1746381 h 3837710"/>
                <a:gd name="connsiteX15" fmla="*/ 2057 w 1573156"/>
                <a:gd name="connsiteY15" fmla="*/ 1730867 h 3837710"/>
                <a:gd name="connsiteX16" fmla="*/ 38079 w 1573156"/>
                <a:gd name="connsiteY16" fmla="*/ 1689496 h 3837710"/>
                <a:gd name="connsiteX17" fmla="*/ 18683 w 1573156"/>
                <a:gd name="connsiteY17" fmla="*/ 1679153 h 3837710"/>
                <a:gd name="connsiteX18" fmla="*/ 2055 w 1573156"/>
                <a:gd name="connsiteY18" fmla="*/ 1640367 h 3837710"/>
                <a:gd name="connsiteX19" fmla="*/ 65790 w 1573156"/>
                <a:gd name="connsiteY19" fmla="*/ 1650711 h 3837710"/>
                <a:gd name="connsiteX20" fmla="*/ 93501 w 1573156"/>
                <a:gd name="connsiteY20" fmla="*/ 1627440 h 3837710"/>
                <a:gd name="connsiteX21" fmla="*/ 187716 w 1573156"/>
                <a:gd name="connsiteY21" fmla="*/ 1536941 h 3837710"/>
                <a:gd name="connsiteX22" fmla="*/ 212655 w 1573156"/>
                <a:gd name="connsiteY22" fmla="*/ 1505912 h 3837710"/>
                <a:gd name="connsiteX23" fmla="*/ 198801 w 1573156"/>
                <a:gd name="connsiteY23" fmla="*/ 1555040 h 3837710"/>
                <a:gd name="connsiteX24" fmla="*/ 218197 w 1573156"/>
                <a:gd name="connsiteY24" fmla="*/ 1588655 h 3837710"/>
                <a:gd name="connsiteX25" fmla="*/ 262534 w 1573156"/>
                <a:gd name="connsiteY25" fmla="*/ 1666225 h 3837710"/>
                <a:gd name="connsiteX26" fmla="*/ 331810 w 1573156"/>
                <a:gd name="connsiteY26" fmla="*/ 1653297 h 3837710"/>
                <a:gd name="connsiteX27" fmla="*/ 351206 w 1573156"/>
                <a:gd name="connsiteY27" fmla="*/ 1622268 h 3837710"/>
                <a:gd name="connsiteX28" fmla="*/ 365062 w 1573156"/>
                <a:gd name="connsiteY28" fmla="*/ 1557627 h 3837710"/>
                <a:gd name="connsiteX29" fmla="*/ 304099 w 1573156"/>
                <a:gd name="connsiteY29" fmla="*/ 1511084 h 3837710"/>
                <a:gd name="connsiteX30" fmla="*/ 259763 w 1573156"/>
                <a:gd name="connsiteY30" fmla="*/ 1485227 h 3837710"/>
                <a:gd name="connsiteX31" fmla="*/ 198801 w 1573156"/>
                <a:gd name="connsiteY31" fmla="*/ 1495570 h 3837710"/>
                <a:gd name="connsiteX32" fmla="*/ 376147 w 1573156"/>
                <a:gd name="connsiteY32" fmla="*/ 1299057 h 3837710"/>
                <a:gd name="connsiteX33" fmla="*/ 223740 w 1573156"/>
                <a:gd name="connsiteY33" fmla="*/ 1151672 h 3837710"/>
                <a:gd name="connsiteX34" fmla="*/ 284703 w 1573156"/>
                <a:gd name="connsiteY34" fmla="*/ 1089617 h 3837710"/>
                <a:gd name="connsiteX35" fmla="*/ 218198 w 1573156"/>
                <a:gd name="connsiteY35" fmla="*/ 1050829 h 3837710"/>
                <a:gd name="connsiteX36" fmla="*/ 259763 w 1573156"/>
                <a:gd name="connsiteY36" fmla="*/ 1019802 h 3837710"/>
                <a:gd name="connsiteX37" fmla="*/ 212657 w 1573156"/>
                <a:gd name="connsiteY37" fmla="*/ 993947 h 3837710"/>
                <a:gd name="connsiteX38" fmla="*/ 212656 w 1573156"/>
                <a:gd name="connsiteY38" fmla="*/ 794845 h 3837710"/>
                <a:gd name="connsiteX39" fmla="*/ 251451 w 1573156"/>
                <a:gd name="connsiteY39" fmla="*/ 779332 h 3837710"/>
                <a:gd name="connsiteX40" fmla="*/ 137838 w 1573156"/>
                <a:gd name="connsiteY40" fmla="*/ 551792 h 3837710"/>
                <a:gd name="connsiteX41" fmla="*/ 135067 w 1573156"/>
                <a:gd name="connsiteY41" fmla="*/ 551792 h 3837710"/>
                <a:gd name="connsiteX42" fmla="*/ 184945 w 1573156"/>
                <a:gd name="connsiteY42" fmla="*/ 469048 h 3837710"/>
                <a:gd name="connsiteX43" fmla="*/ 201571 w 1573156"/>
                <a:gd name="connsiteY43" fmla="*/ 378550 h 3837710"/>
                <a:gd name="connsiteX44" fmla="*/ 126752 w 1573156"/>
                <a:gd name="connsiteY44" fmla="*/ 319079 h 3837710"/>
                <a:gd name="connsiteX45" fmla="*/ 118440 w 1573156"/>
                <a:gd name="connsiteY45" fmla="*/ 251851 h 3837710"/>
                <a:gd name="connsiteX46" fmla="*/ 173860 w 1573156"/>
                <a:gd name="connsiteY46" fmla="*/ 158764 h 3837710"/>
                <a:gd name="connsiteX47" fmla="*/ 193258 w 1573156"/>
                <a:gd name="connsiteY47" fmla="*/ 135494 h 3837710"/>
                <a:gd name="connsiteX48" fmla="*/ 207113 w 1573156"/>
                <a:gd name="connsiteY48" fmla="*/ 117394 h 3837710"/>
                <a:gd name="connsiteX49" fmla="*/ 215426 w 1573156"/>
                <a:gd name="connsiteY49" fmla="*/ 73438 h 3837710"/>
                <a:gd name="connsiteX50" fmla="*/ 240365 w 1573156"/>
                <a:gd name="connsiteY50" fmla="*/ 101880 h 3837710"/>
                <a:gd name="connsiteX51" fmla="*/ 270847 w 1573156"/>
                <a:gd name="connsiteY51" fmla="*/ 88952 h 3837710"/>
                <a:gd name="connsiteX52" fmla="*/ 273617 w 1573156"/>
                <a:gd name="connsiteY52" fmla="*/ 63095 h 3837710"/>
                <a:gd name="connsiteX53" fmla="*/ 281931 w 1573156"/>
                <a:gd name="connsiteY53" fmla="*/ 34652 h 3837710"/>
                <a:gd name="connsiteX54" fmla="*/ 284703 w 1573156"/>
                <a:gd name="connsiteY54" fmla="*/ 3624 h 3837710"/>
                <a:gd name="connsiteX55" fmla="*/ 420483 w 1573156"/>
                <a:gd name="connsiteY55" fmla="*/ 57924 h 3837710"/>
                <a:gd name="connsiteX56" fmla="*/ 450963 w 1573156"/>
                <a:gd name="connsiteY56" fmla="*/ 161352 h 3837710"/>
                <a:gd name="connsiteX57" fmla="*/ 464819 w 1573156"/>
                <a:gd name="connsiteY57" fmla="*/ 184622 h 3837710"/>
                <a:gd name="connsiteX58" fmla="*/ 475903 w 1573156"/>
                <a:gd name="connsiteY58" fmla="*/ 187208 h 3837710"/>
                <a:gd name="connsiteX59" fmla="*/ 589515 w 1573156"/>
                <a:gd name="connsiteY59" fmla="*/ 156181 h 3837710"/>
                <a:gd name="connsiteX60" fmla="*/ 656020 w 1573156"/>
                <a:gd name="connsiteY60" fmla="*/ 166522 h 3837710"/>
                <a:gd name="connsiteX61" fmla="*/ 719754 w 1573156"/>
                <a:gd name="connsiteY61" fmla="*/ 213065 h 3837710"/>
                <a:gd name="connsiteX62" fmla="*/ 733781 w 1573156"/>
                <a:gd name="connsiteY62" fmla="*/ 242621 h 3837710"/>
                <a:gd name="connsiteX63" fmla="*/ 789028 w 1573156"/>
                <a:gd name="connsiteY63" fmla="*/ 277708 h 3837710"/>
                <a:gd name="connsiteX64" fmla="*/ 877702 w 1573156"/>
                <a:gd name="connsiteY64" fmla="*/ 303563 h 3837710"/>
                <a:gd name="connsiteX65" fmla="*/ 949748 w 1573156"/>
                <a:gd name="connsiteY65" fmla="*/ 350106 h 3837710"/>
                <a:gd name="connsiteX66" fmla="*/ 999627 w 1573156"/>
                <a:gd name="connsiteY66" fmla="*/ 401820 h 3837710"/>
                <a:gd name="connsiteX67" fmla="*/ 1024566 w 1573156"/>
                <a:gd name="connsiteY67" fmla="*/ 440606 h 3837710"/>
                <a:gd name="connsiteX68" fmla="*/ 1057819 w 1573156"/>
                <a:gd name="connsiteY68" fmla="*/ 466462 h 3837710"/>
                <a:gd name="connsiteX69" fmla="*/ 1041191 w 1573156"/>
                <a:gd name="connsiteY69" fmla="*/ 691417 h 3837710"/>
                <a:gd name="connsiteX70" fmla="*/ 913725 w 1573156"/>
                <a:gd name="connsiteY70" fmla="*/ 771575 h 3837710"/>
                <a:gd name="connsiteX71" fmla="*/ 800113 w 1573156"/>
                <a:gd name="connsiteY71" fmla="*/ 779331 h 3837710"/>
                <a:gd name="connsiteX72" fmla="*/ 661560 w 1573156"/>
                <a:gd name="connsiteY72" fmla="*/ 758645 h 3837710"/>
                <a:gd name="connsiteX73" fmla="*/ 570116 w 1573156"/>
                <a:gd name="connsiteY73" fmla="*/ 722445 h 3837710"/>
                <a:gd name="connsiteX74" fmla="*/ 550719 w 1573156"/>
                <a:gd name="connsiteY74" fmla="*/ 750888 h 3837710"/>
                <a:gd name="connsiteX75" fmla="*/ 581361 w 1573156"/>
                <a:gd name="connsiteY75" fmla="*/ 824301 h 3837710"/>
                <a:gd name="connsiteX76" fmla="*/ 586902 w 1573156"/>
                <a:gd name="connsiteY76" fmla="*/ 951000 h 3837710"/>
                <a:gd name="connsiteX77" fmla="*/ 559032 w 1573156"/>
                <a:gd name="connsiteY77" fmla="*/ 1012043 h 3837710"/>
                <a:gd name="connsiteX78" fmla="*/ 614451 w 1573156"/>
                <a:gd name="connsiteY78" fmla="*/ 1032728 h 3837710"/>
                <a:gd name="connsiteX79" fmla="*/ 631079 w 1573156"/>
                <a:gd name="connsiteY79" fmla="*/ 1048242 h 3837710"/>
                <a:gd name="connsiteX80" fmla="*/ 656019 w 1573156"/>
                <a:gd name="connsiteY80" fmla="*/ 1074099 h 3837710"/>
                <a:gd name="connsiteX81" fmla="*/ 653248 w 1573156"/>
                <a:gd name="connsiteY81" fmla="*/ 1076685 h 3837710"/>
                <a:gd name="connsiteX82" fmla="*/ 692041 w 1573156"/>
                <a:gd name="connsiteY82" fmla="*/ 1071514 h 3837710"/>
                <a:gd name="connsiteX83" fmla="*/ 700355 w 1573156"/>
                <a:gd name="connsiteY83" fmla="*/ 1035314 h 3837710"/>
                <a:gd name="connsiteX84" fmla="*/ 661560 w 1573156"/>
                <a:gd name="connsiteY84" fmla="*/ 957743 h 3837710"/>
                <a:gd name="connsiteX85" fmla="*/ 730836 w 1573156"/>
                <a:gd name="connsiteY85" fmla="*/ 911200 h 3837710"/>
                <a:gd name="connsiteX86" fmla="*/ 798608 w 1573156"/>
                <a:gd name="connsiteY86" fmla="*/ 918934 h 3837710"/>
                <a:gd name="connsiteX87" fmla="*/ 822441 w 1573156"/>
                <a:gd name="connsiteY87" fmla="*/ 951001 h 3837710"/>
                <a:gd name="connsiteX88" fmla="*/ 978170 w 1573156"/>
                <a:gd name="connsiteY88" fmla="*/ 1007364 h 3837710"/>
                <a:gd name="connsiteX89" fmla="*/ 963762 w 1573156"/>
                <a:gd name="connsiteY89" fmla="*/ 971687 h 3837710"/>
                <a:gd name="connsiteX90" fmla="*/ 930510 w 1573156"/>
                <a:gd name="connsiteY90" fmla="*/ 932901 h 3837710"/>
                <a:gd name="connsiteX91" fmla="*/ 919426 w 1573156"/>
                <a:gd name="connsiteY91" fmla="*/ 881187 h 3837710"/>
                <a:gd name="connsiteX92" fmla="*/ 958221 w 1573156"/>
                <a:gd name="connsiteY92" fmla="*/ 832060 h 3837710"/>
                <a:gd name="connsiteX93" fmla="*/ 985931 w 1573156"/>
                <a:gd name="connsiteY93" fmla="*/ 803617 h 3837710"/>
                <a:gd name="connsiteX94" fmla="*/ 1010871 w 1573156"/>
                <a:gd name="connsiteY94" fmla="*/ 767417 h 3837710"/>
                <a:gd name="connsiteX95" fmla="*/ 1091231 w 1573156"/>
                <a:gd name="connsiteY95" fmla="*/ 762245 h 3837710"/>
                <a:gd name="connsiteX96" fmla="*/ 1096772 w 1573156"/>
                <a:gd name="connsiteY96" fmla="*/ 741560 h 3837710"/>
                <a:gd name="connsiteX97" fmla="*/ 1121712 w 1573156"/>
                <a:gd name="connsiteY97" fmla="*/ 705360 h 3837710"/>
                <a:gd name="connsiteX98" fmla="*/ 1155516 w 1573156"/>
                <a:gd name="connsiteY98" fmla="*/ 687772 h 3837710"/>
                <a:gd name="connsiteX99" fmla="*/ 1213156 w 1573156"/>
                <a:gd name="connsiteY99" fmla="*/ 700189 h 3837710"/>
                <a:gd name="connsiteX100" fmla="*/ 1251949 w 1573156"/>
                <a:gd name="connsiteY100" fmla="*/ 720875 h 3837710"/>
                <a:gd name="connsiteX101" fmla="*/ 1299057 w 1573156"/>
                <a:gd name="connsiteY101" fmla="*/ 728632 h 3837710"/>
                <a:gd name="connsiteX102" fmla="*/ 1299057 w 1573156"/>
                <a:gd name="connsiteY102" fmla="*/ 733803 h 3837710"/>
                <a:gd name="connsiteX103" fmla="*/ 1321226 w 1573156"/>
                <a:gd name="connsiteY103" fmla="*/ 674332 h 3837710"/>
                <a:gd name="connsiteX104" fmla="*/ 1331201 w 1573156"/>
                <a:gd name="connsiteY104" fmla="*/ 640714 h 3837710"/>
                <a:gd name="connsiteX105" fmla="*/ 1337852 w 1573156"/>
                <a:gd name="connsiteY105" fmla="*/ 622618 h 3837710"/>
                <a:gd name="connsiteX106" fmla="*/ 1340789 w 1573156"/>
                <a:gd name="connsiteY106" fmla="*/ 591288 h 3837710"/>
                <a:gd name="connsiteX107" fmla="*/ 1260263 w 1573156"/>
                <a:gd name="connsiteY107" fmla="*/ 545048 h 3837710"/>
                <a:gd name="connsiteX108" fmla="*/ 1246408 w 1573156"/>
                <a:gd name="connsiteY108" fmla="*/ 472648 h 3837710"/>
                <a:gd name="connsiteX109" fmla="*/ 1246408 w 1573156"/>
                <a:gd name="connsiteY109" fmla="*/ 454548 h 3837710"/>
                <a:gd name="connsiteX110" fmla="*/ 1257491 w 1573156"/>
                <a:gd name="connsiteY110" fmla="*/ 431276 h 3837710"/>
                <a:gd name="connsiteX111" fmla="*/ 1260263 w 1573156"/>
                <a:gd name="connsiteY111" fmla="*/ 415762 h 3837710"/>
                <a:gd name="connsiteX112" fmla="*/ 1260262 w 1573156"/>
                <a:gd name="connsiteY112" fmla="*/ 358878 h 3837710"/>
                <a:gd name="connsiteX113" fmla="*/ 1238094 w 1573156"/>
                <a:gd name="connsiteY113" fmla="*/ 335607 h 3837710"/>
                <a:gd name="connsiteX114" fmla="*/ 1210384 w 1573156"/>
                <a:gd name="connsiteY114" fmla="*/ 304578 h 3837710"/>
                <a:gd name="connsiteX115" fmla="*/ 1206216 w 1573156"/>
                <a:gd name="connsiteY115" fmla="*/ 280325 h 3837710"/>
                <a:gd name="connsiteX116" fmla="*/ 1257492 w 1573156"/>
                <a:gd name="connsiteY116" fmla="*/ 258034 h 3837710"/>
                <a:gd name="connsiteX117" fmla="*/ 1311072 w 1573156"/>
                <a:gd name="connsiteY117" fmla="*/ 267906 h 3837710"/>
                <a:gd name="connsiteX118" fmla="*/ 1389856 w 1573156"/>
                <a:gd name="connsiteY118" fmla="*/ 279816 h 3837710"/>
                <a:gd name="connsiteX119" fmla="*/ 1474179 w 1573156"/>
                <a:gd name="connsiteY119" fmla="*/ 349175 h 3837710"/>
                <a:gd name="connsiteX120" fmla="*/ 1536314 w 1573156"/>
                <a:gd name="connsiteY120" fmla="*/ 425271 h 3837710"/>
                <a:gd name="connsiteX121" fmla="*/ 1435343 w 1573156"/>
                <a:gd name="connsiteY121" fmla="*/ 454265 h 3837710"/>
                <a:gd name="connsiteX122" fmla="*/ 1419809 w 1573156"/>
                <a:gd name="connsiteY122" fmla="*/ 501372 h 3837710"/>
                <a:gd name="connsiteX123" fmla="*/ 1477479 w 1573156"/>
                <a:gd name="connsiteY123" fmla="*/ 585862 h 3837710"/>
                <a:gd name="connsiteX124" fmla="*/ 1513013 w 1573156"/>
                <a:gd name="connsiteY124" fmla="*/ 591964 h 3837710"/>
                <a:gd name="connsiteX125" fmla="*/ 1565633 w 1573156"/>
                <a:gd name="connsiteY125" fmla="*/ 598304 h 3837710"/>
                <a:gd name="connsiteX126" fmla="*/ 1560670 w 1573156"/>
                <a:gd name="connsiteY126" fmla="*/ 709079 h 3837710"/>
                <a:gd name="connsiteX127" fmla="*/ 1571739 w 1573156"/>
                <a:gd name="connsiteY127" fmla="*/ 1040047 h 3837710"/>
                <a:gd name="connsiteX128" fmla="*/ 1562871 w 1573156"/>
                <a:gd name="connsiteY128" fmla="*/ 1842646 h 3837710"/>
                <a:gd name="connsiteX129" fmla="*/ 1571738 w 1573156"/>
                <a:gd name="connsiteY129" fmla="*/ 2297728 h 3837710"/>
                <a:gd name="connsiteX130" fmla="*/ 1559146 w 1573156"/>
                <a:gd name="connsiteY130" fmla="*/ 3716291 h 3837710"/>
                <a:gd name="connsiteX131" fmla="*/ 1556603 w 1573156"/>
                <a:gd name="connsiteY131" fmla="*/ 3758050 h 3837710"/>
                <a:gd name="connsiteX132" fmla="*/ 1545518 w 1573156"/>
                <a:gd name="connsiteY132" fmla="*/ 3688238 h 3837710"/>
                <a:gd name="connsiteX133" fmla="*/ 1473471 w 1573156"/>
                <a:gd name="connsiteY133" fmla="*/ 3685650 h 3837710"/>
                <a:gd name="connsiteX134" fmla="*/ 1445761 w 1573156"/>
                <a:gd name="connsiteY134" fmla="*/ 3652040 h 3837710"/>
                <a:gd name="connsiteX135" fmla="*/ 1398654 w 1573156"/>
                <a:gd name="connsiteY135" fmla="*/ 3659796 h 3837710"/>
                <a:gd name="connsiteX136" fmla="*/ 1357089 w 1573156"/>
                <a:gd name="connsiteY136" fmla="*/ 3662380 h 3837710"/>
                <a:gd name="connsiteX137" fmla="*/ 1343234 w 1573156"/>
                <a:gd name="connsiteY137" fmla="*/ 3631352 h 3837710"/>
                <a:gd name="connsiteX138" fmla="*/ 1304439 w 1573156"/>
                <a:gd name="connsiteY138" fmla="*/ 3641695 h 3837710"/>
                <a:gd name="connsiteX139" fmla="*/ 1290584 w 1573156"/>
                <a:gd name="connsiteY139" fmla="*/ 3610666 h 3837710"/>
                <a:gd name="connsiteX140" fmla="*/ 1195420 w 1573156"/>
                <a:gd name="connsiteY140" fmla="*/ 3605469 h 3837710"/>
                <a:gd name="connsiteX141" fmla="*/ 1013482 w 1573156"/>
                <a:gd name="connsiteY141" fmla="*/ 3592567 h 3837710"/>
                <a:gd name="connsiteX142" fmla="*/ 1123928 w 1573156"/>
                <a:gd name="connsiteY142" fmla="*/ 3663387 h 3837710"/>
                <a:gd name="connsiteX143" fmla="*/ 907787 w 1573156"/>
                <a:gd name="connsiteY143" fmla="*/ 3629257 h 3837710"/>
                <a:gd name="connsiteX144" fmla="*/ 776238 w 1573156"/>
                <a:gd name="connsiteY144" fmla="*/ 3504783 h 3837710"/>
                <a:gd name="connsiteX145" fmla="*/ 708669 w 1573156"/>
                <a:gd name="connsiteY145" fmla="*/ 3437426 h 3837710"/>
                <a:gd name="connsiteX146" fmla="*/ 739150 w 1573156"/>
                <a:gd name="connsiteY146" fmla="*/ 3437426 h 3837710"/>
                <a:gd name="connsiteX147" fmla="*/ 750233 w 1573156"/>
                <a:gd name="connsiteY147" fmla="*/ 3408982 h 3837710"/>
                <a:gd name="connsiteX148" fmla="*/ 783486 w 1573156"/>
                <a:gd name="connsiteY148" fmla="*/ 3354683 h 3837710"/>
                <a:gd name="connsiteX149" fmla="*/ 747462 w 1573156"/>
                <a:gd name="connsiteY149" fmla="*/ 3297798 h 3837710"/>
                <a:gd name="connsiteX150" fmla="*/ 836135 w 1573156"/>
                <a:gd name="connsiteY150" fmla="*/ 3225398 h 3837710"/>
                <a:gd name="connsiteX151" fmla="*/ 902641 w 1573156"/>
                <a:gd name="connsiteY151" fmla="*/ 3217642 h 3837710"/>
                <a:gd name="connsiteX152" fmla="*/ 955289 w 1573156"/>
                <a:gd name="connsiteY152" fmla="*/ 3160756 h 3837710"/>
                <a:gd name="connsiteX153" fmla="*/ 1024565 w 1573156"/>
                <a:gd name="connsiteY153" fmla="*/ 3114213 h 3837710"/>
                <a:gd name="connsiteX154" fmla="*/ 1019023 w 1573156"/>
                <a:gd name="connsiteY154" fmla="*/ 3067671 h 3837710"/>
                <a:gd name="connsiteX155" fmla="*/ 1043963 w 1573156"/>
                <a:gd name="connsiteY155" fmla="*/ 3028886 h 3837710"/>
                <a:gd name="connsiteX156" fmla="*/ 1016252 w 1573156"/>
                <a:gd name="connsiteY156" fmla="*/ 3026300 h 3837710"/>
                <a:gd name="connsiteX157" fmla="*/ 1031704 w 1573156"/>
                <a:gd name="connsiteY157" fmla="*/ 2992878 h 3837710"/>
                <a:gd name="connsiteX158" fmla="*/ 914211 w 1573156"/>
                <a:gd name="connsiteY158" fmla="*/ 2928233 h 3837710"/>
                <a:gd name="connsiteX159" fmla="*/ 858304 w 1573156"/>
                <a:gd name="connsiteY159" fmla="*/ 2909943 h 3837710"/>
                <a:gd name="connsiteX160" fmla="*/ 827823 w 1573156"/>
                <a:gd name="connsiteY160" fmla="*/ 2881501 h 3837710"/>
                <a:gd name="connsiteX161" fmla="*/ 761317 w 1573156"/>
                <a:gd name="connsiteY161" fmla="*/ 2897015 h 3837710"/>
                <a:gd name="connsiteX162" fmla="*/ 700355 w 1573156"/>
                <a:gd name="connsiteY162" fmla="*/ 2891844 h 3837710"/>
                <a:gd name="connsiteX163" fmla="*/ 658790 w 1573156"/>
                <a:gd name="connsiteY163" fmla="*/ 2827201 h 3837710"/>
                <a:gd name="connsiteX164" fmla="*/ 656019 w 1573156"/>
                <a:gd name="connsiteY164" fmla="*/ 2785830 h 3837710"/>
                <a:gd name="connsiteX165" fmla="*/ 631080 w 1573156"/>
                <a:gd name="connsiteY165" fmla="*/ 2772902 h 3837710"/>
                <a:gd name="connsiteX166" fmla="*/ 567346 w 1573156"/>
                <a:gd name="connsiteY166" fmla="*/ 2759974 h 3837710"/>
                <a:gd name="connsiteX167" fmla="*/ 586743 w 1573156"/>
                <a:gd name="connsiteY167" fmla="*/ 2721188 h 3837710"/>
                <a:gd name="connsiteX168" fmla="*/ 557777 w 1573156"/>
                <a:gd name="connsiteY168" fmla="*/ 2715007 h 3837710"/>
                <a:gd name="connsiteX169" fmla="*/ 531809 w 1573156"/>
                <a:gd name="connsiteY169" fmla="*/ 2672771 h 3837710"/>
                <a:gd name="connsiteX170" fmla="*/ 414939 w 1573156"/>
                <a:gd name="connsiteY170" fmla="*/ 2682402 h 3837710"/>
                <a:gd name="connsiteX171" fmla="*/ 390000 w 1573156"/>
                <a:gd name="connsiteY171" fmla="*/ 2672059 h 3837710"/>
                <a:gd name="connsiteX172" fmla="*/ 367832 w 1573156"/>
                <a:gd name="connsiteY172" fmla="*/ 2684989 h 3837710"/>
                <a:gd name="connsiteX173" fmla="*/ 351205 w 1573156"/>
                <a:gd name="connsiteY173" fmla="*/ 2622932 h 3837710"/>
                <a:gd name="connsiteX174" fmla="*/ 340121 w 1573156"/>
                <a:gd name="connsiteY174" fmla="*/ 2597075 h 3837710"/>
                <a:gd name="connsiteX175" fmla="*/ 353976 w 1573156"/>
                <a:gd name="connsiteY175" fmla="*/ 2578974 h 3837710"/>
                <a:gd name="connsiteX176" fmla="*/ 381687 w 1573156"/>
                <a:gd name="connsiteY176" fmla="*/ 2581561 h 3837710"/>
                <a:gd name="connsiteX177" fmla="*/ 414939 w 1573156"/>
                <a:gd name="connsiteY177" fmla="*/ 2563461 h 3837710"/>
                <a:gd name="connsiteX178" fmla="*/ 412168 w 1573156"/>
                <a:gd name="connsiteY178" fmla="*/ 2537603 h 3837710"/>
                <a:gd name="connsiteX179" fmla="*/ 362289 w 1573156"/>
                <a:gd name="connsiteY179" fmla="*/ 2501404 h 3837710"/>
                <a:gd name="connsiteX180" fmla="*/ 338946 w 1573156"/>
                <a:gd name="connsiteY180" fmla="*/ 2513491 h 3837710"/>
                <a:gd name="connsiteX181" fmla="*/ 340121 w 1573156"/>
                <a:gd name="connsiteY181" fmla="*/ 2467790 h 3837710"/>
                <a:gd name="connsiteX182" fmla="*/ 306869 w 1573156"/>
                <a:gd name="connsiteY182" fmla="*/ 2429005 h 3837710"/>
                <a:gd name="connsiteX183" fmla="*/ 309641 w 1573156"/>
                <a:gd name="connsiteY183" fmla="*/ 2351433 h 3837710"/>
                <a:gd name="connsiteX184" fmla="*/ 290243 w 1573156"/>
                <a:gd name="connsiteY184" fmla="*/ 2299720 h 3837710"/>
                <a:gd name="connsiteX185" fmla="*/ 256991 w 1573156"/>
                <a:gd name="connsiteY185" fmla="*/ 2266106 h 3837710"/>
                <a:gd name="connsiteX186" fmla="*/ 218196 w 1573156"/>
                <a:gd name="connsiteY186" fmla="*/ 2242835 h 3837710"/>
                <a:gd name="connsiteX187" fmla="*/ 176631 w 1573156"/>
                <a:gd name="connsiteY187" fmla="*/ 2250592 h 3837710"/>
                <a:gd name="connsiteX188" fmla="*/ 122255 w 1573156"/>
                <a:gd name="connsiteY188" fmla="*/ 2214066 h 3837710"/>
                <a:gd name="connsiteX0" fmla="*/ 122255 w 1573156"/>
                <a:gd name="connsiteY0" fmla="*/ 2214066 h 3841229"/>
                <a:gd name="connsiteX1" fmla="*/ 63018 w 1573156"/>
                <a:gd name="connsiteY1" fmla="*/ 2216977 h 3841229"/>
                <a:gd name="connsiteX2" fmla="*/ 60248 w 1573156"/>
                <a:gd name="connsiteY2" fmla="*/ 2118721 h 3841229"/>
                <a:gd name="connsiteX3" fmla="*/ 71333 w 1573156"/>
                <a:gd name="connsiteY3" fmla="*/ 2077350 h 3841229"/>
                <a:gd name="connsiteX4" fmla="*/ 74102 w 1573156"/>
                <a:gd name="connsiteY4" fmla="*/ 2030807 h 3841229"/>
                <a:gd name="connsiteX5" fmla="*/ 76875 w 1573156"/>
                <a:gd name="connsiteY5" fmla="*/ 2020467 h 3841229"/>
                <a:gd name="connsiteX6" fmla="*/ 118439 w 1573156"/>
                <a:gd name="connsiteY6" fmla="*/ 1992023 h 3841229"/>
                <a:gd name="connsiteX7" fmla="*/ 82416 w 1573156"/>
                <a:gd name="connsiteY7" fmla="*/ 1963580 h 3841229"/>
                <a:gd name="connsiteX8" fmla="*/ 51935 w 1573156"/>
                <a:gd name="connsiteY8" fmla="*/ 1927380 h 3841229"/>
                <a:gd name="connsiteX9" fmla="*/ 40850 w 1573156"/>
                <a:gd name="connsiteY9" fmla="*/ 1893766 h 3841229"/>
                <a:gd name="connsiteX10" fmla="*/ 43621 w 1573156"/>
                <a:gd name="connsiteY10" fmla="*/ 1844639 h 3841229"/>
                <a:gd name="connsiteX11" fmla="*/ 82416 w 1573156"/>
                <a:gd name="connsiteY11" fmla="*/ 1826538 h 3841229"/>
                <a:gd name="connsiteX12" fmla="*/ 112899 w 1573156"/>
                <a:gd name="connsiteY12" fmla="*/ 1782581 h 3841229"/>
                <a:gd name="connsiteX13" fmla="*/ 96271 w 1573156"/>
                <a:gd name="connsiteY13" fmla="*/ 1754138 h 3841229"/>
                <a:gd name="connsiteX14" fmla="*/ 40851 w 1573156"/>
                <a:gd name="connsiteY14" fmla="*/ 1746381 h 3841229"/>
                <a:gd name="connsiteX15" fmla="*/ 2057 w 1573156"/>
                <a:gd name="connsiteY15" fmla="*/ 1730867 h 3841229"/>
                <a:gd name="connsiteX16" fmla="*/ 38079 w 1573156"/>
                <a:gd name="connsiteY16" fmla="*/ 1689496 h 3841229"/>
                <a:gd name="connsiteX17" fmla="*/ 18683 w 1573156"/>
                <a:gd name="connsiteY17" fmla="*/ 1679153 h 3841229"/>
                <a:gd name="connsiteX18" fmla="*/ 2055 w 1573156"/>
                <a:gd name="connsiteY18" fmla="*/ 1640367 h 3841229"/>
                <a:gd name="connsiteX19" fmla="*/ 65790 w 1573156"/>
                <a:gd name="connsiteY19" fmla="*/ 1650711 h 3841229"/>
                <a:gd name="connsiteX20" fmla="*/ 93501 w 1573156"/>
                <a:gd name="connsiteY20" fmla="*/ 1627440 h 3841229"/>
                <a:gd name="connsiteX21" fmla="*/ 187716 w 1573156"/>
                <a:gd name="connsiteY21" fmla="*/ 1536941 h 3841229"/>
                <a:gd name="connsiteX22" fmla="*/ 212655 w 1573156"/>
                <a:gd name="connsiteY22" fmla="*/ 1505912 h 3841229"/>
                <a:gd name="connsiteX23" fmla="*/ 198801 w 1573156"/>
                <a:gd name="connsiteY23" fmla="*/ 1555040 h 3841229"/>
                <a:gd name="connsiteX24" fmla="*/ 218197 w 1573156"/>
                <a:gd name="connsiteY24" fmla="*/ 1588655 h 3841229"/>
                <a:gd name="connsiteX25" fmla="*/ 262534 w 1573156"/>
                <a:gd name="connsiteY25" fmla="*/ 1666225 h 3841229"/>
                <a:gd name="connsiteX26" fmla="*/ 331810 w 1573156"/>
                <a:gd name="connsiteY26" fmla="*/ 1653297 h 3841229"/>
                <a:gd name="connsiteX27" fmla="*/ 351206 w 1573156"/>
                <a:gd name="connsiteY27" fmla="*/ 1622268 h 3841229"/>
                <a:gd name="connsiteX28" fmla="*/ 365062 w 1573156"/>
                <a:gd name="connsiteY28" fmla="*/ 1557627 h 3841229"/>
                <a:gd name="connsiteX29" fmla="*/ 304099 w 1573156"/>
                <a:gd name="connsiteY29" fmla="*/ 1511084 h 3841229"/>
                <a:gd name="connsiteX30" fmla="*/ 259763 w 1573156"/>
                <a:gd name="connsiteY30" fmla="*/ 1485227 h 3841229"/>
                <a:gd name="connsiteX31" fmla="*/ 198801 w 1573156"/>
                <a:gd name="connsiteY31" fmla="*/ 1495570 h 3841229"/>
                <a:gd name="connsiteX32" fmla="*/ 376147 w 1573156"/>
                <a:gd name="connsiteY32" fmla="*/ 1299057 h 3841229"/>
                <a:gd name="connsiteX33" fmla="*/ 223740 w 1573156"/>
                <a:gd name="connsiteY33" fmla="*/ 1151672 h 3841229"/>
                <a:gd name="connsiteX34" fmla="*/ 284703 w 1573156"/>
                <a:gd name="connsiteY34" fmla="*/ 1089617 h 3841229"/>
                <a:gd name="connsiteX35" fmla="*/ 218198 w 1573156"/>
                <a:gd name="connsiteY35" fmla="*/ 1050829 h 3841229"/>
                <a:gd name="connsiteX36" fmla="*/ 259763 w 1573156"/>
                <a:gd name="connsiteY36" fmla="*/ 1019802 h 3841229"/>
                <a:gd name="connsiteX37" fmla="*/ 212657 w 1573156"/>
                <a:gd name="connsiteY37" fmla="*/ 993947 h 3841229"/>
                <a:gd name="connsiteX38" fmla="*/ 212656 w 1573156"/>
                <a:gd name="connsiteY38" fmla="*/ 794845 h 3841229"/>
                <a:gd name="connsiteX39" fmla="*/ 251451 w 1573156"/>
                <a:gd name="connsiteY39" fmla="*/ 779332 h 3841229"/>
                <a:gd name="connsiteX40" fmla="*/ 137838 w 1573156"/>
                <a:gd name="connsiteY40" fmla="*/ 551792 h 3841229"/>
                <a:gd name="connsiteX41" fmla="*/ 135067 w 1573156"/>
                <a:gd name="connsiteY41" fmla="*/ 551792 h 3841229"/>
                <a:gd name="connsiteX42" fmla="*/ 184945 w 1573156"/>
                <a:gd name="connsiteY42" fmla="*/ 469048 h 3841229"/>
                <a:gd name="connsiteX43" fmla="*/ 201571 w 1573156"/>
                <a:gd name="connsiteY43" fmla="*/ 378550 h 3841229"/>
                <a:gd name="connsiteX44" fmla="*/ 126752 w 1573156"/>
                <a:gd name="connsiteY44" fmla="*/ 319079 h 3841229"/>
                <a:gd name="connsiteX45" fmla="*/ 118440 w 1573156"/>
                <a:gd name="connsiteY45" fmla="*/ 251851 h 3841229"/>
                <a:gd name="connsiteX46" fmla="*/ 173860 w 1573156"/>
                <a:gd name="connsiteY46" fmla="*/ 158764 h 3841229"/>
                <a:gd name="connsiteX47" fmla="*/ 193258 w 1573156"/>
                <a:gd name="connsiteY47" fmla="*/ 135494 h 3841229"/>
                <a:gd name="connsiteX48" fmla="*/ 207113 w 1573156"/>
                <a:gd name="connsiteY48" fmla="*/ 117394 h 3841229"/>
                <a:gd name="connsiteX49" fmla="*/ 215426 w 1573156"/>
                <a:gd name="connsiteY49" fmla="*/ 73438 h 3841229"/>
                <a:gd name="connsiteX50" fmla="*/ 240365 w 1573156"/>
                <a:gd name="connsiteY50" fmla="*/ 101880 h 3841229"/>
                <a:gd name="connsiteX51" fmla="*/ 270847 w 1573156"/>
                <a:gd name="connsiteY51" fmla="*/ 88952 h 3841229"/>
                <a:gd name="connsiteX52" fmla="*/ 273617 w 1573156"/>
                <a:gd name="connsiteY52" fmla="*/ 63095 h 3841229"/>
                <a:gd name="connsiteX53" fmla="*/ 281931 w 1573156"/>
                <a:gd name="connsiteY53" fmla="*/ 34652 h 3841229"/>
                <a:gd name="connsiteX54" fmla="*/ 284703 w 1573156"/>
                <a:gd name="connsiteY54" fmla="*/ 3624 h 3841229"/>
                <a:gd name="connsiteX55" fmla="*/ 420483 w 1573156"/>
                <a:gd name="connsiteY55" fmla="*/ 57924 h 3841229"/>
                <a:gd name="connsiteX56" fmla="*/ 450963 w 1573156"/>
                <a:gd name="connsiteY56" fmla="*/ 161352 h 3841229"/>
                <a:gd name="connsiteX57" fmla="*/ 464819 w 1573156"/>
                <a:gd name="connsiteY57" fmla="*/ 184622 h 3841229"/>
                <a:gd name="connsiteX58" fmla="*/ 475903 w 1573156"/>
                <a:gd name="connsiteY58" fmla="*/ 187208 h 3841229"/>
                <a:gd name="connsiteX59" fmla="*/ 589515 w 1573156"/>
                <a:gd name="connsiteY59" fmla="*/ 156181 h 3841229"/>
                <a:gd name="connsiteX60" fmla="*/ 656020 w 1573156"/>
                <a:gd name="connsiteY60" fmla="*/ 166522 h 3841229"/>
                <a:gd name="connsiteX61" fmla="*/ 719754 w 1573156"/>
                <a:gd name="connsiteY61" fmla="*/ 213065 h 3841229"/>
                <a:gd name="connsiteX62" fmla="*/ 733781 w 1573156"/>
                <a:gd name="connsiteY62" fmla="*/ 242621 h 3841229"/>
                <a:gd name="connsiteX63" fmla="*/ 789028 w 1573156"/>
                <a:gd name="connsiteY63" fmla="*/ 277708 h 3841229"/>
                <a:gd name="connsiteX64" fmla="*/ 877702 w 1573156"/>
                <a:gd name="connsiteY64" fmla="*/ 303563 h 3841229"/>
                <a:gd name="connsiteX65" fmla="*/ 949748 w 1573156"/>
                <a:gd name="connsiteY65" fmla="*/ 350106 h 3841229"/>
                <a:gd name="connsiteX66" fmla="*/ 999627 w 1573156"/>
                <a:gd name="connsiteY66" fmla="*/ 401820 h 3841229"/>
                <a:gd name="connsiteX67" fmla="*/ 1024566 w 1573156"/>
                <a:gd name="connsiteY67" fmla="*/ 440606 h 3841229"/>
                <a:gd name="connsiteX68" fmla="*/ 1057819 w 1573156"/>
                <a:gd name="connsiteY68" fmla="*/ 466462 h 3841229"/>
                <a:gd name="connsiteX69" fmla="*/ 1041191 w 1573156"/>
                <a:gd name="connsiteY69" fmla="*/ 691417 h 3841229"/>
                <a:gd name="connsiteX70" fmla="*/ 913725 w 1573156"/>
                <a:gd name="connsiteY70" fmla="*/ 771575 h 3841229"/>
                <a:gd name="connsiteX71" fmla="*/ 800113 w 1573156"/>
                <a:gd name="connsiteY71" fmla="*/ 779331 h 3841229"/>
                <a:gd name="connsiteX72" fmla="*/ 661560 w 1573156"/>
                <a:gd name="connsiteY72" fmla="*/ 758645 h 3841229"/>
                <a:gd name="connsiteX73" fmla="*/ 570116 w 1573156"/>
                <a:gd name="connsiteY73" fmla="*/ 722445 h 3841229"/>
                <a:gd name="connsiteX74" fmla="*/ 550719 w 1573156"/>
                <a:gd name="connsiteY74" fmla="*/ 750888 h 3841229"/>
                <a:gd name="connsiteX75" fmla="*/ 581361 w 1573156"/>
                <a:gd name="connsiteY75" fmla="*/ 824301 h 3841229"/>
                <a:gd name="connsiteX76" fmla="*/ 586902 w 1573156"/>
                <a:gd name="connsiteY76" fmla="*/ 951000 h 3841229"/>
                <a:gd name="connsiteX77" fmla="*/ 559032 w 1573156"/>
                <a:gd name="connsiteY77" fmla="*/ 1012043 h 3841229"/>
                <a:gd name="connsiteX78" fmla="*/ 614451 w 1573156"/>
                <a:gd name="connsiteY78" fmla="*/ 1032728 h 3841229"/>
                <a:gd name="connsiteX79" fmla="*/ 631079 w 1573156"/>
                <a:gd name="connsiteY79" fmla="*/ 1048242 h 3841229"/>
                <a:gd name="connsiteX80" fmla="*/ 656019 w 1573156"/>
                <a:gd name="connsiteY80" fmla="*/ 1074099 h 3841229"/>
                <a:gd name="connsiteX81" fmla="*/ 653248 w 1573156"/>
                <a:gd name="connsiteY81" fmla="*/ 1076685 h 3841229"/>
                <a:gd name="connsiteX82" fmla="*/ 692041 w 1573156"/>
                <a:gd name="connsiteY82" fmla="*/ 1071514 h 3841229"/>
                <a:gd name="connsiteX83" fmla="*/ 700355 w 1573156"/>
                <a:gd name="connsiteY83" fmla="*/ 1035314 h 3841229"/>
                <a:gd name="connsiteX84" fmla="*/ 661560 w 1573156"/>
                <a:gd name="connsiteY84" fmla="*/ 957743 h 3841229"/>
                <a:gd name="connsiteX85" fmla="*/ 730836 w 1573156"/>
                <a:gd name="connsiteY85" fmla="*/ 911200 h 3841229"/>
                <a:gd name="connsiteX86" fmla="*/ 798608 w 1573156"/>
                <a:gd name="connsiteY86" fmla="*/ 918934 h 3841229"/>
                <a:gd name="connsiteX87" fmla="*/ 822441 w 1573156"/>
                <a:gd name="connsiteY87" fmla="*/ 951001 h 3841229"/>
                <a:gd name="connsiteX88" fmla="*/ 978170 w 1573156"/>
                <a:gd name="connsiteY88" fmla="*/ 1007364 h 3841229"/>
                <a:gd name="connsiteX89" fmla="*/ 963762 w 1573156"/>
                <a:gd name="connsiteY89" fmla="*/ 971687 h 3841229"/>
                <a:gd name="connsiteX90" fmla="*/ 930510 w 1573156"/>
                <a:gd name="connsiteY90" fmla="*/ 932901 h 3841229"/>
                <a:gd name="connsiteX91" fmla="*/ 919426 w 1573156"/>
                <a:gd name="connsiteY91" fmla="*/ 881187 h 3841229"/>
                <a:gd name="connsiteX92" fmla="*/ 958221 w 1573156"/>
                <a:gd name="connsiteY92" fmla="*/ 832060 h 3841229"/>
                <a:gd name="connsiteX93" fmla="*/ 985931 w 1573156"/>
                <a:gd name="connsiteY93" fmla="*/ 803617 h 3841229"/>
                <a:gd name="connsiteX94" fmla="*/ 1010871 w 1573156"/>
                <a:gd name="connsiteY94" fmla="*/ 767417 h 3841229"/>
                <a:gd name="connsiteX95" fmla="*/ 1091231 w 1573156"/>
                <a:gd name="connsiteY95" fmla="*/ 762245 h 3841229"/>
                <a:gd name="connsiteX96" fmla="*/ 1096772 w 1573156"/>
                <a:gd name="connsiteY96" fmla="*/ 741560 h 3841229"/>
                <a:gd name="connsiteX97" fmla="*/ 1121712 w 1573156"/>
                <a:gd name="connsiteY97" fmla="*/ 705360 h 3841229"/>
                <a:gd name="connsiteX98" fmla="*/ 1155516 w 1573156"/>
                <a:gd name="connsiteY98" fmla="*/ 687772 h 3841229"/>
                <a:gd name="connsiteX99" fmla="*/ 1213156 w 1573156"/>
                <a:gd name="connsiteY99" fmla="*/ 700189 h 3841229"/>
                <a:gd name="connsiteX100" fmla="*/ 1251949 w 1573156"/>
                <a:gd name="connsiteY100" fmla="*/ 720875 h 3841229"/>
                <a:gd name="connsiteX101" fmla="*/ 1299057 w 1573156"/>
                <a:gd name="connsiteY101" fmla="*/ 728632 h 3841229"/>
                <a:gd name="connsiteX102" fmla="*/ 1299057 w 1573156"/>
                <a:gd name="connsiteY102" fmla="*/ 733803 h 3841229"/>
                <a:gd name="connsiteX103" fmla="*/ 1321226 w 1573156"/>
                <a:gd name="connsiteY103" fmla="*/ 674332 h 3841229"/>
                <a:gd name="connsiteX104" fmla="*/ 1331201 w 1573156"/>
                <a:gd name="connsiteY104" fmla="*/ 640714 h 3841229"/>
                <a:gd name="connsiteX105" fmla="*/ 1337852 w 1573156"/>
                <a:gd name="connsiteY105" fmla="*/ 622618 h 3841229"/>
                <a:gd name="connsiteX106" fmla="*/ 1340789 w 1573156"/>
                <a:gd name="connsiteY106" fmla="*/ 591288 h 3841229"/>
                <a:gd name="connsiteX107" fmla="*/ 1260263 w 1573156"/>
                <a:gd name="connsiteY107" fmla="*/ 545048 h 3841229"/>
                <a:gd name="connsiteX108" fmla="*/ 1246408 w 1573156"/>
                <a:gd name="connsiteY108" fmla="*/ 472648 h 3841229"/>
                <a:gd name="connsiteX109" fmla="*/ 1246408 w 1573156"/>
                <a:gd name="connsiteY109" fmla="*/ 454548 h 3841229"/>
                <a:gd name="connsiteX110" fmla="*/ 1257491 w 1573156"/>
                <a:gd name="connsiteY110" fmla="*/ 431276 h 3841229"/>
                <a:gd name="connsiteX111" fmla="*/ 1260263 w 1573156"/>
                <a:gd name="connsiteY111" fmla="*/ 415762 h 3841229"/>
                <a:gd name="connsiteX112" fmla="*/ 1260262 w 1573156"/>
                <a:gd name="connsiteY112" fmla="*/ 358878 h 3841229"/>
                <a:gd name="connsiteX113" fmla="*/ 1238094 w 1573156"/>
                <a:gd name="connsiteY113" fmla="*/ 335607 h 3841229"/>
                <a:gd name="connsiteX114" fmla="*/ 1210384 w 1573156"/>
                <a:gd name="connsiteY114" fmla="*/ 304578 h 3841229"/>
                <a:gd name="connsiteX115" fmla="*/ 1206216 w 1573156"/>
                <a:gd name="connsiteY115" fmla="*/ 280325 h 3841229"/>
                <a:gd name="connsiteX116" fmla="*/ 1257492 w 1573156"/>
                <a:gd name="connsiteY116" fmla="*/ 258034 h 3841229"/>
                <a:gd name="connsiteX117" fmla="*/ 1311072 w 1573156"/>
                <a:gd name="connsiteY117" fmla="*/ 267906 h 3841229"/>
                <a:gd name="connsiteX118" fmla="*/ 1389856 w 1573156"/>
                <a:gd name="connsiteY118" fmla="*/ 279816 h 3841229"/>
                <a:gd name="connsiteX119" fmla="*/ 1474179 w 1573156"/>
                <a:gd name="connsiteY119" fmla="*/ 349175 h 3841229"/>
                <a:gd name="connsiteX120" fmla="*/ 1536314 w 1573156"/>
                <a:gd name="connsiteY120" fmla="*/ 425271 h 3841229"/>
                <a:gd name="connsiteX121" fmla="*/ 1435343 w 1573156"/>
                <a:gd name="connsiteY121" fmla="*/ 454265 h 3841229"/>
                <a:gd name="connsiteX122" fmla="*/ 1419809 w 1573156"/>
                <a:gd name="connsiteY122" fmla="*/ 501372 h 3841229"/>
                <a:gd name="connsiteX123" fmla="*/ 1477479 w 1573156"/>
                <a:gd name="connsiteY123" fmla="*/ 585862 h 3841229"/>
                <a:gd name="connsiteX124" fmla="*/ 1513013 w 1573156"/>
                <a:gd name="connsiteY124" fmla="*/ 591964 h 3841229"/>
                <a:gd name="connsiteX125" fmla="*/ 1565633 w 1573156"/>
                <a:gd name="connsiteY125" fmla="*/ 598304 h 3841229"/>
                <a:gd name="connsiteX126" fmla="*/ 1560670 w 1573156"/>
                <a:gd name="connsiteY126" fmla="*/ 709079 h 3841229"/>
                <a:gd name="connsiteX127" fmla="*/ 1571739 w 1573156"/>
                <a:gd name="connsiteY127" fmla="*/ 1040047 h 3841229"/>
                <a:gd name="connsiteX128" fmla="*/ 1562871 w 1573156"/>
                <a:gd name="connsiteY128" fmla="*/ 1842646 h 3841229"/>
                <a:gd name="connsiteX129" fmla="*/ 1571738 w 1573156"/>
                <a:gd name="connsiteY129" fmla="*/ 2297728 h 3841229"/>
                <a:gd name="connsiteX130" fmla="*/ 1561917 w 1573156"/>
                <a:gd name="connsiteY130" fmla="*/ 3721463 h 3841229"/>
                <a:gd name="connsiteX131" fmla="*/ 1556603 w 1573156"/>
                <a:gd name="connsiteY131" fmla="*/ 3758050 h 3841229"/>
                <a:gd name="connsiteX132" fmla="*/ 1545518 w 1573156"/>
                <a:gd name="connsiteY132" fmla="*/ 3688238 h 3841229"/>
                <a:gd name="connsiteX133" fmla="*/ 1473471 w 1573156"/>
                <a:gd name="connsiteY133" fmla="*/ 3685650 h 3841229"/>
                <a:gd name="connsiteX134" fmla="*/ 1445761 w 1573156"/>
                <a:gd name="connsiteY134" fmla="*/ 3652040 h 3841229"/>
                <a:gd name="connsiteX135" fmla="*/ 1398654 w 1573156"/>
                <a:gd name="connsiteY135" fmla="*/ 3659796 h 3841229"/>
                <a:gd name="connsiteX136" fmla="*/ 1357089 w 1573156"/>
                <a:gd name="connsiteY136" fmla="*/ 3662380 h 3841229"/>
                <a:gd name="connsiteX137" fmla="*/ 1343234 w 1573156"/>
                <a:gd name="connsiteY137" fmla="*/ 3631352 h 3841229"/>
                <a:gd name="connsiteX138" fmla="*/ 1304439 w 1573156"/>
                <a:gd name="connsiteY138" fmla="*/ 3641695 h 3841229"/>
                <a:gd name="connsiteX139" fmla="*/ 1290584 w 1573156"/>
                <a:gd name="connsiteY139" fmla="*/ 3610666 h 3841229"/>
                <a:gd name="connsiteX140" fmla="*/ 1195420 w 1573156"/>
                <a:gd name="connsiteY140" fmla="*/ 3605469 h 3841229"/>
                <a:gd name="connsiteX141" fmla="*/ 1013482 w 1573156"/>
                <a:gd name="connsiteY141" fmla="*/ 3592567 h 3841229"/>
                <a:gd name="connsiteX142" fmla="*/ 1123928 w 1573156"/>
                <a:gd name="connsiteY142" fmla="*/ 3663387 h 3841229"/>
                <a:gd name="connsiteX143" fmla="*/ 907787 w 1573156"/>
                <a:gd name="connsiteY143" fmla="*/ 3629257 h 3841229"/>
                <a:gd name="connsiteX144" fmla="*/ 776238 w 1573156"/>
                <a:gd name="connsiteY144" fmla="*/ 3504783 h 3841229"/>
                <a:gd name="connsiteX145" fmla="*/ 708669 w 1573156"/>
                <a:gd name="connsiteY145" fmla="*/ 3437426 h 3841229"/>
                <a:gd name="connsiteX146" fmla="*/ 739150 w 1573156"/>
                <a:gd name="connsiteY146" fmla="*/ 3437426 h 3841229"/>
                <a:gd name="connsiteX147" fmla="*/ 750233 w 1573156"/>
                <a:gd name="connsiteY147" fmla="*/ 3408982 h 3841229"/>
                <a:gd name="connsiteX148" fmla="*/ 783486 w 1573156"/>
                <a:gd name="connsiteY148" fmla="*/ 3354683 h 3841229"/>
                <a:gd name="connsiteX149" fmla="*/ 747462 w 1573156"/>
                <a:gd name="connsiteY149" fmla="*/ 3297798 h 3841229"/>
                <a:gd name="connsiteX150" fmla="*/ 836135 w 1573156"/>
                <a:gd name="connsiteY150" fmla="*/ 3225398 h 3841229"/>
                <a:gd name="connsiteX151" fmla="*/ 902641 w 1573156"/>
                <a:gd name="connsiteY151" fmla="*/ 3217642 h 3841229"/>
                <a:gd name="connsiteX152" fmla="*/ 955289 w 1573156"/>
                <a:gd name="connsiteY152" fmla="*/ 3160756 h 3841229"/>
                <a:gd name="connsiteX153" fmla="*/ 1024565 w 1573156"/>
                <a:gd name="connsiteY153" fmla="*/ 3114213 h 3841229"/>
                <a:gd name="connsiteX154" fmla="*/ 1019023 w 1573156"/>
                <a:gd name="connsiteY154" fmla="*/ 3067671 h 3841229"/>
                <a:gd name="connsiteX155" fmla="*/ 1043963 w 1573156"/>
                <a:gd name="connsiteY155" fmla="*/ 3028886 h 3841229"/>
                <a:gd name="connsiteX156" fmla="*/ 1016252 w 1573156"/>
                <a:gd name="connsiteY156" fmla="*/ 3026300 h 3841229"/>
                <a:gd name="connsiteX157" fmla="*/ 1031704 w 1573156"/>
                <a:gd name="connsiteY157" fmla="*/ 2992878 h 3841229"/>
                <a:gd name="connsiteX158" fmla="*/ 914211 w 1573156"/>
                <a:gd name="connsiteY158" fmla="*/ 2928233 h 3841229"/>
                <a:gd name="connsiteX159" fmla="*/ 858304 w 1573156"/>
                <a:gd name="connsiteY159" fmla="*/ 2909943 h 3841229"/>
                <a:gd name="connsiteX160" fmla="*/ 827823 w 1573156"/>
                <a:gd name="connsiteY160" fmla="*/ 2881501 h 3841229"/>
                <a:gd name="connsiteX161" fmla="*/ 761317 w 1573156"/>
                <a:gd name="connsiteY161" fmla="*/ 2897015 h 3841229"/>
                <a:gd name="connsiteX162" fmla="*/ 700355 w 1573156"/>
                <a:gd name="connsiteY162" fmla="*/ 2891844 h 3841229"/>
                <a:gd name="connsiteX163" fmla="*/ 658790 w 1573156"/>
                <a:gd name="connsiteY163" fmla="*/ 2827201 h 3841229"/>
                <a:gd name="connsiteX164" fmla="*/ 656019 w 1573156"/>
                <a:gd name="connsiteY164" fmla="*/ 2785830 h 3841229"/>
                <a:gd name="connsiteX165" fmla="*/ 631080 w 1573156"/>
                <a:gd name="connsiteY165" fmla="*/ 2772902 h 3841229"/>
                <a:gd name="connsiteX166" fmla="*/ 567346 w 1573156"/>
                <a:gd name="connsiteY166" fmla="*/ 2759974 h 3841229"/>
                <a:gd name="connsiteX167" fmla="*/ 586743 w 1573156"/>
                <a:gd name="connsiteY167" fmla="*/ 2721188 h 3841229"/>
                <a:gd name="connsiteX168" fmla="*/ 557777 w 1573156"/>
                <a:gd name="connsiteY168" fmla="*/ 2715007 h 3841229"/>
                <a:gd name="connsiteX169" fmla="*/ 531809 w 1573156"/>
                <a:gd name="connsiteY169" fmla="*/ 2672771 h 3841229"/>
                <a:gd name="connsiteX170" fmla="*/ 414939 w 1573156"/>
                <a:gd name="connsiteY170" fmla="*/ 2682402 h 3841229"/>
                <a:gd name="connsiteX171" fmla="*/ 390000 w 1573156"/>
                <a:gd name="connsiteY171" fmla="*/ 2672059 h 3841229"/>
                <a:gd name="connsiteX172" fmla="*/ 367832 w 1573156"/>
                <a:gd name="connsiteY172" fmla="*/ 2684989 h 3841229"/>
                <a:gd name="connsiteX173" fmla="*/ 351205 w 1573156"/>
                <a:gd name="connsiteY173" fmla="*/ 2622932 h 3841229"/>
                <a:gd name="connsiteX174" fmla="*/ 340121 w 1573156"/>
                <a:gd name="connsiteY174" fmla="*/ 2597075 h 3841229"/>
                <a:gd name="connsiteX175" fmla="*/ 353976 w 1573156"/>
                <a:gd name="connsiteY175" fmla="*/ 2578974 h 3841229"/>
                <a:gd name="connsiteX176" fmla="*/ 381687 w 1573156"/>
                <a:gd name="connsiteY176" fmla="*/ 2581561 h 3841229"/>
                <a:gd name="connsiteX177" fmla="*/ 414939 w 1573156"/>
                <a:gd name="connsiteY177" fmla="*/ 2563461 h 3841229"/>
                <a:gd name="connsiteX178" fmla="*/ 412168 w 1573156"/>
                <a:gd name="connsiteY178" fmla="*/ 2537603 h 3841229"/>
                <a:gd name="connsiteX179" fmla="*/ 362289 w 1573156"/>
                <a:gd name="connsiteY179" fmla="*/ 2501404 h 3841229"/>
                <a:gd name="connsiteX180" fmla="*/ 338946 w 1573156"/>
                <a:gd name="connsiteY180" fmla="*/ 2513491 h 3841229"/>
                <a:gd name="connsiteX181" fmla="*/ 340121 w 1573156"/>
                <a:gd name="connsiteY181" fmla="*/ 2467790 h 3841229"/>
                <a:gd name="connsiteX182" fmla="*/ 306869 w 1573156"/>
                <a:gd name="connsiteY182" fmla="*/ 2429005 h 3841229"/>
                <a:gd name="connsiteX183" fmla="*/ 309641 w 1573156"/>
                <a:gd name="connsiteY183" fmla="*/ 2351433 h 3841229"/>
                <a:gd name="connsiteX184" fmla="*/ 290243 w 1573156"/>
                <a:gd name="connsiteY184" fmla="*/ 2299720 h 3841229"/>
                <a:gd name="connsiteX185" fmla="*/ 256991 w 1573156"/>
                <a:gd name="connsiteY185" fmla="*/ 2266106 h 3841229"/>
                <a:gd name="connsiteX186" fmla="*/ 218196 w 1573156"/>
                <a:gd name="connsiteY186" fmla="*/ 2242835 h 3841229"/>
                <a:gd name="connsiteX187" fmla="*/ 176631 w 1573156"/>
                <a:gd name="connsiteY187" fmla="*/ 2250592 h 3841229"/>
                <a:gd name="connsiteX188" fmla="*/ 122255 w 1573156"/>
                <a:gd name="connsiteY188" fmla="*/ 2214066 h 3841229"/>
                <a:gd name="connsiteX0" fmla="*/ 122255 w 1573156"/>
                <a:gd name="connsiteY0" fmla="*/ 2214066 h 3841229"/>
                <a:gd name="connsiteX1" fmla="*/ 63018 w 1573156"/>
                <a:gd name="connsiteY1" fmla="*/ 2216977 h 3841229"/>
                <a:gd name="connsiteX2" fmla="*/ 60248 w 1573156"/>
                <a:gd name="connsiteY2" fmla="*/ 2118721 h 3841229"/>
                <a:gd name="connsiteX3" fmla="*/ 71333 w 1573156"/>
                <a:gd name="connsiteY3" fmla="*/ 2077350 h 3841229"/>
                <a:gd name="connsiteX4" fmla="*/ 74102 w 1573156"/>
                <a:gd name="connsiteY4" fmla="*/ 2030807 h 3841229"/>
                <a:gd name="connsiteX5" fmla="*/ 76875 w 1573156"/>
                <a:gd name="connsiteY5" fmla="*/ 2020467 h 3841229"/>
                <a:gd name="connsiteX6" fmla="*/ 118439 w 1573156"/>
                <a:gd name="connsiteY6" fmla="*/ 1992023 h 3841229"/>
                <a:gd name="connsiteX7" fmla="*/ 82416 w 1573156"/>
                <a:gd name="connsiteY7" fmla="*/ 1963580 h 3841229"/>
                <a:gd name="connsiteX8" fmla="*/ 51935 w 1573156"/>
                <a:gd name="connsiteY8" fmla="*/ 1927380 h 3841229"/>
                <a:gd name="connsiteX9" fmla="*/ 40850 w 1573156"/>
                <a:gd name="connsiteY9" fmla="*/ 1893766 h 3841229"/>
                <a:gd name="connsiteX10" fmla="*/ 43621 w 1573156"/>
                <a:gd name="connsiteY10" fmla="*/ 1844639 h 3841229"/>
                <a:gd name="connsiteX11" fmla="*/ 82416 w 1573156"/>
                <a:gd name="connsiteY11" fmla="*/ 1826538 h 3841229"/>
                <a:gd name="connsiteX12" fmla="*/ 112899 w 1573156"/>
                <a:gd name="connsiteY12" fmla="*/ 1782581 h 3841229"/>
                <a:gd name="connsiteX13" fmla="*/ 96271 w 1573156"/>
                <a:gd name="connsiteY13" fmla="*/ 1754138 h 3841229"/>
                <a:gd name="connsiteX14" fmla="*/ 40851 w 1573156"/>
                <a:gd name="connsiteY14" fmla="*/ 1746381 h 3841229"/>
                <a:gd name="connsiteX15" fmla="*/ 2057 w 1573156"/>
                <a:gd name="connsiteY15" fmla="*/ 1730867 h 3841229"/>
                <a:gd name="connsiteX16" fmla="*/ 38079 w 1573156"/>
                <a:gd name="connsiteY16" fmla="*/ 1689496 h 3841229"/>
                <a:gd name="connsiteX17" fmla="*/ 18683 w 1573156"/>
                <a:gd name="connsiteY17" fmla="*/ 1679153 h 3841229"/>
                <a:gd name="connsiteX18" fmla="*/ 2055 w 1573156"/>
                <a:gd name="connsiteY18" fmla="*/ 1640367 h 3841229"/>
                <a:gd name="connsiteX19" fmla="*/ 65790 w 1573156"/>
                <a:gd name="connsiteY19" fmla="*/ 1650711 h 3841229"/>
                <a:gd name="connsiteX20" fmla="*/ 93501 w 1573156"/>
                <a:gd name="connsiteY20" fmla="*/ 1627440 h 3841229"/>
                <a:gd name="connsiteX21" fmla="*/ 187716 w 1573156"/>
                <a:gd name="connsiteY21" fmla="*/ 1536941 h 3841229"/>
                <a:gd name="connsiteX22" fmla="*/ 212655 w 1573156"/>
                <a:gd name="connsiteY22" fmla="*/ 1505912 h 3841229"/>
                <a:gd name="connsiteX23" fmla="*/ 198801 w 1573156"/>
                <a:gd name="connsiteY23" fmla="*/ 1555040 h 3841229"/>
                <a:gd name="connsiteX24" fmla="*/ 218197 w 1573156"/>
                <a:gd name="connsiteY24" fmla="*/ 1588655 h 3841229"/>
                <a:gd name="connsiteX25" fmla="*/ 262534 w 1573156"/>
                <a:gd name="connsiteY25" fmla="*/ 1666225 h 3841229"/>
                <a:gd name="connsiteX26" fmla="*/ 331810 w 1573156"/>
                <a:gd name="connsiteY26" fmla="*/ 1653297 h 3841229"/>
                <a:gd name="connsiteX27" fmla="*/ 351206 w 1573156"/>
                <a:gd name="connsiteY27" fmla="*/ 1622268 h 3841229"/>
                <a:gd name="connsiteX28" fmla="*/ 365062 w 1573156"/>
                <a:gd name="connsiteY28" fmla="*/ 1557627 h 3841229"/>
                <a:gd name="connsiteX29" fmla="*/ 304099 w 1573156"/>
                <a:gd name="connsiteY29" fmla="*/ 1511084 h 3841229"/>
                <a:gd name="connsiteX30" fmla="*/ 259763 w 1573156"/>
                <a:gd name="connsiteY30" fmla="*/ 1485227 h 3841229"/>
                <a:gd name="connsiteX31" fmla="*/ 198801 w 1573156"/>
                <a:gd name="connsiteY31" fmla="*/ 1495570 h 3841229"/>
                <a:gd name="connsiteX32" fmla="*/ 376147 w 1573156"/>
                <a:gd name="connsiteY32" fmla="*/ 1299057 h 3841229"/>
                <a:gd name="connsiteX33" fmla="*/ 223740 w 1573156"/>
                <a:gd name="connsiteY33" fmla="*/ 1151672 h 3841229"/>
                <a:gd name="connsiteX34" fmla="*/ 284703 w 1573156"/>
                <a:gd name="connsiteY34" fmla="*/ 1089617 h 3841229"/>
                <a:gd name="connsiteX35" fmla="*/ 218198 w 1573156"/>
                <a:gd name="connsiteY35" fmla="*/ 1050829 h 3841229"/>
                <a:gd name="connsiteX36" fmla="*/ 259763 w 1573156"/>
                <a:gd name="connsiteY36" fmla="*/ 1019802 h 3841229"/>
                <a:gd name="connsiteX37" fmla="*/ 212657 w 1573156"/>
                <a:gd name="connsiteY37" fmla="*/ 993947 h 3841229"/>
                <a:gd name="connsiteX38" fmla="*/ 212656 w 1573156"/>
                <a:gd name="connsiteY38" fmla="*/ 794845 h 3841229"/>
                <a:gd name="connsiteX39" fmla="*/ 251451 w 1573156"/>
                <a:gd name="connsiteY39" fmla="*/ 779332 h 3841229"/>
                <a:gd name="connsiteX40" fmla="*/ 137838 w 1573156"/>
                <a:gd name="connsiteY40" fmla="*/ 551792 h 3841229"/>
                <a:gd name="connsiteX41" fmla="*/ 135067 w 1573156"/>
                <a:gd name="connsiteY41" fmla="*/ 551792 h 3841229"/>
                <a:gd name="connsiteX42" fmla="*/ 184945 w 1573156"/>
                <a:gd name="connsiteY42" fmla="*/ 469048 h 3841229"/>
                <a:gd name="connsiteX43" fmla="*/ 201571 w 1573156"/>
                <a:gd name="connsiteY43" fmla="*/ 378550 h 3841229"/>
                <a:gd name="connsiteX44" fmla="*/ 126752 w 1573156"/>
                <a:gd name="connsiteY44" fmla="*/ 319079 h 3841229"/>
                <a:gd name="connsiteX45" fmla="*/ 118440 w 1573156"/>
                <a:gd name="connsiteY45" fmla="*/ 251851 h 3841229"/>
                <a:gd name="connsiteX46" fmla="*/ 173860 w 1573156"/>
                <a:gd name="connsiteY46" fmla="*/ 158764 h 3841229"/>
                <a:gd name="connsiteX47" fmla="*/ 193258 w 1573156"/>
                <a:gd name="connsiteY47" fmla="*/ 135494 h 3841229"/>
                <a:gd name="connsiteX48" fmla="*/ 207113 w 1573156"/>
                <a:gd name="connsiteY48" fmla="*/ 117394 h 3841229"/>
                <a:gd name="connsiteX49" fmla="*/ 215426 w 1573156"/>
                <a:gd name="connsiteY49" fmla="*/ 73438 h 3841229"/>
                <a:gd name="connsiteX50" fmla="*/ 240365 w 1573156"/>
                <a:gd name="connsiteY50" fmla="*/ 101880 h 3841229"/>
                <a:gd name="connsiteX51" fmla="*/ 270847 w 1573156"/>
                <a:gd name="connsiteY51" fmla="*/ 88952 h 3841229"/>
                <a:gd name="connsiteX52" fmla="*/ 273617 w 1573156"/>
                <a:gd name="connsiteY52" fmla="*/ 63095 h 3841229"/>
                <a:gd name="connsiteX53" fmla="*/ 281931 w 1573156"/>
                <a:gd name="connsiteY53" fmla="*/ 34652 h 3841229"/>
                <a:gd name="connsiteX54" fmla="*/ 284703 w 1573156"/>
                <a:gd name="connsiteY54" fmla="*/ 3624 h 3841229"/>
                <a:gd name="connsiteX55" fmla="*/ 420483 w 1573156"/>
                <a:gd name="connsiteY55" fmla="*/ 57924 h 3841229"/>
                <a:gd name="connsiteX56" fmla="*/ 450963 w 1573156"/>
                <a:gd name="connsiteY56" fmla="*/ 161352 h 3841229"/>
                <a:gd name="connsiteX57" fmla="*/ 464819 w 1573156"/>
                <a:gd name="connsiteY57" fmla="*/ 184622 h 3841229"/>
                <a:gd name="connsiteX58" fmla="*/ 475903 w 1573156"/>
                <a:gd name="connsiteY58" fmla="*/ 187208 h 3841229"/>
                <a:gd name="connsiteX59" fmla="*/ 589515 w 1573156"/>
                <a:gd name="connsiteY59" fmla="*/ 156181 h 3841229"/>
                <a:gd name="connsiteX60" fmla="*/ 656020 w 1573156"/>
                <a:gd name="connsiteY60" fmla="*/ 166522 h 3841229"/>
                <a:gd name="connsiteX61" fmla="*/ 719754 w 1573156"/>
                <a:gd name="connsiteY61" fmla="*/ 213065 h 3841229"/>
                <a:gd name="connsiteX62" fmla="*/ 733781 w 1573156"/>
                <a:gd name="connsiteY62" fmla="*/ 242621 h 3841229"/>
                <a:gd name="connsiteX63" fmla="*/ 789028 w 1573156"/>
                <a:gd name="connsiteY63" fmla="*/ 277708 h 3841229"/>
                <a:gd name="connsiteX64" fmla="*/ 877702 w 1573156"/>
                <a:gd name="connsiteY64" fmla="*/ 303563 h 3841229"/>
                <a:gd name="connsiteX65" fmla="*/ 949748 w 1573156"/>
                <a:gd name="connsiteY65" fmla="*/ 350106 h 3841229"/>
                <a:gd name="connsiteX66" fmla="*/ 999627 w 1573156"/>
                <a:gd name="connsiteY66" fmla="*/ 401820 h 3841229"/>
                <a:gd name="connsiteX67" fmla="*/ 1024566 w 1573156"/>
                <a:gd name="connsiteY67" fmla="*/ 440606 h 3841229"/>
                <a:gd name="connsiteX68" fmla="*/ 1057819 w 1573156"/>
                <a:gd name="connsiteY68" fmla="*/ 466462 h 3841229"/>
                <a:gd name="connsiteX69" fmla="*/ 1041191 w 1573156"/>
                <a:gd name="connsiteY69" fmla="*/ 691417 h 3841229"/>
                <a:gd name="connsiteX70" fmla="*/ 913725 w 1573156"/>
                <a:gd name="connsiteY70" fmla="*/ 771575 h 3841229"/>
                <a:gd name="connsiteX71" fmla="*/ 800113 w 1573156"/>
                <a:gd name="connsiteY71" fmla="*/ 779331 h 3841229"/>
                <a:gd name="connsiteX72" fmla="*/ 661560 w 1573156"/>
                <a:gd name="connsiteY72" fmla="*/ 758645 h 3841229"/>
                <a:gd name="connsiteX73" fmla="*/ 570116 w 1573156"/>
                <a:gd name="connsiteY73" fmla="*/ 722445 h 3841229"/>
                <a:gd name="connsiteX74" fmla="*/ 550719 w 1573156"/>
                <a:gd name="connsiteY74" fmla="*/ 750888 h 3841229"/>
                <a:gd name="connsiteX75" fmla="*/ 581361 w 1573156"/>
                <a:gd name="connsiteY75" fmla="*/ 824301 h 3841229"/>
                <a:gd name="connsiteX76" fmla="*/ 586902 w 1573156"/>
                <a:gd name="connsiteY76" fmla="*/ 951000 h 3841229"/>
                <a:gd name="connsiteX77" fmla="*/ 559032 w 1573156"/>
                <a:gd name="connsiteY77" fmla="*/ 1012043 h 3841229"/>
                <a:gd name="connsiteX78" fmla="*/ 614451 w 1573156"/>
                <a:gd name="connsiteY78" fmla="*/ 1032728 h 3841229"/>
                <a:gd name="connsiteX79" fmla="*/ 631079 w 1573156"/>
                <a:gd name="connsiteY79" fmla="*/ 1048242 h 3841229"/>
                <a:gd name="connsiteX80" fmla="*/ 656019 w 1573156"/>
                <a:gd name="connsiteY80" fmla="*/ 1074099 h 3841229"/>
                <a:gd name="connsiteX81" fmla="*/ 653248 w 1573156"/>
                <a:gd name="connsiteY81" fmla="*/ 1076685 h 3841229"/>
                <a:gd name="connsiteX82" fmla="*/ 692041 w 1573156"/>
                <a:gd name="connsiteY82" fmla="*/ 1071514 h 3841229"/>
                <a:gd name="connsiteX83" fmla="*/ 700355 w 1573156"/>
                <a:gd name="connsiteY83" fmla="*/ 1035314 h 3841229"/>
                <a:gd name="connsiteX84" fmla="*/ 661560 w 1573156"/>
                <a:gd name="connsiteY84" fmla="*/ 957743 h 3841229"/>
                <a:gd name="connsiteX85" fmla="*/ 730836 w 1573156"/>
                <a:gd name="connsiteY85" fmla="*/ 911200 h 3841229"/>
                <a:gd name="connsiteX86" fmla="*/ 798608 w 1573156"/>
                <a:gd name="connsiteY86" fmla="*/ 918934 h 3841229"/>
                <a:gd name="connsiteX87" fmla="*/ 822441 w 1573156"/>
                <a:gd name="connsiteY87" fmla="*/ 951001 h 3841229"/>
                <a:gd name="connsiteX88" fmla="*/ 978170 w 1573156"/>
                <a:gd name="connsiteY88" fmla="*/ 1007364 h 3841229"/>
                <a:gd name="connsiteX89" fmla="*/ 963762 w 1573156"/>
                <a:gd name="connsiteY89" fmla="*/ 971687 h 3841229"/>
                <a:gd name="connsiteX90" fmla="*/ 930510 w 1573156"/>
                <a:gd name="connsiteY90" fmla="*/ 932901 h 3841229"/>
                <a:gd name="connsiteX91" fmla="*/ 919426 w 1573156"/>
                <a:gd name="connsiteY91" fmla="*/ 881187 h 3841229"/>
                <a:gd name="connsiteX92" fmla="*/ 958221 w 1573156"/>
                <a:gd name="connsiteY92" fmla="*/ 832060 h 3841229"/>
                <a:gd name="connsiteX93" fmla="*/ 985931 w 1573156"/>
                <a:gd name="connsiteY93" fmla="*/ 803617 h 3841229"/>
                <a:gd name="connsiteX94" fmla="*/ 1010871 w 1573156"/>
                <a:gd name="connsiteY94" fmla="*/ 767417 h 3841229"/>
                <a:gd name="connsiteX95" fmla="*/ 1091231 w 1573156"/>
                <a:gd name="connsiteY95" fmla="*/ 762245 h 3841229"/>
                <a:gd name="connsiteX96" fmla="*/ 1096772 w 1573156"/>
                <a:gd name="connsiteY96" fmla="*/ 741560 h 3841229"/>
                <a:gd name="connsiteX97" fmla="*/ 1121712 w 1573156"/>
                <a:gd name="connsiteY97" fmla="*/ 705360 h 3841229"/>
                <a:gd name="connsiteX98" fmla="*/ 1155516 w 1573156"/>
                <a:gd name="connsiteY98" fmla="*/ 687772 h 3841229"/>
                <a:gd name="connsiteX99" fmla="*/ 1213156 w 1573156"/>
                <a:gd name="connsiteY99" fmla="*/ 700189 h 3841229"/>
                <a:gd name="connsiteX100" fmla="*/ 1251949 w 1573156"/>
                <a:gd name="connsiteY100" fmla="*/ 720875 h 3841229"/>
                <a:gd name="connsiteX101" fmla="*/ 1299057 w 1573156"/>
                <a:gd name="connsiteY101" fmla="*/ 728632 h 3841229"/>
                <a:gd name="connsiteX102" fmla="*/ 1299057 w 1573156"/>
                <a:gd name="connsiteY102" fmla="*/ 733803 h 3841229"/>
                <a:gd name="connsiteX103" fmla="*/ 1321226 w 1573156"/>
                <a:gd name="connsiteY103" fmla="*/ 674332 h 3841229"/>
                <a:gd name="connsiteX104" fmla="*/ 1331201 w 1573156"/>
                <a:gd name="connsiteY104" fmla="*/ 640714 h 3841229"/>
                <a:gd name="connsiteX105" fmla="*/ 1337852 w 1573156"/>
                <a:gd name="connsiteY105" fmla="*/ 622618 h 3841229"/>
                <a:gd name="connsiteX106" fmla="*/ 1340789 w 1573156"/>
                <a:gd name="connsiteY106" fmla="*/ 591288 h 3841229"/>
                <a:gd name="connsiteX107" fmla="*/ 1260263 w 1573156"/>
                <a:gd name="connsiteY107" fmla="*/ 545048 h 3841229"/>
                <a:gd name="connsiteX108" fmla="*/ 1246408 w 1573156"/>
                <a:gd name="connsiteY108" fmla="*/ 472648 h 3841229"/>
                <a:gd name="connsiteX109" fmla="*/ 1246408 w 1573156"/>
                <a:gd name="connsiteY109" fmla="*/ 454548 h 3841229"/>
                <a:gd name="connsiteX110" fmla="*/ 1257491 w 1573156"/>
                <a:gd name="connsiteY110" fmla="*/ 431276 h 3841229"/>
                <a:gd name="connsiteX111" fmla="*/ 1260263 w 1573156"/>
                <a:gd name="connsiteY111" fmla="*/ 415762 h 3841229"/>
                <a:gd name="connsiteX112" fmla="*/ 1260262 w 1573156"/>
                <a:gd name="connsiteY112" fmla="*/ 358878 h 3841229"/>
                <a:gd name="connsiteX113" fmla="*/ 1238094 w 1573156"/>
                <a:gd name="connsiteY113" fmla="*/ 335607 h 3841229"/>
                <a:gd name="connsiteX114" fmla="*/ 1210384 w 1573156"/>
                <a:gd name="connsiteY114" fmla="*/ 304578 h 3841229"/>
                <a:gd name="connsiteX115" fmla="*/ 1206216 w 1573156"/>
                <a:gd name="connsiteY115" fmla="*/ 280325 h 3841229"/>
                <a:gd name="connsiteX116" fmla="*/ 1257492 w 1573156"/>
                <a:gd name="connsiteY116" fmla="*/ 258034 h 3841229"/>
                <a:gd name="connsiteX117" fmla="*/ 1311072 w 1573156"/>
                <a:gd name="connsiteY117" fmla="*/ 267906 h 3841229"/>
                <a:gd name="connsiteX118" fmla="*/ 1389856 w 1573156"/>
                <a:gd name="connsiteY118" fmla="*/ 279816 h 3841229"/>
                <a:gd name="connsiteX119" fmla="*/ 1474179 w 1573156"/>
                <a:gd name="connsiteY119" fmla="*/ 349175 h 3841229"/>
                <a:gd name="connsiteX120" fmla="*/ 1536314 w 1573156"/>
                <a:gd name="connsiteY120" fmla="*/ 425271 h 3841229"/>
                <a:gd name="connsiteX121" fmla="*/ 1435343 w 1573156"/>
                <a:gd name="connsiteY121" fmla="*/ 454265 h 3841229"/>
                <a:gd name="connsiteX122" fmla="*/ 1419809 w 1573156"/>
                <a:gd name="connsiteY122" fmla="*/ 501372 h 3841229"/>
                <a:gd name="connsiteX123" fmla="*/ 1477479 w 1573156"/>
                <a:gd name="connsiteY123" fmla="*/ 585862 h 3841229"/>
                <a:gd name="connsiteX124" fmla="*/ 1513013 w 1573156"/>
                <a:gd name="connsiteY124" fmla="*/ 591964 h 3841229"/>
                <a:gd name="connsiteX125" fmla="*/ 1565633 w 1573156"/>
                <a:gd name="connsiteY125" fmla="*/ 598304 h 3841229"/>
                <a:gd name="connsiteX126" fmla="*/ 1560670 w 1573156"/>
                <a:gd name="connsiteY126" fmla="*/ 709079 h 3841229"/>
                <a:gd name="connsiteX127" fmla="*/ 1571739 w 1573156"/>
                <a:gd name="connsiteY127" fmla="*/ 1040047 h 3841229"/>
                <a:gd name="connsiteX128" fmla="*/ 1562871 w 1573156"/>
                <a:gd name="connsiteY128" fmla="*/ 1842646 h 3841229"/>
                <a:gd name="connsiteX129" fmla="*/ 1571738 w 1573156"/>
                <a:gd name="connsiteY129" fmla="*/ 2297728 h 3841229"/>
                <a:gd name="connsiteX130" fmla="*/ 1561917 w 1573156"/>
                <a:gd name="connsiteY130" fmla="*/ 3721463 h 3841229"/>
                <a:gd name="connsiteX131" fmla="*/ 1556603 w 1573156"/>
                <a:gd name="connsiteY131" fmla="*/ 3758050 h 3841229"/>
                <a:gd name="connsiteX132" fmla="*/ 1534434 w 1573156"/>
                <a:gd name="connsiteY132" fmla="*/ 3701165 h 3841229"/>
                <a:gd name="connsiteX133" fmla="*/ 1545518 w 1573156"/>
                <a:gd name="connsiteY133" fmla="*/ 3688238 h 3841229"/>
                <a:gd name="connsiteX134" fmla="*/ 1473471 w 1573156"/>
                <a:gd name="connsiteY134" fmla="*/ 3685650 h 3841229"/>
                <a:gd name="connsiteX135" fmla="*/ 1445761 w 1573156"/>
                <a:gd name="connsiteY135" fmla="*/ 3652040 h 3841229"/>
                <a:gd name="connsiteX136" fmla="*/ 1398654 w 1573156"/>
                <a:gd name="connsiteY136" fmla="*/ 3659796 h 3841229"/>
                <a:gd name="connsiteX137" fmla="*/ 1357089 w 1573156"/>
                <a:gd name="connsiteY137" fmla="*/ 3662380 h 3841229"/>
                <a:gd name="connsiteX138" fmla="*/ 1343234 w 1573156"/>
                <a:gd name="connsiteY138" fmla="*/ 3631352 h 3841229"/>
                <a:gd name="connsiteX139" fmla="*/ 1304439 w 1573156"/>
                <a:gd name="connsiteY139" fmla="*/ 3641695 h 3841229"/>
                <a:gd name="connsiteX140" fmla="*/ 1290584 w 1573156"/>
                <a:gd name="connsiteY140" fmla="*/ 3610666 h 3841229"/>
                <a:gd name="connsiteX141" fmla="*/ 1195420 w 1573156"/>
                <a:gd name="connsiteY141" fmla="*/ 3605469 h 3841229"/>
                <a:gd name="connsiteX142" fmla="*/ 1013482 w 1573156"/>
                <a:gd name="connsiteY142" fmla="*/ 3592567 h 3841229"/>
                <a:gd name="connsiteX143" fmla="*/ 1123928 w 1573156"/>
                <a:gd name="connsiteY143" fmla="*/ 3663387 h 3841229"/>
                <a:gd name="connsiteX144" fmla="*/ 907787 w 1573156"/>
                <a:gd name="connsiteY144" fmla="*/ 3629257 h 3841229"/>
                <a:gd name="connsiteX145" fmla="*/ 776238 w 1573156"/>
                <a:gd name="connsiteY145" fmla="*/ 3504783 h 3841229"/>
                <a:gd name="connsiteX146" fmla="*/ 708669 w 1573156"/>
                <a:gd name="connsiteY146" fmla="*/ 3437426 h 3841229"/>
                <a:gd name="connsiteX147" fmla="*/ 739150 w 1573156"/>
                <a:gd name="connsiteY147" fmla="*/ 3437426 h 3841229"/>
                <a:gd name="connsiteX148" fmla="*/ 750233 w 1573156"/>
                <a:gd name="connsiteY148" fmla="*/ 3408982 h 3841229"/>
                <a:gd name="connsiteX149" fmla="*/ 783486 w 1573156"/>
                <a:gd name="connsiteY149" fmla="*/ 3354683 h 3841229"/>
                <a:gd name="connsiteX150" fmla="*/ 747462 w 1573156"/>
                <a:gd name="connsiteY150" fmla="*/ 3297798 h 3841229"/>
                <a:gd name="connsiteX151" fmla="*/ 836135 w 1573156"/>
                <a:gd name="connsiteY151" fmla="*/ 3225398 h 3841229"/>
                <a:gd name="connsiteX152" fmla="*/ 902641 w 1573156"/>
                <a:gd name="connsiteY152" fmla="*/ 3217642 h 3841229"/>
                <a:gd name="connsiteX153" fmla="*/ 955289 w 1573156"/>
                <a:gd name="connsiteY153" fmla="*/ 3160756 h 3841229"/>
                <a:gd name="connsiteX154" fmla="*/ 1024565 w 1573156"/>
                <a:gd name="connsiteY154" fmla="*/ 3114213 h 3841229"/>
                <a:gd name="connsiteX155" fmla="*/ 1019023 w 1573156"/>
                <a:gd name="connsiteY155" fmla="*/ 3067671 h 3841229"/>
                <a:gd name="connsiteX156" fmla="*/ 1043963 w 1573156"/>
                <a:gd name="connsiteY156" fmla="*/ 3028886 h 3841229"/>
                <a:gd name="connsiteX157" fmla="*/ 1016252 w 1573156"/>
                <a:gd name="connsiteY157" fmla="*/ 3026300 h 3841229"/>
                <a:gd name="connsiteX158" fmla="*/ 1031704 w 1573156"/>
                <a:gd name="connsiteY158" fmla="*/ 2992878 h 3841229"/>
                <a:gd name="connsiteX159" fmla="*/ 914211 w 1573156"/>
                <a:gd name="connsiteY159" fmla="*/ 2928233 h 3841229"/>
                <a:gd name="connsiteX160" fmla="*/ 858304 w 1573156"/>
                <a:gd name="connsiteY160" fmla="*/ 2909943 h 3841229"/>
                <a:gd name="connsiteX161" fmla="*/ 827823 w 1573156"/>
                <a:gd name="connsiteY161" fmla="*/ 2881501 h 3841229"/>
                <a:gd name="connsiteX162" fmla="*/ 761317 w 1573156"/>
                <a:gd name="connsiteY162" fmla="*/ 2897015 h 3841229"/>
                <a:gd name="connsiteX163" fmla="*/ 700355 w 1573156"/>
                <a:gd name="connsiteY163" fmla="*/ 2891844 h 3841229"/>
                <a:gd name="connsiteX164" fmla="*/ 658790 w 1573156"/>
                <a:gd name="connsiteY164" fmla="*/ 2827201 h 3841229"/>
                <a:gd name="connsiteX165" fmla="*/ 656019 w 1573156"/>
                <a:gd name="connsiteY165" fmla="*/ 2785830 h 3841229"/>
                <a:gd name="connsiteX166" fmla="*/ 631080 w 1573156"/>
                <a:gd name="connsiteY166" fmla="*/ 2772902 h 3841229"/>
                <a:gd name="connsiteX167" fmla="*/ 567346 w 1573156"/>
                <a:gd name="connsiteY167" fmla="*/ 2759974 h 3841229"/>
                <a:gd name="connsiteX168" fmla="*/ 586743 w 1573156"/>
                <a:gd name="connsiteY168" fmla="*/ 2721188 h 3841229"/>
                <a:gd name="connsiteX169" fmla="*/ 557777 w 1573156"/>
                <a:gd name="connsiteY169" fmla="*/ 2715007 h 3841229"/>
                <a:gd name="connsiteX170" fmla="*/ 531809 w 1573156"/>
                <a:gd name="connsiteY170" fmla="*/ 2672771 h 3841229"/>
                <a:gd name="connsiteX171" fmla="*/ 414939 w 1573156"/>
                <a:gd name="connsiteY171" fmla="*/ 2682402 h 3841229"/>
                <a:gd name="connsiteX172" fmla="*/ 390000 w 1573156"/>
                <a:gd name="connsiteY172" fmla="*/ 2672059 h 3841229"/>
                <a:gd name="connsiteX173" fmla="*/ 367832 w 1573156"/>
                <a:gd name="connsiteY173" fmla="*/ 2684989 h 3841229"/>
                <a:gd name="connsiteX174" fmla="*/ 351205 w 1573156"/>
                <a:gd name="connsiteY174" fmla="*/ 2622932 h 3841229"/>
                <a:gd name="connsiteX175" fmla="*/ 340121 w 1573156"/>
                <a:gd name="connsiteY175" fmla="*/ 2597075 h 3841229"/>
                <a:gd name="connsiteX176" fmla="*/ 353976 w 1573156"/>
                <a:gd name="connsiteY176" fmla="*/ 2578974 h 3841229"/>
                <a:gd name="connsiteX177" fmla="*/ 381687 w 1573156"/>
                <a:gd name="connsiteY177" fmla="*/ 2581561 h 3841229"/>
                <a:gd name="connsiteX178" fmla="*/ 414939 w 1573156"/>
                <a:gd name="connsiteY178" fmla="*/ 2563461 h 3841229"/>
                <a:gd name="connsiteX179" fmla="*/ 412168 w 1573156"/>
                <a:gd name="connsiteY179" fmla="*/ 2537603 h 3841229"/>
                <a:gd name="connsiteX180" fmla="*/ 362289 w 1573156"/>
                <a:gd name="connsiteY180" fmla="*/ 2501404 h 3841229"/>
                <a:gd name="connsiteX181" fmla="*/ 338946 w 1573156"/>
                <a:gd name="connsiteY181" fmla="*/ 2513491 h 3841229"/>
                <a:gd name="connsiteX182" fmla="*/ 340121 w 1573156"/>
                <a:gd name="connsiteY182" fmla="*/ 2467790 h 3841229"/>
                <a:gd name="connsiteX183" fmla="*/ 306869 w 1573156"/>
                <a:gd name="connsiteY183" fmla="*/ 2429005 h 3841229"/>
                <a:gd name="connsiteX184" fmla="*/ 309641 w 1573156"/>
                <a:gd name="connsiteY184" fmla="*/ 2351433 h 3841229"/>
                <a:gd name="connsiteX185" fmla="*/ 290243 w 1573156"/>
                <a:gd name="connsiteY185" fmla="*/ 2299720 h 3841229"/>
                <a:gd name="connsiteX186" fmla="*/ 256991 w 1573156"/>
                <a:gd name="connsiteY186" fmla="*/ 2266106 h 3841229"/>
                <a:gd name="connsiteX187" fmla="*/ 218196 w 1573156"/>
                <a:gd name="connsiteY187" fmla="*/ 2242835 h 3841229"/>
                <a:gd name="connsiteX188" fmla="*/ 176631 w 1573156"/>
                <a:gd name="connsiteY188" fmla="*/ 2250592 h 3841229"/>
                <a:gd name="connsiteX189" fmla="*/ 122255 w 1573156"/>
                <a:gd name="connsiteY189" fmla="*/ 2214066 h 3841229"/>
                <a:gd name="connsiteX0" fmla="*/ 122255 w 1573156"/>
                <a:gd name="connsiteY0" fmla="*/ 2214066 h 3841229"/>
                <a:gd name="connsiteX1" fmla="*/ 63018 w 1573156"/>
                <a:gd name="connsiteY1" fmla="*/ 2216977 h 3841229"/>
                <a:gd name="connsiteX2" fmla="*/ 60248 w 1573156"/>
                <a:gd name="connsiteY2" fmla="*/ 2118721 h 3841229"/>
                <a:gd name="connsiteX3" fmla="*/ 71333 w 1573156"/>
                <a:gd name="connsiteY3" fmla="*/ 2077350 h 3841229"/>
                <a:gd name="connsiteX4" fmla="*/ 74102 w 1573156"/>
                <a:gd name="connsiteY4" fmla="*/ 2030807 h 3841229"/>
                <a:gd name="connsiteX5" fmla="*/ 76875 w 1573156"/>
                <a:gd name="connsiteY5" fmla="*/ 2020467 h 3841229"/>
                <a:gd name="connsiteX6" fmla="*/ 118439 w 1573156"/>
                <a:gd name="connsiteY6" fmla="*/ 1992023 h 3841229"/>
                <a:gd name="connsiteX7" fmla="*/ 82416 w 1573156"/>
                <a:gd name="connsiteY7" fmla="*/ 1963580 h 3841229"/>
                <a:gd name="connsiteX8" fmla="*/ 51935 w 1573156"/>
                <a:gd name="connsiteY8" fmla="*/ 1927380 h 3841229"/>
                <a:gd name="connsiteX9" fmla="*/ 40850 w 1573156"/>
                <a:gd name="connsiteY9" fmla="*/ 1893766 h 3841229"/>
                <a:gd name="connsiteX10" fmla="*/ 43621 w 1573156"/>
                <a:gd name="connsiteY10" fmla="*/ 1844639 h 3841229"/>
                <a:gd name="connsiteX11" fmla="*/ 82416 w 1573156"/>
                <a:gd name="connsiteY11" fmla="*/ 1826538 h 3841229"/>
                <a:gd name="connsiteX12" fmla="*/ 112899 w 1573156"/>
                <a:gd name="connsiteY12" fmla="*/ 1782581 h 3841229"/>
                <a:gd name="connsiteX13" fmla="*/ 96271 w 1573156"/>
                <a:gd name="connsiteY13" fmla="*/ 1754138 h 3841229"/>
                <a:gd name="connsiteX14" fmla="*/ 40851 w 1573156"/>
                <a:gd name="connsiteY14" fmla="*/ 1746381 h 3841229"/>
                <a:gd name="connsiteX15" fmla="*/ 2057 w 1573156"/>
                <a:gd name="connsiteY15" fmla="*/ 1730867 h 3841229"/>
                <a:gd name="connsiteX16" fmla="*/ 38079 w 1573156"/>
                <a:gd name="connsiteY16" fmla="*/ 1689496 h 3841229"/>
                <a:gd name="connsiteX17" fmla="*/ 18683 w 1573156"/>
                <a:gd name="connsiteY17" fmla="*/ 1679153 h 3841229"/>
                <a:gd name="connsiteX18" fmla="*/ 2055 w 1573156"/>
                <a:gd name="connsiteY18" fmla="*/ 1640367 h 3841229"/>
                <a:gd name="connsiteX19" fmla="*/ 65790 w 1573156"/>
                <a:gd name="connsiteY19" fmla="*/ 1650711 h 3841229"/>
                <a:gd name="connsiteX20" fmla="*/ 93501 w 1573156"/>
                <a:gd name="connsiteY20" fmla="*/ 1627440 h 3841229"/>
                <a:gd name="connsiteX21" fmla="*/ 187716 w 1573156"/>
                <a:gd name="connsiteY21" fmla="*/ 1536941 h 3841229"/>
                <a:gd name="connsiteX22" fmla="*/ 212655 w 1573156"/>
                <a:gd name="connsiteY22" fmla="*/ 1505912 h 3841229"/>
                <a:gd name="connsiteX23" fmla="*/ 198801 w 1573156"/>
                <a:gd name="connsiteY23" fmla="*/ 1555040 h 3841229"/>
                <a:gd name="connsiteX24" fmla="*/ 218197 w 1573156"/>
                <a:gd name="connsiteY24" fmla="*/ 1588655 h 3841229"/>
                <a:gd name="connsiteX25" fmla="*/ 262534 w 1573156"/>
                <a:gd name="connsiteY25" fmla="*/ 1666225 h 3841229"/>
                <a:gd name="connsiteX26" fmla="*/ 331810 w 1573156"/>
                <a:gd name="connsiteY26" fmla="*/ 1653297 h 3841229"/>
                <a:gd name="connsiteX27" fmla="*/ 351206 w 1573156"/>
                <a:gd name="connsiteY27" fmla="*/ 1622268 h 3841229"/>
                <a:gd name="connsiteX28" fmla="*/ 365062 w 1573156"/>
                <a:gd name="connsiteY28" fmla="*/ 1557627 h 3841229"/>
                <a:gd name="connsiteX29" fmla="*/ 304099 w 1573156"/>
                <a:gd name="connsiteY29" fmla="*/ 1511084 h 3841229"/>
                <a:gd name="connsiteX30" fmla="*/ 259763 w 1573156"/>
                <a:gd name="connsiteY30" fmla="*/ 1485227 h 3841229"/>
                <a:gd name="connsiteX31" fmla="*/ 198801 w 1573156"/>
                <a:gd name="connsiteY31" fmla="*/ 1495570 h 3841229"/>
                <a:gd name="connsiteX32" fmla="*/ 376147 w 1573156"/>
                <a:gd name="connsiteY32" fmla="*/ 1299057 h 3841229"/>
                <a:gd name="connsiteX33" fmla="*/ 223740 w 1573156"/>
                <a:gd name="connsiteY33" fmla="*/ 1151672 h 3841229"/>
                <a:gd name="connsiteX34" fmla="*/ 284703 w 1573156"/>
                <a:gd name="connsiteY34" fmla="*/ 1089617 h 3841229"/>
                <a:gd name="connsiteX35" fmla="*/ 218198 w 1573156"/>
                <a:gd name="connsiteY35" fmla="*/ 1050829 h 3841229"/>
                <a:gd name="connsiteX36" fmla="*/ 259763 w 1573156"/>
                <a:gd name="connsiteY36" fmla="*/ 1019802 h 3841229"/>
                <a:gd name="connsiteX37" fmla="*/ 212657 w 1573156"/>
                <a:gd name="connsiteY37" fmla="*/ 993947 h 3841229"/>
                <a:gd name="connsiteX38" fmla="*/ 212656 w 1573156"/>
                <a:gd name="connsiteY38" fmla="*/ 794845 h 3841229"/>
                <a:gd name="connsiteX39" fmla="*/ 251451 w 1573156"/>
                <a:gd name="connsiteY39" fmla="*/ 779332 h 3841229"/>
                <a:gd name="connsiteX40" fmla="*/ 137838 w 1573156"/>
                <a:gd name="connsiteY40" fmla="*/ 551792 h 3841229"/>
                <a:gd name="connsiteX41" fmla="*/ 135067 w 1573156"/>
                <a:gd name="connsiteY41" fmla="*/ 551792 h 3841229"/>
                <a:gd name="connsiteX42" fmla="*/ 184945 w 1573156"/>
                <a:gd name="connsiteY42" fmla="*/ 469048 h 3841229"/>
                <a:gd name="connsiteX43" fmla="*/ 201571 w 1573156"/>
                <a:gd name="connsiteY43" fmla="*/ 378550 h 3841229"/>
                <a:gd name="connsiteX44" fmla="*/ 126752 w 1573156"/>
                <a:gd name="connsiteY44" fmla="*/ 319079 h 3841229"/>
                <a:gd name="connsiteX45" fmla="*/ 118440 w 1573156"/>
                <a:gd name="connsiteY45" fmla="*/ 251851 h 3841229"/>
                <a:gd name="connsiteX46" fmla="*/ 173860 w 1573156"/>
                <a:gd name="connsiteY46" fmla="*/ 158764 h 3841229"/>
                <a:gd name="connsiteX47" fmla="*/ 193258 w 1573156"/>
                <a:gd name="connsiteY47" fmla="*/ 135494 h 3841229"/>
                <a:gd name="connsiteX48" fmla="*/ 207113 w 1573156"/>
                <a:gd name="connsiteY48" fmla="*/ 117394 h 3841229"/>
                <a:gd name="connsiteX49" fmla="*/ 215426 w 1573156"/>
                <a:gd name="connsiteY49" fmla="*/ 73438 h 3841229"/>
                <a:gd name="connsiteX50" fmla="*/ 240365 w 1573156"/>
                <a:gd name="connsiteY50" fmla="*/ 101880 h 3841229"/>
                <a:gd name="connsiteX51" fmla="*/ 270847 w 1573156"/>
                <a:gd name="connsiteY51" fmla="*/ 88952 h 3841229"/>
                <a:gd name="connsiteX52" fmla="*/ 273617 w 1573156"/>
                <a:gd name="connsiteY52" fmla="*/ 63095 h 3841229"/>
                <a:gd name="connsiteX53" fmla="*/ 281931 w 1573156"/>
                <a:gd name="connsiteY53" fmla="*/ 34652 h 3841229"/>
                <a:gd name="connsiteX54" fmla="*/ 284703 w 1573156"/>
                <a:gd name="connsiteY54" fmla="*/ 3624 h 3841229"/>
                <a:gd name="connsiteX55" fmla="*/ 420483 w 1573156"/>
                <a:gd name="connsiteY55" fmla="*/ 57924 h 3841229"/>
                <a:gd name="connsiteX56" fmla="*/ 450963 w 1573156"/>
                <a:gd name="connsiteY56" fmla="*/ 161352 h 3841229"/>
                <a:gd name="connsiteX57" fmla="*/ 464819 w 1573156"/>
                <a:gd name="connsiteY57" fmla="*/ 184622 h 3841229"/>
                <a:gd name="connsiteX58" fmla="*/ 475903 w 1573156"/>
                <a:gd name="connsiteY58" fmla="*/ 187208 h 3841229"/>
                <a:gd name="connsiteX59" fmla="*/ 589515 w 1573156"/>
                <a:gd name="connsiteY59" fmla="*/ 156181 h 3841229"/>
                <a:gd name="connsiteX60" fmla="*/ 656020 w 1573156"/>
                <a:gd name="connsiteY60" fmla="*/ 166522 h 3841229"/>
                <a:gd name="connsiteX61" fmla="*/ 719754 w 1573156"/>
                <a:gd name="connsiteY61" fmla="*/ 213065 h 3841229"/>
                <a:gd name="connsiteX62" fmla="*/ 733781 w 1573156"/>
                <a:gd name="connsiteY62" fmla="*/ 242621 h 3841229"/>
                <a:gd name="connsiteX63" fmla="*/ 789028 w 1573156"/>
                <a:gd name="connsiteY63" fmla="*/ 277708 h 3841229"/>
                <a:gd name="connsiteX64" fmla="*/ 877702 w 1573156"/>
                <a:gd name="connsiteY64" fmla="*/ 303563 h 3841229"/>
                <a:gd name="connsiteX65" fmla="*/ 949748 w 1573156"/>
                <a:gd name="connsiteY65" fmla="*/ 350106 h 3841229"/>
                <a:gd name="connsiteX66" fmla="*/ 999627 w 1573156"/>
                <a:gd name="connsiteY66" fmla="*/ 401820 h 3841229"/>
                <a:gd name="connsiteX67" fmla="*/ 1024566 w 1573156"/>
                <a:gd name="connsiteY67" fmla="*/ 440606 h 3841229"/>
                <a:gd name="connsiteX68" fmla="*/ 1057819 w 1573156"/>
                <a:gd name="connsiteY68" fmla="*/ 466462 h 3841229"/>
                <a:gd name="connsiteX69" fmla="*/ 1041191 w 1573156"/>
                <a:gd name="connsiteY69" fmla="*/ 691417 h 3841229"/>
                <a:gd name="connsiteX70" fmla="*/ 913725 w 1573156"/>
                <a:gd name="connsiteY70" fmla="*/ 771575 h 3841229"/>
                <a:gd name="connsiteX71" fmla="*/ 800113 w 1573156"/>
                <a:gd name="connsiteY71" fmla="*/ 779331 h 3841229"/>
                <a:gd name="connsiteX72" fmla="*/ 661560 w 1573156"/>
                <a:gd name="connsiteY72" fmla="*/ 758645 h 3841229"/>
                <a:gd name="connsiteX73" fmla="*/ 570116 w 1573156"/>
                <a:gd name="connsiteY73" fmla="*/ 722445 h 3841229"/>
                <a:gd name="connsiteX74" fmla="*/ 550719 w 1573156"/>
                <a:gd name="connsiteY74" fmla="*/ 750888 h 3841229"/>
                <a:gd name="connsiteX75" fmla="*/ 581361 w 1573156"/>
                <a:gd name="connsiteY75" fmla="*/ 824301 h 3841229"/>
                <a:gd name="connsiteX76" fmla="*/ 586902 w 1573156"/>
                <a:gd name="connsiteY76" fmla="*/ 951000 h 3841229"/>
                <a:gd name="connsiteX77" fmla="*/ 559032 w 1573156"/>
                <a:gd name="connsiteY77" fmla="*/ 1012043 h 3841229"/>
                <a:gd name="connsiteX78" fmla="*/ 614451 w 1573156"/>
                <a:gd name="connsiteY78" fmla="*/ 1032728 h 3841229"/>
                <a:gd name="connsiteX79" fmla="*/ 631079 w 1573156"/>
                <a:gd name="connsiteY79" fmla="*/ 1048242 h 3841229"/>
                <a:gd name="connsiteX80" fmla="*/ 656019 w 1573156"/>
                <a:gd name="connsiteY80" fmla="*/ 1074099 h 3841229"/>
                <a:gd name="connsiteX81" fmla="*/ 653248 w 1573156"/>
                <a:gd name="connsiteY81" fmla="*/ 1076685 h 3841229"/>
                <a:gd name="connsiteX82" fmla="*/ 692041 w 1573156"/>
                <a:gd name="connsiteY82" fmla="*/ 1071514 h 3841229"/>
                <a:gd name="connsiteX83" fmla="*/ 700355 w 1573156"/>
                <a:gd name="connsiteY83" fmla="*/ 1035314 h 3841229"/>
                <a:gd name="connsiteX84" fmla="*/ 661560 w 1573156"/>
                <a:gd name="connsiteY84" fmla="*/ 957743 h 3841229"/>
                <a:gd name="connsiteX85" fmla="*/ 730836 w 1573156"/>
                <a:gd name="connsiteY85" fmla="*/ 911200 h 3841229"/>
                <a:gd name="connsiteX86" fmla="*/ 798608 w 1573156"/>
                <a:gd name="connsiteY86" fmla="*/ 918934 h 3841229"/>
                <a:gd name="connsiteX87" fmla="*/ 822441 w 1573156"/>
                <a:gd name="connsiteY87" fmla="*/ 951001 h 3841229"/>
                <a:gd name="connsiteX88" fmla="*/ 978170 w 1573156"/>
                <a:gd name="connsiteY88" fmla="*/ 1007364 h 3841229"/>
                <a:gd name="connsiteX89" fmla="*/ 963762 w 1573156"/>
                <a:gd name="connsiteY89" fmla="*/ 971687 h 3841229"/>
                <a:gd name="connsiteX90" fmla="*/ 930510 w 1573156"/>
                <a:gd name="connsiteY90" fmla="*/ 932901 h 3841229"/>
                <a:gd name="connsiteX91" fmla="*/ 919426 w 1573156"/>
                <a:gd name="connsiteY91" fmla="*/ 881187 h 3841229"/>
                <a:gd name="connsiteX92" fmla="*/ 958221 w 1573156"/>
                <a:gd name="connsiteY92" fmla="*/ 832060 h 3841229"/>
                <a:gd name="connsiteX93" fmla="*/ 985931 w 1573156"/>
                <a:gd name="connsiteY93" fmla="*/ 803617 h 3841229"/>
                <a:gd name="connsiteX94" fmla="*/ 1010871 w 1573156"/>
                <a:gd name="connsiteY94" fmla="*/ 767417 h 3841229"/>
                <a:gd name="connsiteX95" fmla="*/ 1091231 w 1573156"/>
                <a:gd name="connsiteY95" fmla="*/ 762245 h 3841229"/>
                <a:gd name="connsiteX96" fmla="*/ 1096772 w 1573156"/>
                <a:gd name="connsiteY96" fmla="*/ 741560 h 3841229"/>
                <a:gd name="connsiteX97" fmla="*/ 1121712 w 1573156"/>
                <a:gd name="connsiteY97" fmla="*/ 705360 h 3841229"/>
                <a:gd name="connsiteX98" fmla="*/ 1155516 w 1573156"/>
                <a:gd name="connsiteY98" fmla="*/ 687772 h 3841229"/>
                <a:gd name="connsiteX99" fmla="*/ 1213156 w 1573156"/>
                <a:gd name="connsiteY99" fmla="*/ 700189 h 3841229"/>
                <a:gd name="connsiteX100" fmla="*/ 1251949 w 1573156"/>
                <a:gd name="connsiteY100" fmla="*/ 720875 h 3841229"/>
                <a:gd name="connsiteX101" fmla="*/ 1299057 w 1573156"/>
                <a:gd name="connsiteY101" fmla="*/ 728632 h 3841229"/>
                <a:gd name="connsiteX102" fmla="*/ 1299057 w 1573156"/>
                <a:gd name="connsiteY102" fmla="*/ 733803 h 3841229"/>
                <a:gd name="connsiteX103" fmla="*/ 1321226 w 1573156"/>
                <a:gd name="connsiteY103" fmla="*/ 674332 h 3841229"/>
                <a:gd name="connsiteX104" fmla="*/ 1331201 w 1573156"/>
                <a:gd name="connsiteY104" fmla="*/ 640714 h 3841229"/>
                <a:gd name="connsiteX105" fmla="*/ 1337852 w 1573156"/>
                <a:gd name="connsiteY105" fmla="*/ 622618 h 3841229"/>
                <a:gd name="connsiteX106" fmla="*/ 1340789 w 1573156"/>
                <a:gd name="connsiteY106" fmla="*/ 591288 h 3841229"/>
                <a:gd name="connsiteX107" fmla="*/ 1260263 w 1573156"/>
                <a:gd name="connsiteY107" fmla="*/ 545048 h 3841229"/>
                <a:gd name="connsiteX108" fmla="*/ 1246408 w 1573156"/>
                <a:gd name="connsiteY108" fmla="*/ 472648 h 3841229"/>
                <a:gd name="connsiteX109" fmla="*/ 1246408 w 1573156"/>
                <a:gd name="connsiteY109" fmla="*/ 454548 h 3841229"/>
                <a:gd name="connsiteX110" fmla="*/ 1257491 w 1573156"/>
                <a:gd name="connsiteY110" fmla="*/ 431276 h 3841229"/>
                <a:gd name="connsiteX111" fmla="*/ 1260263 w 1573156"/>
                <a:gd name="connsiteY111" fmla="*/ 415762 h 3841229"/>
                <a:gd name="connsiteX112" fmla="*/ 1260262 w 1573156"/>
                <a:gd name="connsiteY112" fmla="*/ 358878 h 3841229"/>
                <a:gd name="connsiteX113" fmla="*/ 1238094 w 1573156"/>
                <a:gd name="connsiteY113" fmla="*/ 335607 h 3841229"/>
                <a:gd name="connsiteX114" fmla="*/ 1210384 w 1573156"/>
                <a:gd name="connsiteY114" fmla="*/ 304578 h 3841229"/>
                <a:gd name="connsiteX115" fmla="*/ 1206216 w 1573156"/>
                <a:gd name="connsiteY115" fmla="*/ 280325 h 3841229"/>
                <a:gd name="connsiteX116" fmla="*/ 1257492 w 1573156"/>
                <a:gd name="connsiteY116" fmla="*/ 258034 h 3841229"/>
                <a:gd name="connsiteX117" fmla="*/ 1311072 w 1573156"/>
                <a:gd name="connsiteY117" fmla="*/ 267906 h 3841229"/>
                <a:gd name="connsiteX118" fmla="*/ 1389856 w 1573156"/>
                <a:gd name="connsiteY118" fmla="*/ 279816 h 3841229"/>
                <a:gd name="connsiteX119" fmla="*/ 1474179 w 1573156"/>
                <a:gd name="connsiteY119" fmla="*/ 349175 h 3841229"/>
                <a:gd name="connsiteX120" fmla="*/ 1536314 w 1573156"/>
                <a:gd name="connsiteY120" fmla="*/ 425271 h 3841229"/>
                <a:gd name="connsiteX121" fmla="*/ 1435343 w 1573156"/>
                <a:gd name="connsiteY121" fmla="*/ 454265 h 3841229"/>
                <a:gd name="connsiteX122" fmla="*/ 1419809 w 1573156"/>
                <a:gd name="connsiteY122" fmla="*/ 501372 h 3841229"/>
                <a:gd name="connsiteX123" fmla="*/ 1477479 w 1573156"/>
                <a:gd name="connsiteY123" fmla="*/ 585862 h 3841229"/>
                <a:gd name="connsiteX124" fmla="*/ 1513013 w 1573156"/>
                <a:gd name="connsiteY124" fmla="*/ 591964 h 3841229"/>
                <a:gd name="connsiteX125" fmla="*/ 1565633 w 1573156"/>
                <a:gd name="connsiteY125" fmla="*/ 598304 h 3841229"/>
                <a:gd name="connsiteX126" fmla="*/ 1560670 w 1573156"/>
                <a:gd name="connsiteY126" fmla="*/ 709079 h 3841229"/>
                <a:gd name="connsiteX127" fmla="*/ 1571739 w 1573156"/>
                <a:gd name="connsiteY127" fmla="*/ 1040047 h 3841229"/>
                <a:gd name="connsiteX128" fmla="*/ 1562871 w 1573156"/>
                <a:gd name="connsiteY128" fmla="*/ 1842646 h 3841229"/>
                <a:gd name="connsiteX129" fmla="*/ 1571738 w 1573156"/>
                <a:gd name="connsiteY129" fmla="*/ 2297728 h 3841229"/>
                <a:gd name="connsiteX130" fmla="*/ 1561917 w 1573156"/>
                <a:gd name="connsiteY130" fmla="*/ 3721463 h 3841229"/>
                <a:gd name="connsiteX131" fmla="*/ 1556603 w 1573156"/>
                <a:gd name="connsiteY131" fmla="*/ 3758050 h 3841229"/>
                <a:gd name="connsiteX132" fmla="*/ 1534434 w 1573156"/>
                <a:gd name="connsiteY132" fmla="*/ 3701165 h 3841229"/>
                <a:gd name="connsiteX133" fmla="*/ 1545518 w 1573156"/>
                <a:gd name="connsiteY133" fmla="*/ 3688238 h 3841229"/>
                <a:gd name="connsiteX134" fmla="*/ 1503953 w 1573156"/>
                <a:gd name="connsiteY134" fmla="*/ 3670136 h 3841229"/>
                <a:gd name="connsiteX135" fmla="*/ 1473471 w 1573156"/>
                <a:gd name="connsiteY135" fmla="*/ 3685650 h 3841229"/>
                <a:gd name="connsiteX136" fmla="*/ 1445761 w 1573156"/>
                <a:gd name="connsiteY136" fmla="*/ 3652040 h 3841229"/>
                <a:gd name="connsiteX137" fmla="*/ 1398654 w 1573156"/>
                <a:gd name="connsiteY137" fmla="*/ 3659796 h 3841229"/>
                <a:gd name="connsiteX138" fmla="*/ 1357089 w 1573156"/>
                <a:gd name="connsiteY138" fmla="*/ 3662380 h 3841229"/>
                <a:gd name="connsiteX139" fmla="*/ 1343234 w 1573156"/>
                <a:gd name="connsiteY139" fmla="*/ 3631352 h 3841229"/>
                <a:gd name="connsiteX140" fmla="*/ 1304439 w 1573156"/>
                <a:gd name="connsiteY140" fmla="*/ 3641695 h 3841229"/>
                <a:gd name="connsiteX141" fmla="*/ 1290584 w 1573156"/>
                <a:gd name="connsiteY141" fmla="*/ 3610666 h 3841229"/>
                <a:gd name="connsiteX142" fmla="*/ 1195420 w 1573156"/>
                <a:gd name="connsiteY142" fmla="*/ 3605469 h 3841229"/>
                <a:gd name="connsiteX143" fmla="*/ 1013482 w 1573156"/>
                <a:gd name="connsiteY143" fmla="*/ 3592567 h 3841229"/>
                <a:gd name="connsiteX144" fmla="*/ 1123928 w 1573156"/>
                <a:gd name="connsiteY144" fmla="*/ 3663387 h 3841229"/>
                <a:gd name="connsiteX145" fmla="*/ 907787 w 1573156"/>
                <a:gd name="connsiteY145" fmla="*/ 3629257 h 3841229"/>
                <a:gd name="connsiteX146" fmla="*/ 776238 w 1573156"/>
                <a:gd name="connsiteY146" fmla="*/ 3504783 h 3841229"/>
                <a:gd name="connsiteX147" fmla="*/ 708669 w 1573156"/>
                <a:gd name="connsiteY147" fmla="*/ 3437426 h 3841229"/>
                <a:gd name="connsiteX148" fmla="*/ 739150 w 1573156"/>
                <a:gd name="connsiteY148" fmla="*/ 3437426 h 3841229"/>
                <a:gd name="connsiteX149" fmla="*/ 750233 w 1573156"/>
                <a:gd name="connsiteY149" fmla="*/ 3408982 h 3841229"/>
                <a:gd name="connsiteX150" fmla="*/ 783486 w 1573156"/>
                <a:gd name="connsiteY150" fmla="*/ 3354683 h 3841229"/>
                <a:gd name="connsiteX151" fmla="*/ 747462 w 1573156"/>
                <a:gd name="connsiteY151" fmla="*/ 3297798 h 3841229"/>
                <a:gd name="connsiteX152" fmla="*/ 836135 w 1573156"/>
                <a:gd name="connsiteY152" fmla="*/ 3225398 h 3841229"/>
                <a:gd name="connsiteX153" fmla="*/ 902641 w 1573156"/>
                <a:gd name="connsiteY153" fmla="*/ 3217642 h 3841229"/>
                <a:gd name="connsiteX154" fmla="*/ 955289 w 1573156"/>
                <a:gd name="connsiteY154" fmla="*/ 3160756 h 3841229"/>
                <a:gd name="connsiteX155" fmla="*/ 1024565 w 1573156"/>
                <a:gd name="connsiteY155" fmla="*/ 3114213 h 3841229"/>
                <a:gd name="connsiteX156" fmla="*/ 1019023 w 1573156"/>
                <a:gd name="connsiteY156" fmla="*/ 3067671 h 3841229"/>
                <a:gd name="connsiteX157" fmla="*/ 1043963 w 1573156"/>
                <a:gd name="connsiteY157" fmla="*/ 3028886 h 3841229"/>
                <a:gd name="connsiteX158" fmla="*/ 1016252 w 1573156"/>
                <a:gd name="connsiteY158" fmla="*/ 3026300 h 3841229"/>
                <a:gd name="connsiteX159" fmla="*/ 1031704 w 1573156"/>
                <a:gd name="connsiteY159" fmla="*/ 2992878 h 3841229"/>
                <a:gd name="connsiteX160" fmla="*/ 914211 w 1573156"/>
                <a:gd name="connsiteY160" fmla="*/ 2928233 h 3841229"/>
                <a:gd name="connsiteX161" fmla="*/ 858304 w 1573156"/>
                <a:gd name="connsiteY161" fmla="*/ 2909943 h 3841229"/>
                <a:gd name="connsiteX162" fmla="*/ 827823 w 1573156"/>
                <a:gd name="connsiteY162" fmla="*/ 2881501 h 3841229"/>
                <a:gd name="connsiteX163" fmla="*/ 761317 w 1573156"/>
                <a:gd name="connsiteY163" fmla="*/ 2897015 h 3841229"/>
                <a:gd name="connsiteX164" fmla="*/ 700355 w 1573156"/>
                <a:gd name="connsiteY164" fmla="*/ 2891844 h 3841229"/>
                <a:gd name="connsiteX165" fmla="*/ 658790 w 1573156"/>
                <a:gd name="connsiteY165" fmla="*/ 2827201 h 3841229"/>
                <a:gd name="connsiteX166" fmla="*/ 656019 w 1573156"/>
                <a:gd name="connsiteY166" fmla="*/ 2785830 h 3841229"/>
                <a:gd name="connsiteX167" fmla="*/ 631080 w 1573156"/>
                <a:gd name="connsiteY167" fmla="*/ 2772902 h 3841229"/>
                <a:gd name="connsiteX168" fmla="*/ 567346 w 1573156"/>
                <a:gd name="connsiteY168" fmla="*/ 2759974 h 3841229"/>
                <a:gd name="connsiteX169" fmla="*/ 586743 w 1573156"/>
                <a:gd name="connsiteY169" fmla="*/ 2721188 h 3841229"/>
                <a:gd name="connsiteX170" fmla="*/ 557777 w 1573156"/>
                <a:gd name="connsiteY170" fmla="*/ 2715007 h 3841229"/>
                <a:gd name="connsiteX171" fmla="*/ 531809 w 1573156"/>
                <a:gd name="connsiteY171" fmla="*/ 2672771 h 3841229"/>
                <a:gd name="connsiteX172" fmla="*/ 414939 w 1573156"/>
                <a:gd name="connsiteY172" fmla="*/ 2682402 h 3841229"/>
                <a:gd name="connsiteX173" fmla="*/ 390000 w 1573156"/>
                <a:gd name="connsiteY173" fmla="*/ 2672059 h 3841229"/>
                <a:gd name="connsiteX174" fmla="*/ 367832 w 1573156"/>
                <a:gd name="connsiteY174" fmla="*/ 2684989 h 3841229"/>
                <a:gd name="connsiteX175" fmla="*/ 351205 w 1573156"/>
                <a:gd name="connsiteY175" fmla="*/ 2622932 h 3841229"/>
                <a:gd name="connsiteX176" fmla="*/ 340121 w 1573156"/>
                <a:gd name="connsiteY176" fmla="*/ 2597075 h 3841229"/>
                <a:gd name="connsiteX177" fmla="*/ 353976 w 1573156"/>
                <a:gd name="connsiteY177" fmla="*/ 2578974 h 3841229"/>
                <a:gd name="connsiteX178" fmla="*/ 381687 w 1573156"/>
                <a:gd name="connsiteY178" fmla="*/ 2581561 h 3841229"/>
                <a:gd name="connsiteX179" fmla="*/ 414939 w 1573156"/>
                <a:gd name="connsiteY179" fmla="*/ 2563461 h 3841229"/>
                <a:gd name="connsiteX180" fmla="*/ 412168 w 1573156"/>
                <a:gd name="connsiteY180" fmla="*/ 2537603 h 3841229"/>
                <a:gd name="connsiteX181" fmla="*/ 362289 w 1573156"/>
                <a:gd name="connsiteY181" fmla="*/ 2501404 h 3841229"/>
                <a:gd name="connsiteX182" fmla="*/ 338946 w 1573156"/>
                <a:gd name="connsiteY182" fmla="*/ 2513491 h 3841229"/>
                <a:gd name="connsiteX183" fmla="*/ 340121 w 1573156"/>
                <a:gd name="connsiteY183" fmla="*/ 2467790 h 3841229"/>
                <a:gd name="connsiteX184" fmla="*/ 306869 w 1573156"/>
                <a:gd name="connsiteY184" fmla="*/ 2429005 h 3841229"/>
                <a:gd name="connsiteX185" fmla="*/ 309641 w 1573156"/>
                <a:gd name="connsiteY185" fmla="*/ 2351433 h 3841229"/>
                <a:gd name="connsiteX186" fmla="*/ 290243 w 1573156"/>
                <a:gd name="connsiteY186" fmla="*/ 2299720 h 3841229"/>
                <a:gd name="connsiteX187" fmla="*/ 256991 w 1573156"/>
                <a:gd name="connsiteY187" fmla="*/ 2266106 h 3841229"/>
                <a:gd name="connsiteX188" fmla="*/ 218196 w 1573156"/>
                <a:gd name="connsiteY188" fmla="*/ 2242835 h 3841229"/>
                <a:gd name="connsiteX189" fmla="*/ 176631 w 1573156"/>
                <a:gd name="connsiteY189" fmla="*/ 2250592 h 3841229"/>
                <a:gd name="connsiteX190" fmla="*/ 122255 w 1573156"/>
                <a:gd name="connsiteY190" fmla="*/ 2214066 h 3841229"/>
                <a:gd name="connsiteX0" fmla="*/ 122255 w 1573156"/>
                <a:gd name="connsiteY0" fmla="*/ 2214066 h 3841229"/>
                <a:gd name="connsiteX1" fmla="*/ 63018 w 1573156"/>
                <a:gd name="connsiteY1" fmla="*/ 2216977 h 3841229"/>
                <a:gd name="connsiteX2" fmla="*/ 60248 w 1573156"/>
                <a:gd name="connsiteY2" fmla="*/ 2118721 h 3841229"/>
                <a:gd name="connsiteX3" fmla="*/ 71333 w 1573156"/>
                <a:gd name="connsiteY3" fmla="*/ 2077350 h 3841229"/>
                <a:gd name="connsiteX4" fmla="*/ 74102 w 1573156"/>
                <a:gd name="connsiteY4" fmla="*/ 2030807 h 3841229"/>
                <a:gd name="connsiteX5" fmla="*/ 76875 w 1573156"/>
                <a:gd name="connsiteY5" fmla="*/ 2020467 h 3841229"/>
                <a:gd name="connsiteX6" fmla="*/ 118439 w 1573156"/>
                <a:gd name="connsiteY6" fmla="*/ 1992023 h 3841229"/>
                <a:gd name="connsiteX7" fmla="*/ 82416 w 1573156"/>
                <a:gd name="connsiteY7" fmla="*/ 1963580 h 3841229"/>
                <a:gd name="connsiteX8" fmla="*/ 51935 w 1573156"/>
                <a:gd name="connsiteY8" fmla="*/ 1927380 h 3841229"/>
                <a:gd name="connsiteX9" fmla="*/ 40850 w 1573156"/>
                <a:gd name="connsiteY9" fmla="*/ 1893766 h 3841229"/>
                <a:gd name="connsiteX10" fmla="*/ 43621 w 1573156"/>
                <a:gd name="connsiteY10" fmla="*/ 1844639 h 3841229"/>
                <a:gd name="connsiteX11" fmla="*/ 82416 w 1573156"/>
                <a:gd name="connsiteY11" fmla="*/ 1826538 h 3841229"/>
                <a:gd name="connsiteX12" fmla="*/ 112899 w 1573156"/>
                <a:gd name="connsiteY12" fmla="*/ 1782581 h 3841229"/>
                <a:gd name="connsiteX13" fmla="*/ 96271 w 1573156"/>
                <a:gd name="connsiteY13" fmla="*/ 1754138 h 3841229"/>
                <a:gd name="connsiteX14" fmla="*/ 40851 w 1573156"/>
                <a:gd name="connsiteY14" fmla="*/ 1746381 h 3841229"/>
                <a:gd name="connsiteX15" fmla="*/ 2057 w 1573156"/>
                <a:gd name="connsiteY15" fmla="*/ 1730867 h 3841229"/>
                <a:gd name="connsiteX16" fmla="*/ 38079 w 1573156"/>
                <a:gd name="connsiteY16" fmla="*/ 1689496 h 3841229"/>
                <a:gd name="connsiteX17" fmla="*/ 18683 w 1573156"/>
                <a:gd name="connsiteY17" fmla="*/ 1679153 h 3841229"/>
                <a:gd name="connsiteX18" fmla="*/ 2055 w 1573156"/>
                <a:gd name="connsiteY18" fmla="*/ 1640367 h 3841229"/>
                <a:gd name="connsiteX19" fmla="*/ 65790 w 1573156"/>
                <a:gd name="connsiteY19" fmla="*/ 1650711 h 3841229"/>
                <a:gd name="connsiteX20" fmla="*/ 93501 w 1573156"/>
                <a:gd name="connsiteY20" fmla="*/ 1627440 h 3841229"/>
                <a:gd name="connsiteX21" fmla="*/ 187716 w 1573156"/>
                <a:gd name="connsiteY21" fmla="*/ 1536941 h 3841229"/>
                <a:gd name="connsiteX22" fmla="*/ 212655 w 1573156"/>
                <a:gd name="connsiteY22" fmla="*/ 1505912 h 3841229"/>
                <a:gd name="connsiteX23" fmla="*/ 198801 w 1573156"/>
                <a:gd name="connsiteY23" fmla="*/ 1555040 h 3841229"/>
                <a:gd name="connsiteX24" fmla="*/ 218197 w 1573156"/>
                <a:gd name="connsiteY24" fmla="*/ 1588655 h 3841229"/>
                <a:gd name="connsiteX25" fmla="*/ 262534 w 1573156"/>
                <a:gd name="connsiteY25" fmla="*/ 1666225 h 3841229"/>
                <a:gd name="connsiteX26" fmla="*/ 331810 w 1573156"/>
                <a:gd name="connsiteY26" fmla="*/ 1653297 h 3841229"/>
                <a:gd name="connsiteX27" fmla="*/ 351206 w 1573156"/>
                <a:gd name="connsiteY27" fmla="*/ 1622268 h 3841229"/>
                <a:gd name="connsiteX28" fmla="*/ 365062 w 1573156"/>
                <a:gd name="connsiteY28" fmla="*/ 1557627 h 3841229"/>
                <a:gd name="connsiteX29" fmla="*/ 304099 w 1573156"/>
                <a:gd name="connsiteY29" fmla="*/ 1511084 h 3841229"/>
                <a:gd name="connsiteX30" fmla="*/ 259763 w 1573156"/>
                <a:gd name="connsiteY30" fmla="*/ 1485227 h 3841229"/>
                <a:gd name="connsiteX31" fmla="*/ 198801 w 1573156"/>
                <a:gd name="connsiteY31" fmla="*/ 1495570 h 3841229"/>
                <a:gd name="connsiteX32" fmla="*/ 376147 w 1573156"/>
                <a:gd name="connsiteY32" fmla="*/ 1299057 h 3841229"/>
                <a:gd name="connsiteX33" fmla="*/ 223740 w 1573156"/>
                <a:gd name="connsiteY33" fmla="*/ 1151672 h 3841229"/>
                <a:gd name="connsiteX34" fmla="*/ 284703 w 1573156"/>
                <a:gd name="connsiteY34" fmla="*/ 1089617 h 3841229"/>
                <a:gd name="connsiteX35" fmla="*/ 218198 w 1573156"/>
                <a:gd name="connsiteY35" fmla="*/ 1050829 h 3841229"/>
                <a:gd name="connsiteX36" fmla="*/ 259763 w 1573156"/>
                <a:gd name="connsiteY36" fmla="*/ 1019802 h 3841229"/>
                <a:gd name="connsiteX37" fmla="*/ 212657 w 1573156"/>
                <a:gd name="connsiteY37" fmla="*/ 993947 h 3841229"/>
                <a:gd name="connsiteX38" fmla="*/ 212656 w 1573156"/>
                <a:gd name="connsiteY38" fmla="*/ 794845 h 3841229"/>
                <a:gd name="connsiteX39" fmla="*/ 251451 w 1573156"/>
                <a:gd name="connsiteY39" fmla="*/ 779332 h 3841229"/>
                <a:gd name="connsiteX40" fmla="*/ 137838 w 1573156"/>
                <a:gd name="connsiteY40" fmla="*/ 551792 h 3841229"/>
                <a:gd name="connsiteX41" fmla="*/ 135067 w 1573156"/>
                <a:gd name="connsiteY41" fmla="*/ 551792 h 3841229"/>
                <a:gd name="connsiteX42" fmla="*/ 184945 w 1573156"/>
                <a:gd name="connsiteY42" fmla="*/ 469048 h 3841229"/>
                <a:gd name="connsiteX43" fmla="*/ 201571 w 1573156"/>
                <a:gd name="connsiteY43" fmla="*/ 378550 h 3841229"/>
                <a:gd name="connsiteX44" fmla="*/ 126752 w 1573156"/>
                <a:gd name="connsiteY44" fmla="*/ 319079 h 3841229"/>
                <a:gd name="connsiteX45" fmla="*/ 118440 w 1573156"/>
                <a:gd name="connsiteY45" fmla="*/ 251851 h 3841229"/>
                <a:gd name="connsiteX46" fmla="*/ 173860 w 1573156"/>
                <a:gd name="connsiteY46" fmla="*/ 158764 h 3841229"/>
                <a:gd name="connsiteX47" fmla="*/ 193258 w 1573156"/>
                <a:gd name="connsiteY47" fmla="*/ 135494 h 3841229"/>
                <a:gd name="connsiteX48" fmla="*/ 207113 w 1573156"/>
                <a:gd name="connsiteY48" fmla="*/ 117394 h 3841229"/>
                <a:gd name="connsiteX49" fmla="*/ 215426 w 1573156"/>
                <a:gd name="connsiteY49" fmla="*/ 73438 h 3841229"/>
                <a:gd name="connsiteX50" fmla="*/ 240365 w 1573156"/>
                <a:gd name="connsiteY50" fmla="*/ 101880 h 3841229"/>
                <a:gd name="connsiteX51" fmla="*/ 270847 w 1573156"/>
                <a:gd name="connsiteY51" fmla="*/ 88952 h 3841229"/>
                <a:gd name="connsiteX52" fmla="*/ 273617 w 1573156"/>
                <a:gd name="connsiteY52" fmla="*/ 63095 h 3841229"/>
                <a:gd name="connsiteX53" fmla="*/ 281931 w 1573156"/>
                <a:gd name="connsiteY53" fmla="*/ 34652 h 3841229"/>
                <a:gd name="connsiteX54" fmla="*/ 284703 w 1573156"/>
                <a:gd name="connsiteY54" fmla="*/ 3624 h 3841229"/>
                <a:gd name="connsiteX55" fmla="*/ 420483 w 1573156"/>
                <a:gd name="connsiteY55" fmla="*/ 57924 h 3841229"/>
                <a:gd name="connsiteX56" fmla="*/ 450963 w 1573156"/>
                <a:gd name="connsiteY56" fmla="*/ 161352 h 3841229"/>
                <a:gd name="connsiteX57" fmla="*/ 464819 w 1573156"/>
                <a:gd name="connsiteY57" fmla="*/ 184622 h 3841229"/>
                <a:gd name="connsiteX58" fmla="*/ 475903 w 1573156"/>
                <a:gd name="connsiteY58" fmla="*/ 187208 h 3841229"/>
                <a:gd name="connsiteX59" fmla="*/ 589515 w 1573156"/>
                <a:gd name="connsiteY59" fmla="*/ 156181 h 3841229"/>
                <a:gd name="connsiteX60" fmla="*/ 656020 w 1573156"/>
                <a:gd name="connsiteY60" fmla="*/ 166522 h 3841229"/>
                <a:gd name="connsiteX61" fmla="*/ 719754 w 1573156"/>
                <a:gd name="connsiteY61" fmla="*/ 213065 h 3841229"/>
                <a:gd name="connsiteX62" fmla="*/ 733781 w 1573156"/>
                <a:gd name="connsiteY62" fmla="*/ 242621 h 3841229"/>
                <a:gd name="connsiteX63" fmla="*/ 789028 w 1573156"/>
                <a:gd name="connsiteY63" fmla="*/ 277708 h 3841229"/>
                <a:gd name="connsiteX64" fmla="*/ 877702 w 1573156"/>
                <a:gd name="connsiteY64" fmla="*/ 303563 h 3841229"/>
                <a:gd name="connsiteX65" fmla="*/ 949748 w 1573156"/>
                <a:gd name="connsiteY65" fmla="*/ 350106 h 3841229"/>
                <a:gd name="connsiteX66" fmla="*/ 999627 w 1573156"/>
                <a:gd name="connsiteY66" fmla="*/ 401820 h 3841229"/>
                <a:gd name="connsiteX67" fmla="*/ 1024566 w 1573156"/>
                <a:gd name="connsiteY67" fmla="*/ 440606 h 3841229"/>
                <a:gd name="connsiteX68" fmla="*/ 1057819 w 1573156"/>
                <a:gd name="connsiteY68" fmla="*/ 466462 h 3841229"/>
                <a:gd name="connsiteX69" fmla="*/ 1041191 w 1573156"/>
                <a:gd name="connsiteY69" fmla="*/ 691417 h 3841229"/>
                <a:gd name="connsiteX70" fmla="*/ 913725 w 1573156"/>
                <a:gd name="connsiteY70" fmla="*/ 771575 h 3841229"/>
                <a:gd name="connsiteX71" fmla="*/ 800113 w 1573156"/>
                <a:gd name="connsiteY71" fmla="*/ 779331 h 3841229"/>
                <a:gd name="connsiteX72" fmla="*/ 661560 w 1573156"/>
                <a:gd name="connsiteY72" fmla="*/ 758645 h 3841229"/>
                <a:gd name="connsiteX73" fmla="*/ 570116 w 1573156"/>
                <a:gd name="connsiteY73" fmla="*/ 722445 h 3841229"/>
                <a:gd name="connsiteX74" fmla="*/ 550719 w 1573156"/>
                <a:gd name="connsiteY74" fmla="*/ 750888 h 3841229"/>
                <a:gd name="connsiteX75" fmla="*/ 581361 w 1573156"/>
                <a:gd name="connsiteY75" fmla="*/ 824301 h 3841229"/>
                <a:gd name="connsiteX76" fmla="*/ 586902 w 1573156"/>
                <a:gd name="connsiteY76" fmla="*/ 951000 h 3841229"/>
                <a:gd name="connsiteX77" fmla="*/ 559032 w 1573156"/>
                <a:gd name="connsiteY77" fmla="*/ 1012043 h 3841229"/>
                <a:gd name="connsiteX78" fmla="*/ 614451 w 1573156"/>
                <a:gd name="connsiteY78" fmla="*/ 1032728 h 3841229"/>
                <a:gd name="connsiteX79" fmla="*/ 631079 w 1573156"/>
                <a:gd name="connsiteY79" fmla="*/ 1048242 h 3841229"/>
                <a:gd name="connsiteX80" fmla="*/ 656019 w 1573156"/>
                <a:gd name="connsiteY80" fmla="*/ 1074099 h 3841229"/>
                <a:gd name="connsiteX81" fmla="*/ 653248 w 1573156"/>
                <a:gd name="connsiteY81" fmla="*/ 1076685 h 3841229"/>
                <a:gd name="connsiteX82" fmla="*/ 692041 w 1573156"/>
                <a:gd name="connsiteY82" fmla="*/ 1071514 h 3841229"/>
                <a:gd name="connsiteX83" fmla="*/ 700355 w 1573156"/>
                <a:gd name="connsiteY83" fmla="*/ 1035314 h 3841229"/>
                <a:gd name="connsiteX84" fmla="*/ 661560 w 1573156"/>
                <a:gd name="connsiteY84" fmla="*/ 957743 h 3841229"/>
                <a:gd name="connsiteX85" fmla="*/ 730836 w 1573156"/>
                <a:gd name="connsiteY85" fmla="*/ 911200 h 3841229"/>
                <a:gd name="connsiteX86" fmla="*/ 798608 w 1573156"/>
                <a:gd name="connsiteY86" fmla="*/ 918934 h 3841229"/>
                <a:gd name="connsiteX87" fmla="*/ 822441 w 1573156"/>
                <a:gd name="connsiteY87" fmla="*/ 951001 h 3841229"/>
                <a:gd name="connsiteX88" fmla="*/ 978170 w 1573156"/>
                <a:gd name="connsiteY88" fmla="*/ 1007364 h 3841229"/>
                <a:gd name="connsiteX89" fmla="*/ 963762 w 1573156"/>
                <a:gd name="connsiteY89" fmla="*/ 971687 h 3841229"/>
                <a:gd name="connsiteX90" fmla="*/ 930510 w 1573156"/>
                <a:gd name="connsiteY90" fmla="*/ 932901 h 3841229"/>
                <a:gd name="connsiteX91" fmla="*/ 919426 w 1573156"/>
                <a:gd name="connsiteY91" fmla="*/ 881187 h 3841229"/>
                <a:gd name="connsiteX92" fmla="*/ 958221 w 1573156"/>
                <a:gd name="connsiteY92" fmla="*/ 832060 h 3841229"/>
                <a:gd name="connsiteX93" fmla="*/ 985931 w 1573156"/>
                <a:gd name="connsiteY93" fmla="*/ 803617 h 3841229"/>
                <a:gd name="connsiteX94" fmla="*/ 1010871 w 1573156"/>
                <a:gd name="connsiteY94" fmla="*/ 767417 h 3841229"/>
                <a:gd name="connsiteX95" fmla="*/ 1091231 w 1573156"/>
                <a:gd name="connsiteY95" fmla="*/ 762245 h 3841229"/>
                <a:gd name="connsiteX96" fmla="*/ 1096772 w 1573156"/>
                <a:gd name="connsiteY96" fmla="*/ 741560 h 3841229"/>
                <a:gd name="connsiteX97" fmla="*/ 1121712 w 1573156"/>
                <a:gd name="connsiteY97" fmla="*/ 705360 h 3841229"/>
                <a:gd name="connsiteX98" fmla="*/ 1155516 w 1573156"/>
                <a:gd name="connsiteY98" fmla="*/ 687772 h 3841229"/>
                <a:gd name="connsiteX99" fmla="*/ 1213156 w 1573156"/>
                <a:gd name="connsiteY99" fmla="*/ 700189 h 3841229"/>
                <a:gd name="connsiteX100" fmla="*/ 1251949 w 1573156"/>
                <a:gd name="connsiteY100" fmla="*/ 720875 h 3841229"/>
                <a:gd name="connsiteX101" fmla="*/ 1299057 w 1573156"/>
                <a:gd name="connsiteY101" fmla="*/ 728632 h 3841229"/>
                <a:gd name="connsiteX102" fmla="*/ 1299057 w 1573156"/>
                <a:gd name="connsiteY102" fmla="*/ 733803 h 3841229"/>
                <a:gd name="connsiteX103" fmla="*/ 1321226 w 1573156"/>
                <a:gd name="connsiteY103" fmla="*/ 674332 h 3841229"/>
                <a:gd name="connsiteX104" fmla="*/ 1331201 w 1573156"/>
                <a:gd name="connsiteY104" fmla="*/ 640714 h 3841229"/>
                <a:gd name="connsiteX105" fmla="*/ 1337852 w 1573156"/>
                <a:gd name="connsiteY105" fmla="*/ 622618 h 3841229"/>
                <a:gd name="connsiteX106" fmla="*/ 1340789 w 1573156"/>
                <a:gd name="connsiteY106" fmla="*/ 591288 h 3841229"/>
                <a:gd name="connsiteX107" fmla="*/ 1260263 w 1573156"/>
                <a:gd name="connsiteY107" fmla="*/ 545048 h 3841229"/>
                <a:gd name="connsiteX108" fmla="*/ 1246408 w 1573156"/>
                <a:gd name="connsiteY108" fmla="*/ 472648 h 3841229"/>
                <a:gd name="connsiteX109" fmla="*/ 1246408 w 1573156"/>
                <a:gd name="connsiteY109" fmla="*/ 454548 h 3841229"/>
                <a:gd name="connsiteX110" fmla="*/ 1257491 w 1573156"/>
                <a:gd name="connsiteY110" fmla="*/ 431276 h 3841229"/>
                <a:gd name="connsiteX111" fmla="*/ 1260263 w 1573156"/>
                <a:gd name="connsiteY111" fmla="*/ 415762 h 3841229"/>
                <a:gd name="connsiteX112" fmla="*/ 1260262 w 1573156"/>
                <a:gd name="connsiteY112" fmla="*/ 358878 h 3841229"/>
                <a:gd name="connsiteX113" fmla="*/ 1238094 w 1573156"/>
                <a:gd name="connsiteY113" fmla="*/ 335607 h 3841229"/>
                <a:gd name="connsiteX114" fmla="*/ 1210384 w 1573156"/>
                <a:gd name="connsiteY114" fmla="*/ 304578 h 3841229"/>
                <a:gd name="connsiteX115" fmla="*/ 1206216 w 1573156"/>
                <a:gd name="connsiteY115" fmla="*/ 280325 h 3841229"/>
                <a:gd name="connsiteX116" fmla="*/ 1257492 w 1573156"/>
                <a:gd name="connsiteY116" fmla="*/ 258034 h 3841229"/>
                <a:gd name="connsiteX117" fmla="*/ 1311072 w 1573156"/>
                <a:gd name="connsiteY117" fmla="*/ 267906 h 3841229"/>
                <a:gd name="connsiteX118" fmla="*/ 1389856 w 1573156"/>
                <a:gd name="connsiteY118" fmla="*/ 279816 h 3841229"/>
                <a:gd name="connsiteX119" fmla="*/ 1474179 w 1573156"/>
                <a:gd name="connsiteY119" fmla="*/ 349175 h 3841229"/>
                <a:gd name="connsiteX120" fmla="*/ 1536314 w 1573156"/>
                <a:gd name="connsiteY120" fmla="*/ 425271 h 3841229"/>
                <a:gd name="connsiteX121" fmla="*/ 1435343 w 1573156"/>
                <a:gd name="connsiteY121" fmla="*/ 454265 h 3841229"/>
                <a:gd name="connsiteX122" fmla="*/ 1419809 w 1573156"/>
                <a:gd name="connsiteY122" fmla="*/ 501372 h 3841229"/>
                <a:gd name="connsiteX123" fmla="*/ 1477479 w 1573156"/>
                <a:gd name="connsiteY123" fmla="*/ 585862 h 3841229"/>
                <a:gd name="connsiteX124" fmla="*/ 1513013 w 1573156"/>
                <a:gd name="connsiteY124" fmla="*/ 591964 h 3841229"/>
                <a:gd name="connsiteX125" fmla="*/ 1565633 w 1573156"/>
                <a:gd name="connsiteY125" fmla="*/ 598304 h 3841229"/>
                <a:gd name="connsiteX126" fmla="*/ 1560670 w 1573156"/>
                <a:gd name="connsiteY126" fmla="*/ 709079 h 3841229"/>
                <a:gd name="connsiteX127" fmla="*/ 1571739 w 1573156"/>
                <a:gd name="connsiteY127" fmla="*/ 1040047 h 3841229"/>
                <a:gd name="connsiteX128" fmla="*/ 1562871 w 1573156"/>
                <a:gd name="connsiteY128" fmla="*/ 1842646 h 3841229"/>
                <a:gd name="connsiteX129" fmla="*/ 1571738 w 1573156"/>
                <a:gd name="connsiteY129" fmla="*/ 2297728 h 3841229"/>
                <a:gd name="connsiteX130" fmla="*/ 1561917 w 1573156"/>
                <a:gd name="connsiteY130" fmla="*/ 3721463 h 3841229"/>
                <a:gd name="connsiteX131" fmla="*/ 1556603 w 1573156"/>
                <a:gd name="connsiteY131" fmla="*/ 3758050 h 3841229"/>
                <a:gd name="connsiteX132" fmla="*/ 1534434 w 1573156"/>
                <a:gd name="connsiteY132" fmla="*/ 3701165 h 3841229"/>
                <a:gd name="connsiteX133" fmla="*/ 1545518 w 1573156"/>
                <a:gd name="connsiteY133" fmla="*/ 3688238 h 3841229"/>
                <a:gd name="connsiteX134" fmla="*/ 1503953 w 1573156"/>
                <a:gd name="connsiteY134" fmla="*/ 3670136 h 3841229"/>
                <a:gd name="connsiteX135" fmla="*/ 1473471 w 1573156"/>
                <a:gd name="connsiteY135" fmla="*/ 3685650 h 3841229"/>
                <a:gd name="connsiteX136" fmla="*/ 1445761 w 1573156"/>
                <a:gd name="connsiteY136" fmla="*/ 3652040 h 3841229"/>
                <a:gd name="connsiteX137" fmla="*/ 1398654 w 1573156"/>
                <a:gd name="connsiteY137" fmla="*/ 3659796 h 3841229"/>
                <a:gd name="connsiteX138" fmla="*/ 1357089 w 1573156"/>
                <a:gd name="connsiteY138" fmla="*/ 3662380 h 3841229"/>
                <a:gd name="connsiteX139" fmla="*/ 1343234 w 1573156"/>
                <a:gd name="connsiteY139" fmla="*/ 3631352 h 3841229"/>
                <a:gd name="connsiteX140" fmla="*/ 1304439 w 1573156"/>
                <a:gd name="connsiteY140" fmla="*/ 3641695 h 3841229"/>
                <a:gd name="connsiteX141" fmla="*/ 1290584 w 1573156"/>
                <a:gd name="connsiteY141" fmla="*/ 3610666 h 3841229"/>
                <a:gd name="connsiteX142" fmla="*/ 1195420 w 1573156"/>
                <a:gd name="connsiteY142" fmla="*/ 3605469 h 3841229"/>
                <a:gd name="connsiteX143" fmla="*/ 1013482 w 1573156"/>
                <a:gd name="connsiteY143" fmla="*/ 3592567 h 3841229"/>
                <a:gd name="connsiteX144" fmla="*/ 1123928 w 1573156"/>
                <a:gd name="connsiteY144" fmla="*/ 3663387 h 3841229"/>
                <a:gd name="connsiteX145" fmla="*/ 907787 w 1573156"/>
                <a:gd name="connsiteY145" fmla="*/ 3629257 h 3841229"/>
                <a:gd name="connsiteX146" fmla="*/ 776238 w 1573156"/>
                <a:gd name="connsiteY146" fmla="*/ 3504783 h 3841229"/>
                <a:gd name="connsiteX147" fmla="*/ 708669 w 1573156"/>
                <a:gd name="connsiteY147" fmla="*/ 3437426 h 3841229"/>
                <a:gd name="connsiteX148" fmla="*/ 739150 w 1573156"/>
                <a:gd name="connsiteY148" fmla="*/ 3437426 h 3841229"/>
                <a:gd name="connsiteX149" fmla="*/ 750233 w 1573156"/>
                <a:gd name="connsiteY149" fmla="*/ 3408982 h 3841229"/>
                <a:gd name="connsiteX150" fmla="*/ 783486 w 1573156"/>
                <a:gd name="connsiteY150" fmla="*/ 3354683 h 3841229"/>
                <a:gd name="connsiteX151" fmla="*/ 747462 w 1573156"/>
                <a:gd name="connsiteY151" fmla="*/ 3297798 h 3841229"/>
                <a:gd name="connsiteX152" fmla="*/ 836135 w 1573156"/>
                <a:gd name="connsiteY152" fmla="*/ 3225398 h 3841229"/>
                <a:gd name="connsiteX153" fmla="*/ 902641 w 1573156"/>
                <a:gd name="connsiteY153" fmla="*/ 3217642 h 3841229"/>
                <a:gd name="connsiteX154" fmla="*/ 955289 w 1573156"/>
                <a:gd name="connsiteY154" fmla="*/ 3160756 h 3841229"/>
                <a:gd name="connsiteX155" fmla="*/ 1024565 w 1573156"/>
                <a:gd name="connsiteY155" fmla="*/ 3114213 h 3841229"/>
                <a:gd name="connsiteX156" fmla="*/ 1019023 w 1573156"/>
                <a:gd name="connsiteY156" fmla="*/ 3067671 h 3841229"/>
                <a:gd name="connsiteX157" fmla="*/ 1043963 w 1573156"/>
                <a:gd name="connsiteY157" fmla="*/ 3028886 h 3841229"/>
                <a:gd name="connsiteX158" fmla="*/ 1016252 w 1573156"/>
                <a:gd name="connsiteY158" fmla="*/ 3026300 h 3841229"/>
                <a:gd name="connsiteX159" fmla="*/ 1031704 w 1573156"/>
                <a:gd name="connsiteY159" fmla="*/ 2992878 h 3841229"/>
                <a:gd name="connsiteX160" fmla="*/ 914211 w 1573156"/>
                <a:gd name="connsiteY160" fmla="*/ 2928233 h 3841229"/>
                <a:gd name="connsiteX161" fmla="*/ 877701 w 1573156"/>
                <a:gd name="connsiteY161" fmla="*/ 2920285 h 3841229"/>
                <a:gd name="connsiteX162" fmla="*/ 858304 w 1573156"/>
                <a:gd name="connsiteY162" fmla="*/ 2909943 h 3841229"/>
                <a:gd name="connsiteX163" fmla="*/ 827823 w 1573156"/>
                <a:gd name="connsiteY163" fmla="*/ 2881501 h 3841229"/>
                <a:gd name="connsiteX164" fmla="*/ 761317 w 1573156"/>
                <a:gd name="connsiteY164" fmla="*/ 2897015 h 3841229"/>
                <a:gd name="connsiteX165" fmla="*/ 700355 w 1573156"/>
                <a:gd name="connsiteY165" fmla="*/ 2891844 h 3841229"/>
                <a:gd name="connsiteX166" fmla="*/ 658790 w 1573156"/>
                <a:gd name="connsiteY166" fmla="*/ 2827201 h 3841229"/>
                <a:gd name="connsiteX167" fmla="*/ 656019 w 1573156"/>
                <a:gd name="connsiteY167" fmla="*/ 2785830 h 3841229"/>
                <a:gd name="connsiteX168" fmla="*/ 631080 w 1573156"/>
                <a:gd name="connsiteY168" fmla="*/ 2772902 h 3841229"/>
                <a:gd name="connsiteX169" fmla="*/ 567346 w 1573156"/>
                <a:gd name="connsiteY169" fmla="*/ 2759974 h 3841229"/>
                <a:gd name="connsiteX170" fmla="*/ 586743 w 1573156"/>
                <a:gd name="connsiteY170" fmla="*/ 2721188 h 3841229"/>
                <a:gd name="connsiteX171" fmla="*/ 557777 w 1573156"/>
                <a:gd name="connsiteY171" fmla="*/ 2715007 h 3841229"/>
                <a:gd name="connsiteX172" fmla="*/ 531809 w 1573156"/>
                <a:gd name="connsiteY172" fmla="*/ 2672771 h 3841229"/>
                <a:gd name="connsiteX173" fmla="*/ 414939 w 1573156"/>
                <a:gd name="connsiteY173" fmla="*/ 2682402 h 3841229"/>
                <a:gd name="connsiteX174" fmla="*/ 390000 w 1573156"/>
                <a:gd name="connsiteY174" fmla="*/ 2672059 h 3841229"/>
                <a:gd name="connsiteX175" fmla="*/ 367832 w 1573156"/>
                <a:gd name="connsiteY175" fmla="*/ 2684989 h 3841229"/>
                <a:gd name="connsiteX176" fmla="*/ 351205 w 1573156"/>
                <a:gd name="connsiteY176" fmla="*/ 2622932 h 3841229"/>
                <a:gd name="connsiteX177" fmla="*/ 340121 w 1573156"/>
                <a:gd name="connsiteY177" fmla="*/ 2597075 h 3841229"/>
                <a:gd name="connsiteX178" fmla="*/ 353976 w 1573156"/>
                <a:gd name="connsiteY178" fmla="*/ 2578974 h 3841229"/>
                <a:gd name="connsiteX179" fmla="*/ 381687 w 1573156"/>
                <a:gd name="connsiteY179" fmla="*/ 2581561 h 3841229"/>
                <a:gd name="connsiteX180" fmla="*/ 414939 w 1573156"/>
                <a:gd name="connsiteY180" fmla="*/ 2563461 h 3841229"/>
                <a:gd name="connsiteX181" fmla="*/ 412168 w 1573156"/>
                <a:gd name="connsiteY181" fmla="*/ 2537603 h 3841229"/>
                <a:gd name="connsiteX182" fmla="*/ 362289 w 1573156"/>
                <a:gd name="connsiteY182" fmla="*/ 2501404 h 3841229"/>
                <a:gd name="connsiteX183" fmla="*/ 338946 w 1573156"/>
                <a:gd name="connsiteY183" fmla="*/ 2513491 h 3841229"/>
                <a:gd name="connsiteX184" fmla="*/ 340121 w 1573156"/>
                <a:gd name="connsiteY184" fmla="*/ 2467790 h 3841229"/>
                <a:gd name="connsiteX185" fmla="*/ 306869 w 1573156"/>
                <a:gd name="connsiteY185" fmla="*/ 2429005 h 3841229"/>
                <a:gd name="connsiteX186" fmla="*/ 309641 w 1573156"/>
                <a:gd name="connsiteY186" fmla="*/ 2351433 h 3841229"/>
                <a:gd name="connsiteX187" fmla="*/ 290243 w 1573156"/>
                <a:gd name="connsiteY187" fmla="*/ 2299720 h 3841229"/>
                <a:gd name="connsiteX188" fmla="*/ 256991 w 1573156"/>
                <a:gd name="connsiteY188" fmla="*/ 2266106 h 3841229"/>
                <a:gd name="connsiteX189" fmla="*/ 218196 w 1573156"/>
                <a:gd name="connsiteY189" fmla="*/ 2242835 h 3841229"/>
                <a:gd name="connsiteX190" fmla="*/ 176631 w 1573156"/>
                <a:gd name="connsiteY190" fmla="*/ 2250592 h 3841229"/>
                <a:gd name="connsiteX191" fmla="*/ 122255 w 1573156"/>
                <a:gd name="connsiteY191" fmla="*/ 2214066 h 3841229"/>
                <a:gd name="connsiteX0" fmla="*/ 122255 w 1573156"/>
                <a:gd name="connsiteY0" fmla="*/ 2214066 h 3841229"/>
                <a:gd name="connsiteX1" fmla="*/ 63018 w 1573156"/>
                <a:gd name="connsiteY1" fmla="*/ 2216977 h 3841229"/>
                <a:gd name="connsiteX2" fmla="*/ 60248 w 1573156"/>
                <a:gd name="connsiteY2" fmla="*/ 2118721 h 3841229"/>
                <a:gd name="connsiteX3" fmla="*/ 71333 w 1573156"/>
                <a:gd name="connsiteY3" fmla="*/ 2077350 h 3841229"/>
                <a:gd name="connsiteX4" fmla="*/ 74102 w 1573156"/>
                <a:gd name="connsiteY4" fmla="*/ 2030807 h 3841229"/>
                <a:gd name="connsiteX5" fmla="*/ 54707 w 1573156"/>
                <a:gd name="connsiteY5" fmla="*/ 2028225 h 3841229"/>
                <a:gd name="connsiteX6" fmla="*/ 118439 w 1573156"/>
                <a:gd name="connsiteY6" fmla="*/ 1992023 h 3841229"/>
                <a:gd name="connsiteX7" fmla="*/ 82416 w 1573156"/>
                <a:gd name="connsiteY7" fmla="*/ 1963580 h 3841229"/>
                <a:gd name="connsiteX8" fmla="*/ 51935 w 1573156"/>
                <a:gd name="connsiteY8" fmla="*/ 1927380 h 3841229"/>
                <a:gd name="connsiteX9" fmla="*/ 40850 w 1573156"/>
                <a:gd name="connsiteY9" fmla="*/ 1893766 h 3841229"/>
                <a:gd name="connsiteX10" fmla="*/ 43621 w 1573156"/>
                <a:gd name="connsiteY10" fmla="*/ 1844639 h 3841229"/>
                <a:gd name="connsiteX11" fmla="*/ 82416 w 1573156"/>
                <a:gd name="connsiteY11" fmla="*/ 1826538 h 3841229"/>
                <a:gd name="connsiteX12" fmla="*/ 112899 w 1573156"/>
                <a:gd name="connsiteY12" fmla="*/ 1782581 h 3841229"/>
                <a:gd name="connsiteX13" fmla="*/ 96271 w 1573156"/>
                <a:gd name="connsiteY13" fmla="*/ 1754138 h 3841229"/>
                <a:gd name="connsiteX14" fmla="*/ 40851 w 1573156"/>
                <a:gd name="connsiteY14" fmla="*/ 1746381 h 3841229"/>
                <a:gd name="connsiteX15" fmla="*/ 2057 w 1573156"/>
                <a:gd name="connsiteY15" fmla="*/ 1730867 h 3841229"/>
                <a:gd name="connsiteX16" fmla="*/ 38079 w 1573156"/>
                <a:gd name="connsiteY16" fmla="*/ 1689496 h 3841229"/>
                <a:gd name="connsiteX17" fmla="*/ 18683 w 1573156"/>
                <a:gd name="connsiteY17" fmla="*/ 1679153 h 3841229"/>
                <a:gd name="connsiteX18" fmla="*/ 2055 w 1573156"/>
                <a:gd name="connsiteY18" fmla="*/ 1640367 h 3841229"/>
                <a:gd name="connsiteX19" fmla="*/ 65790 w 1573156"/>
                <a:gd name="connsiteY19" fmla="*/ 1650711 h 3841229"/>
                <a:gd name="connsiteX20" fmla="*/ 93501 w 1573156"/>
                <a:gd name="connsiteY20" fmla="*/ 1627440 h 3841229"/>
                <a:gd name="connsiteX21" fmla="*/ 187716 w 1573156"/>
                <a:gd name="connsiteY21" fmla="*/ 1536941 h 3841229"/>
                <a:gd name="connsiteX22" fmla="*/ 212655 w 1573156"/>
                <a:gd name="connsiteY22" fmla="*/ 1505912 h 3841229"/>
                <a:gd name="connsiteX23" fmla="*/ 198801 w 1573156"/>
                <a:gd name="connsiteY23" fmla="*/ 1555040 h 3841229"/>
                <a:gd name="connsiteX24" fmla="*/ 218197 w 1573156"/>
                <a:gd name="connsiteY24" fmla="*/ 1588655 h 3841229"/>
                <a:gd name="connsiteX25" fmla="*/ 262534 w 1573156"/>
                <a:gd name="connsiteY25" fmla="*/ 1666225 h 3841229"/>
                <a:gd name="connsiteX26" fmla="*/ 331810 w 1573156"/>
                <a:gd name="connsiteY26" fmla="*/ 1653297 h 3841229"/>
                <a:gd name="connsiteX27" fmla="*/ 351206 w 1573156"/>
                <a:gd name="connsiteY27" fmla="*/ 1622268 h 3841229"/>
                <a:gd name="connsiteX28" fmla="*/ 365062 w 1573156"/>
                <a:gd name="connsiteY28" fmla="*/ 1557627 h 3841229"/>
                <a:gd name="connsiteX29" fmla="*/ 304099 w 1573156"/>
                <a:gd name="connsiteY29" fmla="*/ 1511084 h 3841229"/>
                <a:gd name="connsiteX30" fmla="*/ 259763 w 1573156"/>
                <a:gd name="connsiteY30" fmla="*/ 1485227 h 3841229"/>
                <a:gd name="connsiteX31" fmla="*/ 198801 w 1573156"/>
                <a:gd name="connsiteY31" fmla="*/ 1495570 h 3841229"/>
                <a:gd name="connsiteX32" fmla="*/ 376147 w 1573156"/>
                <a:gd name="connsiteY32" fmla="*/ 1299057 h 3841229"/>
                <a:gd name="connsiteX33" fmla="*/ 223740 w 1573156"/>
                <a:gd name="connsiteY33" fmla="*/ 1151672 h 3841229"/>
                <a:gd name="connsiteX34" fmla="*/ 284703 w 1573156"/>
                <a:gd name="connsiteY34" fmla="*/ 1089617 h 3841229"/>
                <a:gd name="connsiteX35" fmla="*/ 218198 w 1573156"/>
                <a:gd name="connsiteY35" fmla="*/ 1050829 h 3841229"/>
                <a:gd name="connsiteX36" fmla="*/ 259763 w 1573156"/>
                <a:gd name="connsiteY36" fmla="*/ 1019802 h 3841229"/>
                <a:gd name="connsiteX37" fmla="*/ 212657 w 1573156"/>
                <a:gd name="connsiteY37" fmla="*/ 993947 h 3841229"/>
                <a:gd name="connsiteX38" fmla="*/ 212656 w 1573156"/>
                <a:gd name="connsiteY38" fmla="*/ 794845 h 3841229"/>
                <a:gd name="connsiteX39" fmla="*/ 251451 w 1573156"/>
                <a:gd name="connsiteY39" fmla="*/ 779332 h 3841229"/>
                <a:gd name="connsiteX40" fmla="*/ 137838 w 1573156"/>
                <a:gd name="connsiteY40" fmla="*/ 551792 h 3841229"/>
                <a:gd name="connsiteX41" fmla="*/ 135067 w 1573156"/>
                <a:gd name="connsiteY41" fmla="*/ 551792 h 3841229"/>
                <a:gd name="connsiteX42" fmla="*/ 184945 w 1573156"/>
                <a:gd name="connsiteY42" fmla="*/ 469048 h 3841229"/>
                <a:gd name="connsiteX43" fmla="*/ 201571 w 1573156"/>
                <a:gd name="connsiteY43" fmla="*/ 378550 h 3841229"/>
                <a:gd name="connsiteX44" fmla="*/ 126752 w 1573156"/>
                <a:gd name="connsiteY44" fmla="*/ 319079 h 3841229"/>
                <a:gd name="connsiteX45" fmla="*/ 118440 w 1573156"/>
                <a:gd name="connsiteY45" fmla="*/ 251851 h 3841229"/>
                <a:gd name="connsiteX46" fmla="*/ 173860 w 1573156"/>
                <a:gd name="connsiteY46" fmla="*/ 158764 h 3841229"/>
                <a:gd name="connsiteX47" fmla="*/ 193258 w 1573156"/>
                <a:gd name="connsiteY47" fmla="*/ 135494 h 3841229"/>
                <a:gd name="connsiteX48" fmla="*/ 207113 w 1573156"/>
                <a:gd name="connsiteY48" fmla="*/ 117394 h 3841229"/>
                <a:gd name="connsiteX49" fmla="*/ 215426 w 1573156"/>
                <a:gd name="connsiteY49" fmla="*/ 73438 h 3841229"/>
                <a:gd name="connsiteX50" fmla="*/ 240365 w 1573156"/>
                <a:gd name="connsiteY50" fmla="*/ 101880 h 3841229"/>
                <a:gd name="connsiteX51" fmla="*/ 270847 w 1573156"/>
                <a:gd name="connsiteY51" fmla="*/ 88952 h 3841229"/>
                <a:gd name="connsiteX52" fmla="*/ 273617 w 1573156"/>
                <a:gd name="connsiteY52" fmla="*/ 63095 h 3841229"/>
                <a:gd name="connsiteX53" fmla="*/ 281931 w 1573156"/>
                <a:gd name="connsiteY53" fmla="*/ 34652 h 3841229"/>
                <a:gd name="connsiteX54" fmla="*/ 284703 w 1573156"/>
                <a:gd name="connsiteY54" fmla="*/ 3624 h 3841229"/>
                <a:gd name="connsiteX55" fmla="*/ 420483 w 1573156"/>
                <a:gd name="connsiteY55" fmla="*/ 57924 h 3841229"/>
                <a:gd name="connsiteX56" fmla="*/ 450963 w 1573156"/>
                <a:gd name="connsiteY56" fmla="*/ 161352 h 3841229"/>
                <a:gd name="connsiteX57" fmla="*/ 464819 w 1573156"/>
                <a:gd name="connsiteY57" fmla="*/ 184622 h 3841229"/>
                <a:gd name="connsiteX58" fmla="*/ 475903 w 1573156"/>
                <a:gd name="connsiteY58" fmla="*/ 187208 h 3841229"/>
                <a:gd name="connsiteX59" fmla="*/ 589515 w 1573156"/>
                <a:gd name="connsiteY59" fmla="*/ 156181 h 3841229"/>
                <a:gd name="connsiteX60" fmla="*/ 656020 w 1573156"/>
                <a:gd name="connsiteY60" fmla="*/ 166522 h 3841229"/>
                <a:gd name="connsiteX61" fmla="*/ 719754 w 1573156"/>
                <a:gd name="connsiteY61" fmla="*/ 213065 h 3841229"/>
                <a:gd name="connsiteX62" fmla="*/ 733781 w 1573156"/>
                <a:gd name="connsiteY62" fmla="*/ 242621 h 3841229"/>
                <a:gd name="connsiteX63" fmla="*/ 789028 w 1573156"/>
                <a:gd name="connsiteY63" fmla="*/ 277708 h 3841229"/>
                <a:gd name="connsiteX64" fmla="*/ 877702 w 1573156"/>
                <a:gd name="connsiteY64" fmla="*/ 303563 h 3841229"/>
                <a:gd name="connsiteX65" fmla="*/ 949748 w 1573156"/>
                <a:gd name="connsiteY65" fmla="*/ 350106 h 3841229"/>
                <a:gd name="connsiteX66" fmla="*/ 999627 w 1573156"/>
                <a:gd name="connsiteY66" fmla="*/ 401820 h 3841229"/>
                <a:gd name="connsiteX67" fmla="*/ 1024566 w 1573156"/>
                <a:gd name="connsiteY67" fmla="*/ 440606 h 3841229"/>
                <a:gd name="connsiteX68" fmla="*/ 1057819 w 1573156"/>
                <a:gd name="connsiteY68" fmla="*/ 466462 h 3841229"/>
                <a:gd name="connsiteX69" fmla="*/ 1041191 w 1573156"/>
                <a:gd name="connsiteY69" fmla="*/ 691417 h 3841229"/>
                <a:gd name="connsiteX70" fmla="*/ 913725 w 1573156"/>
                <a:gd name="connsiteY70" fmla="*/ 771575 h 3841229"/>
                <a:gd name="connsiteX71" fmla="*/ 800113 w 1573156"/>
                <a:gd name="connsiteY71" fmla="*/ 779331 h 3841229"/>
                <a:gd name="connsiteX72" fmla="*/ 661560 w 1573156"/>
                <a:gd name="connsiteY72" fmla="*/ 758645 h 3841229"/>
                <a:gd name="connsiteX73" fmla="*/ 570116 w 1573156"/>
                <a:gd name="connsiteY73" fmla="*/ 722445 h 3841229"/>
                <a:gd name="connsiteX74" fmla="*/ 550719 w 1573156"/>
                <a:gd name="connsiteY74" fmla="*/ 750888 h 3841229"/>
                <a:gd name="connsiteX75" fmla="*/ 581361 w 1573156"/>
                <a:gd name="connsiteY75" fmla="*/ 824301 h 3841229"/>
                <a:gd name="connsiteX76" fmla="*/ 586902 w 1573156"/>
                <a:gd name="connsiteY76" fmla="*/ 951000 h 3841229"/>
                <a:gd name="connsiteX77" fmla="*/ 559032 w 1573156"/>
                <a:gd name="connsiteY77" fmla="*/ 1012043 h 3841229"/>
                <a:gd name="connsiteX78" fmla="*/ 614451 w 1573156"/>
                <a:gd name="connsiteY78" fmla="*/ 1032728 h 3841229"/>
                <a:gd name="connsiteX79" fmla="*/ 631079 w 1573156"/>
                <a:gd name="connsiteY79" fmla="*/ 1048242 h 3841229"/>
                <a:gd name="connsiteX80" fmla="*/ 656019 w 1573156"/>
                <a:gd name="connsiteY80" fmla="*/ 1074099 h 3841229"/>
                <a:gd name="connsiteX81" fmla="*/ 653248 w 1573156"/>
                <a:gd name="connsiteY81" fmla="*/ 1076685 h 3841229"/>
                <a:gd name="connsiteX82" fmla="*/ 692041 w 1573156"/>
                <a:gd name="connsiteY82" fmla="*/ 1071514 h 3841229"/>
                <a:gd name="connsiteX83" fmla="*/ 700355 w 1573156"/>
                <a:gd name="connsiteY83" fmla="*/ 1035314 h 3841229"/>
                <a:gd name="connsiteX84" fmla="*/ 661560 w 1573156"/>
                <a:gd name="connsiteY84" fmla="*/ 957743 h 3841229"/>
                <a:gd name="connsiteX85" fmla="*/ 730836 w 1573156"/>
                <a:gd name="connsiteY85" fmla="*/ 911200 h 3841229"/>
                <a:gd name="connsiteX86" fmla="*/ 798608 w 1573156"/>
                <a:gd name="connsiteY86" fmla="*/ 918934 h 3841229"/>
                <a:gd name="connsiteX87" fmla="*/ 822441 w 1573156"/>
                <a:gd name="connsiteY87" fmla="*/ 951001 h 3841229"/>
                <a:gd name="connsiteX88" fmla="*/ 978170 w 1573156"/>
                <a:gd name="connsiteY88" fmla="*/ 1007364 h 3841229"/>
                <a:gd name="connsiteX89" fmla="*/ 963762 w 1573156"/>
                <a:gd name="connsiteY89" fmla="*/ 971687 h 3841229"/>
                <a:gd name="connsiteX90" fmla="*/ 930510 w 1573156"/>
                <a:gd name="connsiteY90" fmla="*/ 932901 h 3841229"/>
                <a:gd name="connsiteX91" fmla="*/ 919426 w 1573156"/>
                <a:gd name="connsiteY91" fmla="*/ 881187 h 3841229"/>
                <a:gd name="connsiteX92" fmla="*/ 958221 w 1573156"/>
                <a:gd name="connsiteY92" fmla="*/ 832060 h 3841229"/>
                <a:gd name="connsiteX93" fmla="*/ 985931 w 1573156"/>
                <a:gd name="connsiteY93" fmla="*/ 803617 h 3841229"/>
                <a:gd name="connsiteX94" fmla="*/ 1010871 w 1573156"/>
                <a:gd name="connsiteY94" fmla="*/ 767417 h 3841229"/>
                <a:gd name="connsiteX95" fmla="*/ 1091231 w 1573156"/>
                <a:gd name="connsiteY95" fmla="*/ 762245 h 3841229"/>
                <a:gd name="connsiteX96" fmla="*/ 1096772 w 1573156"/>
                <a:gd name="connsiteY96" fmla="*/ 741560 h 3841229"/>
                <a:gd name="connsiteX97" fmla="*/ 1121712 w 1573156"/>
                <a:gd name="connsiteY97" fmla="*/ 705360 h 3841229"/>
                <a:gd name="connsiteX98" fmla="*/ 1155516 w 1573156"/>
                <a:gd name="connsiteY98" fmla="*/ 687772 h 3841229"/>
                <a:gd name="connsiteX99" fmla="*/ 1213156 w 1573156"/>
                <a:gd name="connsiteY99" fmla="*/ 700189 h 3841229"/>
                <a:gd name="connsiteX100" fmla="*/ 1251949 w 1573156"/>
                <a:gd name="connsiteY100" fmla="*/ 720875 h 3841229"/>
                <a:gd name="connsiteX101" fmla="*/ 1299057 w 1573156"/>
                <a:gd name="connsiteY101" fmla="*/ 728632 h 3841229"/>
                <a:gd name="connsiteX102" fmla="*/ 1299057 w 1573156"/>
                <a:gd name="connsiteY102" fmla="*/ 733803 h 3841229"/>
                <a:gd name="connsiteX103" fmla="*/ 1321226 w 1573156"/>
                <a:gd name="connsiteY103" fmla="*/ 674332 h 3841229"/>
                <a:gd name="connsiteX104" fmla="*/ 1331201 w 1573156"/>
                <a:gd name="connsiteY104" fmla="*/ 640714 h 3841229"/>
                <a:gd name="connsiteX105" fmla="*/ 1337852 w 1573156"/>
                <a:gd name="connsiteY105" fmla="*/ 622618 h 3841229"/>
                <a:gd name="connsiteX106" fmla="*/ 1340789 w 1573156"/>
                <a:gd name="connsiteY106" fmla="*/ 591288 h 3841229"/>
                <a:gd name="connsiteX107" fmla="*/ 1260263 w 1573156"/>
                <a:gd name="connsiteY107" fmla="*/ 545048 h 3841229"/>
                <a:gd name="connsiteX108" fmla="*/ 1246408 w 1573156"/>
                <a:gd name="connsiteY108" fmla="*/ 472648 h 3841229"/>
                <a:gd name="connsiteX109" fmla="*/ 1246408 w 1573156"/>
                <a:gd name="connsiteY109" fmla="*/ 454548 h 3841229"/>
                <a:gd name="connsiteX110" fmla="*/ 1257491 w 1573156"/>
                <a:gd name="connsiteY110" fmla="*/ 431276 h 3841229"/>
                <a:gd name="connsiteX111" fmla="*/ 1260263 w 1573156"/>
                <a:gd name="connsiteY111" fmla="*/ 415762 h 3841229"/>
                <a:gd name="connsiteX112" fmla="*/ 1260262 w 1573156"/>
                <a:gd name="connsiteY112" fmla="*/ 358878 h 3841229"/>
                <a:gd name="connsiteX113" fmla="*/ 1238094 w 1573156"/>
                <a:gd name="connsiteY113" fmla="*/ 335607 h 3841229"/>
                <a:gd name="connsiteX114" fmla="*/ 1210384 w 1573156"/>
                <a:gd name="connsiteY114" fmla="*/ 304578 h 3841229"/>
                <a:gd name="connsiteX115" fmla="*/ 1206216 w 1573156"/>
                <a:gd name="connsiteY115" fmla="*/ 280325 h 3841229"/>
                <a:gd name="connsiteX116" fmla="*/ 1257492 w 1573156"/>
                <a:gd name="connsiteY116" fmla="*/ 258034 h 3841229"/>
                <a:gd name="connsiteX117" fmla="*/ 1311072 w 1573156"/>
                <a:gd name="connsiteY117" fmla="*/ 267906 h 3841229"/>
                <a:gd name="connsiteX118" fmla="*/ 1389856 w 1573156"/>
                <a:gd name="connsiteY118" fmla="*/ 279816 h 3841229"/>
                <a:gd name="connsiteX119" fmla="*/ 1474179 w 1573156"/>
                <a:gd name="connsiteY119" fmla="*/ 349175 h 3841229"/>
                <a:gd name="connsiteX120" fmla="*/ 1536314 w 1573156"/>
                <a:gd name="connsiteY120" fmla="*/ 425271 h 3841229"/>
                <a:gd name="connsiteX121" fmla="*/ 1435343 w 1573156"/>
                <a:gd name="connsiteY121" fmla="*/ 454265 h 3841229"/>
                <a:gd name="connsiteX122" fmla="*/ 1419809 w 1573156"/>
                <a:gd name="connsiteY122" fmla="*/ 501372 h 3841229"/>
                <a:gd name="connsiteX123" fmla="*/ 1477479 w 1573156"/>
                <a:gd name="connsiteY123" fmla="*/ 585862 h 3841229"/>
                <a:gd name="connsiteX124" fmla="*/ 1513013 w 1573156"/>
                <a:gd name="connsiteY124" fmla="*/ 591964 h 3841229"/>
                <a:gd name="connsiteX125" fmla="*/ 1565633 w 1573156"/>
                <a:gd name="connsiteY125" fmla="*/ 598304 h 3841229"/>
                <a:gd name="connsiteX126" fmla="*/ 1560670 w 1573156"/>
                <a:gd name="connsiteY126" fmla="*/ 709079 h 3841229"/>
                <a:gd name="connsiteX127" fmla="*/ 1571739 w 1573156"/>
                <a:gd name="connsiteY127" fmla="*/ 1040047 h 3841229"/>
                <a:gd name="connsiteX128" fmla="*/ 1562871 w 1573156"/>
                <a:gd name="connsiteY128" fmla="*/ 1842646 h 3841229"/>
                <a:gd name="connsiteX129" fmla="*/ 1571738 w 1573156"/>
                <a:gd name="connsiteY129" fmla="*/ 2297728 h 3841229"/>
                <a:gd name="connsiteX130" fmla="*/ 1561917 w 1573156"/>
                <a:gd name="connsiteY130" fmla="*/ 3721463 h 3841229"/>
                <a:gd name="connsiteX131" fmla="*/ 1556603 w 1573156"/>
                <a:gd name="connsiteY131" fmla="*/ 3758050 h 3841229"/>
                <a:gd name="connsiteX132" fmla="*/ 1534434 w 1573156"/>
                <a:gd name="connsiteY132" fmla="*/ 3701165 h 3841229"/>
                <a:gd name="connsiteX133" fmla="*/ 1545518 w 1573156"/>
                <a:gd name="connsiteY133" fmla="*/ 3688238 h 3841229"/>
                <a:gd name="connsiteX134" fmla="*/ 1503953 w 1573156"/>
                <a:gd name="connsiteY134" fmla="*/ 3670136 h 3841229"/>
                <a:gd name="connsiteX135" fmla="*/ 1473471 w 1573156"/>
                <a:gd name="connsiteY135" fmla="*/ 3685650 h 3841229"/>
                <a:gd name="connsiteX136" fmla="*/ 1445761 w 1573156"/>
                <a:gd name="connsiteY136" fmla="*/ 3652040 h 3841229"/>
                <a:gd name="connsiteX137" fmla="*/ 1398654 w 1573156"/>
                <a:gd name="connsiteY137" fmla="*/ 3659796 h 3841229"/>
                <a:gd name="connsiteX138" fmla="*/ 1357089 w 1573156"/>
                <a:gd name="connsiteY138" fmla="*/ 3662380 h 3841229"/>
                <a:gd name="connsiteX139" fmla="*/ 1343234 w 1573156"/>
                <a:gd name="connsiteY139" fmla="*/ 3631352 h 3841229"/>
                <a:gd name="connsiteX140" fmla="*/ 1304439 w 1573156"/>
                <a:gd name="connsiteY140" fmla="*/ 3641695 h 3841229"/>
                <a:gd name="connsiteX141" fmla="*/ 1290584 w 1573156"/>
                <a:gd name="connsiteY141" fmla="*/ 3610666 h 3841229"/>
                <a:gd name="connsiteX142" fmla="*/ 1195420 w 1573156"/>
                <a:gd name="connsiteY142" fmla="*/ 3605469 h 3841229"/>
                <a:gd name="connsiteX143" fmla="*/ 1013482 w 1573156"/>
                <a:gd name="connsiteY143" fmla="*/ 3592567 h 3841229"/>
                <a:gd name="connsiteX144" fmla="*/ 1123928 w 1573156"/>
                <a:gd name="connsiteY144" fmla="*/ 3663387 h 3841229"/>
                <a:gd name="connsiteX145" fmla="*/ 907787 w 1573156"/>
                <a:gd name="connsiteY145" fmla="*/ 3629257 h 3841229"/>
                <a:gd name="connsiteX146" fmla="*/ 776238 w 1573156"/>
                <a:gd name="connsiteY146" fmla="*/ 3504783 h 3841229"/>
                <a:gd name="connsiteX147" fmla="*/ 708669 w 1573156"/>
                <a:gd name="connsiteY147" fmla="*/ 3437426 h 3841229"/>
                <a:gd name="connsiteX148" fmla="*/ 739150 w 1573156"/>
                <a:gd name="connsiteY148" fmla="*/ 3437426 h 3841229"/>
                <a:gd name="connsiteX149" fmla="*/ 750233 w 1573156"/>
                <a:gd name="connsiteY149" fmla="*/ 3408982 h 3841229"/>
                <a:gd name="connsiteX150" fmla="*/ 783486 w 1573156"/>
                <a:gd name="connsiteY150" fmla="*/ 3354683 h 3841229"/>
                <a:gd name="connsiteX151" fmla="*/ 747462 w 1573156"/>
                <a:gd name="connsiteY151" fmla="*/ 3297798 h 3841229"/>
                <a:gd name="connsiteX152" fmla="*/ 836135 w 1573156"/>
                <a:gd name="connsiteY152" fmla="*/ 3225398 h 3841229"/>
                <a:gd name="connsiteX153" fmla="*/ 902641 w 1573156"/>
                <a:gd name="connsiteY153" fmla="*/ 3217642 h 3841229"/>
                <a:gd name="connsiteX154" fmla="*/ 955289 w 1573156"/>
                <a:gd name="connsiteY154" fmla="*/ 3160756 h 3841229"/>
                <a:gd name="connsiteX155" fmla="*/ 1024565 w 1573156"/>
                <a:gd name="connsiteY155" fmla="*/ 3114213 h 3841229"/>
                <a:gd name="connsiteX156" fmla="*/ 1019023 w 1573156"/>
                <a:gd name="connsiteY156" fmla="*/ 3067671 h 3841229"/>
                <a:gd name="connsiteX157" fmla="*/ 1043963 w 1573156"/>
                <a:gd name="connsiteY157" fmla="*/ 3028886 h 3841229"/>
                <a:gd name="connsiteX158" fmla="*/ 1016252 w 1573156"/>
                <a:gd name="connsiteY158" fmla="*/ 3026300 h 3841229"/>
                <a:gd name="connsiteX159" fmla="*/ 1031704 w 1573156"/>
                <a:gd name="connsiteY159" fmla="*/ 2992878 h 3841229"/>
                <a:gd name="connsiteX160" fmla="*/ 914211 w 1573156"/>
                <a:gd name="connsiteY160" fmla="*/ 2928233 h 3841229"/>
                <a:gd name="connsiteX161" fmla="*/ 877701 w 1573156"/>
                <a:gd name="connsiteY161" fmla="*/ 2920285 h 3841229"/>
                <a:gd name="connsiteX162" fmla="*/ 858304 w 1573156"/>
                <a:gd name="connsiteY162" fmla="*/ 2909943 h 3841229"/>
                <a:gd name="connsiteX163" fmla="*/ 827823 w 1573156"/>
                <a:gd name="connsiteY163" fmla="*/ 2881501 h 3841229"/>
                <a:gd name="connsiteX164" fmla="*/ 761317 w 1573156"/>
                <a:gd name="connsiteY164" fmla="*/ 2897015 h 3841229"/>
                <a:gd name="connsiteX165" fmla="*/ 700355 w 1573156"/>
                <a:gd name="connsiteY165" fmla="*/ 2891844 h 3841229"/>
                <a:gd name="connsiteX166" fmla="*/ 658790 w 1573156"/>
                <a:gd name="connsiteY166" fmla="*/ 2827201 h 3841229"/>
                <a:gd name="connsiteX167" fmla="*/ 656019 w 1573156"/>
                <a:gd name="connsiteY167" fmla="*/ 2785830 h 3841229"/>
                <a:gd name="connsiteX168" fmla="*/ 631080 w 1573156"/>
                <a:gd name="connsiteY168" fmla="*/ 2772902 h 3841229"/>
                <a:gd name="connsiteX169" fmla="*/ 567346 w 1573156"/>
                <a:gd name="connsiteY169" fmla="*/ 2759974 h 3841229"/>
                <a:gd name="connsiteX170" fmla="*/ 586743 w 1573156"/>
                <a:gd name="connsiteY170" fmla="*/ 2721188 h 3841229"/>
                <a:gd name="connsiteX171" fmla="*/ 557777 w 1573156"/>
                <a:gd name="connsiteY171" fmla="*/ 2715007 h 3841229"/>
                <a:gd name="connsiteX172" fmla="*/ 531809 w 1573156"/>
                <a:gd name="connsiteY172" fmla="*/ 2672771 h 3841229"/>
                <a:gd name="connsiteX173" fmla="*/ 414939 w 1573156"/>
                <a:gd name="connsiteY173" fmla="*/ 2682402 h 3841229"/>
                <a:gd name="connsiteX174" fmla="*/ 390000 w 1573156"/>
                <a:gd name="connsiteY174" fmla="*/ 2672059 h 3841229"/>
                <a:gd name="connsiteX175" fmla="*/ 367832 w 1573156"/>
                <a:gd name="connsiteY175" fmla="*/ 2684989 h 3841229"/>
                <a:gd name="connsiteX176" fmla="*/ 351205 w 1573156"/>
                <a:gd name="connsiteY176" fmla="*/ 2622932 h 3841229"/>
                <a:gd name="connsiteX177" fmla="*/ 340121 w 1573156"/>
                <a:gd name="connsiteY177" fmla="*/ 2597075 h 3841229"/>
                <a:gd name="connsiteX178" fmla="*/ 353976 w 1573156"/>
                <a:gd name="connsiteY178" fmla="*/ 2578974 h 3841229"/>
                <a:gd name="connsiteX179" fmla="*/ 381687 w 1573156"/>
                <a:gd name="connsiteY179" fmla="*/ 2581561 h 3841229"/>
                <a:gd name="connsiteX180" fmla="*/ 414939 w 1573156"/>
                <a:gd name="connsiteY180" fmla="*/ 2563461 h 3841229"/>
                <a:gd name="connsiteX181" fmla="*/ 412168 w 1573156"/>
                <a:gd name="connsiteY181" fmla="*/ 2537603 h 3841229"/>
                <a:gd name="connsiteX182" fmla="*/ 362289 w 1573156"/>
                <a:gd name="connsiteY182" fmla="*/ 2501404 h 3841229"/>
                <a:gd name="connsiteX183" fmla="*/ 338946 w 1573156"/>
                <a:gd name="connsiteY183" fmla="*/ 2513491 h 3841229"/>
                <a:gd name="connsiteX184" fmla="*/ 340121 w 1573156"/>
                <a:gd name="connsiteY184" fmla="*/ 2467790 h 3841229"/>
                <a:gd name="connsiteX185" fmla="*/ 306869 w 1573156"/>
                <a:gd name="connsiteY185" fmla="*/ 2429005 h 3841229"/>
                <a:gd name="connsiteX186" fmla="*/ 309641 w 1573156"/>
                <a:gd name="connsiteY186" fmla="*/ 2351433 h 3841229"/>
                <a:gd name="connsiteX187" fmla="*/ 290243 w 1573156"/>
                <a:gd name="connsiteY187" fmla="*/ 2299720 h 3841229"/>
                <a:gd name="connsiteX188" fmla="*/ 256991 w 1573156"/>
                <a:gd name="connsiteY188" fmla="*/ 2266106 h 3841229"/>
                <a:gd name="connsiteX189" fmla="*/ 218196 w 1573156"/>
                <a:gd name="connsiteY189" fmla="*/ 2242835 h 3841229"/>
                <a:gd name="connsiteX190" fmla="*/ 176631 w 1573156"/>
                <a:gd name="connsiteY190" fmla="*/ 2250592 h 3841229"/>
                <a:gd name="connsiteX191" fmla="*/ 122255 w 1573156"/>
                <a:gd name="connsiteY191" fmla="*/ 2214066 h 3841229"/>
                <a:gd name="connsiteX0" fmla="*/ 122255 w 1573156"/>
                <a:gd name="connsiteY0" fmla="*/ 2214066 h 3841229"/>
                <a:gd name="connsiteX1" fmla="*/ 63018 w 1573156"/>
                <a:gd name="connsiteY1" fmla="*/ 2216977 h 3841229"/>
                <a:gd name="connsiteX2" fmla="*/ 60248 w 1573156"/>
                <a:gd name="connsiteY2" fmla="*/ 2118721 h 3841229"/>
                <a:gd name="connsiteX3" fmla="*/ 71333 w 1573156"/>
                <a:gd name="connsiteY3" fmla="*/ 2077350 h 3841229"/>
                <a:gd name="connsiteX4" fmla="*/ 68561 w 1573156"/>
                <a:gd name="connsiteY4" fmla="*/ 2030807 h 3841229"/>
                <a:gd name="connsiteX5" fmla="*/ 54707 w 1573156"/>
                <a:gd name="connsiteY5" fmla="*/ 2028225 h 3841229"/>
                <a:gd name="connsiteX6" fmla="*/ 118439 w 1573156"/>
                <a:gd name="connsiteY6" fmla="*/ 1992023 h 3841229"/>
                <a:gd name="connsiteX7" fmla="*/ 82416 w 1573156"/>
                <a:gd name="connsiteY7" fmla="*/ 1963580 h 3841229"/>
                <a:gd name="connsiteX8" fmla="*/ 51935 w 1573156"/>
                <a:gd name="connsiteY8" fmla="*/ 1927380 h 3841229"/>
                <a:gd name="connsiteX9" fmla="*/ 40850 w 1573156"/>
                <a:gd name="connsiteY9" fmla="*/ 1893766 h 3841229"/>
                <a:gd name="connsiteX10" fmla="*/ 43621 w 1573156"/>
                <a:gd name="connsiteY10" fmla="*/ 1844639 h 3841229"/>
                <a:gd name="connsiteX11" fmla="*/ 82416 w 1573156"/>
                <a:gd name="connsiteY11" fmla="*/ 1826538 h 3841229"/>
                <a:gd name="connsiteX12" fmla="*/ 112899 w 1573156"/>
                <a:gd name="connsiteY12" fmla="*/ 1782581 h 3841229"/>
                <a:gd name="connsiteX13" fmla="*/ 96271 w 1573156"/>
                <a:gd name="connsiteY13" fmla="*/ 1754138 h 3841229"/>
                <a:gd name="connsiteX14" fmla="*/ 40851 w 1573156"/>
                <a:gd name="connsiteY14" fmla="*/ 1746381 h 3841229"/>
                <a:gd name="connsiteX15" fmla="*/ 2057 w 1573156"/>
                <a:gd name="connsiteY15" fmla="*/ 1730867 h 3841229"/>
                <a:gd name="connsiteX16" fmla="*/ 38079 w 1573156"/>
                <a:gd name="connsiteY16" fmla="*/ 1689496 h 3841229"/>
                <a:gd name="connsiteX17" fmla="*/ 18683 w 1573156"/>
                <a:gd name="connsiteY17" fmla="*/ 1679153 h 3841229"/>
                <a:gd name="connsiteX18" fmla="*/ 2055 w 1573156"/>
                <a:gd name="connsiteY18" fmla="*/ 1640367 h 3841229"/>
                <a:gd name="connsiteX19" fmla="*/ 65790 w 1573156"/>
                <a:gd name="connsiteY19" fmla="*/ 1650711 h 3841229"/>
                <a:gd name="connsiteX20" fmla="*/ 93501 w 1573156"/>
                <a:gd name="connsiteY20" fmla="*/ 1627440 h 3841229"/>
                <a:gd name="connsiteX21" fmla="*/ 187716 w 1573156"/>
                <a:gd name="connsiteY21" fmla="*/ 1536941 h 3841229"/>
                <a:gd name="connsiteX22" fmla="*/ 212655 w 1573156"/>
                <a:gd name="connsiteY22" fmla="*/ 1505912 h 3841229"/>
                <a:gd name="connsiteX23" fmla="*/ 198801 w 1573156"/>
                <a:gd name="connsiteY23" fmla="*/ 1555040 h 3841229"/>
                <a:gd name="connsiteX24" fmla="*/ 218197 w 1573156"/>
                <a:gd name="connsiteY24" fmla="*/ 1588655 h 3841229"/>
                <a:gd name="connsiteX25" fmla="*/ 262534 w 1573156"/>
                <a:gd name="connsiteY25" fmla="*/ 1666225 h 3841229"/>
                <a:gd name="connsiteX26" fmla="*/ 331810 w 1573156"/>
                <a:gd name="connsiteY26" fmla="*/ 1653297 h 3841229"/>
                <a:gd name="connsiteX27" fmla="*/ 351206 w 1573156"/>
                <a:gd name="connsiteY27" fmla="*/ 1622268 h 3841229"/>
                <a:gd name="connsiteX28" fmla="*/ 365062 w 1573156"/>
                <a:gd name="connsiteY28" fmla="*/ 1557627 h 3841229"/>
                <a:gd name="connsiteX29" fmla="*/ 304099 w 1573156"/>
                <a:gd name="connsiteY29" fmla="*/ 1511084 h 3841229"/>
                <a:gd name="connsiteX30" fmla="*/ 259763 w 1573156"/>
                <a:gd name="connsiteY30" fmla="*/ 1485227 h 3841229"/>
                <a:gd name="connsiteX31" fmla="*/ 198801 w 1573156"/>
                <a:gd name="connsiteY31" fmla="*/ 1495570 h 3841229"/>
                <a:gd name="connsiteX32" fmla="*/ 376147 w 1573156"/>
                <a:gd name="connsiteY32" fmla="*/ 1299057 h 3841229"/>
                <a:gd name="connsiteX33" fmla="*/ 223740 w 1573156"/>
                <a:gd name="connsiteY33" fmla="*/ 1151672 h 3841229"/>
                <a:gd name="connsiteX34" fmla="*/ 284703 w 1573156"/>
                <a:gd name="connsiteY34" fmla="*/ 1089617 h 3841229"/>
                <a:gd name="connsiteX35" fmla="*/ 218198 w 1573156"/>
                <a:gd name="connsiteY35" fmla="*/ 1050829 h 3841229"/>
                <a:gd name="connsiteX36" fmla="*/ 259763 w 1573156"/>
                <a:gd name="connsiteY36" fmla="*/ 1019802 h 3841229"/>
                <a:gd name="connsiteX37" fmla="*/ 212657 w 1573156"/>
                <a:gd name="connsiteY37" fmla="*/ 993947 h 3841229"/>
                <a:gd name="connsiteX38" fmla="*/ 212656 w 1573156"/>
                <a:gd name="connsiteY38" fmla="*/ 794845 h 3841229"/>
                <a:gd name="connsiteX39" fmla="*/ 251451 w 1573156"/>
                <a:gd name="connsiteY39" fmla="*/ 779332 h 3841229"/>
                <a:gd name="connsiteX40" fmla="*/ 137838 w 1573156"/>
                <a:gd name="connsiteY40" fmla="*/ 551792 h 3841229"/>
                <a:gd name="connsiteX41" fmla="*/ 135067 w 1573156"/>
                <a:gd name="connsiteY41" fmla="*/ 551792 h 3841229"/>
                <a:gd name="connsiteX42" fmla="*/ 184945 w 1573156"/>
                <a:gd name="connsiteY42" fmla="*/ 469048 h 3841229"/>
                <a:gd name="connsiteX43" fmla="*/ 201571 w 1573156"/>
                <a:gd name="connsiteY43" fmla="*/ 378550 h 3841229"/>
                <a:gd name="connsiteX44" fmla="*/ 126752 w 1573156"/>
                <a:gd name="connsiteY44" fmla="*/ 319079 h 3841229"/>
                <a:gd name="connsiteX45" fmla="*/ 118440 w 1573156"/>
                <a:gd name="connsiteY45" fmla="*/ 251851 h 3841229"/>
                <a:gd name="connsiteX46" fmla="*/ 173860 w 1573156"/>
                <a:gd name="connsiteY46" fmla="*/ 158764 h 3841229"/>
                <a:gd name="connsiteX47" fmla="*/ 193258 w 1573156"/>
                <a:gd name="connsiteY47" fmla="*/ 135494 h 3841229"/>
                <a:gd name="connsiteX48" fmla="*/ 207113 w 1573156"/>
                <a:gd name="connsiteY48" fmla="*/ 117394 h 3841229"/>
                <a:gd name="connsiteX49" fmla="*/ 215426 w 1573156"/>
                <a:gd name="connsiteY49" fmla="*/ 73438 h 3841229"/>
                <a:gd name="connsiteX50" fmla="*/ 240365 w 1573156"/>
                <a:gd name="connsiteY50" fmla="*/ 101880 h 3841229"/>
                <a:gd name="connsiteX51" fmla="*/ 270847 w 1573156"/>
                <a:gd name="connsiteY51" fmla="*/ 88952 h 3841229"/>
                <a:gd name="connsiteX52" fmla="*/ 273617 w 1573156"/>
                <a:gd name="connsiteY52" fmla="*/ 63095 h 3841229"/>
                <a:gd name="connsiteX53" fmla="*/ 281931 w 1573156"/>
                <a:gd name="connsiteY53" fmla="*/ 34652 h 3841229"/>
                <a:gd name="connsiteX54" fmla="*/ 284703 w 1573156"/>
                <a:gd name="connsiteY54" fmla="*/ 3624 h 3841229"/>
                <a:gd name="connsiteX55" fmla="*/ 420483 w 1573156"/>
                <a:gd name="connsiteY55" fmla="*/ 57924 h 3841229"/>
                <a:gd name="connsiteX56" fmla="*/ 450963 w 1573156"/>
                <a:gd name="connsiteY56" fmla="*/ 161352 h 3841229"/>
                <a:gd name="connsiteX57" fmla="*/ 464819 w 1573156"/>
                <a:gd name="connsiteY57" fmla="*/ 184622 h 3841229"/>
                <a:gd name="connsiteX58" fmla="*/ 475903 w 1573156"/>
                <a:gd name="connsiteY58" fmla="*/ 187208 h 3841229"/>
                <a:gd name="connsiteX59" fmla="*/ 589515 w 1573156"/>
                <a:gd name="connsiteY59" fmla="*/ 156181 h 3841229"/>
                <a:gd name="connsiteX60" fmla="*/ 656020 w 1573156"/>
                <a:gd name="connsiteY60" fmla="*/ 166522 h 3841229"/>
                <a:gd name="connsiteX61" fmla="*/ 719754 w 1573156"/>
                <a:gd name="connsiteY61" fmla="*/ 213065 h 3841229"/>
                <a:gd name="connsiteX62" fmla="*/ 733781 w 1573156"/>
                <a:gd name="connsiteY62" fmla="*/ 242621 h 3841229"/>
                <a:gd name="connsiteX63" fmla="*/ 789028 w 1573156"/>
                <a:gd name="connsiteY63" fmla="*/ 277708 h 3841229"/>
                <a:gd name="connsiteX64" fmla="*/ 877702 w 1573156"/>
                <a:gd name="connsiteY64" fmla="*/ 303563 h 3841229"/>
                <a:gd name="connsiteX65" fmla="*/ 949748 w 1573156"/>
                <a:gd name="connsiteY65" fmla="*/ 350106 h 3841229"/>
                <a:gd name="connsiteX66" fmla="*/ 999627 w 1573156"/>
                <a:gd name="connsiteY66" fmla="*/ 401820 h 3841229"/>
                <a:gd name="connsiteX67" fmla="*/ 1024566 w 1573156"/>
                <a:gd name="connsiteY67" fmla="*/ 440606 h 3841229"/>
                <a:gd name="connsiteX68" fmla="*/ 1057819 w 1573156"/>
                <a:gd name="connsiteY68" fmla="*/ 466462 h 3841229"/>
                <a:gd name="connsiteX69" fmla="*/ 1041191 w 1573156"/>
                <a:gd name="connsiteY69" fmla="*/ 691417 h 3841229"/>
                <a:gd name="connsiteX70" fmla="*/ 913725 w 1573156"/>
                <a:gd name="connsiteY70" fmla="*/ 771575 h 3841229"/>
                <a:gd name="connsiteX71" fmla="*/ 800113 w 1573156"/>
                <a:gd name="connsiteY71" fmla="*/ 779331 h 3841229"/>
                <a:gd name="connsiteX72" fmla="*/ 661560 w 1573156"/>
                <a:gd name="connsiteY72" fmla="*/ 758645 h 3841229"/>
                <a:gd name="connsiteX73" fmla="*/ 570116 w 1573156"/>
                <a:gd name="connsiteY73" fmla="*/ 722445 h 3841229"/>
                <a:gd name="connsiteX74" fmla="*/ 550719 w 1573156"/>
                <a:gd name="connsiteY74" fmla="*/ 750888 h 3841229"/>
                <a:gd name="connsiteX75" fmla="*/ 581361 w 1573156"/>
                <a:gd name="connsiteY75" fmla="*/ 824301 h 3841229"/>
                <a:gd name="connsiteX76" fmla="*/ 586902 w 1573156"/>
                <a:gd name="connsiteY76" fmla="*/ 951000 h 3841229"/>
                <a:gd name="connsiteX77" fmla="*/ 559032 w 1573156"/>
                <a:gd name="connsiteY77" fmla="*/ 1012043 h 3841229"/>
                <a:gd name="connsiteX78" fmla="*/ 614451 w 1573156"/>
                <a:gd name="connsiteY78" fmla="*/ 1032728 h 3841229"/>
                <a:gd name="connsiteX79" fmla="*/ 631079 w 1573156"/>
                <a:gd name="connsiteY79" fmla="*/ 1048242 h 3841229"/>
                <a:gd name="connsiteX80" fmla="*/ 656019 w 1573156"/>
                <a:gd name="connsiteY80" fmla="*/ 1074099 h 3841229"/>
                <a:gd name="connsiteX81" fmla="*/ 653248 w 1573156"/>
                <a:gd name="connsiteY81" fmla="*/ 1076685 h 3841229"/>
                <a:gd name="connsiteX82" fmla="*/ 692041 w 1573156"/>
                <a:gd name="connsiteY82" fmla="*/ 1071514 h 3841229"/>
                <a:gd name="connsiteX83" fmla="*/ 700355 w 1573156"/>
                <a:gd name="connsiteY83" fmla="*/ 1035314 h 3841229"/>
                <a:gd name="connsiteX84" fmla="*/ 661560 w 1573156"/>
                <a:gd name="connsiteY84" fmla="*/ 957743 h 3841229"/>
                <a:gd name="connsiteX85" fmla="*/ 730836 w 1573156"/>
                <a:gd name="connsiteY85" fmla="*/ 911200 h 3841229"/>
                <a:gd name="connsiteX86" fmla="*/ 798608 w 1573156"/>
                <a:gd name="connsiteY86" fmla="*/ 918934 h 3841229"/>
                <a:gd name="connsiteX87" fmla="*/ 822441 w 1573156"/>
                <a:gd name="connsiteY87" fmla="*/ 951001 h 3841229"/>
                <a:gd name="connsiteX88" fmla="*/ 978170 w 1573156"/>
                <a:gd name="connsiteY88" fmla="*/ 1007364 h 3841229"/>
                <a:gd name="connsiteX89" fmla="*/ 963762 w 1573156"/>
                <a:gd name="connsiteY89" fmla="*/ 971687 h 3841229"/>
                <a:gd name="connsiteX90" fmla="*/ 930510 w 1573156"/>
                <a:gd name="connsiteY90" fmla="*/ 932901 h 3841229"/>
                <a:gd name="connsiteX91" fmla="*/ 919426 w 1573156"/>
                <a:gd name="connsiteY91" fmla="*/ 881187 h 3841229"/>
                <a:gd name="connsiteX92" fmla="*/ 958221 w 1573156"/>
                <a:gd name="connsiteY92" fmla="*/ 832060 h 3841229"/>
                <a:gd name="connsiteX93" fmla="*/ 985931 w 1573156"/>
                <a:gd name="connsiteY93" fmla="*/ 803617 h 3841229"/>
                <a:gd name="connsiteX94" fmla="*/ 1010871 w 1573156"/>
                <a:gd name="connsiteY94" fmla="*/ 767417 h 3841229"/>
                <a:gd name="connsiteX95" fmla="*/ 1091231 w 1573156"/>
                <a:gd name="connsiteY95" fmla="*/ 762245 h 3841229"/>
                <a:gd name="connsiteX96" fmla="*/ 1096772 w 1573156"/>
                <a:gd name="connsiteY96" fmla="*/ 741560 h 3841229"/>
                <a:gd name="connsiteX97" fmla="*/ 1121712 w 1573156"/>
                <a:gd name="connsiteY97" fmla="*/ 705360 h 3841229"/>
                <a:gd name="connsiteX98" fmla="*/ 1155516 w 1573156"/>
                <a:gd name="connsiteY98" fmla="*/ 687772 h 3841229"/>
                <a:gd name="connsiteX99" fmla="*/ 1213156 w 1573156"/>
                <a:gd name="connsiteY99" fmla="*/ 700189 h 3841229"/>
                <a:gd name="connsiteX100" fmla="*/ 1251949 w 1573156"/>
                <a:gd name="connsiteY100" fmla="*/ 720875 h 3841229"/>
                <a:gd name="connsiteX101" fmla="*/ 1299057 w 1573156"/>
                <a:gd name="connsiteY101" fmla="*/ 728632 h 3841229"/>
                <a:gd name="connsiteX102" fmla="*/ 1299057 w 1573156"/>
                <a:gd name="connsiteY102" fmla="*/ 733803 h 3841229"/>
                <a:gd name="connsiteX103" fmla="*/ 1321226 w 1573156"/>
                <a:gd name="connsiteY103" fmla="*/ 674332 h 3841229"/>
                <a:gd name="connsiteX104" fmla="*/ 1331201 w 1573156"/>
                <a:gd name="connsiteY104" fmla="*/ 640714 h 3841229"/>
                <a:gd name="connsiteX105" fmla="*/ 1337852 w 1573156"/>
                <a:gd name="connsiteY105" fmla="*/ 622618 h 3841229"/>
                <a:gd name="connsiteX106" fmla="*/ 1340789 w 1573156"/>
                <a:gd name="connsiteY106" fmla="*/ 591288 h 3841229"/>
                <a:gd name="connsiteX107" fmla="*/ 1260263 w 1573156"/>
                <a:gd name="connsiteY107" fmla="*/ 545048 h 3841229"/>
                <a:gd name="connsiteX108" fmla="*/ 1246408 w 1573156"/>
                <a:gd name="connsiteY108" fmla="*/ 472648 h 3841229"/>
                <a:gd name="connsiteX109" fmla="*/ 1246408 w 1573156"/>
                <a:gd name="connsiteY109" fmla="*/ 454548 h 3841229"/>
                <a:gd name="connsiteX110" fmla="*/ 1257491 w 1573156"/>
                <a:gd name="connsiteY110" fmla="*/ 431276 h 3841229"/>
                <a:gd name="connsiteX111" fmla="*/ 1260263 w 1573156"/>
                <a:gd name="connsiteY111" fmla="*/ 415762 h 3841229"/>
                <a:gd name="connsiteX112" fmla="*/ 1260262 w 1573156"/>
                <a:gd name="connsiteY112" fmla="*/ 358878 h 3841229"/>
                <a:gd name="connsiteX113" fmla="*/ 1238094 w 1573156"/>
                <a:gd name="connsiteY113" fmla="*/ 335607 h 3841229"/>
                <a:gd name="connsiteX114" fmla="*/ 1210384 w 1573156"/>
                <a:gd name="connsiteY114" fmla="*/ 304578 h 3841229"/>
                <a:gd name="connsiteX115" fmla="*/ 1206216 w 1573156"/>
                <a:gd name="connsiteY115" fmla="*/ 280325 h 3841229"/>
                <a:gd name="connsiteX116" fmla="*/ 1257492 w 1573156"/>
                <a:gd name="connsiteY116" fmla="*/ 258034 h 3841229"/>
                <a:gd name="connsiteX117" fmla="*/ 1311072 w 1573156"/>
                <a:gd name="connsiteY117" fmla="*/ 267906 h 3841229"/>
                <a:gd name="connsiteX118" fmla="*/ 1389856 w 1573156"/>
                <a:gd name="connsiteY118" fmla="*/ 279816 h 3841229"/>
                <a:gd name="connsiteX119" fmla="*/ 1474179 w 1573156"/>
                <a:gd name="connsiteY119" fmla="*/ 349175 h 3841229"/>
                <a:gd name="connsiteX120" fmla="*/ 1536314 w 1573156"/>
                <a:gd name="connsiteY120" fmla="*/ 425271 h 3841229"/>
                <a:gd name="connsiteX121" fmla="*/ 1435343 w 1573156"/>
                <a:gd name="connsiteY121" fmla="*/ 454265 h 3841229"/>
                <a:gd name="connsiteX122" fmla="*/ 1419809 w 1573156"/>
                <a:gd name="connsiteY122" fmla="*/ 501372 h 3841229"/>
                <a:gd name="connsiteX123" fmla="*/ 1477479 w 1573156"/>
                <a:gd name="connsiteY123" fmla="*/ 585862 h 3841229"/>
                <a:gd name="connsiteX124" fmla="*/ 1513013 w 1573156"/>
                <a:gd name="connsiteY124" fmla="*/ 591964 h 3841229"/>
                <a:gd name="connsiteX125" fmla="*/ 1565633 w 1573156"/>
                <a:gd name="connsiteY125" fmla="*/ 598304 h 3841229"/>
                <a:gd name="connsiteX126" fmla="*/ 1560670 w 1573156"/>
                <a:gd name="connsiteY126" fmla="*/ 709079 h 3841229"/>
                <a:gd name="connsiteX127" fmla="*/ 1571739 w 1573156"/>
                <a:gd name="connsiteY127" fmla="*/ 1040047 h 3841229"/>
                <a:gd name="connsiteX128" fmla="*/ 1562871 w 1573156"/>
                <a:gd name="connsiteY128" fmla="*/ 1842646 h 3841229"/>
                <a:gd name="connsiteX129" fmla="*/ 1571738 w 1573156"/>
                <a:gd name="connsiteY129" fmla="*/ 2297728 h 3841229"/>
                <a:gd name="connsiteX130" fmla="*/ 1561917 w 1573156"/>
                <a:gd name="connsiteY130" fmla="*/ 3721463 h 3841229"/>
                <a:gd name="connsiteX131" fmla="*/ 1556603 w 1573156"/>
                <a:gd name="connsiteY131" fmla="*/ 3758050 h 3841229"/>
                <a:gd name="connsiteX132" fmla="*/ 1534434 w 1573156"/>
                <a:gd name="connsiteY132" fmla="*/ 3701165 h 3841229"/>
                <a:gd name="connsiteX133" fmla="*/ 1545518 w 1573156"/>
                <a:gd name="connsiteY133" fmla="*/ 3688238 h 3841229"/>
                <a:gd name="connsiteX134" fmla="*/ 1503953 w 1573156"/>
                <a:gd name="connsiteY134" fmla="*/ 3670136 h 3841229"/>
                <a:gd name="connsiteX135" fmla="*/ 1473471 w 1573156"/>
                <a:gd name="connsiteY135" fmla="*/ 3685650 h 3841229"/>
                <a:gd name="connsiteX136" fmla="*/ 1445761 w 1573156"/>
                <a:gd name="connsiteY136" fmla="*/ 3652040 h 3841229"/>
                <a:gd name="connsiteX137" fmla="*/ 1398654 w 1573156"/>
                <a:gd name="connsiteY137" fmla="*/ 3659796 h 3841229"/>
                <a:gd name="connsiteX138" fmla="*/ 1357089 w 1573156"/>
                <a:gd name="connsiteY138" fmla="*/ 3662380 h 3841229"/>
                <a:gd name="connsiteX139" fmla="*/ 1343234 w 1573156"/>
                <a:gd name="connsiteY139" fmla="*/ 3631352 h 3841229"/>
                <a:gd name="connsiteX140" fmla="*/ 1304439 w 1573156"/>
                <a:gd name="connsiteY140" fmla="*/ 3641695 h 3841229"/>
                <a:gd name="connsiteX141" fmla="*/ 1290584 w 1573156"/>
                <a:gd name="connsiteY141" fmla="*/ 3610666 h 3841229"/>
                <a:gd name="connsiteX142" fmla="*/ 1195420 w 1573156"/>
                <a:gd name="connsiteY142" fmla="*/ 3605469 h 3841229"/>
                <a:gd name="connsiteX143" fmla="*/ 1013482 w 1573156"/>
                <a:gd name="connsiteY143" fmla="*/ 3592567 h 3841229"/>
                <a:gd name="connsiteX144" fmla="*/ 1123928 w 1573156"/>
                <a:gd name="connsiteY144" fmla="*/ 3663387 h 3841229"/>
                <a:gd name="connsiteX145" fmla="*/ 907787 w 1573156"/>
                <a:gd name="connsiteY145" fmla="*/ 3629257 h 3841229"/>
                <a:gd name="connsiteX146" fmla="*/ 776238 w 1573156"/>
                <a:gd name="connsiteY146" fmla="*/ 3504783 h 3841229"/>
                <a:gd name="connsiteX147" fmla="*/ 708669 w 1573156"/>
                <a:gd name="connsiteY147" fmla="*/ 3437426 h 3841229"/>
                <a:gd name="connsiteX148" fmla="*/ 739150 w 1573156"/>
                <a:gd name="connsiteY148" fmla="*/ 3437426 h 3841229"/>
                <a:gd name="connsiteX149" fmla="*/ 750233 w 1573156"/>
                <a:gd name="connsiteY149" fmla="*/ 3408982 h 3841229"/>
                <a:gd name="connsiteX150" fmla="*/ 783486 w 1573156"/>
                <a:gd name="connsiteY150" fmla="*/ 3354683 h 3841229"/>
                <a:gd name="connsiteX151" fmla="*/ 747462 w 1573156"/>
                <a:gd name="connsiteY151" fmla="*/ 3297798 h 3841229"/>
                <a:gd name="connsiteX152" fmla="*/ 836135 w 1573156"/>
                <a:gd name="connsiteY152" fmla="*/ 3225398 h 3841229"/>
                <a:gd name="connsiteX153" fmla="*/ 902641 w 1573156"/>
                <a:gd name="connsiteY153" fmla="*/ 3217642 h 3841229"/>
                <a:gd name="connsiteX154" fmla="*/ 955289 w 1573156"/>
                <a:gd name="connsiteY154" fmla="*/ 3160756 h 3841229"/>
                <a:gd name="connsiteX155" fmla="*/ 1024565 w 1573156"/>
                <a:gd name="connsiteY155" fmla="*/ 3114213 h 3841229"/>
                <a:gd name="connsiteX156" fmla="*/ 1019023 w 1573156"/>
                <a:gd name="connsiteY156" fmla="*/ 3067671 h 3841229"/>
                <a:gd name="connsiteX157" fmla="*/ 1043963 w 1573156"/>
                <a:gd name="connsiteY157" fmla="*/ 3028886 h 3841229"/>
                <a:gd name="connsiteX158" fmla="*/ 1016252 w 1573156"/>
                <a:gd name="connsiteY158" fmla="*/ 3026300 h 3841229"/>
                <a:gd name="connsiteX159" fmla="*/ 1031704 w 1573156"/>
                <a:gd name="connsiteY159" fmla="*/ 2992878 h 3841229"/>
                <a:gd name="connsiteX160" fmla="*/ 914211 w 1573156"/>
                <a:gd name="connsiteY160" fmla="*/ 2928233 h 3841229"/>
                <a:gd name="connsiteX161" fmla="*/ 877701 w 1573156"/>
                <a:gd name="connsiteY161" fmla="*/ 2920285 h 3841229"/>
                <a:gd name="connsiteX162" fmla="*/ 858304 w 1573156"/>
                <a:gd name="connsiteY162" fmla="*/ 2909943 h 3841229"/>
                <a:gd name="connsiteX163" fmla="*/ 827823 w 1573156"/>
                <a:gd name="connsiteY163" fmla="*/ 2881501 h 3841229"/>
                <a:gd name="connsiteX164" fmla="*/ 761317 w 1573156"/>
                <a:gd name="connsiteY164" fmla="*/ 2897015 h 3841229"/>
                <a:gd name="connsiteX165" fmla="*/ 700355 w 1573156"/>
                <a:gd name="connsiteY165" fmla="*/ 2891844 h 3841229"/>
                <a:gd name="connsiteX166" fmla="*/ 658790 w 1573156"/>
                <a:gd name="connsiteY166" fmla="*/ 2827201 h 3841229"/>
                <a:gd name="connsiteX167" fmla="*/ 656019 w 1573156"/>
                <a:gd name="connsiteY167" fmla="*/ 2785830 h 3841229"/>
                <a:gd name="connsiteX168" fmla="*/ 631080 w 1573156"/>
                <a:gd name="connsiteY168" fmla="*/ 2772902 h 3841229"/>
                <a:gd name="connsiteX169" fmla="*/ 567346 w 1573156"/>
                <a:gd name="connsiteY169" fmla="*/ 2759974 h 3841229"/>
                <a:gd name="connsiteX170" fmla="*/ 586743 w 1573156"/>
                <a:gd name="connsiteY170" fmla="*/ 2721188 h 3841229"/>
                <a:gd name="connsiteX171" fmla="*/ 557777 w 1573156"/>
                <a:gd name="connsiteY171" fmla="*/ 2715007 h 3841229"/>
                <a:gd name="connsiteX172" fmla="*/ 531809 w 1573156"/>
                <a:gd name="connsiteY172" fmla="*/ 2672771 h 3841229"/>
                <a:gd name="connsiteX173" fmla="*/ 414939 w 1573156"/>
                <a:gd name="connsiteY173" fmla="*/ 2682402 h 3841229"/>
                <a:gd name="connsiteX174" fmla="*/ 390000 w 1573156"/>
                <a:gd name="connsiteY174" fmla="*/ 2672059 h 3841229"/>
                <a:gd name="connsiteX175" fmla="*/ 367832 w 1573156"/>
                <a:gd name="connsiteY175" fmla="*/ 2684989 h 3841229"/>
                <a:gd name="connsiteX176" fmla="*/ 351205 w 1573156"/>
                <a:gd name="connsiteY176" fmla="*/ 2622932 h 3841229"/>
                <a:gd name="connsiteX177" fmla="*/ 340121 w 1573156"/>
                <a:gd name="connsiteY177" fmla="*/ 2597075 h 3841229"/>
                <a:gd name="connsiteX178" fmla="*/ 353976 w 1573156"/>
                <a:gd name="connsiteY178" fmla="*/ 2578974 h 3841229"/>
                <a:gd name="connsiteX179" fmla="*/ 381687 w 1573156"/>
                <a:gd name="connsiteY179" fmla="*/ 2581561 h 3841229"/>
                <a:gd name="connsiteX180" fmla="*/ 414939 w 1573156"/>
                <a:gd name="connsiteY180" fmla="*/ 2563461 h 3841229"/>
                <a:gd name="connsiteX181" fmla="*/ 412168 w 1573156"/>
                <a:gd name="connsiteY181" fmla="*/ 2537603 h 3841229"/>
                <a:gd name="connsiteX182" fmla="*/ 362289 w 1573156"/>
                <a:gd name="connsiteY182" fmla="*/ 2501404 h 3841229"/>
                <a:gd name="connsiteX183" fmla="*/ 338946 w 1573156"/>
                <a:gd name="connsiteY183" fmla="*/ 2513491 h 3841229"/>
                <a:gd name="connsiteX184" fmla="*/ 340121 w 1573156"/>
                <a:gd name="connsiteY184" fmla="*/ 2467790 h 3841229"/>
                <a:gd name="connsiteX185" fmla="*/ 306869 w 1573156"/>
                <a:gd name="connsiteY185" fmla="*/ 2429005 h 3841229"/>
                <a:gd name="connsiteX186" fmla="*/ 309641 w 1573156"/>
                <a:gd name="connsiteY186" fmla="*/ 2351433 h 3841229"/>
                <a:gd name="connsiteX187" fmla="*/ 290243 w 1573156"/>
                <a:gd name="connsiteY187" fmla="*/ 2299720 h 3841229"/>
                <a:gd name="connsiteX188" fmla="*/ 256991 w 1573156"/>
                <a:gd name="connsiteY188" fmla="*/ 2266106 h 3841229"/>
                <a:gd name="connsiteX189" fmla="*/ 218196 w 1573156"/>
                <a:gd name="connsiteY189" fmla="*/ 2242835 h 3841229"/>
                <a:gd name="connsiteX190" fmla="*/ 176631 w 1573156"/>
                <a:gd name="connsiteY190" fmla="*/ 2250592 h 3841229"/>
                <a:gd name="connsiteX191" fmla="*/ 122255 w 1573156"/>
                <a:gd name="connsiteY191" fmla="*/ 2214066 h 3841229"/>
                <a:gd name="connsiteX0" fmla="*/ 122255 w 1573156"/>
                <a:gd name="connsiteY0" fmla="*/ 2214066 h 3841229"/>
                <a:gd name="connsiteX1" fmla="*/ 63018 w 1573156"/>
                <a:gd name="connsiteY1" fmla="*/ 2216977 h 3841229"/>
                <a:gd name="connsiteX2" fmla="*/ 60248 w 1573156"/>
                <a:gd name="connsiteY2" fmla="*/ 2118721 h 3841229"/>
                <a:gd name="connsiteX3" fmla="*/ 65791 w 1573156"/>
                <a:gd name="connsiteY3" fmla="*/ 2079936 h 3841229"/>
                <a:gd name="connsiteX4" fmla="*/ 68561 w 1573156"/>
                <a:gd name="connsiteY4" fmla="*/ 2030807 h 3841229"/>
                <a:gd name="connsiteX5" fmla="*/ 54707 w 1573156"/>
                <a:gd name="connsiteY5" fmla="*/ 2028225 h 3841229"/>
                <a:gd name="connsiteX6" fmla="*/ 118439 w 1573156"/>
                <a:gd name="connsiteY6" fmla="*/ 1992023 h 3841229"/>
                <a:gd name="connsiteX7" fmla="*/ 82416 w 1573156"/>
                <a:gd name="connsiteY7" fmla="*/ 1963580 h 3841229"/>
                <a:gd name="connsiteX8" fmla="*/ 51935 w 1573156"/>
                <a:gd name="connsiteY8" fmla="*/ 1927380 h 3841229"/>
                <a:gd name="connsiteX9" fmla="*/ 40850 w 1573156"/>
                <a:gd name="connsiteY9" fmla="*/ 1893766 h 3841229"/>
                <a:gd name="connsiteX10" fmla="*/ 43621 w 1573156"/>
                <a:gd name="connsiteY10" fmla="*/ 1844639 h 3841229"/>
                <a:gd name="connsiteX11" fmla="*/ 82416 w 1573156"/>
                <a:gd name="connsiteY11" fmla="*/ 1826538 h 3841229"/>
                <a:gd name="connsiteX12" fmla="*/ 112899 w 1573156"/>
                <a:gd name="connsiteY12" fmla="*/ 1782581 h 3841229"/>
                <a:gd name="connsiteX13" fmla="*/ 96271 w 1573156"/>
                <a:gd name="connsiteY13" fmla="*/ 1754138 h 3841229"/>
                <a:gd name="connsiteX14" fmla="*/ 40851 w 1573156"/>
                <a:gd name="connsiteY14" fmla="*/ 1746381 h 3841229"/>
                <a:gd name="connsiteX15" fmla="*/ 2057 w 1573156"/>
                <a:gd name="connsiteY15" fmla="*/ 1730867 h 3841229"/>
                <a:gd name="connsiteX16" fmla="*/ 38079 w 1573156"/>
                <a:gd name="connsiteY16" fmla="*/ 1689496 h 3841229"/>
                <a:gd name="connsiteX17" fmla="*/ 18683 w 1573156"/>
                <a:gd name="connsiteY17" fmla="*/ 1679153 h 3841229"/>
                <a:gd name="connsiteX18" fmla="*/ 2055 w 1573156"/>
                <a:gd name="connsiteY18" fmla="*/ 1640367 h 3841229"/>
                <a:gd name="connsiteX19" fmla="*/ 65790 w 1573156"/>
                <a:gd name="connsiteY19" fmla="*/ 1650711 h 3841229"/>
                <a:gd name="connsiteX20" fmla="*/ 93501 w 1573156"/>
                <a:gd name="connsiteY20" fmla="*/ 1627440 h 3841229"/>
                <a:gd name="connsiteX21" fmla="*/ 187716 w 1573156"/>
                <a:gd name="connsiteY21" fmla="*/ 1536941 h 3841229"/>
                <a:gd name="connsiteX22" fmla="*/ 212655 w 1573156"/>
                <a:gd name="connsiteY22" fmla="*/ 1505912 h 3841229"/>
                <a:gd name="connsiteX23" fmla="*/ 198801 w 1573156"/>
                <a:gd name="connsiteY23" fmla="*/ 1555040 h 3841229"/>
                <a:gd name="connsiteX24" fmla="*/ 218197 w 1573156"/>
                <a:gd name="connsiteY24" fmla="*/ 1588655 h 3841229"/>
                <a:gd name="connsiteX25" fmla="*/ 262534 w 1573156"/>
                <a:gd name="connsiteY25" fmla="*/ 1666225 h 3841229"/>
                <a:gd name="connsiteX26" fmla="*/ 331810 w 1573156"/>
                <a:gd name="connsiteY26" fmla="*/ 1653297 h 3841229"/>
                <a:gd name="connsiteX27" fmla="*/ 351206 w 1573156"/>
                <a:gd name="connsiteY27" fmla="*/ 1622268 h 3841229"/>
                <a:gd name="connsiteX28" fmla="*/ 365062 w 1573156"/>
                <a:gd name="connsiteY28" fmla="*/ 1557627 h 3841229"/>
                <a:gd name="connsiteX29" fmla="*/ 304099 w 1573156"/>
                <a:gd name="connsiteY29" fmla="*/ 1511084 h 3841229"/>
                <a:gd name="connsiteX30" fmla="*/ 259763 w 1573156"/>
                <a:gd name="connsiteY30" fmla="*/ 1485227 h 3841229"/>
                <a:gd name="connsiteX31" fmla="*/ 198801 w 1573156"/>
                <a:gd name="connsiteY31" fmla="*/ 1495570 h 3841229"/>
                <a:gd name="connsiteX32" fmla="*/ 376147 w 1573156"/>
                <a:gd name="connsiteY32" fmla="*/ 1299057 h 3841229"/>
                <a:gd name="connsiteX33" fmla="*/ 223740 w 1573156"/>
                <a:gd name="connsiteY33" fmla="*/ 1151672 h 3841229"/>
                <a:gd name="connsiteX34" fmla="*/ 284703 w 1573156"/>
                <a:gd name="connsiteY34" fmla="*/ 1089617 h 3841229"/>
                <a:gd name="connsiteX35" fmla="*/ 218198 w 1573156"/>
                <a:gd name="connsiteY35" fmla="*/ 1050829 h 3841229"/>
                <a:gd name="connsiteX36" fmla="*/ 259763 w 1573156"/>
                <a:gd name="connsiteY36" fmla="*/ 1019802 h 3841229"/>
                <a:gd name="connsiteX37" fmla="*/ 212657 w 1573156"/>
                <a:gd name="connsiteY37" fmla="*/ 993947 h 3841229"/>
                <a:gd name="connsiteX38" fmla="*/ 212656 w 1573156"/>
                <a:gd name="connsiteY38" fmla="*/ 794845 h 3841229"/>
                <a:gd name="connsiteX39" fmla="*/ 251451 w 1573156"/>
                <a:gd name="connsiteY39" fmla="*/ 779332 h 3841229"/>
                <a:gd name="connsiteX40" fmla="*/ 137838 w 1573156"/>
                <a:gd name="connsiteY40" fmla="*/ 551792 h 3841229"/>
                <a:gd name="connsiteX41" fmla="*/ 135067 w 1573156"/>
                <a:gd name="connsiteY41" fmla="*/ 551792 h 3841229"/>
                <a:gd name="connsiteX42" fmla="*/ 184945 w 1573156"/>
                <a:gd name="connsiteY42" fmla="*/ 469048 h 3841229"/>
                <a:gd name="connsiteX43" fmla="*/ 201571 w 1573156"/>
                <a:gd name="connsiteY43" fmla="*/ 378550 h 3841229"/>
                <a:gd name="connsiteX44" fmla="*/ 126752 w 1573156"/>
                <a:gd name="connsiteY44" fmla="*/ 319079 h 3841229"/>
                <a:gd name="connsiteX45" fmla="*/ 118440 w 1573156"/>
                <a:gd name="connsiteY45" fmla="*/ 251851 h 3841229"/>
                <a:gd name="connsiteX46" fmla="*/ 173860 w 1573156"/>
                <a:gd name="connsiteY46" fmla="*/ 158764 h 3841229"/>
                <a:gd name="connsiteX47" fmla="*/ 193258 w 1573156"/>
                <a:gd name="connsiteY47" fmla="*/ 135494 h 3841229"/>
                <a:gd name="connsiteX48" fmla="*/ 207113 w 1573156"/>
                <a:gd name="connsiteY48" fmla="*/ 117394 h 3841229"/>
                <a:gd name="connsiteX49" fmla="*/ 215426 w 1573156"/>
                <a:gd name="connsiteY49" fmla="*/ 73438 h 3841229"/>
                <a:gd name="connsiteX50" fmla="*/ 240365 w 1573156"/>
                <a:gd name="connsiteY50" fmla="*/ 101880 h 3841229"/>
                <a:gd name="connsiteX51" fmla="*/ 270847 w 1573156"/>
                <a:gd name="connsiteY51" fmla="*/ 88952 h 3841229"/>
                <a:gd name="connsiteX52" fmla="*/ 273617 w 1573156"/>
                <a:gd name="connsiteY52" fmla="*/ 63095 h 3841229"/>
                <a:gd name="connsiteX53" fmla="*/ 281931 w 1573156"/>
                <a:gd name="connsiteY53" fmla="*/ 34652 h 3841229"/>
                <a:gd name="connsiteX54" fmla="*/ 284703 w 1573156"/>
                <a:gd name="connsiteY54" fmla="*/ 3624 h 3841229"/>
                <a:gd name="connsiteX55" fmla="*/ 420483 w 1573156"/>
                <a:gd name="connsiteY55" fmla="*/ 57924 h 3841229"/>
                <a:gd name="connsiteX56" fmla="*/ 450963 w 1573156"/>
                <a:gd name="connsiteY56" fmla="*/ 161352 h 3841229"/>
                <a:gd name="connsiteX57" fmla="*/ 464819 w 1573156"/>
                <a:gd name="connsiteY57" fmla="*/ 184622 h 3841229"/>
                <a:gd name="connsiteX58" fmla="*/ 475903 w 1573156"/>
                <a:gd name="connsiteY58" fmla="*/ 187208 h 3841229"/>
                <a:gd name="connsiteX59" fmla="*/ 589515 w 1573156"/>
                <a:gd name="connsiteY59" fmla="*/ 156181 h 3841229"/>
                <a:gd name="connsiteX60" fmla="*/ 656020 w 1573156"/>
                <a:gd name="connsiteY60" fmla="*/ 166522 h 3841229"/>
                <a:gd name="connsiteX61" fmla="*/ 719754 w 1573156"/>
                <a:gd name="connsiteY61" fmla="*/ 213065 h 3841229"/>
                <a:gd name="connsiteX62" fmla="*/ 733781 w 1573156"/>
                <a:gd name="connsiteY62" fmla="*/ 242621 h 3841229"/>
                <a:gd name="connsiteX63" fmla="*/ 789028 w 1573156"/>
                <a:gd name="connsiteY63" fmla="*/ 277708 h 3841229"/>
                <a:gd name="connsiteX64" fmla="*/ 877702 w 1573156"/>
                <a:gd name="connsiteY64" fmla="*/ 303563 h 3841229"/>
                <a:gd name="connsiteX65" fmla="*/ 949748 w 1573156"/>
                <a:gd name="connsiteY65" fmla="*/ 350106 h 3841229"/>
                <a:gd name="connsiteX66" fmla="*/ 999627 w 1573156"/>
                <a:gd name="connsiteY66" fmla="*/ 401820 h 3841229"/>
                <a:gd name="connsiteX67" fmla="*/ 1024566 w 1573156"/>
                <a:gd name="connsiteY67" fmla="*/ 440606 h 3841229"/>
                <a:gd name="connsiteX68" fmla="*/ 1057819 w 1573156"/>
                <a:gd name="connsiteY68" fmla="*/ 466462 h 3841229"/>
                <a:gd name="connsiteX69" fmla="*/ 1041191 w 1573156"/>
                <a:gd name="connsiteY69" fmla="*/ 691417 h 3841229"/>
                <a:gd name="connsiteX70" fmla="*/ 913725 w 1573156"/>
                <a:gd name="connsiteY70" fmla="*/ 771575 h 3841229"/>
                <a:gd name="connsiteX71" fmla="*/ 800113 w 1573156"/>
                <a:gd name="connsiteY71" fmla="*/ 779331 h 3841229"/>
                <a:gd name="connsiteX72" fmla="*/ 661560 w 1573156"/>
                <a:gd name="connsiteY72" fmla="*/ 758645 h 3841229"/>
                <a:gd name="connsiteX73" fmla="*/ 570116 w 1573156"/>
                <a:gd name="connsiteY73" fmla="*/ 722445 h 3841229"/>
                <a:gd name="connsiteX74" fmla="*/ 550719 w 1573156"/>
                <a:gd name="connsiteY74" fmla="*/ 750888 h 3841229"/>
                <a:gd name="connsiteX75" fmla="*/ 581361 w 1573156"/>
                <a:gd name="connsiteY75" fmla="*/ 824301 h 3841229"/>
                <a:gd name="connsiteX76" fmla="*/ 586902 w 1573156"/>
                <a:gd name="connsiteY76" fmla="*/ 951000 h 3841229"/>
                <a:gd name="connsiteX77" fmla="*/ 559032 w 1573156"/>
                <a:gd name="connsiteY77" fmla="*/ 1012043 h 3841229"/>
                <a:gd name="connsiteX78" fmla="*/ 614451 w 1573156"/>
                <a:gd name="connsiteY78" fmla="*/ 1032728 h 3841229"/>
                <a:gd name="connsiteX79" fmla="*/ 631079 w 1573156"/>
                <a:gd name="connsiteY79" fmla="*/ 1048242 h 3841229"/>
                <a:gd name="connsiteX80" fmla="*/ 656019 w 1573156"/>
                <a:gd name="connsiteY80" fmla="*/ 1074099 h 3841229"/>
                <a:gd name="connsiteX81" fmla="*/ 653248 w 1573156"/>
                <a:gd name="connsiteY81" fmla="*/ 1076685 h 3841229"/>
                <a:gd name="connsiteX82" fmla="*/ 692041 w 1573156"/>
                <a:gd name="connsiteY82" fmla="*/ 1071514 h 3841229"/>
                <a:gd name="connsiteX83" fmla="*/ 700355 w 1573156"/>
                <a:gd name="connsiteY83" fmla="*/ 1035314 h 3841229"/>
                <a:gd name="connsiteX84" fmla="*/ 661560 w 1573156"/>
                <a:gd name="connsiteY84" fmla="*/ 957743 h 3841229"/>
                <a:gd name="connsiteX85" fmla="*/ 730836 w 1573156"/>
                <a:gd name="connsiteY85" fmla="*/ 911200 h 3841229"/>
                <a:gd name="connsiteX86" fmla="*/ 798608 w 1573156"/>
                <a:gd name="connsiteY86" fmla="*/ 918934 h 3841229"/>
                <a:gd name="connsiteX87" fmla="*/ 822441 w 1573156"/>
                <a:gd name="connsiteY87" fmla="*/ 951001 h 3841229"/>
                <a:gd name="connsiteX88" fmla="*/ 978170 w 1573156"/>
                <a:gd name="connsiteY88" fmla="*/ 1007364 h 3841229"/>
                <a:gd name="connsiteX89" fmla="*/ 963762 w 1573156"/>
                <a:gd name="connsiteY89" fmla="*/ 971687 h 3841229"/>
                <a:gd name="connsiteX90" fmla="*/ 930510 w 1573156"/>
                <a:gd name="connsiteY90" fmla="*/ 932901 h 3841229"/>
                <a:gd name="connsiteX91" fmla="*/ 919426 w 1573156"/>
                <a:gd name="connsiteY91" fmla="*/ 881187 h 3841229"/>
                <a:gd name="connsiteX92" fmla="*/ 958221 w 1573156"/>
                <a:gd name="connsiteY92" fmla="*/ 832060 h 3841229"/>
                <a:gd name="connsiteX93" fmla="*/ 985931 w 1573156"/>
                <a:gd name="connsiteY93" fmla="*/ 803617 h 3841229"/>
                <a:gd name="connsiteX94" fmla="*/ 1010871 w 1573156"/>
                <a:gd name="connsiteY94" fmla="*/ 767417 h 3841229"/>
                <a:gd name="connsiteX95" fmla="*/ 1091231 w 1573156"/>
                <a:gd name="connsiteY95" fmla="*/ 762245 h 3841229"/>
                <a:gd name="connsiteX96" fmla="*/ 1096772 w 1573156"/>
                <a:gd name="connsiteY96" fmla="*/ 741560 h 3841229"/>
                <a:gd name="connsiteX97" fmla="*/ 1121712 w 1573156"/>
                <a:gd name="connsiteY97" fmla="*/ 705360 h 3841229"/>
                <a:gd name="connsiteX98" fmla="*/ 1155516 w 1573156"/>
                <a:gd name="connsiteY98" fmla="*/ 687772 h 3841229"/>
                <a:gd name="connsiteX99" fmla="*/ 1213156 w 1573156"/>
                <a:gd name="connsiteY99" fmla="*/ 700189 h 3841229"/>
                <a:gd name="connsiteX100" fmla="*/ 1251949 w 1573156"/>
                <a:gd name="connsiteY100" fmla="*/ 720875 h 3841229"/>
                <a:gd name="connsiteX101" fmla="*/ 1299057 w 1573156"/>
                <a:gd name="connsiteY101" fmla="*/ 728632 h 3841229"/>
                <a:gd name="connsiteX102" fmla="*/ 1299057 w 1573156"/>
                <a:gd name="connsiteY102" fmla="*/ 733803 h 3841229"/>
                <a:gd name="connsiteX103" fmla="*/ 1321226 w 1573156"/>
                <a:gd name="connsiteY103" fmla="*/ 674332 h 3841229"/>
                <a:gd name="connsiteX104" fmla="*/ 1331201 w 1573156"/>
                <a:gd name="connsiteY104" fmla="*/ 640714 h 3841229"/>
                <a:gd name="connsiteX105" fmla="*/ 1337852 w 1573156"/>
                <a:gd name="connsiteY105" fmla="*/ 622618 h 3841229"/>
                <a:gd name="connsiteX106" fmla="*/ 1340789 w 1573156"/>
                <a:gd name="connsiteY106" fmla="*/ 591288 h 3841229"/>
                <a:gd name="connsiteX107" fmla="*/ 1260263 w 1573156"/>
                <a:gd name="connsiteY107" fmla="*/ 545048 h 3841229"/>
                <a:gd name="connsiteX108" fmla="*/ 1246408 w 1573156"/>
                <a:gd name="connsiteY108" fmla="*/ 472648 h 3841229"/>
                <a:gd name="connsiteX109" fmla="*/ 1246408 w 1573156"/>
                <a:gd name="connsiteY109" fmla="*/ 454548 h 3841229"/>
                <a:gd name="connsiteX110" fmla="*/ 1257491 w 1573156"/>
                <a:gd name="connsiteY110" fmla="*/ 431276 h 3841229"/>
                <a:gd name="connsiteX111" fmla="*/ 1260263 w 1573156"/>
                <a:gd name="connsiteY111" fmla="*/ 415762 h 3841229"/>
                <a:gd name="connsiteX112" fmla="*/ 1260262 w 1573156"/>
                <a:gd name="connsiteY112" fmla="*/ 358878 h 3841229"/>
                <a:gd name="connsiteX113" fmla="*/ 1238094 w 1573156"/>
                <a:gd name="connsiteY113" fmla="*/ 335607 h 3841229"/>
                <a:gd name="connsiteX114" fmla="*/ 1210384 w 1573156"/>
                <a:gd name="connsiteY114" fmla="*/ 304578 h 3841229"/>
                <a:gd name="connsiteX115" fmla="*/ 1206216 w 1573156"/>
                <a:gd name="connsiteY115" fmla="*/ 280325 h 3841229"/>
                <a:gd name="connsiteX116" fmla="*/ 1257492 w 1573156"/>
                <a:gd name="connsiteY116" fmla="*/ 258034 h 3841229"/>
                <a:gd name="connsiteX117" fmla="*/ 1311072 w 1573156"/>
                <a:gd name="connsiteY117" fmla="*/ 267906 h 3841229"/>
                <a:gd name="connsiteX118" fmla="*/ 1389856 w 1573156"/>
                <a:gd name="connsiteY118" fmla="*/ 279816 h 3841229"/>
                <a:gd name="connsiteX119" fmla="*/ 1474179 w 1573156"/>
                <a:gd name="connsiteY119" fmla="*/ 349175 h 3841229"/>
                <a:gd name="connsiteX120" fmla="*/ 1536314 w 1573156"/>
                <a:gd name="connsiteY120" fmla="*/ 425271 h 3841229"/>
                <a:gd name="connsiteX121" fmla="*/ 1435343 w 1573156"/>
                <a:gd name="connsiteY121" fmla="*/ 454265 h 3841229"/>
                <a:gd name="connsiteX122" fmla="*/ 1419809 w 1573156"/>
                <a:gd name="connsiteY122" fmla="*/ 501372 h 3841229"/>
                <a:gd name="connsiteX123" fmla="*/ 1477479 w 1573156"/>
                <a:gd name="connsiteY123" fmla="*/ 585862 h 3841229"/>
                <a:gd name="connsiteX124" fmla="*/ 1513013 w 1573156"/>
                <a:gd name="connsiteY124" fmla="*/ 591964 h 3841229"/>
                <a:gd name="connsiteX125" fmla="*/ 1565633 w 1573156"/>
                <a:gd name="connsiteY125" fmla="*/ 598304 h 3841229"/>
                <a:gd name="connsiteX126" fmla="*/ 1560670 w 1573156"/>
                <a:gd name="connsiteY126" fmla="*/ 709079 h 3841229"/>
                <a:gd name="connsiteX127" fmla="*/ 1571739 w 1573156"/>
                <a:gd name="connsiteY127" fmla="*/ 1040047 h 3841229"/>
                <a:gd name="connsiteX128" fmla="*/ 1562871 w 1573156"/>
                <a:gd name="connsiteY128" fmla="*/ 1842646 h 3841229"/>
                <a:gd name="connsiteX129" fmla="*/ 1571738 w 1573156"/>
                <a:gd name="connsiteY129" fmla="*/ 2297728 h 3841229"/>
                <a:gd name="connsiteX130" fmla="*/ 1561917 w 1573156"/>
                <a:gd name="connsiteY130" fmla="*/ 3721463 h 3841229"/>
                <a:gd name="connsiteX131" fmla="*/ 1556603 w 1573156"/>
                <a:gd name="connsiteY131" fmla="*/ 3758050 h 3841229"/>
                <a:gd name="connsiteX132" fmla="*/ 1534434 w 1573156"/>
                <a:gd name="connsiteY132" fmla="*/ 3701165 h 3841229"/>
                <a:gd name="connsiteX133" fmla="*/ 1545518 w 1573156"/>
                <a:gd name="connsiteY133" fmla="*/ 3688238 h 3841229"/>
                <a:gd name="connsiteX134" fmla="*/ 1503953 w 1573156"/>
                <a:gd name="connsiteY134" fmla="*/ 3670136 h 3841229"/>
                <a:gd name="connsiteX135" fmla="*/ 1473471 w 1573156"/>
                <a:gd name="connsiteY135" fmla="*/ 3685650 h 3841229"/>
                <a:gd name="connsiteX136" fmla="*/ 1445761 w 1573156"/>
                <a:gd name="connsiteY136" fmla="*/ 3652040 h 3841229"/>
                <a:gd name="connsiteX137" fmla="*/ 1398654 w 1573156"/>
                <a:gd name="connsiteY137" fmla="*/ 3659796 h 3841229"/>
                <a:gd name="connsiteX138" fmla="*/ 1357089 w 1573156"/>
                <a:gd name="connsiteY138" fmla="*/ 3662380 h 3841229"/>
                <a:gd name="connsiteX139" fmla="*/ 1343234 w 1573156"/>
                <a:gd name="connsiteY139" fmla="*/ 3631352 h 3841229"/>
                <a:gd name="connsiteX140" fmla="*/ 1304439 w 1573156"/>
                <a:gd name="connsiteY140" fmla="*/ 3641695 h 3841229"/>
                <a:gd name="connsiteX141" fmla="*/ 1290584 w 1573156"/>
                <a:gd name="connsiteY141" fmla="*/ 3610666 h 3841229"/>
                <a:gd name="connsiteX142" fmla="*/ 1195420 w 1573156"/>
                <a:gd name="connsiteY142" fmla="*/ 3605469 h 3841229"/>
                <a:gd name="connsiteX143" fmla="*/ 1013482 w 1573156"/>
                <a:gd name="connsiteY143" fmla="*/ 3592567 h 3841229"/>
                <a:gd name="connsiteX144" fmla="*/ 1123928 w 1573156"/>
                <a:gd name="connsiteY144" fmla="*/ 3663387 h 3841229"/>
                <a:gd name="connsiteX145" fmla="*/ 907787 w 1573156"/>
                <a:gd name="connsiteY145" fmla="*/ 3629257 h 3841229"/>
                <a:gd name="connsiteX146" fmla="*/ 776238 w 1573156"/>
                <a:gd name="connsiteY146" fmla="*/ 3504783 h 3841229"/>
                <a:gd name="connsiteX147" fmla="*/ 708669 w 1573156"/>
                <a:gd name="connsiteY147" fmla="*/ 3437426 h 3841229"/>
                <a:gd name="connsiteX148" fmla="*/ 739150 w 1573156"/>
                <a:gd name="connsiteY148" fmla="*/ 3437426 h 3841229"/>
                <a:gd name="connsiteX149" fmla="*/ 750233 w 1573156"/>
                <a:gd name="connsiteY149" fmla="*/ 3408982 h 3841229"/>
                <a:gd name="connsiteX150" fmla="*/ 783486 w 1573156"/>
                <a:gd name="connsiteY150" fmla="*/ 3354683 h 3841229"/>
                <a:gd name="connsiteX151" fmla="*/ 747462 w 1573156"/>
                <a:gd name="connsiteY151" fmla="*/ 3297798 h 3841229"/>
                <a:gd name="connsiteX152" fmla="*/ 836135 w 1573156"/>
                <a:gd name="connsiteY152" fmla="*/ 3225398 h 3841229"/>
                <a:gd name="connsiteX153" fmla="*/ 902641 w 1573156"/>
                <a:gd name="connsiteY153" fmla="*/ 3217642 h 3841229"/>
                <a:gd name="connsiteX154" fmla="*/ 955289 w 1573156"/>
                <a:gd name="connsiteY154" fmla="*/ 3160756 h 3841229"/>
                <a:gd name="connsiteX155" fmla="*/ 1024565 w 1573156"/>
                <a:gd name="connsiteY155" fmla="*/ 3114213 h 3841229"/>
                <a:gd name="connsiteX156" fmla="*/ 1019023 w 1573156"/>
                <a:gd name="connsiteY156" fmla="*/ 3067671 h 3841229"/>
                <a:gd name="connsiteX157" fmla="*/ 1043963 w 1573156"/>
                <a:gd name="connsiteY157" fmla="*/ 3028886 h 3841229"/>
                <a:gd name="connsiteX158" fmla="*/ 1016252 w 1573156"/>
                <a:gd name="connsiteY158" fmla="*/ 3026300 h 3841229"/>
                <a:gd name="connsiteX159" fmla="*/ 1031704 w 1573156"/>
                <a:gd name="connsiteY159" fmla="*/ 2992878 h 3841229"/>
                <a:gd name="connsiteX160" fmla="*/ 914211 w 1573156"/>
                <a:gd name="connsiteY160" fmla="*/ 2928233 h 3841229"/>
                <a:gd name="connsiteX161" fmla="*/ 877701 w 1573156"/>
                <a:gd name="connsiteY161" fmla="*/ 2920285 h 3841229"/>
                <a:gd name="connsiteX162" fmla="*/ 858304 w 1573156"/>
                <a:gd name="connsiteY162" fmla="*/ 2909943 h 3841229"/>
                <a:gd name="connsiteX163" fmla="*/ 827823 w 1573156"/>
                <a:gd name="connsiteY163" fmla="*/ 2881501 h 3841229"/>
                <a:gd name="connsiteX164" fmla="*/ 761317 w 1573156"/>
                <a:gd name="connsiteY164" fmla="*/ 2897015 h 3841229"/>
                <a:gd name="connsiteX165" fmla="*/ 700355 w 1573156"/>
                <a:gd name="connsiteY165" fmla="*/ 2891844 h 3841229"/>
                <a:gd name="connsiteX166" fmla="*/ 658790 w 1573156"/>
                <a:gd name="connsiteY166" fmla="*/ 2827201 h 3841229"/>
                <a:gd name="connsiteX167" fmla="*/ 656019 w 1573156"/>
                <a:gd name="connsiteY167" fmla="*/ 2785830 h 3841229"/>
                <a:gd name="connsiteX168" fmla="*/ 631080 w 1573156"/>
                <a:gd name="connsiteY168" fmla="*/ 2772902 h 3841229"/>
                <a:gd name="connsiteX169" fmla="*/ 567346 w 1573156"/>
                <a:gd name="connsiteY169" fmla="*/ 2759974 h 3841229"/>
                <a:gd name="connsiteX170" fmla="*/ 586743 w 1573156"/>
                <a:gd name="connsiteY170" fmla="*/ 2721188 h 3841229"/>
                <a:gd name="connsiteX171" fmla="*/ 557777 w 1573156"/>
                <a:gd name="connsiteY171" fmla="*/ 2715007 h 3841229"/>
                <a:gd name="connsiteX172" fmla="*/ 531809 w 1573156"/>
                <a:gd name="connsiteY172" fmla="*/ 2672771 h 3841229"/>
                <a:gd name="connsiteX173" fmla="*/ 414939 w 1573156"/>
                <a:gd name="connsiteY173" fmla="*/ 2682402 h 3841229"/>
                <a:gd name="connsiteX174" fmla="*/ 390000 w 1573156"/>
                <a:gd name="connsiteY174" fmla="*/ 2672059 h 3841229"/>
                <a:gd name="connsiteX175" fmla="*/ 367832 w 1573156"/>
                <a:gd name="connsiteY175" fmla="*/ 2684989 h 3841229"/>
                <a:gd name="connsiteX176" fmla="*/ 351205 w 1573156"/>
                <a:gd name="connsiteY176" fmla="*/ 2622932 h 3841229"/>
                <a:gd name="connsiteX177" fmla="*/ 340121 w 1573156"/>
                <a:gd name="connsiteY177" fmla="*/ 2597075 h 3841229"/>
                <a:gd name="connsiteX178" fmla="*/ 353976 w 1573156"/>
                <a:gd name="connsiteY178" fmla="*/ 2578974 h 3841229"/>
                <a:gd name="connsiteX179" fmla="*/ 381687 w 1573156"/>
                <a:gd name="connsiteY179" fmla="*/ 2581561 h 3841229"/>
                <a:gd name="connsiteX180" fmla="*/ 414939 w 1573156"/>
                <a:gd name="connsiteY180" fmla="*/ 2563461 h 3841229"/>
                <a:gd name="connsiteX181" fmla="*/ 412168 w 1573156"/>
                <a:gd name="connsiteY181" fmla="*/ 2537603 h 3841229"/>
                <a:gd name="connsiteX182" fmla="*/ 362289 w 1573156"/>
                <a:gd name="connsiteY182" fmla="*/ 2501404 h 3841229"/>
                <a:gd name="connsiteX183" fmla="*/ 338946 w 1573156"/>
                <a:gd name="connsiteY183" fmla="*/ 2513491 h 3841229"/>
                <a:gd name="connsiteX184" fmla="*/ 340121 w 1573156"/>
                <a:gd name="connsiteY184" fmla="*/ 2467790 h 3841229"/>
                <a:gd name="connsiteX185" fmla="*/ 306869 w 1573156"/>
                <a:gd name="connsiteY185" fmla="*/ 2429005 h 3841229"/>
                <a:gd name="connsiteX186" fmla="*/ 309641 w 1573156"/>
                <a:gd name="connsiteY186" fmla="*/ 2351433 h 3841229"/>
                <a:gd name="connsiteX187" fmla="*/ 290243 w 1573156"/>
                <a:gd name="connsiteY187" fmla="*/ 2299720 h 3841229"/>
                <a:gd name="connsiteX188" fmla="*/ 256991 w 1573156"/>
                <a:gd name="connsiteY188" fmla="*/ 2266106 h 3841229"/>
                <a:gd name="connsiteX189" fmla="*/ 218196 w 1573156"/>
                <a:gd name="connsiteY189" fmla="*/ 2242835 h 3841229"/>
                <a:gd name="connsiteX190" fmla="*/ 176631 w 1573156"/>
                <a:gd name="connsiteY190" fmla="*/ 2250592 h 3841229"/>
                <a:gd name="connsiteX191" fmla="*/ 122255 w 1573156"/>
                <a:gd name="connsiteY191" fmla="*/ 2214066 h 3841229"/>
                <a:gd name="connsiteX0" fmla="*/ 122255 w 1573156"/>
                <a:gd name="connsiteY0" fmla="*/ 2214066 h 3841229"/>
                <a:gd name="connsiteX1" fmla="*/ 63018 w 1573156"/>
                <a:gd name="connsiteY1" fmla="*/ 2216977 h 3841229"/>
                <a:gd name="connsiteX2" fmla="*/ 60248 w 1573156"/>
                <a:gd name="connsiteY2" fmla="*/ 2118721 h 3841229"/>
                <a:gd name="connsiteX3" fmla="*/ 65791 w 1573156"/>
                <a:gd name="connsiteY3" fmla="*/ 2079936 h 3841229"/>
                <a:gd name="connsiteX4" fmla="*/ 68561 w 1573156"/>
                <a:gd name="connsiteY4" fmla="*/ 2030807 h 3841229"/>
                <a:gd name="connsiteX5" fmla="*/ 54707 w 1573156"/>
                <a:gd name="connsiteY5" fmla="*/ 2028225 h 3841229"/>
                <a:gd name="connsiteX6" fmla="*/ 118439 w 1573156"/>
                <a:gd name="connsiteY6" fmla="*/ 1992023 h 3841229"/>
                <a:gd name="connsiteX7" fmla="*/ 82416 w 1573156"/>
                <a:gd name="connsiteY7" fmla="*/ 1963580 h 3841229"/>
                <a:gd name="connsiteX8" fmla="*/ 51935 w 1573156"/>
                <a:gd name="connsiteY8" fmla="*/ 1927380 h 3841229"/>
                <a:gd name="connsiteX9" fmla="*/ 40850 w 1573156"/>
                <a:gd name="connsiteY9" fmla="*/ 1893766 h 3841229"/>
                <a:gd name="connsiteX10" fmla="*/ 43621 w 1573156"/>
                <a:gd name="connsiteY10" fmla="*/ 1844639 h 3841229"/>
                <a:gd name="connsiteX11" fmla="*/ 82416 w 1573156"/>
                <a:gd name="connsiteY11" fmla="*/ 1826538 h 3841229"/>
                <a:gd name="connsiteX12" fmla="*/ 112899 w 1573156"/>
                <a:gd name="connsiteY12" fmla="*/ 1782581 h 3841229"/>
                <a:gd name="connsiteX13" fmla="*/ 96271 w 1573156"/>
                <a:gd name="connsiteY13" fmla="*/ 1754138 h 3841229"/>
                <a:gd name="connsiteX14" fmla="*/ 40851 w 1573156"/>
                <a:gd name="connsiteY14" fmla="*/ 1746381 h 3841229"/>
                <a:gd name="connsiteX15" fmla="*/ 2057 w 1573156"/>
                <a:gd name="connsiteY15" fmla="*/ 1730867 h 3841229"/>
                <a:gd name="connsiteX16" fmla="*/ 38079 w 1573156"/>
                <a:gd name="connsiteY16" fmla="*/ 1689496 h 3841229"/>
                <a:gd name="connsiteX17" fmla="*/ 18683 w 1573156"/>
                <a:gd name="connsiteY17" fmla="*/ 1679153 h 3841229"/>
                <a:gd name="connsiteX18" fmla="*/ 2055 w 1573156"/>
                <a:gd name="connsiteY18" fmla="*/ 1640367 h 3841229"/>
                <a:gd name="connsiteX19" fmla="*/ 65790 w 1573156"/>
                <a:gd name="connsiteY19" fmla="*/ 1650711 h 3841229"/>
                <a:gd name="connsiteX20" fmla="*/ 93501 w 1573156"/>
                <a:gd name="connsiteY20" fmla="*/ 1627440 h 3841229"/>
                <a:gd name="connsiteX21" fmla="*/ 187716 w 1573156"/>
                <a:gd name="connsiteY21" fmla="*/ 1536941 h 3841229"/>
                <a:gd name="connsiteX22" fmla="*/ 212655 w 1573156"/>
                <a:gd name="connsiteY22" fmla="*/ 1505912 h 3841229"/>
                <a:gd name="connsiteX23" fmla="*/ 198801 w 1573156"/>
                <a:gd name="connsiteY23" fmla="*/ 1555040 h 3841229"/>
                <a:gd name="connsiteX24" fmla="*/ 218197 w 1573156"/>
                <a:gd name="connsiteY24" fmla="*/ 1588655 h 3841229"/>
                <a:gd name="connsiteX25" fmla="*/ 262534 w 1573156"/>
                <a:gd name="connsiteY25" fmla="*/ 1666225 h 3841229"/>
                <a:gd name="connsiteX26" fmla="*/ 331810 w 1573156"/>
                <a:gd name="connsiteY26" fmla="*/ 1653297 h 3841229"/>
                <a:gd name="connsiteX27" fmla="*/ 351206 w 1573156"/>
                <a:gd name="connsiteY27" fmla="*/ 1622268 h 3841229"/>
                <a:gd name="connsiteX28" fmla="*/ 365062 w 1573156"/>
                <a:gd name="connsiteY28" fmla="*/ 1557627 h 3841229"/>
                <a:gd name="connsiteX29" fmla="*/ 304099 w 1573156"/>
                <a:gd name="connsiteY29" fmla="*/ 1511084 h 3841229"/>
                <a:gd name="connsiteX30" fmla="*/ 259763 w 1573156"/>
                <a:gd name="connsiteY30" fmla="*/ 1485227 h 3841229"/>
                <a:gd name="connsiteX31" fmla="*/ 198801 w 1573156"/>
                <a:gd name="connsiteY31" fmla="*/ 1495570 h 3841229"/>
                <a:gd name="connsiteX32" fmla="*/ 376147 w 1573156"/>
                <a:gd name="connsiteY32" fmla="*/ 1299057 h 3841229"/>
                <a:gd name="connsiteX33" fmla="*/ 295785 w 1573156"/>
                <a:gd name="connsiteY33" fmla="*/ 1229242 h 3841229"/>
                <a:gd name="connsiteX34" fmla="*/ 223740 w 1573156"/>
                <a:gd name="connsiteY34" fmla="*/ 1151672 h 3841229"/>
                <a:gd name="connsiteX35" fmla="*/ 284703 w 1573156"/>
                <a:gd name="connsiteY35" fmla="*/ 1089617 h 3841229"/>
                <a:gd name="connsiteX36" fmla="*/ 218198 w 1573156"/>
                <a:gd name="connsiteY36" fmla="*/ 1050829 h 3841229"/>
                <a:gd name="connsiteX37" fmla="*/ 259763 w 1573156"/>
                <a:gd name="connsiteY37" fmla="*/ 1019802 h 3841229"/>
                <a:gd name="connsiteX38" fmla="*/ 212657 w 1573156"/>
                <a:gd name="connsiteY38" fmla="*/ 993947 h 3841229"/>
                <a:gd name="connsiteX39" fmla="*/ 212656 w 1573156"/>
                <a:gd name="connsiteY39" fmla="*/ 794845 h 3841229"/>
                <a:gd name="connsiteX40" fmla="*/ 251451 w 1573156"/>
                <a:gd name="connsiteY40" fmla="*/ 779332 h 3841229"/>
                <a:gd name="connsiteX41" fmla="*/ 137838 w 1573156"/>
                <a:gd name="connsiteY41" fmla="*/ 551792 h 3841229"/>
                <a:gd name="connsiteX42" fmla="*/ 135067 w 1573156"/>
                <a:gd name="connsiteY42" fmla="*/ 551792 h 3841229"/>
                <a:gd name="connsiteX43" fmla="*/ 184945 w 1573156"/>
                <a:gd name="connsiteY43" fmla="*/ 469048 h 3841229"/>
                <a:gd name="connsiteX44" fmla="*/ 201571 w 1573156"/>
                <a:gd name="connsiteY44" fmla="*/ 378550 h 3841229"/>
                <a:gd name="connsiteX45" fmla="*/ 126752 w 1573156"/>
                <a:gd name="connsiteY45" fmla="*/ 319079 h 3841229"/>
                <a:gd name="connsiteX46" fmla="*/ 118440 w 1573156"/>
                <a:gd name="connsiteY46" fmla="*/ 251851 h 3841229"/>
                <a:gd name="connsiteX47" fmla="*/ 173860 w 1573156"/>
                <a:gd name="connsiteY47" fmla="*/ 158764 h 3841229"/>
                <a:gd name="connsiteX48" fmla="*/ 193258 w 1573156"/>
                <a:gd name="connsiteY48" fmla="*/ 135494 h 3841229"/>
                <a:gd name="connsiteX49" fmla="*/ 207113 w 1573156"/>
                <a:gd name="connsiteY49" fmla="*/ 117394 h 3841229"/>
                <a:gd name="connsiteX50" fmla="*/ 215426 w 1573156"/>
                <a:gd name="connsiteY50" fmla="*/ 73438 h 3841229"/>
                <a:gd name="connsiteX51" fmla="*/ 240365 w 1573156"/>
                <a:gd name="connsiteY51" fmla="*/ 101880 h 3841229"/>
                <a:gd name="connsiteX52" fmla="*/ 270847 w 1573156"/>
                <a:gd name="connsiteY52" fmla="*/ 88952 h 3841229"/>
                <a:gd name="connsiteX53" fmla="*/ 273617 w 1573156"/>
                <a:gd name="connsiteY53" fmla="*/ 63095 h 3841229"/>
                <a:gd name="connsiteX54" fmla="*/ 281931 w 1573156"/>
                <a:gd name="connsiteY54" fmla="*/ 34652 h 3841229"/>
                <a:gd name="connsiteX55" fmla="*/ 284703 w 1573156"/>
                <a:gd name="connsiteY55" fmla="*/ 3624 h 3841229"/>
                <a:gd name="connsiteX56" fmla="*/ 420483 w 1573156"/>
                <a:gd name="connsiteY56" fmla="*/ 57924 h 3841229"/>
                <a:gd name="connsiteX57" fmla="*/ 450963 w 1573156"/>
                <a:gd name="connsiteY57" fmla="*/ 161352 h 3841229"/>
                <a:gd name="connsiteX58" fmla="*/ 464819 w 1573156"/>
                <a:gd name="connsiteY58" fmla="*/ 184622 h 3841229"/>
                <a:gd name="connsiteX59" fmla="*/ 475903 w 1573156"/>
                <a:gd name="connsiteY59" fmla="*/ 187208 h 3841229"/>
                <a:gd name="connsiteX60" fmla="*/ 589515 w 1573156"/>
                <a:gd name="connsiteY60" fmla="*/ 156181 h 3841229"/>
                <a:gd name="connsiteX61" fmla="*/ 656020 w 1573156"/>
                <a:gd name="connsiteY61" fmla="*/ 166522 h 3841229"/>
                <a:gd name="connsiteX62" fmla="*/ 719754 w 1573156"/>
                <a:gd name="connsiteY62" fmla="*/ 213065 h 3841229"/>
                <a:gd name="connsiteX63" fmla="*/ 733781 w 1573156"/>
                <a:gd name="connsiteY63" fmla="*/ 242621 h 3841229"/>
                <a:gd name="connsiteX64" fmla="*/ 789028 w 1573156"/>
                <a:gd name="connsiteY64" fmla="*/ 277708 h 3841229"/>
                <a:gd name="connsiteX65" fmla="*/ 877702 w 1573156"/>
                <a:gd name="connsiteY65" fmla="*/ 303563 h 3841229"/>
                <a:gd name="connsiteX66" fmla="*/ 949748 w 1573156"/>
                <a:gd name="connsiteY66" fmla="*/ 350106 h 3841229"/>
                <a:gd name="connsiteX67" fmla="*/ 999627 w 1573156"/>
                <a:gd name="connsiteY67" fmla="*/ 401820 h 3841229"/>
                <a:gd name="connsiteX68" fmla="*/ 1024566 w 1573156"/>
                <a:gd name="connsiteY68" fmla="*/ 440606 h 3841229"/>
                <a:gd name="connsiteX69" fmla="*/ 1057819 w 1573156"/>
                <a:gd name="connsiteY69" fmla="*/ 466462 h 3841229"/>
                <a:gd name="connsiteX70" fmla="*/ 1041191 w 1573156"/>
                <a:gd name="connsiteY70" fmla="*/ 691417 h 3841229"/>
                <a:gd name="connsiteX71" fmla="*/ 913725 w 1573156"/>
                <a:gd name="connsiteY71" fmla="*/ 771575 h 3841229"/>
                <a:gd name="connsiteX72" fmla="*/ 800113 w 1573156"/>
                <a:gd name="connsiteY72" fmla="*/ 779331 h 3841229"/>
                <a:gd name="connsiteX73" fmla="*/ 661560 w 1573156"/>
                <a:gd name="connsiteY73" fmla="*/ 758645 h 3841229"/>
                <a:gd name="connsiteX74" fmla="*/ 570116 w 1573156"/>
                <a:gd name="connsiteY74" fmla="*/ 722445 h 3841229"/>
                <a:gd name="connsiteX75" fmla="*/ 550719 w 1573156"/>
                <a:gd name="connsiteY75" fmla="*/ 750888 h 3841229"/>
                <a:gd name="connsiteX76" fmla="*/ 581361 w 1573156"/>
                <a:gd name="connsiteY76" fmla="*/ 824301 h 3841229"/>
                <a:gd name="connsiteX77" fmla="*/ 586902 w 1573156"/>
                <a:gd name="connsiteY77" fmla="*/ 951000 h 3841229"/>
                <a:gd name="connsiteX78" fmla="*/ 559032 w 1573156"/>
                <a:gd name="connsiteY78" fmla="*/ 1012043 h 3841229"/>
                <a:gd name="connsiteX79" fmla="*/ 614451 w 1573156"/>
                <a:gd name="connsiteY79" fmla="*/ 1032728 h 3841229"/>
                <a:gd name="connsiteX80" fmla="*/ 631079 w 1573156"/>
                <a:gd name="connsiteY80" fmla="*/ 1048242 h 3841229"/>
                <a:gd name="connsiteX81" fmla="*/ 656019 w 1573156"/>
                <a:gd name="connsiteY81" fmla="*/ 1074099 h 3841229"/>
                <a:gd name="connsiteX82" fmla="*/ 653248 w 1573156"/>
                <a:gd name="connsiteY82" fmla="*/ 1076685 h 3841229"/>
                <a:gd name="connsiteX83" fmla="*/ 692041 w 1573156"/>
                <a:gd name="connsiteY83" fmla="*/ 1071514 h 3841229"/>
                <a:gd name="connsiteX84" fmla="*/ 700355 w 1573156"/>
                <a:gd name="connsiteY84" fmla="*/ 1035314 h 3841229"/>
                <a:gd name="connsiteX85" fmla="*/ 661560 w 1573156"/>
                <a:gd name="connsiteY85" fmla="*/ 957743 h 3841229"/>
                <a:gd name="connsiteX86" fmla="*/ 730836 w 1573156"/>
                <a:gd name="connsiteY86" fmla="*/ 911200 h 3841229"/>
                <a:gd name="connsiteX87" fmla="*/ 798608 w 1573156"/>
                <a:gd name="connsiteY87" fmla="*/ 918934 h 3841229"/>
                <a:gd name="connsiteX88" fmla="*/ 822441 w 1573156"/>
                <a:gd name="connsiteY88" fmla="*/ 951001 h 3841229"/>
                <a:gd name="connsiteX89" fmla="*/ 978170 w 1573156"/>
                <a:gd name="connsiteY89" fmla="*/ 1007364 h 3841229"/>
                <a:gd name="connsiteX90" fmla="*/ 963762 w 1573156"/>
                <a:gd name="connsiteY90" fmla="*/ 971687 h 3841229"/>
                <a:gd name="connsiteX91" fmla="*/ 930510 w 1573156"/>
                <a:gd name="connsiteY91" fmla="*/ 932901 h 3841229"/>
                <a:gd name="connsiteX92" fmla="*/ 919426 w 1573156"/>
                <a:gd name="connsiteY92" fmla="*/ 881187 h 3841229"/>
                <a:gd name="connsiteX93" fmla="*/ 958221 w 1573156"/>
                <a:gd name="connsiteY93" fmla="*/ 832060 h 3841229"/>
                <a:gd name="connsiteX94" fmla="*/ 985931 w 1573156"/>
                <a:gd name="connsiteY94" fmla="*/ 803617 h 3841229"/>
                <a:gd name="connsiteX95" fmla="*/ 1010871 w 1573156"/>
                <a:gd name="connsiteY95" fmla="*/ 767417 h 3841229"/>
                <a:gd name="connsiteX96" fmla="*/ 1091231 w 1573156"/>
                <a:gd name="connsiteY96" fmla="*/ 762245 h 3841229"/>
                <a:gd name="connsiteX97" fmla="*/ 1096772 w 1573156"/>
                <a:gd name="connsiteY97" fmla="*/ 741560 h 3841229"/>
                <a:gd name="connsiteX98" fmla="*/ 1121712 w 1573156"/>
                <a:gd name="connsiteY98" fmla="*/ 705360 h 3841229"/>
                <a:gd name="connsiteX99" fmla="*/ 1155516 w 1573156"/>
                <a:gd name="connsiteY99" fmla="*/ 687772 h 3841229"/>
                <a:gd name="connsiteX100" fmla="*/ 1213156 w 1573156"/>
                <a:gd name="connsiteY100" fmla="*/ 700189 h 3841229"/>
                <a:gd name="connsiteX101" fmla="*/ 1251949 w 1573156"/>
                <a:gd name="connsiteY101" fmla="*/ 720875 h 3841229"/>
                <a:gd name="connsiteX102" fmla="*/ 1299057 w 1573156"/>
                <a:gd name="connsiteY102" fmla="*/ 728632 h 3841229"/>
                <a:gd name="connsiteX103" fmla="*/ 1299057 w 1573156"/>
                <a:gd name="connsiteY103" fmla="*/ 733803 h 3841229"/>
                <a:gd name="connsiteX104" fmla="*/ 1321226 w 1573156"/>
                <a:gd name="connsiteY104" fmla="*/ 674332 h 3841229"/>
                <a:gd name="connsiteX105" fmla="*/ 1331201 w 1573156"/>
                <a:gd name="connsiteY105" fmla="*/ 640714 h 3841229"/>
                <a:gd name="connsiteX106" fmla="*/ 1337852 w 1573156"/>
                <a:gd name="connsiteY106" fmla="*/ 622618 h 3841229"/>
                <a:gd name="connsiteX107" fmla="*/ 1340789 w 1573156"/>
                <a:gd name="connsiteY107" fmla="*/ 591288 h 3841229"/>
                <a:gd name="connsiteX108" fmla="*/ 1260263 w 1573156"/>
                <a:gd name="connsiteY108" fmla="*/ 545048 h 3841229"/>
                <a:gd name="connsiteX109" fmla="*/ 1246408 w 1573156"/>
                <a:gd name="connsiteY109" fmla="*/ 472648 h 3841229"/>
                <a:gd name="connsiteX110" fmla="*/ 1246408 w 1573156"/>
                <a:gd name="connsiteY110" fmla="*/ 454548 h 3841229"/>
                <a:gd name="connsiteX111" fmla="*/ 1257491 w 1573156"/>
                <a:gd name="connsiteY111" fmla="*/ 431276 h 3841229"/>
                <a:gd name="connsiteX112" fmla="*/ 1260263 w 1573156"/>
                <a:gd name="connsiteY112" fmla="*/ 415762 h 3841229"/>
                <a:gd name="connsiteX113" fmla="*/ 1260262 w 1573156"/>
                <a:gd name="connsiteY113" fmla="*/ 358878 h 3841229"/>
                <a:gd name="connsiteX114" fmla="*/ 1238094 w 1573156"/>
                <a:gd name="connsiteY114" fmla="*/ 335607 h 3841229"/>
                <a:gd name="connsiteX115" fmla="*/ 1210384 w 1573156"/>
                <a:gd name="connsiteY115" fmla="*/ 304578 h 3841229"/>
                <a:gd name="connsiteX116" fmla="*/ 1206216 w 1573156"/>
                <a:gd name="connsiteY116" fmla="*/ 280325 h 3841229"/>
                <a:gd name="connsiteX117" fmla="*/ 1257492 w 1573156"/>
                <a:gd name="connsiteY117" fmla="*/ 258034 h 3841229"/>
                <a:gd name="connsiteX118" fmla="*/ 1311072 w 1573156"/>
                <a:gd name="connsiteY118" fmla="*/ 267906 h 3841229"/>
                <a:gd name="connsiteX119" fmla="*/ 1389856 w 1573156"/>
                <a:gd name="connsiteY119" fmla="*/ 279816 h 3841229"/>
                <a:gd name="connsiteX120" fmla="*/ 1474179 w 1573156"/>
                <a:gd name="connsiteY120" fmla="*/ 349175 h 3841229"/>
                <a:gd name="connsiteX121" fmla="*/ 1536314 w 1573156"/>
                <a:gd name="connsiteY121" fmla="*/ 425271 h 3841229"/>
                <a:gd name="connsiteX122" fmla="*/ 1435343 w 1573156"/>
                <a:gd name="connsiteY122" fmla="*/ 454265 h 3841229"/>
                <a:gd name="connsiteX123" fmla="*/ 1419809 w 1573156"/>
                <a:gd name="connsiteY123" fmla="*/ 501372 h 3841229"/>
                <a:gd name="connsiteX124" fmla="*/ 1477479 w 1573156"/>
                <a:gd name="connsiteY124" fmla="*/ 585862 h 3841229"/>
                <a:gd name="connsiteX125" fmla="*/ 1513013 w 1573156"/>
                <a:gd name="connsiteY125" fmla="*/ 591964 h 3841229"/>
                <a:gd name="connsiteX126" fmla="*/ 1565633 w 1573156"/>
                <a:gd name="connsiteY126" fmla="*/ 598304 h 3841229"/>
                <a:gd name="connsiteX127" fmla="*/ 1560670 w 1573156"/>
                <a:gd name="connsiteY127" fmla="*/ 709079 h 3841229"/>
                <a:gd name="connsiteX128" fmla="*/ 1571739 w 1573156"/>
                <a:gd name="connsiteY128" fmla="*/ 1040047 h 3841229"/>
                <a:gd name="connsiteX129" fmla="*/ 1562871 w 1573156"/>
                <a:gd name="connsiteY129" fmla="*/ 1842646 h 3841229"/>
                <a:gd name="connsiteX130" fmla="*/ 1571738 w 1573156"/>
                <a:gd name="connsiteY130" fmla="*/ 2297728 h 3841229"/>
                <a:gd name="connsiteX131" fmla="*/ 1561917 w 1573156"/>
                <a:gd name="connsiteY131" fmla="*/ 3721463 h 3841229"/>
                <a:gd name="connsiteX132" fmla="*/ 1556603 w 1573156"/>
                <a:gd name="connsiteY132" fmla="*/ 3758050 h 3841229"/>
                <a:gd name="connsiteX133" fmla="*/ 1534434 w 1573156"/>
                <a:gd name="connsiteY133" fmla="*/ 3701165 h 3841229"/>
                <a:gd name="connsiteX134" fmla="*/ 1545518 w 1573156"/>
                <a:gd name="connsiteY134" fmla="*/ 3688238 h 3841229"/>
                <a:gd name="connsiteX135" fmla="*/ 1503953 w 1573156"/>
                <a:gd name="connsiteY135" fmla="*/ 3670136 h 3841229"/>
                <a:gd name="connsiteX136" fmla="*/ 1473471 w 1573156"/>
                <a:gd name="connsiteY136" fmla="*/ 3685650 h 3841229"/>
                <a:gd name="connsiteX137" fmla="*/ 1445761 w 1573156"/>
                <a:gd name="connsiteY137" fmla="*/ 3652040 h 3841229"/>
                <a:gd name="connsiteX138" fmla="*/ 1398654 w 1573156"/>
                <a:gd name="connsiteY138" fmla="*/ 3659796 h 3841229"/>
                <a:gd name="connsiteX139" fmla="*/ 1357089 w 1573156"/>
                <a:gd name="connsiteY139" fmla="*/ 3662380 h 3841229"/>
                <a:gd name="connsiteX140" fmla="*/ 1343234 w 1573156"/>
                <a:gd name="connsiteY140" fmla="*/ 3631352 h 3841229"/>
                <a:gd name="connsiteX141" fmla="*/ 1304439 w 1573156"/>
                <a:gd name="connsiteY141" fmla="*/ 3641695 h 3841229"/>
                <a:gd name="connsiteX142" fmla="*/ 1290584 w 1573156"/>
                <a:gd name="connsiteY142" fmla="*/ 3610666 h 3841229"/>
                <a:gd name="connsiteX143" fmla="*/ 1195420 w 1573156"/>
                <a:gd name="connsiteY143" fmla="*/ 3605469 h 3841229"/>
                <a:gd name="connsiteX144" fmla="*/ 1013482 w 1573156"/>
                <a:gd name="connsiteY144" fmla="*/ 3592567 h 3841229"/>
                <a:gd name="connsiteX145" fmla="*/ 1123928 w 1573156"/>
                <a:gd name="connsiteY145" fmla="*/ 3663387 h 3841229"/>
                <a:gd name="connsiteX146" fmla="*/ 907787 w 1573156"/>
                <a:gd name="connsiteY146" fmla="*/ 3629257 h 3841229"/>
                <a:gd name="connsiteX147" fmla="*/ 776238 w 1573156"/>
                <a:gd name="connsiteY147" fmla="*/ 3504783 h 3841229"/>
                <a:gd name="connsiteX148" fmla="*/ 708669 w 1573156"/>
                <a:gd name="connsiteY148" fmla="*/ 3437426 h 3841229"/>
                <a:gd name="connsiteX149" fmla="*/ 739150 w 1573156"/>
                <a:gd name="connsiteY149" fmla="*/ 3437426 h 3841229"/>
                <a:gd name="connsiteX150" fmla="*/ 750233 w 1573156"/>
                <a:gd name="connsiteY150" fmla="*/ 3408982 h 3841229"/>
                <a:gd name="connsiteX151" fmla="*/ 783486 w 1573156"/>
                <a:gd name="connsiteY151" fmla="*/ 3354683 h 3841229"/>
                <a:gd name="connsiteX152" fmla="*/ 747462 w 1573156"/>
                <a:gd name="connsiteY152" fmla="*/ 3297798 h 3841229"/>
                <a:gd name="connsiteX153" fmla="*/ 836135 w 1573156"/>
                <a:gd name="connsiteY153" fmla="*/ 3225398 h 3841229"/>
                <a:gd name="connsiteX154" fmla="*/ 902641 w 1573156"/>
                <a:gd name="connsiteY154" fmla="*/ 3217642 h 3841229"/>
                <a:gd name="connsiteX155" fmla="*/ 955289 w 1573156"/>
                <a:gd name="connsiteY155" fmla="*/ 3160756 h 3841229"/>
                <a:gd name="connsiteX156" fmla="*/ 1024565 w 1573156"/>
                <a:gd name="connsiteY156" fmla="*/ 3114213 h 3841229"/>
                <a:gd name="connsiteX157" fmla="*/ 1019023 w 1573156"/>
                <a:gd name="connsiteY157" fmla="*/ 3067671 h 3841229"/>
                <a:gd name="connsiteX158" fmla="*/ 1043963 w 1573156"/>
                <a:gd name="connsiteY158" fmla="*/ 3028886 h 3841229"/>
                <a:gd name="connsiteX159" fmla="*/ 1016252 w 1573156"/>
                <a:gd name="connsiteY159" fmla="*/ 3026300 h 3841229"/>
                <a:gd name="connsiteX160" fmla="*/ 1031704 w 1573156"/>
                <a:gd name="connsiteY160" fmla="*/ 2992878 h 3841229"/>
                <a:gd name="connsiteX161" fmla="*/ 914211 w 1573156"/>
                <a:gd name="connsiteY161" fmla="*/ 2928233 h 3841229"/>
                <a:gd name="connsiteX162" fmla="*/ 877701 w 1573156"/>
                <a:gd name="connsiteY162" fmla="*/ 2920285 h 3841229"/>
                <a:gd name="connsiteX163" fmla="*/ 858304 w 1573156"/>
                <a:gd name="connsiteY163" fmla="*/ 2909943 h 3841229"/>
                <a:gd name="connsiteX164" fmla="*/ 827823 w 1573156"/>
                <a:gd name="connsiteY164" fmla="*/ 2881501 h 3841229"/>
                <a:gd name="connsiteX165" fmla="*/ 761317 w 1573156"/>
                <a:gd name="connsiteY165" fmla="*/ 2897015 h 3841229"/>
                <a:gd name="connsiteX166" fmla="*/ 700355 w 1573156"/>
                <a:gd name="connsiteY166" fmla="*/ 2891844 h 3841229"/>
                <a:gd name="connsiteX167" fmla="*/ 658790 w 1573156"/>
                <a:gd name="connsiteY167" fmla="*/ 2827201 h 3841229"/>
                <a:gd name="connsiteX168" fmla="*/ 656019 w 1573156"/>
                <a:gd name="connsiteY168" fmla="*/ 2785830 h 3841229"/>
                <a:gd name="connsiteX169" fmla="*/ 631080 w 1573156"/>
                <a:gd name="connsiteY169" fmla="*/ 2772902 h 3841229"/>
                <a:gd name="connsiteX170" fmla="*/ 567346 w 1573156"/>
                <a:gd name="connsiteY170" fmla="*/ 2759974 h 3841229"/>
                <a:gd name="connsiteX171" fmla="*/ 586743 w 1573156"/>
                <a:gd name="connsiteY171" fmla="*/ 2721188 h 3841229"/>
                <a:gd name="connsiteX172" fmla="*/ 557777 w 1573156"/>
                <a:gd name="connsiteY172" fmla="*/ 2715007 h 3841229"/>
                <a:gd name="connsiteX173" fmla="*/ 531809 w 1573156"/>
                <a:gd name="connsiteY173" fmla="*/ 2672771 h 3841229"/>
                <a:gd name="connsiteX174" fmla="*/ 414939 w 1573156"/>
                <a:gd name="connsiteY174" fmla="*/ 2682402 h 3841229"/>
                <a:gd name="connsiteX175" fmla="*/ 390000 w 1573156"/>
                <a:gd name="connsiteY175" fmla="*/ 2672059 h 3841229"/>
                <a:gd name="connsiteX176" fmla="*/ 367832 w 1573156"/>
                <a:gd name="connsiteY176" fmla="*/ 2684989 h 3841229"/>
                <a:gd name="connsiteX177" fmla="*/ 351205 w 1573156"/>
                <a:gd name="connsiteY177" fmla="*/ 2622932 h 3841229"/>
                <a:gd name="connsiteX178" fmla="*/ 340121 w 1573156"/>
                <a:gd name="connsiteY178" fmla="*/ 2597075 h 3841229"/>
                <a:gd name="connsiteX179" fmla="*/ 353976 w 1573156"/>
                <a:gd name="connsiteY179" fmla="*/ 2578974 h 3841229"/>
                <a:gd name="connsiteX180" fmla="*/ 381687 w 1573156"/>
                <a:gd name="connsiteY180" fmla="*/ 2581561 h 3841229"/>
                <a:gd name="connsiteX181" fmla="*/ 414939 w 1573156"/>
                <a:gd name="connsiteY181" fmla="*/ 2563461 h 3841229"/>
                <a:gd name="connsiteX182" fmla="*/ 412168 w 1573156"/>
                <a:gd name="connsiteY182" fmla="*/ 2537603 h 3841229"/>
                <a:gd name="connsiteX183" fmla="*/ 362289 w 1573156"/>
                <a:gd name="connsiteY183" fmla="*/ 2501404 h 3841229"/>
                <a:gd name="connsiteX184" fmla="*/ 338946 w 1573156"/>
                <a:gd name="connsiteY184" fmla="*/ 2513491 h 3841229"/>
                <a:gd name="connsiteX185" fmla="*/ 340121 w 1573156"/>
                <a:gd name="connsiteY185" fmla="*/ 2467790 h 3841229"/>
                <a:gd name="connsiteX186" fmla="*/ 306869 w 1573156"/>
                <a:gd name="connsiteY186" fmla="*/ 2429005 h 3841229"/>
                <a:gd name="connsiteX187" fmla="*/ 309641 w 1573156"/>
                <a:gd name="connsiteY187" fmla="*/ 2351433 h 3841229"/>
                <a:gd name="connsiteX188" fmla="*/ 290243 w 1573156"/>
                <a:gd name="connsiteY188" fmla="*/ 2299720 h 3841229"/>
                <a:gd name="connsiteX189" fmla="*/ 256991 w 1573156"/>
                <a:gd name="connsiteY189" fmla="*/ 2266106 h 3841229"/>
                <a:gd name="connsiteX190" fmla="*/ 218196 w 1573156"/>
                <a:gd name="connsiteY190" fmla="*/ 2242835 h 3841229"/>
                <a:gd name="connsiteX191" fmla="*/ 176631 w 1573156"/>
                <a:gd name="connsiteY191" fmla="*/ 2250592 h 3841229"/>
                <a:gd name="connsiteX192" fmla="*/ 122255 w 1573156"/>
                <a:gd name="connsiteY192" fmla="*/ 2214066 h 3841229"/>
                <a:gd name="connsiteX0" fmla="*/ 122255 w 1573156"/>
                <a:gd name="connsiteY0" fmla="*/ 2214066 h 3841229"/>
                <a:gd name="connsiteX1" fmla="*/ 63018 w 1573156"/>
                <a:gd name="connsiteY1" fmla="*/ 2216977 h 3841229"/>
                <a:gd name="connsiteX2" fmla="*/ 60248 w 1573156"/>
                <a:gd name="connsiteY2" fmla="*/ 2118721 h 3841229"/>
                <a:gd name="connsiteX3" fmla="*/ 65791 w 1573156"/>
                <a:gd name="connsiteY3" fmla="*/ 2079936 h 3841229"/>
                <a:gd name="connsiteX4" fmla="*/ 68561 w 1573156"/>
                <a:gd name="connsiteY4" fmla="*/ 2030807 h 3841229"/>
                <a:gd name="connsiteX5" fmla="*/ 54707 w 1573156"/>
                <a:gd name="connsiteY5" fmla="*/ 2028225 h 3841229"/>
                <a:gd name="connsiteX6" fmla="*/ 118439 w 1573156"/>
                <a:gd name="connsiteY6" fmla="*/ 1992023 h 3841229"/>
                <a:gd name="connsiteX7" fmla="*/ 82416 w 1573156"/>
                <a:gd name="connsiteY7" fmla="*/ 1963580 h 3841229"/>
                <a:gd name="connsiteX8" fmla="*/ 51935 w 1573156"/>
                <a:gd name="connsiteY8" fmla="*/ 1927380 h 3841229"/>
                <a:gd name="connsiteX9" fmla="*/ 40850 w 1573156"/>
                <a:gd name="connsiteY9" fmla="*/ 1893766 h 3841229"/>
                <a:gd name="connsiteX10" fmla="*/ 43621 w 1573156"/>
                <a:gd name="connsiteY10" fmla="*/ 1844639 h 3841229"/>
                <a:gd name="connsiteX11" fmla="*/ 82416 w 1573156"/>
                <a:gd name="connsiteY11" fmla="*/ 1826538 h 3841229"/>
                <a:gd name="connsiteX12" fmla="*/ 112899 w 1573156"/>
                <a:gd name="connsiteY12" fmla="*/ 1782581 h 3841229"/>
                <a:gd name="connsiteX13" fmla="*/ 96271 w 1573156"/>
                <a:gd name="connsiteY13" fmla="*/ 1754138 h 3841229"/>
                <a:gd name="connsiteX14" fmla="*/ 40851 w 1573156"/>
                <a:gd name="connsiteY14" fmla="*/ 1746381 h 3841229"/>
                <a:gd name="connsiteX15" fmla="*/ 2057 w 1573156"/>
                <a:gd name="connsiteY15" fmla="*/ 1730867 h 3841229"/>
                <a:gd name="connsiteX16" fmla="*/ 38079 w 1573156"/>
                <a:gd name="connsiteY16" fmla="*/ 1689496 h 3841229"/>
                <a:gd name="connsiteX17" fmla="*/ 18683 w 1573156"/>
                <a:gd name="connsiteY17" fmla="*/ 1679153 h 3841229"/>
                <a:gd name="connsiteX18" fmla="*/ 2055 w 1573156"/>
                <a:gd name="connsiteY18" fmla="*/ 1640367 h 3841229"/>
                <a:gd name="connsiteX19" fmla="*/ 65790 w 1573156"/>
                <a:gd name="connsiteY19" fmla="*/ 1650711 h 3841229"/>
                <a:gd name="connsiteX20" fmla="*/ 93501 w 1573156"/>
                <a:gd name="connsiteY20" fmla="*/ 1627440 h 3841229"/>
                <a:gd name="connsiteX21" fmla="*/ 187716 w 1573156"/>
                <a:gd name="connsiteY21" fmla="*/ 1536941 h 3841229"/>
                <a:gd name="connsiteX22" fmla="*/ 212655 w 1573156"/>
                <a:gd name="connsiteY22" fmla="*/ 1505912 h 3841229"/>
                <a:gd name="connsiteX23" fmla="*/ 198801 w 1573156"/>
                <a:gd name="connsiteY23" fmla="*/ 1555040 h 3841229"/>
                <a:gd name="connsiteX24" fmla="*/ 218197 w 1573156"/>
                <a:gd name="connsiteY24" fmla="*/ 1588655 h 3841229"/>
                <a:gd name="connsiteX25" fmla="*/ 262534 w 1573156"/>
                <a:gd name="connsiteY25" fmla="*/ 1666225 h 3841229"/>
                <a:gd name="connsiteX26" fmla="*/ 331810 w 1573156"/>
                <a:gd name="connsiteY26" fmla="*/ 1653297 h 3841229"/>
                <a:gd name="connsiteX27" fmla="*/ 351206 w 1573156"/>
                <a:gd name="connsiteY27" fmla="*/ 1622268 h 3841229"/>
                <a:gd name="connsiteX28" fmla="*/ 365062 w 1573156"/>
                <a:gd name="connsiteY28" fmla="*/ 1557627 h 3841229"/>
                <a:gd name="connsiteX29" fmla="*/ 304099 w 1573156"/>
                <a:gd name="connsiteY29" fmla="*/ 1511084 h 3841229"/>
                <a:gd name="connsiteX30" fmla="*/ 259763 w 1573156"/>
                <a:gd name="connsiteY30" fmla="*/ 1485227 h 3841229"/>
                <a:gd name="connsiteX31" fmla="*/ 198801 w 1573156"/>
                <a:gd name="connsiteY31" fmla="*/ 1495570 h 3841229"/>
                <a:gd name="connsiteX32" fmla="*/ 376147 w 1573156"/>
                <a:gd name="connsiteY32" fmla="*/ 1299057 h 3841229"/>
                <a:gd name="connsiteX33" fmla="*/ 359519 w 1573156"/>
                <a:gd name="connsiteY33" fmla="*/ 1275784 h 3841229"/>
                <a:gd name="connsiteX34" fmla="*/ 295785 w 1573156"/>
                <a:gd name="connsiteY34" fmla="*/ 1229242 h 3841229"/>
                <a:gd name="connsiteX35" fmla="*/ 223740 w 1573156"/>
                <a:gd name="connsiteY35" fmla="*/ 1151672 h 3841229"/>
                <a:gd name="connsiteX36" fmla="*/ 284703 w 1573156"/>
                <a:gd name="connsiteY36" fmla="*/ 1089617 h 3841229"/>
                <a:gd name="connsiteX37" fmla="*/ 218198 w 1573156"/>
                <a:gd name="connsiteY37" fmla="*/ 1050829 h 3841229"/>
                <a:gd name="connsiteX38" fmla="*/ 259763 w 1573156"/>
                <a:gd name="connsiteY38" fmla="*/ 1019802 h 3841229"/>
                <a:gd name="connsiteX39" fmla="*/ 212657 w 1573156"/>
                <a:gd name="connsiteY39" fmla="*/ 993947 h 3841229"/>
                <a:gd name="connsiteX40" fmla="*/ 212656 w 1573156"/>
                <a:gd name="connsiteY40" fmla="*/ 794845 h 3841229"/>
                <a:gd name="connsiteX41" fmla="*/ 251451 w 1573156"/>
                <a:gd name="connsiteY41" fmla="*/ 779332 h 3841229"/>
                <a:gd name="connsiteX42" fmla="*/ 137838 w 1573156"/>
                <a:gd name="connsiteY42" fmla="*/ 551792 h 3841229"/>
                <a:gd name="connsiteX43" fmla="*/ 135067 w 1573156"/>
                <a:gd name="connsiteY43" fmla="*/ 551792 h 3841229"/>
                <a:gd name="connsiteX44" fmla="*/ 184945 w 1573156"/>
                <a:gd name="connsiteY44" fmla="*/ 469048 h 3841229"/>
                <a:gd name="connsiteX45" fmla="*/ 201571 w 1573156"/>
                <a:gd name="connsiteY45" fmla="*/ 378550 h 3841229"/>
                <a:gd name="connsiteX46" fmla="*/ 126752 w 1573156"/>
                <a:gd name="connsiteY46" fmla="*/ 319079 h 3841229"/>
                <a:gd name="connsiteX47" fmla="*/ 118440 w 1573156"/>
                <a:gd name="connsiteY47" fmla="*/ 251851 h 3841229"/>
                <a:gd name="connsiteX48" fmla="*/ 173860 w 1573156"/>
                <a:gd name="connsiteY48" fmla="*/ 158764 h 3841229"/>
                <a:gd name="connsiteX49" fmla="*/ 193258 w 1573156"/>
                <a:gd name="connsiteY49" fmla="*/ 135494 h 3841229"/>
                <a:gd name="connsiteX50" fmla="*/ 207113 w 1573156"/>
                <a:gd name="connsiteY50" fmla="*/ 117394 h 3841229"/>
                <a:gd name="connsiteX51" fmla="*/ 215426 w 1573156"/>
                <a:gd name="connsiteY51" fmla="*/ 73438 h 3841229"/>
                <a:gd name="connsiteX52" fmla="*/ 240365 w 1573156"/>
                <a:gd name="connsiteY52" fmla="*/ 101880 h 3841229"/>
                <a:gd name="connsiteX53" fmla="*/ 270847 w 1573156"/>
                <a:gd name="connsiteY53" fmla="*/ 88952 h 3841229"/>
                <a:gd name="connsiteX54" fmla="*/ 273617 w 1573156"/>
                <a:gd name="connsiteY54" fmla="*/ 63095 h 3841229"/>
                <a:gd name="connsiteX55" fmla="*/ 281931 w 1573156"/>
                <a:gd name="connsiteY55" fmla="*/ 34652 h 3841229"/>
                <a:gd name="connsiteX56" fmla="*/ 284703 w 1573156"/>
                <a:gd name="connsiteY56" fmla="*/ 3624 h 3841229"/>
                <a:gd name="connsiteX57" fmla="*/ 420483 w 1573156"/>
                <a:gd name="connsiteY57" fmla="*/ 57924 h 3841229"/>
                <a:gd name="connsiteX58" fmla="*/ 450963 w 1573156"/>
                <a:gd name="connsiteY58" fmla="*/ 161352 h 3841229"/>
                <a:gd name="connsiteX59" fmla="*/ 464819 w 1573156"/>
                <a:gd name="connsiteY59" fmla="*/ 184622 h 3841229"/>
                <a:gd name="connsiteX60" fmla="*/ 475903 w 1573156"/>
                <a:gd name="connsiteY60" fmla="*/ 187208 h 3841229"/>
                <a:gd name="connsiteX61" fmla="*/ 589515 w 1573156"/>
                <a:gd name="connsiteY61" fmla="*/ 156181 h 3841229"/>
                <a:gd name="connsiteX62" fmla="*/ 656020 w 1573156"/>
                <a:gd name="connsiteY62" fmla="*/ 166522 h 3841229"/>
                <a:gd name="connsiteX63" fmla="*/ 719754 w 1573156"/>
                <a:gd name="connsiteY63" fmla="*/ 213065 h 3841229"/>
                <a:gd name="connsiteX64" fmla="*/ 733781 w 1573156"/>
                <a:gd name="connsiteY64" fmla="*/ 242621 h 3841229"/>
                <a:gd name="connsiteX65" fmla="*/ 789028 w 1573156"/>
                <a:gd name="connsiteY65" fmla="*/ 277708 h 3841229"/>
                <a:gd name="connsiteX66" fmla="*/ 877702 w 1573156"/>
                <a:gd name="connsiteY66" fmla="*/ 303563 h 3841229"/>
                <a:gd name="connsiteX67" fmla="*/ 949748 w 1573156"/>
                <a:gd name="connsiteY67" fmla="*/ 350106 h 3841229"/>
                <a:gd name="connsiteX68" fmla="*/ 999627 w 1573156"/>
                <a:gd name="connsiteY68" fmla="*/ 401820 h 3841229"/>
                <a:gd name="connsiteX69" fmla="*/ 1024566 w 1573156"/>
                <a:gd name="connsiteY69" fmla="*/ 440606 h 3841229"/>
                <a:gd name="connsiteX70" fmla="*/ 1057819 w 1573156"/>
                <a:gd name="connsiteY70" fmla="*/ 466462 h 3841229"/>
                <a:gd name="connsiteX71" fmla="*/ 1041191 w 1573156"/>
                <a:gd name="connsiteY71" fmla="*/ 691417 h 3841229"/>
                <a:gd name="connsiteX72" fmla="*/ 913725 w 1573156"/>
                <a:gd name="connsiteY72" fmla="*/ 771575 h 3841229"/>
                <a:gd name="connsiteX73" fmla="*/ 800113 w 1573156"/>
                <a:gd name="connsiteY73" fmla="*/ 779331 h 3841229"/>
                <a:gd name="connsiteX74" fmla="*/ 661560 w 1573156"/>
                <a:gd name="connsiteY74" fmla="*/ 758645 h 3841229"/>
                <a:gd name="connsiteX75" fmla="*/ 570116 w 1573156"/>
                <a:gd name="connsiteY75" fmla="*/ 722445 h 3841229"/>
                <a:gd name="connsiteX76" fmla="*/ 550719 w 1573156"/>
                <a:gd name="connsiteY76" fmla="*/ 750888 h 3841229"/>
                <a:gd name="connsiteX77" fmla="*/ 581361 w 1573156"/>
                <a:gd name="connsiteY77" fmla="*/ 824301 h 3841229"/>
                <a:gd name="connsiteX78" fmla="*/ 586902 w 1573156"/>
                <a:gd name="connsiteY78" fmla="*/ 951000 h 3841229"/>
                <a:gd name="connsiteX79" fmla="*/ 559032 w 1573156"/>
                <a:gd name="connsiteY79" fmla="*/ 1012043 h 3841229"/>
                <a:gd name="connsiteX80" fmla="*/ 614451 w 1573156"/>
                <a:gd name="connsiteY80" fmla="*/ 1032728 h 3841229"/>
                <a:gd name="connsiteX81" fmla="*/ 631079 w 1573156"/>
                <a:gd name="connsiteY81" fmla="*/ 1048242 h 3841229"/>
                <a:gd name="connsiteX82" fmla="*/ 656019 w 1573156"/>
                <a:gd name="connsiteY82" fmla="*/ 1074099 h 3841229"/>
                <a:gd name="connsiteX83" fmla="*/ 653248 w 1573156"/>
                <a:gd name="connsiteY83" fmla="*/ 1076685 h 3841229"/>
                <a:gd name="connsiteX84" fmla="*/ 692041 w 1573156"/>
                <a:gd name="connsiteY84" fmla="*/ 1071514 h 3841229"/>
                <a:gd name="connsiteX85" fmla="*/ 700355 w 1573156"/>
                <a:gd name="connsiteY85" fmla="*/ 1035314 h 3841229"/>
                <a:gd name="connsiteX86" fmla="*/ 661560 w 1573156"/>
                <a:gd name="connsiteY86" fmla="*/ 957743 h 3841229"/>
                <a:gd name="connsiteX87" fmla="*/ 730836 w 1573156"/>
                <a:gd name="connsiteY87" fmla="*/ 911200 h 3841229"/>
                <a:gd name="connsiteX88" fmla="*/ 798608 w 1573156"/>
                <a:gd name="connsiteY88" fmla="*/ 918934 h 3841229"/>
                <a:gd name="connsiteX89" fmla="*/ 822441 w 1573156"/>
                <a:gd name="connsiteY89" fmla="*/ 951001 h 3841229"/>
                <a:gd name="connsiteX90" fmla="*/ 978170 w 1573156"/>
                <a:gd name="connsiteY90" fmla="*/ 1007364 h 3841229"/>
                <a:gd name="connsiteX91" fmla="*/ 963762 w 1573156"/>
                <a:gd name="connsiteY91" fmla="*/ 971687 h 3841229"/>
                <a:gd name="connsiteX92" fmla="*/ 930510 w 1573156"/>
                <a:gd name="connsiteY92" fmla="*/ 932901 h 3841229"/>
                <a:gd name="connsiteX93" fmla="*/ 919426 w 1573156"/>
                <a:gd name="connsiteY93" fmla="*/ 881187 h 3841229"/>
                <a:gd name="connsiteX94" fmla="*/ 958221 w 1573156"/>
                <a:gd name="connsiteY94" fmla="*/ 832060 h 3841229"/>
                <a:gd name="connsiteX95" fmla="*/ 985931 w 1573156"/>
                <a:gd name="connsiteY95" fmla="*/ 803617 h 3841229"/>
                <a:gd name="connsiteX96" fmla="*/ 1010871 w 1573156"/>
                <a:gd name="connsiteY96" fmla="*/ 767417 h 3841229"/>
                <a:gd name="connsiteX97" fmla="*/ 1091231 w 1573156"/>
                <a:gd name="connsiteY97" fmla="*/ 762245 h 3841229"/>
                <a:gd name="connsiteX98" fmla="*/ 1096772 w 1573156"/>
                <a:gd name="connsiteY98" fmla="*/ 741560 h 3841229"/>
                <a:gd name="connsiteX99" fmla="*/ 1121712 w 1573156"/>
                <a:gd name="connsiteY99" fmla="*/ 705360 h 3841229"/>
                <a:gd name="connsiteX100" fmla="*/ 1155516 w 1573156"/>
                <a:gd name="connsiteY100" fmla="*/ 687772 h 3841229"/>
                <a:gd name="connsiteX101" fmla="*/ 1213156 w 1573156"/>
                <a:gd name="connsiteY101" fmla="*/ 700189 h 3841229"/>
                <a:gd name="connsiteX102" fmla="*/ 1251949 w 1573156"/>
                <a:gd name="connsiteY102" fmla="*/ 720875 h 3841229"/>
                <a:gd name="connsiteX103" fmla="*/ 1299057 w 1573156"/>
                <a:gd name="connsiteY103" fmla="*/ 728632 h 3841229"/>
                <a:gd name="connsiteX104" fmla="*/ 1299057 w 1573156"/>
                <a:gd name="connsiteY104" fmla="*/ 733803 h 3841229"/>
                <a:gd name="connsiteX105" fmla="*/ 1321226 w 1573156"/>
                <a:gd name="connsiteY105" fmla="*/ 674332 h 3841229"/>
                <a:gd name="connsiteX106" fmla="*/ 1331201 w 1573156"/>
                <a:gd name="connsiteY106" fmla="*/ 640714 h 3841229"/>
                <a:gd name="connsiteX107" fmla="*/ 1337852 w 1573156"/>
                <a:gd name="connsiteY107" fmla="*/ 622618 h 3841229"/>
                <a:gd name="connsiteX108" fmla="*/ 1340789 w 1573156"/>
                <a:gd name="connsiteY108" fmla="*/ 591288 h 3841229"/>
                <a:gd name="connsiteX109" fmla="*/ 1260263 w 1573156"/>
                <a:gd name="connsiteY109" fmla="*/ 545048 h 3841229"/>
                <a:gd name="connsiteX110" fmla="*/ 1246408 w 1573156"/>
                <a:gd name="connsiteY110" fmla="*/ 472648 h 3841229"/>
                <a:gd name="connsiteX111" fmla="*/ 1246408 w 1573156"/>
                <a:gd name="connsiteY111" fmla="*/ 454548 h 3841229"/>
                <a:gd name="connsiteX112" fmla="*/ 1257491 w 1573156"/>
                <a:gd name="connsiteY112" fmla="*/ 431276 h 3841229"/>
                <a:gd name="connsiteX113" fmla="*/ 1260263 w 1573156"/>
                <a:gd name="connsiteY113" fmla="*/ 415762 h 3841229"/>
                <a:gd name="connsiteX114" fmla="*/ 1260262 w 1573156"/>
                <a:gd name="connsiteY114" fmla="*/ 358878 h 3841229"/>
                <a:gd name="connsiteX115" fmla="*/ 1238094 w 1573156"/>
                <a:gd name="connsiteY115" fmla="*/ 335607 h 3841229"/>
                <a:gd name="connsiteX116" fmla="*/ 1210384 w 1573156"/>
                <a:gd name="connsiteY116" fmla="*/ 304578 h 3841229"/>
                <a:gd name="connsiteX117" fmla="*/ 1206216 w 1573156"/>
                <a:gd name="connsiteY117" fmla="*/ 280325 h 3841229"/>
                <a:gd name="connsiteX118" fmla="*/ 1257492 w 1573156"/>
                <a:gd name="connsiteY118" fmla="*/ 258034 h 3841229"/>
                <a:gd name="connsiteX119" fmla="*/ 1311072 w 1573156"/>
                <a:gd name="connsiteY119" fmla="*/ 267906 h 3841229"/>
                <a:gd name="connsiteX120" fmla="*/ 1389856 w 1573156"/>
                <a:gd name="connsiteY120" fmla="*/ 279816 h 3841229"/>
                <a:gd name="connsiteX121" fmla="*/ 1474179 w 1573156"/>
                <a:gd name="connsiteY121" fmla="*/ 349175 h 3841229"/>
                <a:gd name="connsiteX122" fmla="*/ 1536314 w 1573156"/>
                <a:gd name="connsiteY122" fmla="*/ 425271 h 3841229"/>
                <a:gd name="connsiteX123" fmla="*/ 1435343 w 1573156"/>
                <a:gd name="connsiteY123" fmla="*/ 454265 h 3841229"/>
                <a:gd name="connsiteX124" fmla="*/ 1419809 w 1573156"/>
                <a:gd name="connsiteY124" fmla="*/ 501372 h 3841229"/>
                <a:gd name="connsiteX125" fmla="*/ 1477479 w 1573156"/>
                <a:gd name="connsiteY125" fmla="*/ 585862 h 3841229"/>
                <a:gd name="connsiteX126" fmla="*/ 1513013 w 1573156"/>
                <a:gd name="connsiteY126" fmla="*/ 591964 h 3841229"/>
                <a:gd name="connsiteX127" fmla="*/ 1565633 w 1573156"/>
                <a:gd name="connsiteY127" fmla="*/ 598304 h 3841229"/>
                <a:gd name="connsiteX128" fmla="*/ 1560670 w 1573156"/>
                <a:gd name="connsiteY128" fmla="*/ 709079 h 3841229"/>
                <a:gd name="connsiteX129" fmla="*/ 1571739 w 1573156"/>
                <a:gd name="connsiteY129" fmla="*/ 1040047 h 3841229"/>
                <a:gd name="connsiteX130" fmla="*/ 1562871 w 1573156"/>
                <a:gd name="connsiteY130" fmla="*/ 1842646 h 3841229"/>
                <a:gd name="connsiteX131" fmla="*/ 1571738 w 1573156"/>
                <a:gd name="connsiteY131" fmla="*/ 2297728 h 3841229"/>
                <a:gd name="connsiteX132" fmla="*/ 1561917 w 1573156"/>
                <a:gd name="connsiteY132" fmla="*/ 3721463 h 3841229"/>
                <a:gd name="connsiteX133" fmla="*/ 1556603 w 1573156"/>
                <a:gd name="connsiteY133" fmla="*/ 3758050 h 3841229"/>
                <a:gd name="connsiteX134" fmla="*/ 1534434 w 1573156"/>
                <a:gd name="connsiteY134" fmla="*/ 3701165 h 3841229"/>
                <a:gd name="connsiteX135" fmla="*/ 1545518 w 1573156"/>
                <a:gd name="connsiteY135" fmla="*/ 3688238 h 3841229"/>
                <a:gd name="connsiteX136" fmla="*/ 1503953 w 1573156"/>
                <a:gd name="connsiteY136" fmla="*/ 3670136 h 3841229"/>
                <a:gd name="connsiteX137" fmla="*/ 1473471 w 1573156"/>
                <a:gd name="connsiteY137" fmla="*/ 3685650 h 3841229"/>
                <a:gd name="connsiteX138" fmla="*/ 1445761 w 1573156"/>
                <a:gd name="connsiteY138" fmla="*/ 3652040 h 3841229"/>
                <a:gd name="connsiteX139" fmla="*/ 1398654 w 1573156"/>
                <a:gd name="connsiteY139" fmla="*/ 3659796 h 3841229"/>
                <a:gd name="connsiteX140" fmla="*/ 1357089 w 1573156"/>
                <a:gd name="connsiteY140" fmla="*/ 3662380 h 3841229"/>
                <a:gd name="connsiteX141" fmla="*/ 1343234 w 1573156"/>
                <a:gd name="connsiteY141" fmla="*/ 3631352 h 3841229"/>
                <a:gd name="connsiteX142" fmla="*/ 1304439 w 1573156"/>
                <a:gd name="connsiteY142" fmla="*/ 3641695 h 3841229"/>
                <a:gd name="connsiteX143" fmla="*/ 1290584 w 1573156"/>
                <a:gd name="connsiteY143" fmla="*/ 3610666 h 3841229"/>
                <a:gd name="connsiteX144" fmla="*/ 1195420 w 1573156"/>
                <a:gd name="connsiteY144" fmla="*/ 3605469 h 3841229"/>
                <a:gd name="connsiteX145" fmla="*/ 1013482 w 1573156"/>
                <a:gd name="connsiteY145" fmla="*/ 3592567 h 3841229"/>
                <a:gd name="connsiteX146" fmla="*/ 1123928 w 1573156"/>
                <a:gd name="connsiteY146" fmla="*/ 3663387 h 3841229"/>
                <a:gd name="connsiteX147" fmla="*/ 907787 w 1573156"/>
                <a:gd name="connsiteY147" fmla="*/ 3629257 h 3841229"/>
                <a:gd name="connsiteX148" fmla="*/ 776238 w 1573156"/>
                <a:gd name="connsiteY148" fmla="*/ 3504783 h 3841229"/>
                <a:gd name="connsiteX149" fmla="*/ 708669 w 1573156"/>
                <a:gd name="connsiteY149" fmla="*/ 3437426 h 3841229"/>
                <a:gd name="connsiteX150" fmla="*/ 739150 w 1573156"/>
                <a:gd name="connsiteY150" fmla="*/ 3437426 h 3841229"/>
                <a:gd name="connsiteX151" fmla="*/ 750233 w 1573156"/>
                <a:gd name="connsiteY151" fmla="*/ 3408982 h 3841229"/>
                <a:gd name="connsiteX152" fmla="*/ 783486 w 1573156"/>
                <a:gd name="connsiteY152" fmla="*/ 3354683 h 3841229"/>
                <a:gd name="connsiteX153" fmla="*/ 747462 w 1573156"/>
                <a:gd name="connsiteY153" fmla="*/ 3297798 h 3841229"/>
                <a:gd name="connsiteX154" fmla="*/ 836135 w 1573156"/>
                <a:gd name="connsiteY154" fmla="*/ 3225398 h 3841229"/>
                <a:gd name="connsiteX155" fmla="*/ 902641 w 1573156"/>
                <a:gd name="connsiteY155" fmla="*/ 3217642 h 3841229"/>
                <a:gd name="connsiteX156" fmla="*/ 955289 w 1573156"/>
                <a:gd name="connsiteY156" fmla="*/ 3160756 h 3841229"/>
                <a:gd name="connsiteX157" fmla="*/ 1024565 w 1573156"/>
                <a:gd name="connsiteY157" fmla="*/ 3114213 h 3841229"/>
                <a:gd name="connsiteX158" fmla="*/ 1019023 w 1573156"/>
                <a:gd name="connsiteY158" fmla="*/ 3067671 h 3841229"/>
                <a:gd name="connsiteX159" fmla="*/ 1043963 w 1573156"/>
                <a:gd name="connsiteY159" fmla="*/ 3028886 h 3841229"/>
                <a:gd name="connsiteX160" fmla="*/ 1016252 w 1573156"/>
                <a:gd name="connsiteY160" fmla="*/ 3026300 h 3841229"/>
                <a:gd name="connsiteX161" fmla="*/ 1031704 w 1573156"/>
                <a:gd name="connsiteY161" fmla="*/ 2992878 h 3841229"/>
                <a:gd name="connsiteX162" fmla="*/ 914211 w 1573156"/>
                <a:gd name="connsiteY162" fmla="*/ 2928233 h 3841229"/>
                <a:gd name="connsiteX163" fmla="*/ 877701 w 1573156"/>
                <a:gd name="connsiteY163" fmla="*/ 2920285 h 3841229"/>
                <a:gd name="connsiteX164" fmla="*/ 858304 w 1573156"/>
                <a:gd name="connsiteY164" fmla="*/ 2909943 h 3841229"/>
                <a:gd name="connsiteX165" fmla="*/ 827823 w 1573156"/>
                <a:gd name="connsiteY165" fmla="*/ 2881501 h 3841229"/>
                <a:gd name="connsiteX166" fmla="*/ 761317 w 1573156"/>
                <a:gd name="connsiteY166" fmla="*/ 2897015 h 3841229"/>
                <a:gd name="connsiteX167" fmla="*/ 700355 w 1573156"/>
                <a:gd name="connsiteY167" fmla="*/ 2891844 h 3841229"/>
                <a:gd name="connsiteX168" fmla="*/ 658790 w 1573156"/>
                <a:gd name="connsiteY168" fmla="*/ 2827201 h 3841229"/>
                <a:gd name="connsiteX169" fmla="*/ 656019 w 1573156"/>
                <a:gd name="connsiteY169" fmla="*/ 2785830 h 3841229"/>
                <a:gd name="connsiteX170" fmla="*/ 631080 w 1573156"/>
                <a:gd name="connsiteY170" fmla="*/ 2772902 h 3841229"/>
                <a:gd name="connsiteX171" fmla="*/ 567346 w 1573156"/>
                <a:gd name="connsiteY171" fmla="*/ 2759974 h 3841229"/>
                <a:gd name="connsiteX172" fmla="*/ 586743 w 1573156"/>
                <a:gd name="connsiteY172" fmla="*/ 2721188 h 3841229"/>
                <a:gd name="connsiteX173" fmla="*/ 557777 w 1573156"/>
                <a:gd name="connsiteY173" fmla="*/ 2715007 h 3841229"/>
                <a:gd name="connsiteX174" fmla="*/ 531809 w 1573156"/>
                <a:gd name="connsiteY174" fmla="*/ 2672771 h 3841229"/>
                <a:gd name="connsiteX175" fmla="*/ 414939 w 1573156"/>
                <a:gd name="connsiteY175" fmla="*/ 2682402 h 3841229"/>
                <a:gd name="connsiteX176" fmla="*/ 390000 w 1573156"/>
                <a:gd name="connsiteY176" fmla="*/ 2672059 h 3841229"/>
                <a:gd name="connsiteX177" fmla="*/ 367832 w 1573156"/>
                <a:gd name="connsiteY177" fmla="*/ 2684989 h 3841229"/>
                <a:gd name="connsiteX178" fmla="*/ 351205 w 1573156"/>
                <a:gd name="connsiteY178" fmla="*/ 2622932 h 3841229"/>
                <a:gd name="connsiteX179" fmla="*/ 340121 w 1573156"/>
                <a:gd name="connsiteY179" fmla="*/ 2597075 h 3841229"/>
                <a:gd name="connsiteX180" fmla="*/ 353976 w 1573156"/>
                <a:gd name="connsiteY180" fmla="*/ 2578974 h 3841229"/>
                <a:gd name="connsiteX181" fmla="*/ 381687 w 1573156"/>
                <a:gd name="connsiteY181" fmla="*/ 2581561 h 3841229"/>
                <a:gd name="connsiteX182" fmla="*/ 414939 w 1573156"/>
                <a:gd name="connsiteY182" fmla="*/ 2563461 h 3841229"/>
                <a:gd name="connsiteX183" fmla="*/ 412168 w 1573156"/>
                <a:gd name="connsiteY183" fmla="*/ 2537603 h 3841229"/>
                <a:gd name="connsiteX184" fmla="*/ 362289 w 1573156"/>
                <a:gd name="connsiteY184" fmla="*/ 2501404 h 3841229"/>
                <a:gd name="connsiteX185" fmla="*/ 338946 w 1573156"/>
                <a:gd name="connsiteY185" fmla="*/ 2513491 h 3841229"/>
                <a:gd name="connsiteX186" fmla="*/ 340121 w 1573156"/>
                <a:gd name="connsiteY186" fmla="*/ 2467790 h 3841229"/>
                <a:gd name="connsiteX187" fmla="*/ 306869 w 1573156"/>
                <a:gd name="connsiteY187" fmla="*/ 2429005 h 3841229"/>
                <a:gd name="connsiteX188" fmla="*/ 309641 w 1573156"/>
                <a:gd name="connsiteY188" fmla="*/ 2351433 h 3841229"/>
                <a:gd name="connsiteX189" fmla="*/ 290243 w 1573156"/>
                <a:gd name="connsiteY189" fmla="*/ 2299720 h 3841229"/>
                <a:gd name="connsiteX190" fmla="*/ 256991 w 1573156"/>
                <a:gd name="connsiteY190" fmla="*/ 2266106 h 3841229"/>
                <a:gd name="connsiteX191" fmla="*/ 218196 w 1573156"/>
                <a:gd name="connsiteY191" fmla="*/ 2242835 h 3841229"/>
                <a:gd name="connsiteX192" fmla="*/ 176631 w 1573156"/>
                <a:gd name="connsiteY192" fmla="*/ 2250592 h 3841229"/>
                <a:gd name="connsiteX193" fmla="*/ 122255 w 1573156"/>
                <a:gd name="connsiteY193" fmla="*/ 2214066 h 3841229"/>
                <a:gd name="connsiteX0" fmla="*/ 122255 w 1573156"/>
                <a:gd name="connsiteY0" fmla="*/ 2214066 h 3841229"/>
                <a:gd name="connsiteX1" fmla="*/ 63018 w 1573156"/>
                <a:gd name="connsiteY1" fmla="*/ 2216977 h 3841229"/>
                <a:gd name="connsiteX2" fmla="*/ 60248 w 1573156"/>
                <a:gd name="connsiteY2" fmla="*/ 2118721 h 3841229"/>
                <a:gd name="connsiteX3" fmla="*/ 65791 w 1573156"/>
                <a:gd name="connsiteY3" fmla="*/ 2079936 h 3841229"/>
                <a:gd name="connsiteX4" fmla="*/ 68561 w 1573156"/>
                <a:gd name="connsiteY4" fmla="*/ 2030807 h 3841229"/>
                <a:gd name="connsiteX5" fmla="*/ 54707 w 1573156"/>
                <a:gd name="connsiteY5" fmla="*/ 2028225 h 3841229"/>
                <a:gd name="connsiteX6" fmla="*/ 118439 w 1573156"/>
                <a:gd name="connsiteY6" fmla="*/ 1992023 h 3841229"/>
                <a:gd name="connsiteX7" fmla="*/ 82416 w 1573156"/>
                <a:gd name="connsiteY7" fmla="*/ 1963580 h 3841229"/>
                <a:gd name="connsiteX8" fmla="*/ 51935 w 1573156"/>
                <a:gd name="connsiteY8" fmla="*/ 1927380 h 3841229"/>
                <a:gd name="connsiteX9" fmla="*/ 40850 w 1573156"/>
                <a:gd name="connsiteY9" fmla="*/ 1893766 h 3841229"/>
                <a:gd name="connsiteX10" fmla="*/ 43621 w 1573156"/>
                <a:gd name="connsiteY10" fmla="*/ 1844639 h 3841229"/>
                <a:gd name="connsiteX11" fmla="*/ 82416 w 1573156"/>
                <a:gd name="connsiteY11" fmla="*/ 1826538 h 3841229"/>
                <a:gd name="connsiteX12" fmla="*/ 112899 w 1573156"/>
                <a:gd name="connsiteY12" fmla="*/ 1782581 h 3841229"/>
                <a:gd name="connsiteX13" fmla="*/ 96271 w 1573156"/>
                <a:gd name="connsiteY13" fmla="*/ 1754138 h 3841229"/>
                <a:gd name="connsiteX14" fmla="*/ 40851 w 1573156"/>
                <a:gd name="connsiteY14" fmla="*/ 1746381 h 3841229"/>
                <a:gd name="connsiteX15" fmla="*/ 2057 w 1573156"/>
                <a:gd name="connsiteY15" fmla="*/ 1730867 h 3841229"/>
                <a:gd name="connsiteX16" fmla="*/ 38079 w 1573156"/>
                <a:gd name="connsiteY16" fmla="*/ 1689496 h 3841229"/>
                <a:gd name="connsiteX17" fmla="*/ 18683 w 1573156"/>
                <a:gd name="connsiteY17" fmla="*/ 1679153 h 3841229"/>
                <a:gd name="connsiteX18" fmla="*/ 2055 w 1573156"/>
                <a:gd name="connsiteY18" fmla="*/ 1640367 h 3841229"/>
                <a:gd name="connsiteX19" fmla="*/ 65790 w 1573156"/>
                <a:gd name="connsiteY19" fmla="*/ 1650711 h 3841229"/>
                <a:gd name="connsiteX20" fmla="*/ 93501 w 1573156"/>
                <a:gd name="connsiteY20" fmla="*/ 1627440 h 3841229"/>
                <a:gd name="connsiteX21" fmla="*/ 187716 w 1573156"/>
                <a:gd name="connsiteY21" fmla="*/ 1536941 h 3841229"/>
                <a:gd name="connsiteX22" fmla="*/ 212655 w 1573156"/>
                <a:gd name="connsiteY22" fmla="*/ 1505912 h 3841229"/>
                <a:gd name="connsiteX23" fmla="*/ 198801 w 1573156"/>
                <a:gd name="connsiteY23" fmla="*/ 1555040 h 3841229"/>
                <a:gd name="connsiteX24" fmla="*/ 218197 w 1573156"/>
                <a:gd name="connsiteY24" fmla="*/ 1588655 h 3841229"/>
                <a:gd name="connsiteX25" fmla="*/ 262534 w 1573156"/>
                <a:gd name="connsiteY25" fmla="*/ 1666225 h 3841229"/>
                <a:gd name="connsiteX26" fmla="*/ 331810 w 1573156"/>
                <a:gd name="connsiteY26" fmla="*/ 1653297 h 3841229"/>
                <a:gd name="connsiteX27" fmla="*/ 351206 w 1573156"/>
                <a:gd name="connsiteY27" fmla="*/ 1622268 h 3841229"/>
                <a:gd name="connsiteX28" fmla="*/ 365062 w 1573156"/>
                <a:gd name="connsiteY28" fmla="*/ 1557627 h 3841229"/>
                <a:gd name="connsiteX29" fmla="*/ 304099 w 1573156"/>
                <a:gd name="connsiteY29" fmla="*/ 1511084 h 3841229"/>
                <a:gd name="connsiteX30" fmla="*/ 259763 w 1573156"/>
                <a:gd name="connsiteY30" fmla="*/ 1485227 h 3841229"/>
                <a:gd name="connsiteX31" fmla="*/ 198801 w 1573156"/>
                <a:gd name="connsiteY31" fmla="*/ 1495570 h 3841229"/>
                <a:gd name="connsiteX32" fmla="*/ 315182 w 1573156"/>
                <a:gd name="connsiteY32" fmla="*/ 1389554 h 3841229"/>
                <a:gd name="connsiteX33" fmla="*/ 376147 w 1573156"/>
                <a:gd name="connsiteY33" fmla="*/ 1299057 h 3841229"/>
                <a:gd name="connsiteX34" fmla="*/ 359519 w 1573156"/>
                <a:gd name="connsiteY34" fmla="*/ 1275784 h 3841229"/>
                <a:gd name="connsiteX35" fmla="*/ 295785 w 1573156"/>
                <a:gd name="connsiteY35" fmla="*/ 1229242 h 3841229"/>
                <a:gd name="connsiteX36" fmla="*/ 223740 w 1573156"/>
                <a:gd name="connsiteY36" fmla="*/ 1151672 h 3841229"/>
                <a:gd name="connsiteX37" fmla="*/ 284703 w 1573156"/>
                <a:gd name="connsiteY37" fmla="*/ 1089617 h 3841229"/>
                <a:gd name="connsiteX38" fmla="*/ 218198 w 1573156"/>
                <a:gd name="connsiteY38" fmla="*/ 1050829 h 3841229"/>
                <a:gd name="connsiteX39" fmla="*/ 259763 w 1573156"/>
                <a:gd name="connsiteY39" fmla="*/ 1019802 h 3841229"/>
                <a:gd name="connsiteX40" fmla="*/ 212657 w 1573156"/>
                <a:gd name="connsiteY40" fmla="*/ 993947 h 3841229"/>
                <a:gd name="connsiteX41" fmla="*/ 212656 w 1573156"/>
                <a:gd name="connsiteY41" fmla="*/ 794845 h 3841229"/>
                <a:gd name="connsiteX42" fmla="*/ 251451 w 1573156"/>
                <a:gd name="connsiteY42" fmla="*/ 779332 h 3841229"/>
                <a:gd name="connsiteX43" fmla="*/ 137838 w 1573156"/>
                <a:gd name="connsiteY43" fmla="*/ 551792 h 3841229"/>
                <a:gd name="connsiteX44" fmla="*/ 135067 w 1573156"/>
                <a:gd name="connsiteY44" fmla="*/ 551792 h 3841229"/>
                <a:gd name="connsiteX45" fmla="*/ 184945 w 1573156"/>
                <a:gd name="connsiteY45" fmla="*/ 469048 h 3841229"/>
                <a:gd name="connsiteX46" fmla="*/ 201571 w 1573156"/>
                <a:gd name="connsiteY46" fmla="*/ 378550 h 3841229"/>
                <a:gd name="connsiteX47" fmla="*/ 126752 w 1573156"/>
                <a:gd name="connsiteY47" fmla="*/ 319079 h 3841229"/>
                <a:gd name="connsiteX48" fmla="*/ 118440 w 1573156"/>
                <a:gd name="connsiteY48" fmla="*/ 251851 h 3841229"/>
                <a:gd name="connsiteX49" fmla="*/ 173860 w 1573156"/>
                <a:gd name="connsiteY49" fmla="*/ 158764 h 3841229"/>
                <a:gd name="connsiteX50" fmla="*/ 193258 w 1573156"/>
                <a:gd name="connsiteY50" fmla="*/ 135494 h 3841229"/>
                <a:gd name="connsiteX51" fmla="*/ 207113 w 1573156"/>
                <a:gd name="connsiteY51" fmla="*/ 117394 h 3841229"/>
                <a:gd name="connsiteX52" fmla="*/ 215426 w 1573156"/>
                <a:gd name="connsiteY52" fmla="*/ 73438 h 3841229"/>
                <a:gd name="connsiteX53" fmla="*/ 240365 w 1573156"/>
                <a:gd name="connsiteY53" fmla="*/ 101880 h 3841229"/>
                <a:gd name="connsiteX54" fmla="*/ 270847 w 1573156"/>
                <a:gd name="connsiteY54" fmla="*/ 88952 h 3841229"/>
                <a:gd name="connsiteX55" fmla="*/ 273617 w 1573156"/>
                <a:gd name="connsiteY55" fmla="*/ 63095 h 3841229"/>
                <a:gd name="connsiteX56" fmla="*/ 281931 w 1573156"/>
                <a:gd name="connsiteY56" fmla="*/ 34652 h 3841229"/>
                <a:gd name="connsiteX57" fmla="*/ 284703 w 1573156"/>
                <a:gd name="connsiteY57" fmla="*/ 3624 h 3841229"/>
                <a:gd name="connsiteX58" fmla="*/ 420483 w 1573156"/>
                <a:gd name="connsiteY58" fmla="*/ 57924 h 3841229"/>
                <a:gd name="connsiteX59" fmla="*/ 450963 w 1573156"/>
                <a:gd name="connsiteY59" fmla="*/ 161352 h 3841229"/>
                <a:gd name="connsiteX60" fmla="*/ 464819 w 1573156"/>
                <a:gd name="connsiteY60" fmla="*/ 184622 h 3841229"/>
                <a:gd name="connsiteX61" fmla="*/ 475903 w 1573156"/>
                <a:gd name="connsiteY61" fmla="*/ 187208 h 3841229"/>
                <a:gd name="connsiteX62" fmla="*/ 589515 w 1573156"/>
                <a:gd name="connsiteY62" fmla="*/ 156181 h 3841229"/>
                <a:gd name="connsiteX63" fmla="*/ 656020 w 1573156"/>
                <a:gd name="connsiteY63" fmla="*/ 166522 h 3841229"/>
                <a:gd name="connsiteX64" fmla="*/ 719754 w 1573156"/>
                <a:gd name="connsiteY64" fmla="*/ 213065 h 3841229"/>
                <a:gd name="connsiteX65" fmla="*/ 733781 w 1573156"/>
                <a:gd name="connsiteY65" fmla="*/ 242621 h 3841229"/>
                <a:gd name="connsiteX66" fmla="*/ 789028 w 1573156"/>
                <a:gd name="connsiteY66" fmla="*/ 277708 h 3841229"/>
                <a:gd name="connsiteX67" fmla="*/ 877702 w 1573156"/>
                <a:gd name="connsiteY67" fmla="*/ 303563 h 3841229"/>
                <a:gd name="connsiteX68" fmla="*/ 949748 w 1573156"/>
                <a:gd name="connsiteY68" fmla="*/ 350106 h 3841229"/>
                <a:gd name="connsiteX69" fmla="*/ 999627 w 1573156"/>
                <a:gd name="connsiteY69" fmla="*/ 401820 h 3841229"/>
                <a:gd name="connsiteX70" fmla="*/ 1024566 w 1573156"/>
                <a:gd name="connsiteY70" fmla="*/ 440606 h 3841229"/>
                <a:gd name="connsiteX71" fmla="*/ 1057819 w 1573156"/>
                <a:gd name="connsiteY71" fmla="*/ 466462 h 3841229"/>
                <a:gd name="connsiteX72" fmla="*/ 1041191 w 1573156"/>
                <a:gd name="connsiteY72" fmla="*/ 691417 h 3841229"/>
                <a:gd name="connsiteX73" fmla="*/ 913725 w 1573156"/>
                <a:gd name="connsiteY73" fmla="*/ 771575 h 3841229"/>
                <a:gd name="connsiteX74" fmla="*/ 800113 w 1573156"/>
                <a:gd name="connsiteY74" fmla="*/ 779331 h 3841229"/>
                <a:gd name="connsiteX75" fmla="*/ 661560 w 1573156"/>
                <a:gd name="connsiteY75" fmla="*/ 758645 h 3841229"/>
                <a:gd name="connsiteX76" fmla="*/ 570116 w 1573156"/>
                <a:gd name="connsiteY76" fmla="*/ 722445 h 3841229"/>
                <a:gd name="connsiteX77" fmla="*/ 550719 w 1573156"/>
                <a:gd name="connsiteY77" fmla="*/ 750888 h 3841229"/>
                <a:gd name="connsiteX78" fmla="*/ 581361 w 1573156"/>
                <a:gd name="connsiteY78" fmla="*/ 824301 h 3841229"/>
                <a:gd name="connsiteX79" fmla="*/ 586902 w 1573156"/>
                <a:gd name="connsiteY79" fmla="*/ 951000 h 3841229"/>
                <a:gd name="connsiteX80" fmla="*/ 559032 w 1573156"/>
                <a:gd name="connsiteY80" fmla="*/ 1012043 h 3841229"/>
                <a:gd name="connsiteX81" fmla="*/ 614451 w 1573156"/>
                <a:gd name="connsiteY81" fmla="*/ 1032728 h 3841229"/>
                <a:gd name="connsiteX82" fmla="*/ 631079 w 1573156"/>
                <a:gd name="connsiteY82" fmla="*/ 1048242 h 3841229"/>
                <a:gd name="connsiteX83" fmla="*/ 656019 w 1573156"/>
                <a:gd name="connsiteY83" fmla="*/ 1074099 h 3841229"/>
                <a:gd name="connsiteX84" fmla="*/ 653248 w 1573156"/>
                <a:gd name="connsiteY84" fmla="*/ 1076685 h 3841229"/>
                <a:gd name="connsiteX85" fmla="*/ 692041 w 1573156"/>
                <a:gd name="connsiteY85" fmla="*/ 1071514 h 3841229"/>
                <a:gd name="connsiteX86" fmla="*/ 700355 w 1573156"/>
                <a:gd name="connsiteY86" fmla="*/ 1035314 h 3841229"/>
                <a:gd name="connsiteX87" fmla="*/ 661560 w 1573156"/>
                <a:gd name="connsiteY87" fmla="*/ 957743 h 3841229"/>
                <a:gd name="connsiteX88" fmla="*/ 730836 w 1573156"/>
                <a:gd name="connsiteY88" fmla="*/ 911200 h 3841229"/>
                <a:gd name="connsiteX89" fmla="*/ 798608 w 1573156"/>
                <a:gd name="connsiteY89" fmla="*/ 918934 h 3841229"/>
                <a:gd name="connsiteX90" fmla="*/ 822441 w 1573156"/>
                <a:gd name="connsiteY90" fmla="*/ 951001 h 3841229"/>
                <a:gd name="connsiteX91" fmla="*/ 978170 w 1573156"/>
                <a:gd name="connsiteY91" fmla="*/ 1007364 h 3841229"/>
                <a:gd name="connsiteX92" fmla="*/ 963762 w 1573156"/>
                <a:gd name="connsiteY92" fmla="*/ 971687 h 3841229"/>
                <a:gd name="connsiteX93" fmla="*/ 930510 w 1573156"/>
                <a:gd name="connsiteY93" fmla="*/ 932901 h 3841229"/>
                <a:gd name="connsiteX94" fmla="*/ 919426 w 1573156"/>
                <a:gd name="connsiteY94" fmla="*/ 881187 h 3841229"/>
                <a:gd name="connsiteX95" fmla="*/ 958221 w 1573156"/>
                <a:gd name="connsiteY95" fmla="*/ 832060 h 3841229"/>
                <a:gd name="connsiteX96" fmla="*/ 985931 w 1573156"/>
                <a:gd name="connsiteY96" fmla="*/ 803617 h 3841229"/>
                <a:gd name="connsiteX97" fmla="*/ 1010871 w 1573156"/>
                <a:gd name="connsiteY97" fmla="*/ 767417 h 3841229"/>
                <a:gd name="connsiteX98" fmla="*/ 1091231 w 1573156"/>
                <a:gd name="connsiteY98" fmla="*/ 762245 h 3841229"/>
                <a:gd name="connsiteX99" fmla="*/ 1096772 w 1573156"/>
                <a:gd name="connsiteY99" fmla="*/ 741560 h 3841229"/>
                <a:gd name="connsiteX100" fmla="*/ 1121712 w 1573156"/>
                <a:gd name="connsiteY100" fmla="*/ 705360 h 3841229"/>
                <a:gd name="connsiteX101" fmla="*/ 1155516 w 1573156"/>
                <a:gd name="connsiteY101" fmla="*/ 687772 h 3841229"/>
                <a:gd name="connsiteX102" fmla="*/ 1213156 w 1573156"/>
                <a:gd name="connsiteY102" fmla="*/ 700189 h 3841229"/>
                <a:gd name="connsiteX103" fmla="*/ 1251949 w 1573156"/>
                <a:gd name="connsiteY103" fmla="*/ 720875 h 3841229"/>
                <a:gd name="connsiteX104" fmla="*/ 1299057 w 1573156"/>
                <a:gd name="connsiteY104" fmla="*/ 728632 h 3841229"/>
                <a:gd name="connsiteX105" fmla="*/ 1299057 w 1573156"/>
                <a:gd name="connsiteY105" fmla="*/ 733803 h 3841229"/>
                <a:gd name="connsiteX106" fmla="*/ 1321226 w 1573156"/>
                <a:gd name="connsiteY106" fmla="*/ 674332 h 3841229"/>
                <a:gd name="connsiteX107" fmla="*/ 1331201 w 1573156"/>
                <a:gd name="connsiteY107" fmla="*/ 640714 h 3841229"/>
                <a:gd name="connsiteX108" fmla="*/ 1337852 w 1573156"/>
                <a:gd name="connsiteY108" fmla="*/ 622618 h 3841229"/>
                <a:gd name="connsiteX109" fmla="*/ 1340789 w 1573156"/>
                <a:gd name="connsiteY109" fmla="*/ 591288 h 3841229"/>
                <a:gd name="connsiteX110" fmla="*/ 1260263 w 1573156"/>
                <a:gd name="connsiteY110" fmla="*/ 545048 h 3841229"/>
                <a:gd name="connsiteX111" fmla="*/ 1246408 w 1573156"/>
                <a:gd name="connsiteY111" fmla="*/ 472648 h 3841229"/>
                <a:gd name="connsiteX112" fmla="*/ 1246408 w 1573156"/>
                <a:gd name="connsiteY112" fmla="*/ 454548 h 3841229"/>
                <a:gd name="connsiteX113" fmla="*/ 1257491 w 1573156"/>
                <a:gd name="connsiteY113" fmla="*/ 431276 h 3841229"/>
                <a:gd name="connsiteX114" fmla="*/ 1260263 w 1573156"/>
                <a:gd name="connsiteY114" fmla="*/ 415762 h 3841229"/>
                <a:gd name="connsiteX115" fmla="*/ 1260262 w 1573156"/>
                <a:gd name="connsiteY115" fmla="*/ 358878 h 3841229"/>
                <a:gd name="connsiteX116" fmla="*/ 1238094 w 1573156"/>
                <a:gd name="connsiteY116" fmla="*/ 335607 h 3841229"/>
                <a:gd name="connsiteX117" fmla="*/ 1210384 w 1573156"/>
                <a:gd name="connsiteY117" fmla="*/ 304578 h 3841229"/>
                <a:gd name="connsiteX118" fmla="*/ 1206216 w 1573156"/>
                <a:gd name="connsiteY118" fmla="*/ 280325 h 3841229"/>
                <a:gd name="connsiteX119" fmla="*/ 1257492 w 1573156"/>
                <a:gd name="connsiteY119" fmla="*/ 258034 h 3841229"/>
                <a:gd name="connsiteX120" fmla="*/ 1311072 w 1573156"/>
                <a:gd name="connsiteY120" fmla="*/ 267906 h 3841229"/>
                <a:gd name="connsiteX121" fmla="*/ 1389856 w 1573156"/>
                <a:gd name="connsiteY121" fmla="*/ 279816 h 3841229"/>
                <a:gd name="connsiteX122" fmla="*/ 1474179 w 1573156"/>
                <a:gd name="connsiteY122" fmla="*/ 349175 h 3841229"/>
                <a:gd name="connsiteX123" fmla="*/ 1536314 w 1573156"/>
                <a:gd name="connsiteY123" fmla="*/ 425271 h 3841229"/>
                <a:gd name="connsiteX124" fmla="*/ 1435343 w 1573156"/>
                <a:gd name="connsiteY124" fmla="*/ 454265 h 3841229"/>
                <a:gd name="connsiteX125" fmla="*/ 1419809 w 1573156"/>
                <a:gd name="connsiteY125" fmla="*/ 501372 h 3841229"/>
                <a:gd name="connsiteX126" fmla="*/ 1477479 w 1573156"/>
                <a:gd name="connsiteY126" fmla="*/ 585862 h 3841229"/>
                <a:gd name="connsiteX127" fmla="*/ 1513013 w 1573156"/>
                <a:gd name="connsiteY127" fmla="*/ 591964 h 3841229"/>
                <a:gd name="connsiteX128" fmla="*/ 1565633 w 1573156"/>
                <a:gd name="connsiteY128" fmla="*/ 598304 h 3841229"/>
                <a:gd name="connsiteX129" fmla="*/ 1560670 w 1573156"/>
                <a:gd name="connsiteY129" fmla="*/ 709079 h 3841229"/>
                <a:gd name="connsiteX130" fmla="*/ 1571739 w 1573156"/>
                <a:gd name="connsiteY130" fmla="*/ 1040047 h 3841229"/>
                <a:gd name="connsiteX131" fmla="*/ 1562871 w 1573156"/>
                <a:gd name="connsiteY131" fmla="*/ 1842646 h 3841229"/>
                <a:gd name="connsiteX132" fmla="*/ 1571738 w 1573156"/>
                <a:gd name="connsiteY132" fmla="*/ 2297728 h 3841229"/>
                <a:gd name="connsiteX133" fmla="*/ 1561917 w 1573156"/>
                <a:gd name="connsiteY133" fmla="*/ 3721463 h 3841229"/>
                <a:gd name="connsiteX134" fmla="*/ 1556603 w 1573156"/>
                <a:gd name="connsiteY134" fmla="*/ 3758050 h 3841229"/>
                <a:gd name="connsiteX135" fmla="*/ 1534434 w 1573156"/>
                <a:gd name="connsiteY135" fmla="*/ 3701165 h 3841229"/>
                <a:gd name="connsiteX136" fmla="*/ 1545518 w 1573156"/>
                <a:gd name="connsiteY136" fmla="*/ 3688238 h 3841229"/>
                <a:gd name="connsiteX137" fmla="*/ 1503953 w 1573156"/>
                <a:gd name="connsiteY137" fmla="*/ 3670136 h 3841229"/>
                <a:gd name="connsiteX138" fmla="*/ 1473471 w 1573156"/>
                <a:gd name="connsiteY138" fmla="*/ 3685650 h 3841229"/>
                <a:gd name="connsiteX139" fmla="*/ 1445761 w 1573156"/>
                <a:gd name="connsiteY139" fmla="*/ 3652040 h 3841229"/>
                <a:gd name="connsiteX140" fmla="*/ 1398654 w 1573156"/>
                <a:gd name="connsiteY140" fmla="*/ 3659796 h 3841229"/>
                <a:gd name="connsiteX141" fmla="*/ 1357089 w 1573156"/>
                <a:gd name="connsiteY141" fmla="*/ 3662380 h 3841229"/>
                <a:gd name="connsiteX142" fmla="*/ 1343234 w 1573156"/>
                <a:gd name="connsiteY142" fmla="*/ 3631352 h 3841229"/>
                <a:gd name="connsiteX143" fmla="*/ 1304439 w 1573156"/>
                <a:gd name="connsiteY143" fmla="*/ 3641695 h 3841229"/>
                <a:gd name="connsiteX144" fmla="*/ 1290584 w 1573156"/>
                <a:gd name="connsiteY144" fmla="*/ 3610666 h 3841229"/>
                <a:gd name="connsiteX145" fmla="*/ 1195420 w 1573156"/>
                <a:gd name="connsiteY145" fmla="*/ 3605469 h 3841229"/>
                <a:gd name="connsiteX146" fmla="*/ 1013482 w 1573156"/>
                <a:gd name="connsiteY146" fmla="*/ 3592567 h 3841229"/>
                <a:gd name="connsiteX147" fmla="*/ 1123928 w 1573156"/>
                <a:gd name="connsiteY147" fmla="*/ 3663387 h 3841229"/>
                <a:gd name="connsiteX148" fmla="*/ 907787 w 1573156"/>
                <a:gd name="connsiteY148" fmla="*/ 3629257 h 3841229"/>
                <a:gd name="connsiteX149" fmla="*/ 776238 w 1573156"/>
                <a:gd name="connsiteY149" fmla="*/ 3504783 h 3841229"/>
                <a:gd name="connsiteX150" fmla="*/ 708669 w 1573156"/>
                <a:gd name="connsiteY150" fmla="*/ 3437426 h 3841229"/>
                <a:gd name="connsiteX151" fmla="*/ 739150 w 1573156"/>
                <a:gd name="connsiteY151" fmla="*/ 3437426 h 3841229"/>
                <a:gd name="connsiteX152" fmla="*/ 750233 w 1573156"/>
                <a:gd name="connsiteY152" fmla="*/ 3408982 h 3841229"/>
                <a:gd name="connsiteX153" fmla="*/ 783486 w 1573156"/>
                <a:gd name="connsiteY153" fmla="*/ 3354683 h 3841229"/>
                <a:gd name="connsiteX154" fmla="*/ 747462 w 1573156"/>
                <a:gd name="connsiteY154" fmla="*/ 3297798 h 3841229"/>
                <a:gd name="connsiteX155" fmla="*/ 836135 w 1573156"/>
                <a:gd name="connsiteY155" fmla="*/ 3225398 h 3841229"/>
                <a:gd name="connsiteX156" fmla="*/ 902641 w 1573156"/>
                <a:gd name="connsiteY156" fmla="*/ 3217642 h 3841229"/>
                <a:gd name="connsiteX157" fmla="*/ 955289 w 1573156"/>
                <a:gd name="connsiteY157" fmla="*/ 3160756 h 3841229"/>
                <a:gd name="connsiteX158" fmla="*/ 1024565 w 1573156"/>
                <a:gd name="connsiteY158" fmla="*/ 3114213 h 3841229"/>
                <a:gd name="connsiteX159" fmla="*/ 1019023 w 1573156"/>
                <a:gd name="connsiteY159" fmla="*/ 3067671 h 3841229"/>
                <a:gd name="connsiteX160" fmla="*/ 1043963 w 1573156"/>
                <a:gd name="connsiteY160" fmla="*/ 3028886 h 3841229"/>
                <a:gd name="connsiteX161" fmla="*/ 1016252 w 1573156"/>
                <a:gd name="connsiteY161" fmla="*/ 3026300 h 3841229"/>
                <a:gd name="connsiteX162" fmla="*/ 1031704 w 1573156"/>
                <a:gd name="connsiteY162" fmla="*/ 2992878 h 3841229"/>
                <a:gd name="connsiteX163" fmla="*/ 914211 w 1573156"/>
                <a:gd name="connsiteY163" fmla="*/ 2928233 h 3841229"/>
                <a:gd name="connsiteX164" fmla="*/ 877701 w 1573156"/>
                <a:gd name="connsiteY164" fmla="*/ 2920285 h 3841229"/>
                <a:gd name="connsiteX165" fmla="*/ 858304 w 1573156"/>
                <a:gd name="connsiteY165" fmla="*/ 2909943 h 3841229"/>
                <a:gd name="connsiteX166" fmla="*/ 827823 w 1573156"/>
                <a:gd name="connsiteY166" fmla="*/ 2881501 h 3841229"/>
                <a:gd name="connsiteX167" fmla="*/ 761317 w 1573156"/>
                <a:gd name="connsiteY167" fmla="*/ 2897015 h 3841229"/>
                <a:gd name="connsiteX168" fmla="*/ 700355 w 1573156"/>
                <a:gd name="connsiteY168" fmla="*/ 2891844 h 3841229"/>
                <a:gd name="connsiteX169" fmla="*/ 658790 w 1573156"/>
                <a:gd name="connsiteY169" fmla="*/ 2827201 h 3841229"/>
                <a:gd name="connsiteX170" fmla="*/ 656019 w 1573156"/>
                <a:gd name="connsiteY170" fmla="*/ 2785830 h 3841229"/>
                <a:gd name="connsiteX171" fmla="*/ 631080 w 1573156"/>
                <a:gd name="connsiteY171" fmla="*/ 2772902 h 3841229"/>
                <a:gd name="connsiteX172" fmla="*/ 567346 w 1573156"/>
                <a:gd name="connsiteY172" fmla="*/ 2759974 h 3841229"/>
                <a:gd name="connsiteX173" fmla="*/ 586743 w 1573156"/>
                <a:gd name="connsiteY173" fmla="*/ 2721188 h 3841229"/>
                <a:gd name="connsiteX174" fmla="*/ 557777 w 1573156"/>
                <a:gd name="connsiteY174" fmla="*/ 2715007 h 3841229"/>
                <a:gd name="connsiteX175" fmla="*/ 531809 w 1573156"/>
                <a:gd name="connsiteY175" fmla="*/ 2672771 h 3841229"/>
                <a:gd name="connsiteX176" fmla="*/ 414939 w 1573156"/>
                <a:gd name="connsiteY176" fmla="*/ 2682402 h 3841229"/>
                <a:gd name="connsiteX177" fmla="*/ 390000 w 1573156"/>
                <a:gd name="connsiteY177" fmla="*/ 2672059 h 3841229"/>
                <a:gd name="connsiteX178" fmla="*/ 367832 w 1573156"/>
                <a:gd name="connsiteY178" fmla="*/ 2684989 h 3841229"/>
                <a:gd name="connsiteX179" fmla="*/ 351205 w 1573156"/>
                <a:gd name="connsiteY179" fmla="*/ 2622932 h 3841229"/>
                <a:gd name="connsiteX180" fmla="*/ 340121 w 1573156"/>
                <a:gd name="connsiteY180" fmla="*/ 2597075 h 3841229"/>
                <a:gd name="connsiteX181" fmla="*/ 353976 w 1573156"/>
                <a:gd name="connsiteY181" fmla="*/ 2578974 h 3841229"/>
                <a:gd name="connsiteX182" fmla="*/ 381687 w 1573156"/>
                <a:gd name="connsiteY182" fmla="*/ 2581561 h 3841229"/>
                <a:gd name="connsiteX183" fmla="*/ 414939 w 1573156"/>
                <a:gd name="connsiteY183" fmla="*/ 2563461 h 3841229"/>
                <a:gd name="connsiteX184" fmla="*/ 412168 w 1573156"/>
                <a:gd name="connsiteY184" fmla="*/ 2537603 h 3841229"/>
                <a:gd name="connsiteX185" fmla="*/ 362289 w 1573156"/>
                <a:gd name="connsiteY185" fmla="*/ 2501404 h 3841229"/>
                <a:gd name="connsiteX186" fmla="*/ 338946 w 1573156"/>
                <a:gd name="connsiteY186" fmla="*/ 2513491 h 3841229"/>
                <a:gd name="connsiteX187" fmla="*/ 340121 w 1573156"/>
                <a:gd name="connsiteY187" fmla="*/ 2467790 h 3841229"/>
                <a:gd name="connsiteX188" fmla="*/ 306869 w 1573156"/>
                <a:gd name="connsiteY188" fmla="*/ 2429005 h 3841229"/>
                <a:gd name="connsiteX189" fmla="*/ 309641 w 1573156"/>
                <a:gd name="connsiteY189" fmla="*/ 2351433 h 3841229"/>
                <a:gd name="connsiteX190" fmla="*/ 290243 w 1573156"/>
                <a:gd name="connsiteY190" fmla="*/ 2299720 h 3841229"/>
                <a:gd name="connsiteX191" fmla="*/ 256991 w 1573156"/>
                <a:gd name="connsiteY191" fmla="*/ 2266106 h 3841229"/>
                <a:gd name="connsiteX192" fmla="*/ 218196 w 1573156"/>
                <a:gd name="connsiteY192" fmla="*/ 2242835 h 3841229"/>
                <a:gd name="connsiteX193" fmla="*/ 176631 w 1573156"/>
                <a:gd name="connsiteY193" fmla="*/ 2250592 h 3841229"/>
                <a:gd name="connsiteX194" fmla="*/ 122255 w 1573156"/>
                <a:gd name="connsiteY194" fmla="*/ 2214066 h 3841229"/>
                <a:gd name="connsiteX0" fmla="*/ 122255 w 1573156"/>
                <a:gd name="connsiteY0" fmla="*/ 2214066 h 3841229"/>
                <a:gd name="connsiteX1" fmla="*/ 63018 w 1573156"/>
                <a:gd name="connsiteY1" fmla="*/ 2216977 h 3841229"/>
                <a:gd name="connsiteX2" fmla="*/ 60248 w 1573156"/>
                <a:gd name="connsiteY2" fmla="*/ 2118721 h 3841229"/>
                <a:gd name="connsiteX3" fmla="*/ 65791 w 1573156"/>
                <a:gd name="connsiteY3" fmla="*/ 2079936 h 3841229"/>
                <a:gd name="connsiteX4" fmla="*/ 68561 w 1573156"/>
                <a:gd name="connsiteY4" fmla="*/ 2030807 h 3841229"/>
                <a:gd name="connsiteX5" fmla="*/ 54707 w 1573156"/>
                <a:gd name="connsiteY5" fmla="*/ 2028225 h 3841229"/>
                <a:gd name="connsiteX6" fmla="*/ 118439 w 1573156"/>
                <a:gd name="connsiteY6" fmla="*/ 1992023 h 3841229"/>
                <a:gd name="connsiteX7" fmla="*/ 82416 w 1573156"/>
                <a:gd name="connsiteY7" fmla="*/ 1963580 h 3841229"/>
                <a:gd name="connsiteX8" fmla="*/ 51935 w 1573156"/>
                <a:gd name="connsiteY8" fmla="*/ 1927380 h 3841229"/>
                <a:gd name="connsiteX9" fmla="*/ 40850 w 1573156"/>
                <a:gd name="connsiteY9" fmla="*/ 1893766 h 3841229"/>
                <a:gd name="connsiteX10" fmla="*/ 43621 w 1573156"/>
                <a:gd name="connsiteY10" fmla="*/ 1844639 h 3841229"/>
                <a:gd name="connsiteX11" fmla="*/ 82416 w 1573156"/>
                <a:gd name="connsiteY11" fmla="*/ 1826538 h 3841229"/>
                <a:gd name="connsiteX12" fmla="*/ 112899 w 1573156"/>
                <a:gd name="connsiteY12" fmla="*/ 1782581 h 3841229"/>
                <a:gd name="connsiteX13" fmla="*/ 96271 w 1573156"/>
                <a:gd name="connsiteY13" fmla="*/ 1754138 h 3841229"/>
                <a:gd name="connsiteX14" fmla="*/ 40851 w 1573156"/>
                <a:gd name="connsiteY14" fmla="*/ 1746381 h 3841229"/>
                <a:gd name="connsiteX15" fmla="*/ 2057 w 1573156"/>
                <a:gd name="connsiteY15" fmla="*/ 1730867 h 3841229"/>
                <a:gd name="connsiteX16" fmla="*/ 38079 w 1573156"/>
                <a:gd name="connsiteY16" fmla="*/ 1689496 h 3841229"/>
                <a:gd name="connsiteX17" fmla="*/ 18683 w 1573156"/>
                <a:gd name="connsiteY17" fmla="*/ 1679153 h 3841229"/>
                <a:gd name="connsiteX18" fmla="*/ 2055 w 1573156"/>
                <a:gd name="connsiteY18" fmla="*/ 1640367 h 3841229"/>
                <a:gd name="connsiteX19" fmla="*/ 65790 w 1573156"/>
                <a:gd name="connsiteY19" fmla="*/ 1650711 h 3841229"/>
                <a:gd name="connsiteX20" fmla="*/ 93501 w 1573156"/>
                <a:gd name="connsiteY20" fmla="*/ 1627440 h 3841229"/>
                <a:gd name="connsiteX21" fmla="*/ 187716 w 1573156"/>
                <a:gd name="connsiteY21" fmla="*/ 1536941 h 3841229"/>
                <a:gd name="connsiteX22" fmla="*/ 212655 w 1573156"/>
                <a:gd name="connsiteY22" fmla="*/ 1505912 h 3841229"/>
                <a:gd name="connsiteX23" fmla="*/ 198801 w 1573156"/>
                <a:gd name="connsiteY23" fmla="*/ 1555040 h 3841229"/>
                <a:gd name="connsiteX24" fmla="*/ 218197 w 1573156"/>
                <a:gd name="connsiteY24" fmla="*/ 1588655 h 3841229"/>
                <a:gd name="connsiteX25" fmla="*/ 262534 w 1573156"/>
                <a:gd name="connsiteY25" fmla="*/ 1666225 h 3841229"/>
                <a:gd name="connsiteX26" fmla="*/ 331810 w 1573156"/>
                <a:gd name="connsiteY26" fmla="*/ 1653297 h 3841229"/>
                <a:gd name="connsiteX27" fmla="*/ 351206 w 1573156"/>
                <a:gd name="connsiteY27" fmla="*/ 1622268 h 3841229"/>
                <a:gd name="connsiteX28" fmla="*/ 365062 w 1573156"/>
                <a:gd name="connsiteY28" fmla="*/ 1557627 h 3841229"/>
                <a:gd name="connsiteX29" fmla="*/ 304099 w 1573156"/>
                <a:gd name="connsiteY29" fmla="*/ 1511084 h 3841229"/>
                <a:gd name="connsiteX30" fmla="*/ 259763 w 1573156"/>
                <a:gd name="connsiteY30" fmla="*/ 1485227 h 3841229"/>
                <a:gd name="connsiteX31" fmla="*/ 198801 w 1573156"/>
                <a:gd name="connsiteY31" fmla="*/ 1495570 h 3841229"/>
                <a:gd name="connsiteX32" fmla="*/ 315182 w 1573156"/>
                <a:gd name="connsiteY32" fmla="*/ 1389554 h 3841229"/>
                <a:gd name="connsiteX33" fmla="*/ 376147 w 1573156"/>
                <a:gd name="connsiteY33" fmla="*/ 1299057 h 3841229"/>
                <a:gd name="connsiteX34" fmla="*/ 359519 w 1573156"/>
                <a:gd name="connsiteY34" fmla="*/ 1275784 h 3841229"/>
                <a:gd name="connsiteX35" fmla="*/ 295785 w 1573156"/>
                <a:gd name="connsiteY35" fmla="*/ 1229242 h 3841229"/>
                <a:gd name="connsiteX36" fmla="*/ 223740 w 1573156"/>
                <a:gd name="connsiteY36" fmla="*/ 1151672 h 3841229"/>
                <a:gd name="connsiteX37" fmla="*/ 284703 w 1573156"/>
                <a:gd name="connsiteY37" fmla="*/ 1089617 h 3841229"/>
                <a:gd name="connsiteX38" fmla="*/ 218198 w 1573156"/>
                <a:gd name="connsiteY38" fmla="*/ 1050829 h 3841229"/>
                <a:gd name="connsiteX39" fmla="*/ 259763 w 1573156"/>
                <a:gd name="connsiteY39" fmla="*/ 1019802 h 3841229"/>
                <a:gd name="connsiteX40" fmla="*/ 212657 w 1573156"/>
                <a:gd name="connsiteY40" fmla="*/ 993947 h 3841229"/>
                <a:gd name="connsiteX41" fmla="*/ 212656 w 1573156"/>
                <a:gd name="connsiteY41" fmla="*/ 794845 h 3841229"/>
                <a:gd name="connsiteX42" fmla="*/ 251451 w 1573156"/>
                <a:gd name="connsiteY42" fmla="*/ 779332 h 3841229"/>
                <a:gd name="connsiteX43" fmla="*/ 137838 w 1573156"/>
                <a:gd name="connsiteY43" fmla="*/ 551792 h 3841229"/>
                <a:gd name="connsiteX44" fmla="*/ 135067 w 1573156"/>
                <a:gd name="connsiteY44" fmla="*/ 551792 h 3841229"/>
                <a:gd name="connsiteX45" fmla="*/ 184945 w 1573156"/>
                <a:gd name="connsiteY45" fmla="*/ 469048 h 3841229"/>
                <a:gd name="connsiteX46" fmla="*/ 201571 w 1573156"/>
                <a:gd name="connsiteY46" fmla="*/ 378550 h 3841229"/>
                <a:gd name="connsiteX47" fmla="*/ 126752 w 1573156"/>
                <a:gd name="connsiteY47" fmla="*/ 319079 h 3841229"/>
                <a:gd name="connsiteX48" fmla="*/ 118440 w 1573156"/>
                <a:gd name="connsiteY48" fmla="*/ 251851 h 3841229"/>
                <a:gd name="connsiteX49" fmla="*/ 173860 w 1573156"/>
                <a:gd name="connsiteY49" fmla="*/ 158764 h 3841229"/>
                <a:gd name="connsiteX50" fmla="*/ 193258 w 1573156"/>
                <a:gd name="connsiteY50" fmla="*/ 135494 h 3841229"/>
                <a:gd name="connsiteX51" fmla="*/ 207113 w 1573156"/>
                <a:gd name="connsiteY51" fmla="*/ 117394 h 3841229"/>
                <a:gd name="connsiteX52" fmla="*/ 215426 w 1573156"/>
                <a:gd name="connsiteY52" fmla="*/ 73438 h 3841229"/>
                <a:gd name="connsiteX53" fmla="*/ 240365 w 1573156"/>
                <a:gd name="connsiteY53" fmla="*/ 101880 h 3841229"/>
                <a:gd name="connsiteX54" fmla="*/ 270847 w 1573156"/>
                <a:gd name="connsiteY54" fmla="*/ 88952 h 3841229"/>
                <a:gd name="connsiteX55" fmla="*/ 273617 w 1573156"/>
                <a:gd name="connsiteY55" fmla="*/ 63095 h 3841229"/>
                <a:gd name="connsiteX56" fmla="*/ 281931 w 1573156"/>
                <a:gd name="connsiteY56" fmla="*/ 34652 h 3841229"/>
                <a:gd name="connsiteX57" fmla="*/ 284703 w 1573156"/>
                <a:gd name="connsiteY57" fmla="*/ 3624 h 3841229"/>
                <a:gd name="connsiteX58" fmla="*/ 420483 w 1573156"/>
                <a:gd name="connsiteY58" fmla="*/ 57924 h 3841229"/>
                <a:gd name="connsiteX59" fmla="*/ 450963 w 1573156"/>
                <a:gd name="connsiteY59" fmla="*/ 161352 h 3841229"/>
                <a:gd name="connsiteX60" fmla="*/ 464819 w 1573156"/>
                <a:gd name="connsiteY60" fmla="*/ 184622 h 3841229"/>
                <a:gd name="connsiteX61" fmla="*/ 475903 w 1573156"/>
                <a:gd name="connsiteY61" fmla="*/ 187208 h 3841229"/>
                <a:gd name="connsiteX62" fmla="*/ 589515 w 1573156"/>
                <a:gd name="connsiteY62" fmla="*/ 156181 h 3841229"/>
                <a:gd name="connsiteX63" fmla="*/ 656020 w 1573156"/>
                <a:gd name="connsiteY63" fmla="*/ 166522 h 3841229"/>
                <a:gd name="connsiteX64" fmla="*/ 719754 w 1573156"/>
                <a:gd name="connsiteY64" fmla="*/ 213065 h 3841229"/>
                <a:gd name="connsiteX65" fmla="*/ 733781 w 1573156"/>
                <a:gd name="connsiteY65" fmla="*/ 242621 h 3841229"/>
                <a:gd name="connsiteX66" fmla="*/ 789028 w 1573156"/>
                <a:gd name="connsiteY66" fmla="*/ 277708 h 3841229"/>
                <a:gd name="connsiteX67" fmla="*/ 877702 w 1573156"/>
                <a:gd name="connsiteY67" fmla="*/ 303563 h 3841229"/>
                <a:gd name="connsiteX68" fmla="*/ 949748 w 1573156"/>
                <a:gd name="connsiteY68" fmla="*/ 350106 h 3841229"/>
                <a:gd name="connsiteX69" fmla="*/ 999627 w 1573156"/>
                <a:gd name="connsiteY69" fmla="*/ 401820 h 3841229"/>
                <a:gd name="connsiteX70" fmla="*/ 1024566 w 1573156"/>
                <a:gd name="connsiteY70" fmla="*/ 440606 h 3841229"/>
                <a:gd name="connsiteX71" fmla="*/ 1057819 w 1573156"/>
                <a:gd name="connsiteY71" fmla="*/ 466462 h 3841229"/>
                <a:gd name="connsiteX72" fmla="*/ 1041191 w 1573156"/>
                <a:gd name="connsiteY72" fmla="*/ 691417 h 3841229"/>
                <a:gd name="connsiteX73" fmla="*/ 913725 w 1573156"/>
                <a:gd name="connsiteY73" fmla="*/ 771575 h 3841229"/>
                <a:gd name="connsiteX74" fmla="*/ 800113 w 1573156"/>
                <a:gd name="connsiteY74" fmla="*/ 779331 h 3841229"/>
                <a:gd name="connsiteX75" fmla="*/ 661560 w 1573156"/>
                <a:gd name="connsiteY75" fmla="*/ 758645 h 3841229"/>
                <a:gd name="connsiteX76" fmla="*/ 570116 w 1573156"/>
                <a:gd name="connsiteY76" fmla="*/ 722445 h 3841229"/>
                <a:gd name="connsiteX77" fmla="*/ 550719 w 1573156"/>
                <a:gd name="connsiteY77" fmla="*/ 750888 h 3841229"/>
                <a:gd name="connsiteX78" fmla="*/ 581361 w 1573156"/>
                <a:gd name="connsiteY78" fmla="*/ 824301 h 3841229"/>
                <a:gd name="connsiteX79" fmla="*/ 586902 w 1573156"/>
                <a:gd name="connsiteY79" fmla="*/ 951000 h 3841229"/>
                <a:gd name="connsiteX80" fmla="*/ 559032 w 1573156"/>
                <a:gd name="connsiteY80" fmla="*/ 1012043 h 3841229"/>
                <a:gd name="connsiteX81" fmla="*/ 614451 w 1573156"/>
                <a:gd name="connsiteY81" fmla="*/ 1032728 h 3841229"/>
                <a:gd name="connsiteX82" fmla="*/ 631079 w 1573156"/>
                <a:gd name="connsiteY82" fmla="*/ 1048242 h 3841229"/>
                <a:gd name="connsiteX83" fmla="*/ 656019 w 1573156"/>
                <a:gd name="connsiteY83" fmla="*/ 1074099 h 3841229"/>
                <a:gd name="connsiteX84" fmla="*/ 653248 w 1573156"/>
                <a:gd name="connsiteY84" fmla="*/ 1076685 h 3841229"/>
                <a:gd name="connsiteX85" fmla="*/ 692041 w 1573156"/>
                <a:gd name="connsiteY85" fmla="*/ 1071514 h 3841229"/>
                <a:gd name="connsiteX86" fmla="*/ 700355 w 1573156"/>
                <a:gd name="connsiteY86" fmla="*/ 1035314 h 3841229"/>
                <a:gd name="connsiteX87" fmla="*/ 661560 w 1573156"/>
                <a:gd name="connsiteY87" fmla="*/ 957743 h 3841229"/>
                <a:gd name="connsiteX88" fmla="*/ 730836 w 1573156"/>
                <a:gd name="connsiteY88" fmla="*/ 911200 h 3841229"/>
                <a:gd name="connsiteX89" fmla="*/ 798608 w 1573156"/>
                <a:gd name="connsiteY89" fmla="*/ 918934 h 3841229"/>
                <a:gd name="connsiteX90" fmla="*/ 822441 w 1573156"/>
                <a:gd name="connsiteY90" fmla="*/ 951001 h 3841229"/>
                <a:gd name="connsiteX91" fmla="*/ 978170 w 1573156"/>
                <a:gd name="connsiteY91" fmla="*/ 1007364 h 3841229"/>
                <a:gd name="connsiteX92" fmla="*/ 963762 w 1573156"/>
                <a:gd name="connsiteY92" fmla="*/ 971687 h 3841229"/>
                <a:gd name="connsiteX93" fmla="*/ 930510 w 1573156"/>
                <a:gd name="connsiteY93" fmla="*/ 932901 h 3841229"/>
                <a:gd name="connsiteX94" fmla="*/ 919426 w 1573156"/>
                <a:gd name="connsiteY94" fmla="*/ 881187 h 3841229"/>
                <a:gd name="connsiteX95" fmla="*/ 958221 w 1573156"/>
                <a:gd name="connsiteY95" fmla="*/ 832060 h 3841229"/>
                <a:gd name="connsiteX96" fmla="*/ 985931 w 1573156"/>
                <a:gd name="connsiteY96" fmla="*/ 803617 h 3841229"/>
                <a:gd name="connsiteX97" fmla="*/ 1010871 w 1573156"/>
                <a:gd name="connsiteY97" fmla="*/ 767417 h 3841229"/>
                <a:gd name="connsiteX98" fmla="*/ 1091231 w 1573156"/>
                <a:gd name="connsiteY98" fmla="*/ 762245 h 3841229"/>
                <a:gd name="connsiteX99" fmla="*/ 1096772 w 1573156"/>
                <a:gd name="connsiteY99" fmla="*/ 741560 h 3841229"/>
                <a:gd name="connsiteX100" fmla="*/ 1121712 w 1573156"/>
                <a:gd name="connsiteY100" fmla="*/ 705360 h 3841229"/>
                <a:gd name="connsiteX101" fmla="*/ 1155516 w 1573156"/>
                <a:gd name="connsiteY101" fmla="*/ 687772 h 3841229"/>
                <a:gd name="connsiteX102" fmla="*/ 1213156 w 1573156"/>
                <a:gd name="connsiteY102" fmla="*/ 700189 h 3841229"/>
                <a:gd name="connsiteX103" fmla="*/ 1251949 w 1573156"/>
                <a:gd name="connsiteY103" fmla="*/ 720875 h 3841229"/>
                <a:gd name="connsiteX104" fmla="*/ 1299057 w 1573156"/>
                <a:gd name="connsiteY104" fmla="*/ 728632 h 3841229"/>
                <a:gd name="connsiteX105" fmla="*/ 1299057 w 1573156"/>
                <a:gd name="connsiteY105" fmla="*/ 733803 h 3841229"/>
                <a:gd name="connsiteX106" fmla="*/ 1321226 w 1573156"/>
                <a:gd name="connsiteY106" fmla="*/ 674332 h 3841229"/>
                <a:gd name="connsiteX107" fmla="*/ 1331201 w 1573156"/>
                <a:gd name="connsiteY107" fmla="*/ 640714 h 3841229"/>
                <a:gd name="connsiteX108" fmla="*/ 1337852 w 1573156"/>
                <a:gd name="connsiteY108" fmla="*/ 622618 h 3841229"/>
                <a:gd name="connsiteX109" fmla="*/ 1340789 w 1573156"/>
                <a:gd name="connsiteY109" fmla="*/ 591288 h 3841229"/>
                <a:gd name="connsiteX110" fmla="*/ 1260263 w 1573156"/>
                <a:gd name="connsiteY110" fmla="*/ 545048 h 3841229"/>
                <a:gd name="connsiteX111" fmla="*/ 1246408 w 1573156"/>
                <a:gd name="connsiteY111" fmla="*/ 472648 h 3841229"/>
                <a:gd name="connsiteX112" fmla="*/ 1246408 w 1573156"/>
                <a:gd name="connsiteY112" fmla="*/ 454548 h 3841229"/>
                <a:gd name="connsiteX113" fmla="*/ 1257491 w 1573156"/>
                <a:gd name="connsiteY113" fmla="*/ 431276 h 3841229"/>
                <a:gd name="connsiteX114" fmla="*/ 1260263 w 1573156"/>
                <a:gd name="connsiteY114" fmla="*/ 415762 h 3841229"/>
                <a:gd name="connsiteX115" fmla="*/ 1260262 w 1573156"/>
                <a:gd name="connsiteY115" fmla="*/ 358878 h 3841229"/>
                <a:gd name="connsiteX116" fmla="*/ 1238094 w 1573156"/>
                <a:gd name="connsiteY116" fmla="*/ 335607 h 3841229"/>
                <a:gd name="connsiteX117" fmla="*/ 1210384 w 1573156"/>
                <a:gd name="connsiteY117" fmla="*/ 304578 h 3841229"/>
                <a:gd name="connsiteX118" fmla="*/ 1206216 w 1573156"/>
                <a:gd name="connsiteY118" fmla="*/ 280325 h 3841229"/>
                <a:gd name="connsiteX119" fmla="*/ 1257492 w 1573156"/>
                <a:gd name="connsiteY119" fmla="*/ 258034 h 3841229"/>
                <a:gd name="connsiteX120" fmla="*/ 1311072 w 1573156"/>
                <a:gd name="connsiteY120" fmla="*/ 267906 h 3841229"/>
                <a:gd name="connsiteX121" fmla="*/ 1389856 w 1573156"/>
                <a:gd name="connsiteY121" fmla="*/ 279816 h 3841229"/>
                <a:gd name="connsiteX122" fmla="*/ 1474179 w 1573156"/>
                <a:gd name="connsiteY122" fmla="*/ 349175 h 3841229"/>
                <a:gd name="connsiteX123" fmla="*/ 1536314 w 1573156"/>
                <a:gd name="connsiteY123" fmla="*/ 425271 h 3841229"/>
                <a:gd name="connsiteX124" fmla="*/ 1435343 w 1573156"/>
                <a:gd name="connsiteY124" fmla="*/ 454265 h 3841229"/>
                <a:gd name="connsiteX125" fmla="*/ 1419809 w 1573156"/>
                <a:gd name="connsiteY125" fmla="*/ 501372 h 3841229"/>
                <a:gd name="connsiteX126" fmla="*/ 1477479 w 1573156"/>
                <a:gd name="connsiteY126" fmla="*/ 585862 h 3841229"/>
                <a:gd name="connsiteX127" fmla="*/ 1513013 w 1573156"/>
                <a:gd name="connsiteY127" fmla="*/ 591964 h 3841229"/>
                <a:gd name="connsiteX128" fmla="*/ 1565633 w 1573156"/>
                <a:gd name="connsiteY128" fmla="*/ 598304 h 3841229"/>
                <a:gd name="connsiteX129" fmla="*/ 1560670 w 1573156"/>
                <a:gd name="connsiteY129" fmla="*/ 709079 h 3841229"/>
                <a:gd name="connsiteX130" fmla="*/ 1571739 w 1573156"/>
                <a:gd name="connsiteY130" fmla="*/ 1040047 h 3841229"/>
                <a:gd name="connsiteX131" fmla="*/ 1562871 w 1573156"/>
                <a:gd name="connsiteY131" fmla="*/ 1842646 h 3841229"/>
                <a:gd name="connsiteX132" fmla="*/ 1571738 w 1573156"/>
                <a:gd name="connsiteY132" fmla="*/ 2297728 h 3841229"/>
                <a:gd name="connsiteX133" fmla="*/ 1561917 w 1573156"/>
                <a:gd name="connsiteY133" fmla="*/ 3721463 h 3841229"/>
                <a:gd name="connsiteX134" fmla="*/ 1556603 w 1573156"/>
                <a:gd name="connsiteY134" fmla="*/ 3758050 h 3841229"/>
                <a:gd name="connsiteX135" fmla="*/ 1534434 w 1573156"/>
                <a:gd name="connsiteY135" fmla="*/ 3701165 h 3841229"/>
                <a:gd name="connsiteX136" fmla="*/ 1545518 w 1573156"/>
                <a:gd name="connsiteY136" fmla="*/ 3688238 h 3841229"/>
                <a:gd name="connsiteX137" fmla="*/ 1503953 w 1573156"/>
                <a:gd name="connsiteY137" fmla="*/ 3670136 h 3841229"/>
                <a:gd name="connsiteX138" fmla="*/ 1473471 w 1573156"/>
                <a:gd name="connsiteY138" fmla="*/ 3685650 h 3841229"/>
                <a:gd name="connsiteX139" fmla="*/ 1445761 w 1573156"/>
                <a:gd name="connsiteY139" fmla="*/ 3652040 h 3841229"/>
                <a:gd name="connsiteX140" fmla="*/ 1398654 w 1573156"/>
                <a:gd name="connsiteY140" fmla="*/ 3659796 h 3841229"/>
                <a:gd name="connsiteX141" fmla="*/ 1357089 w 1573156"/>
                <a:gd name="connsiteY141" fmla="*/ 3662380 h 3841229"/>
                <a:gd name="connsiteX142" fmla="*/ 1343234 w 1573156"/>
                <a:gd name="connsiteY142" fmla="*/ 3631352 h 3841229"/>
                <a:gd name="connsiteX143" fmla="*/ 1304439 w 1573156"/>
                <a:gd name="connsiteY143" fmla="*/ 3641695 h 3841229"/>
                <a:gd name="connsiteX144" fmla="*/ 1290584 w 1573156"/>
                <a:gd name="connsiteY144" fmla="*/ 3610666 h 3841229"/>
                <a:gd name="connsiteX145" fmla="*/ 1195420 w 1573156"/>
                <a:gd name="connsiteY145" fmla="*/ 3605469 h 3841229"/>
                <a:gd name="connsiteX146" fmla="*/ 1013482 w 1573156"/>
                <a:gd name="connsiteY146" fmla="*/ 3592567 h 3841229"/>
                <a:gd name="connsiteX147" fmla="*/ 1123928 w 1573156"/>
                <a:gd name="connsiteY147" fmla="*/ 3663387 h 3841229"/>
                <a:gd name="connsiteX148" fmla="*/ 907787 w 1573156"/>
                <a:gd name="connsiteY148" fmla="*/ 3629257 h 3841229"/>
                <a:gd name="connsiteX149" fmla="*/ 776238 w 1573156"/>
                <a:gd name="connsiteY149" fmla="*/ 3504783 h 3841229"/>
                <a:gd name="connsiteX150" fmla="*/ 708669 w 1573156"/>
                <a:gd name="connsiteY150" fmla="*/ 3437426 h 3841229"/>
                <a:gd name="connsiteX151" fmla="*/ 739150 w 1573156"/>
                <a:gd name="connsiteY151" fmla="*/ 3437426 h 3841229"/>
                <a:gd name="connsiteX152" fmla="*/ 750233 w 1573156"/>
                <a:gd name="connsiteY152" fmla="*/ 3408982 h 3841229"/>
                <a:gd name="connsiteX153" fmla="*/ 783486 w 1573156"/>
                <a:gd name="connsiteY153" fmla="*/ 3354683 h 3841229"/>
                <a:gd name="connsiteX154" fmla="*/ 747462 w 1573156"/>
                <a:gd name="connsiteY154" fmla="*/ 3297798 h 3841229"/>
                <a:gd name="connsiteX155" fmla="*/ 836135 w 1573156"/>
                <a:gd name="connsiteY155" fmla="*/ 3225398 h 3841229"/>
                <a:gd name="connsiteX156" fmla="*/ 902641 w 1573156"/>
                <a:gd name="connsiteY156" fmla="*/ 3217642 h 3841229"/>
                <a:gd name="connsiteX157" fmla="*/ 955289 w 1573156"/>
                <a:gd name="connsiteY157" fmla="*/ 3160756 h 3841229"/>
                <a:gd name="connsiteX158" fmla="*/ 1024565 w 1573156"/>
                <a:gd name="connsiteY158" fmla="*/ 3114213 h 3841229"/>
                <a:gd name="connsiteX159" fmla="*/ 1019023 w 1573156"/>
                <a:gd name="connsiteY159" fmla="*/ 3067671 h 3841229"/>
                <a:gd name="connsiteX160" fmla="*/ 1043963 w 1573156"/>
                <a:gd name="connsiteY160" fmla="*/ 3028886 h 3841229"/>
                <a:gd name="connsiteX161" fmla="*/ 1016252 w 1573156"/>
                <a:gd name="connsiteY161" fmla="*/ 3026300 h 3841229"/>
                <a:gd name="connsiteX162" fmla="*/ 1031704 w 1573156"/>
                <a:gd name="connsiteY162" fmla="*/ 2992878 h 3841229"/>
                <a:gd name="connsiteX163" fmla="*/ 914211 w 1573156"/>
                <a:gd name="connsiteY163" fmla="*/ 2928233 h 3841229"/>
                <a:gd name="connsiteX164" fmla="*/ 877701 w 1573156"/>
                <a:gd name="connsiteY164" fmla="*/ 2920285 h 3841229"/>
                <a:gd name="connsiteX165" fmla="*/ 858304 w 1573156"/>
                <a:gd name="connsiteY165" fmla="*/ 2909943 h 3841229"/>
                <a:gd name="connsiteX166" fmla="*/ 827823 w 1573156"/>
                <a:gd name="connsiteY166" fmla="*/ 2881501 h 3841229"/>
                <a:gd name="connsiteX167" fmla="*/ 761317 w 1573156"/>
                <a:gd name="connsiteY167" fmla="*/ 2897015 h 3841229"/>
                <a:gd name="connsiteX168" fmla="*/ 708667 w 1573156"/>
                <a:gd name="connsiteY168" fmla="*/ 2881501 h 3841229"/>
                <a:gd name="connsiteX169" fmla="*/ 658790 w 1573156"/>
                <a:gd name="connsiteY169" fmla="*/ 2827201 h 3841229"/>
                <a:gd name="connsiteX170" fmla="*/ 656019 w 1573156"/>
                <a:gd name="connsiteY170" fmla="*/ 2785830 h 3841229"/>
                <a:gd name="connsiteX171" fmla="*/ 631080 w 1573156"/>
                <a:gd name="connsiteY171" fmla="*/ 2772902 h 3841229"/>
                <a:gd name="connsiteX172" fmla="*/ 567346 w 1573156"/>
                <a:gd name="connsiteY172" fmla="*/ 2759974 h 3841229"/>
                <a:gd name="connsiteX173" fmla="*/ 586743 w 1573156"/>
                <a:gd name="connsiteY173" fmla="*/ 2721188 h 3841229"/>
                <a:gd name="connsiteX174" fmla="*/ 557777 w 1573156"/>
                <a:gd name="connsiteY174" fmla="*/ 2715007 h 3841229"/>
                <a:gd name="connsiteX175" fmla="*/ 531809 w 1573156"/>
                <a:gd name="connsiteY175" fmla="*/ 2672771 h 3841229"/>
                <a:gd name="connsiteX176" fmla="*/ 414939 w 1573156"/>
                <a:gd name="connsiteY176" fmla="*/ 2682402 h 3841229"/>
                <a:gd name="connsiteX177" fmla="*/ 390000 w 1573156"/>
                <a:gd name="connsiteY177" fmla="*/ 2672059 h 3841229"/>
                <a:gd name="connsiteX178" fmla="*/ 367832 w 1573156"/>
                <a:gd name="connsiteY178" fmla="*/ 2684989 h 3841229"/>
                <a:gd name="connsiteX179" fmla="*/ 351205 w 1573156"/>
                <a:gd name="connsiteY179" fmla="*/ 2622932 h 3841229"/>
                <a:gd name="connsiteX180" fmla="*/ 340121 w 1573156"/>
                <a:gd name="connsiteY180" fmla="*/ 2597075 h 3841229"/>
                <a:gd name="connsiteX181" fmla="*/ 353976 w 1573156"/>
                <a:gd name="connsiteY181" fmla="*/ 2578974 h 3841229"/>
                <a:gd name="connsiteX182" fmla="*/ 381687 w 1573156"/>
                <a:gd name="connsiteY182" fmla="*/ 2581561 h 3841229"/>
                <a:gd name="connsiteX183" fmla="*/ 414939 w 1573156"/>
                <a:gd name="connsiteY183" fmla="*/ 2563461 h 3841229"/>
                <a:gd name="connsiteX184" fmla="*/ 412168 w 1573156"/>
                <a:gd name="connsiteY184" fmla="*/ 2537603 h 3841229"/>
                <a:gd name="connsiteX185" fmla="*/ 362289 w 1573156"/>
                <a:gd name="connsiteY185" fmla="*/ 2501404 h 3841229"/>
                <a:gd name="connsiteX186" fmla="*/ 338946 w 1573156"/>
                <a:gd name="connsiteY186" fmla="*/ 2513491 h 3841229"/>
                <a:gd name="connsiteX187" fmla="*/ 340121 w 1573156"/>
                <a:gd name="connsiteY187" fmla="*/ 2467790 h 3841229"/>
                <a:gd name="connsiteX188" fmla="*/ 306869 w 1573156"/>
                <a:gd name="connsiteY188" fmla="*/ 2429005 h 3841229"/>
                <a:gd name="connsiteX189" fmla="*/ 309641 w 1573156"/>
                <a:gd name="connsiteY189" fmla="*/ 2351433 h 3841229"/>
                <a:gd name="connsiteX190" fmla="*/ 290243 w 1573156"/>
                <a:gd name="connsiteY190" fmla="*/ 2299720 h 3841229"/>
                <a:gd name="connsiteX191" fmla="*/ 256991 w 1573156"/>
                <a:gd name="connsiteY191" fmla="*/ 2266106 h 3841229"/>
                <a:gd name="connsiteX192" fmla="*/ 218196 w 1573156"/>
                <a:gd name="connsiteY192" fmla="*/ 2242835 h 3841229"/>
                <a:gd name="connsiteX193" fmla="*/ 176631 w 1573156"/>
                <a:gd name="connsiteY193" fmla="*/ 2250592 h 3841229"/>
                <a:gd name="connsiteX194" fmla="*/ 122255 w 1573156"/>
                <a:gd name="connsiteY194" fmla="*/ 2214066 h 3841229"/>
                <a:gd name="connsiteX0" fmla="*/ 122255 w 1573156"/>
                <a:gd name="connsiteY0" fmla="*/ 2214066 h 3841229"/>
                <a:gd name="connsiteX1" fmla="*/ 63018 w 1573156"/>
                <a:gd name="connsiteY1" fmla="*/ 2216977 h 3841229"/>
                <a:gd name="connsiteX2" fmla="*/ 60248 w 1573156"/>
                <a:gd name="connsiteY2" fmla="*/ 2118721 h 3841229"/>
                <a:gd name="connsiteX3" fmla="*/ 65791 w 1573156"/>
                <a:gd name="connsiteY3" fmla="*/ 2079936 h 3841229"/>
                <a:gd name="connsiteX4" fmla="*/ 68561 w 1573156"/>
                <a:gd name="connsiteY4" fmla="*/ 2030807 h 3841229"/>
                <a:gd name="connsiteX5" fmla="*/ 54707 w 1573156"/>
                <a:gd name="connsiteY5" fmla="*/ 2028225 h 3841229"/>
                <a:gd name="connsiteX6" fmla="*/ 118439 w 1573156"/>
                <a:gd name="connsiteY6" fmla="*/ 1992023 h 3841229"/>
                <a:gd name="connsiteX7" fmla="*/ 82416 w 1573156"/>
                <a:gd name="connsiteY7" fmla="*/ 1963580 h 3841229"/>
                <a:gd name="connsiteX8" fmla="*/ 51935 w 1573156"/>
                <a:gd name="connsiteY8" fmla="*/ 1927380 h 3841229"/>
                <a:gd name="connsiteX9" fmla="*/ 40850 w 1573156"/>
                <a:gd name="connsiteY9" fmla="*/ 1893766 h 3841229"/>
                <a:gd name="connsiteX10" fmla="*/ 43621 w 1573156"/>
                <a:gd name="connsiteY10" fmla="*/ 1844639 h 3841229"/>
                <a:gd name="connsiteX11" fmla="*/ 82416 w 1573156"/>
                <a:gd name="connsiteY11" fmla="*/ 1826538 h 3841229"/>
                <a:gd name="connsiteX12" fmla="*/ 112899 w 1573156"/>
                <a:gd name="connsiteY12" fmla="*/ 1782581 h 3841229"/>
                <a:gd name="connsiteX13" fmla="*/ 96271 w 1573156"/>
                <a:gd name="connsiteY13" fmla="*/ 1754138 h 3841229"/>
                <a:gd name="connsiteX14" fmla="*/ 40851 w 1573156"/>
                <a:gd name="connsiteY14" fmla="*/ 1746381 h 3841229"/>
                <a:gd name="connsiteX15" fmla="*/ 2057 w 1573156"/>
                <a:gd name="connsiteY15" fmla="*/ 1730867 h 3841229"/>
                <a:gd name="connsiteX16" fmla="*/ 38079 w 1573156"/>
                <a:gd name="connsiteY16" fmla="*/ 1689496 h 3841229"/>
                <a:gd name="connsiteX17" fmla="*/ 18683 w 1573156"/>
                <a:gd name="connsiteY17" fmla="*/ 1679153 h 3841229"/>
                <a:gd name="connsiteX18" fmla="*/ 2055 w 1573156"/>
                <a:gd name="connsiteY18" fmla="*/ 1640367 h 3841229"/>
                <a:gd name="connsiteX19" fmla="*/ 65790 w 1573156"/>
                <a:gd name="connsiteY19" fmla="*/ 1650711 h 3841229"/>
                <a:gd name="connsiteX20" fmla="*/ 93501 w 1573156"/>
                <a:gd name="connsiteY20" fmla="*/ 1627440 h 3841229"/>
                <a:gd name="connsiteX21" fmla="*/ 187716 w 1573156"/>
                <a:gd name="connsiteY21" fmla="*/ 1536941 h 3841229"/>
                <a:gd name="connsiteX22" fmla="*/ 212655 w 1573156"/>
                <a:gd name="connsiteY22" fmla="*/ 1505912 h 3841229"/>
                <a:gd name="connsiteX23" fmla="*/ 198801 w 1573156"/>
                <a:gd name="connsiteY23" fmla="*/ 1555040 h 3841229"/>
                <a:gd name="connsiteX24" fmla="*/ 218197 w 1573156"/>
                <a:gd name="connsiteY24" fmla="*/ 1588655 h 3841229"/>
                <a:gd name="connsiteX25" fmla="*/ 262534 w 1573156"/>
                <a:gd name="connsiteY25" fmla="*/ 1666225 h 3841229"/>
                <a:gd name="connsiteX26" fmla="*/ 331810 w 1573156"/>
                <a:gd name="connsiteY26" fmla="*/ 1653297 h 3841229"/>
                <a:gd name="connsiteX27" fmla="*/ 351206 w 1573156"/>
                <a:gd name="connsiteY27" fmla="*/ 1622268 h 3841229"/>
                <a:gd name="connsiteX28" fmla="*/ 365062 w 1573156"/>
                <a:gd name="connsiteY28" fmla="*/ 1557627 h 3841229"/>
                <a:gd name="connsiteX29" fmla="*/ 304099 w 1573156"/>
                <a:gd name="connsiteY29" fmla="*/ 1511084 h 3841229"/>
                <a:gd name="connsiteX30" fmla="*/ 259763 w 1573156"/>
                <a:gd name="connsiteY30" fmla="*/ 1485227 h 3841229"/>
                <a:gd name="connsiteX31" fmla="*/ 198801 w 1573156"/>
                <a:gd name="connsiteY31" fmla="*/ 1495570 h 3841229"/>
                <a:gd name="connsiteX32" fmla="*/ 315182 w 1573156"/>
                <a:gd name="connsiteY32" fmla="*/ 1389554 h 3841229"/>
                <a:gd name="connsiteX33" fmla="*/ 376147 w 1573156"/>
                <a:gd name="connsiteY33" fmla="*/ 1299057 h 3841229"/>
                <a:gd name="connsiteX34" fmla="*/ 359519 w 1573156"/>
                <a:gd name="connsiteY34" fmla="*/ 1275784 h 3841229"/>
                <a:gd name="connsiteX35" fmla="*/ 295785 w 1573156"/>
                <a:gd name="connsiteY35" fmla="*/ 1229242 h 3841229"/>
                <a:gd name="connsiteX36" fmla="*/ 223740 w 1573156"/>
                <a:gd name="connsiteY36" fmla="*/ 1151672 h 3841229"/>
                <a:gd name="connsiteX37" fmla="*/ 284703 w 1573156"/>
                <a:gd name="connsiteY37" fmla="*/ 1089617 h 3841229"/>
                <a:gd name="connsiteX38" fmla="*/ 218198 w 1573156"/>
                <a:gd name="connsiteY38" fmla="*/ 1050829 h 3841229"/>
                <a:gd name="connsiteX39" fmla="*/ 259763 w 1573156"/>
                <a:gd name="connsiteY39" fmla="*/ 1019802 h 3841229"/>
                <a:gd name="connsiteX40" fmla="*/ 212657 w 1573156"/>
                <a:gd name="connsiteY40" fmla="*/ 993947 h 3841229"/>
                <a:gd name="connsiteX41" fmla="*/ 212656 w 1573156"/>
                <a:gd name="connsiteY41" fmla="*/ 794845 h 3841229"/>
                <a:gd name="connsiteX42" fmla="*/ 251451 w 1573156"/>
                <a:gd name="connsiteY42" fmla="*/ 779332 h 3841229"/>
                <a:gd name="connsiteX43" fmla="*/ 137838 w 1573156"/>
                <a:gd name="connsiteY43" fmla="*/ 551792 h 3841229"/>
                <a:gd name="connsiteX44" fmla="*/ 135067 w 1573156"/>
                <a:gd name="connsiteY44" fmla="*/ 551792 h 3841229"/>
                <a:gd name="connsiteX45" fmla="*/ 184945 w 1573156"/>
                <a:gd name="connsiteY45" fmla="*/ 469048 h 3841229"/>
                <a:gd name="connsiteX46" fmla="*/ 201571 w 1573156"/>
                <a:gd name="connsiteY46" fmla="*/ 378550 h 3841229"/>
                <a:gd name="connsiteX47" fmla="*/ 126752 w 1573156"/>
                <a:gd name="connsiteY47" fmla="*/ 319079 h 3841229"/>
                <a:gd name="connsiteX48" fmla="*/ 118440 w 1573156"/>
                <a:gd name="connsiteY48" fmla="*/ 251851 h 3841229"/>
                <a:gd name="connsiteX49" fmla="*/ 173860 w 1573156"/>
                <a:gd name="connsiteY49" fmla="*/ 158764 h 3841229"/>
                <a:gd name="connsiteX50" fmla="*/ 193258 w 1573156"/>
                <a:gd name="connsiteY50" fmla="*/ 135494 h 3841229"/>
                <a:gd name="connsiteX51" fmla="*/ 207113 w 1573156"/>
                <a:gd name="connsiteY51" fmla="*/ 117394 h 3841229"/>
                <a:gd name="connsiteX52" fmla="*/ 215426 w 1573156"/>
                <a:gd name="connsiteY52" fmla="*/ 73438 h 3841229"/>
                <a:gd name="connsiteX53" fmla="*/ 240365 w 1573156"/>
                <a:gd name="connsiteY53" fmla="*/ 101880 h 3841229"/>
                <a:gd name="connsiteX54" fmla="*/ 270847 w 1573156"/>
                <a:gd name="connsiteY54" fmla="*/ 88952 h 3841229"/>
                <a:gd name="connsiteX55" fmla="*/ 273617 w 1573156"/>
                <a:gd name="connsiteY55" fmla="*/ 63095 h 3841229"/>
                <a:gd name="connsiteX56" fmla="*/ 281931 w 1573156"/>
                <a:gd name="connsiteY56" fmla="*/ 34652 h 3841229"/>
                <a:gd name="connsiteX57" fmla="*/ 284703 w 1573156"/>
                <a:gd name="connsiteY57" fmla="*/ 3624 h 3841229"/>
                <a:gd name="connsiteX58" fmla="*/ 420483 w 1573156"/>
                <a:gd name="connsiteY58" fmla="*/ 57924 h 3841229"/>
                <a:gd name="connsiteX59" fmla="*/ 450963 w 1573156"/>
                <a:gd name="connsiteY59" fmla="*/ 161352 h 3841229"/>
                <a:gd name="connsiteX60" fmla="*/ 464819 w 1573156"/>
                <a:gd name="connsiteY60" fmla="*/ 184622 h 3841229"/>
                <a:gd name="connsiteX61" fmla="*/ 475903 w 1573156"/>
                <a:gd name="connsiteY61" fmla="*/ 187208 h 3841229"/>
                <a:gd name="connsiteX62" fmla="*/ 589515 w 1573156"/>
                <a:gd name="connsiteY62" fmla="*/ 156181 h 3841229"/>
                <a:gd name="connsiteX63" fmla="*/ 656020 w 1573156"/>
                <a:gd name="connsiteY63" fmla="*/ 166522 h 3841229"/>
                <a:gd name="connsiteX64" fmla="*/ 719754 w 1573156"/>
                <a:gd name="connsiteY64" fmla="*/ 213065 h 3841229"/>
                <a:gd name="connsiteX65" fmla="*/ 733781 w 1573156"/>
                <a:gd name="connsiteY65" fmla="*/ 242621 h 3841229"/>
                <a:gd name="connsiteX66" fmla="*/ 789028 w 1573156"/>
                <a:gd name="connsiteY66" fmla="*/ 277708 h 3841229"/>
                <a:gd name="connsiteX67" fmla="*/ 877702 w 1573156"/>
                <a:gd name="connsiteY67" fmla="*/ 303563 h 3841229"/>
                <a:gd name="connsiteX68" fmla="*/ 949748 w 1573156"/>
                <a:gd name="connsiteY68" fmla="*/ 350106 h 3841229"/>
                <a:gd name="connsiteX69" fmla="*/ 999627 w 1573156"/>
                <a:gd name="connsiteY69" fmla="*/ 401820 h 3841229"/>
                <a:gd name="connsiteX70" fmla="*/ 1024566 w 1573156"/>
                <a:gd name="connsiteY70" fmla="*/ 440606 h 3841229"/>
                <a:gd name="connsiteX71" fmla="*/ 1057819 w 1573156"/>
                <a:gd name="connsiteY71" fmla="*/ 466462 h 3841229"/>
                <a:gd name="connsiteX72" fmla="*/ 1041191 w 1573156"/>
                <a:gd name="connsiteY72" fmla="*/ 691417 h 3841229"/>
                <a:gd name="connsiteX73" fmla="*/ 913725 w 1573156"/>
                <a:gd name="connsiteY73" fmla="*/ 771575 h 3841229"/>
                <a:gd name="connsiteX74" fmla="*/ 800113 w 1573156"/>
                <a:gd name="connsiteY74" fmla="*/ 779331 h 3841229"/>
                <a:gd name="connsiteX75" fmla="*/ 661560 w 1573156"/>
                <a:gd name="connsiteY75" fmla="*/ 758645 h 3841229"/>
                <a:gd name="connsiteX76" fmla="*/ 570116 w 1573156"/>
                <a:gd name="connsiteY76" fmla="*/ 722445 h 3841229"/>
                <a:gd name="connsiteX77" fmla="*/ 550719 w 1573156"/>
                <a:gd name="connsiteY77" fmla="*/ 750888 h 3841229"/>
                <a:gd name="connsiteX78" fmla="*/ 581361 w 1573156"/>
                <a:gd name="connsiteY78" fmla="*/ 824301 h 3841229"/>
                <a:gd name="connsiteX79" fmla="*/ 586902 w 1573156"/>
                <a:gd name="connsiteY79" fmla="*/ 951000 h 3841229"/>
                <a:gd name="connsiteX80" fmla="*/ 559032 w 1573156"/>
                <a:gd name="connsiteY80" fmla="*/ 1012043 h 3841229"/>
                <a:gd name="connsiteX81" fmla="*/ 614451 w 1573156"/>
                <a:gd name="connsiteY81" fmla="*/ 1032728 h 3841229"/>
                <a:gd name="connsiteX82" fmla="*/ 631079 w 1573156"/>
                <a:gd name="connsiteY82" fmla="*/ 1048242 h 3841229"/>
                <a:gd name="connsiteX83" fmla="*/ 656019 w 1573156"/>
                <a:gd name="connsiteY83" fmla="*/ 1074099 h 3841229"/>
                <a:gd name="connsiteX84" fmla="*/ 653248 w 1573156"/>
                <a:gd name="connsiteY84" fmla="*/ 1076685 h 3841229"/>
                <a:gd name="connsiteX85" fmla="*/ 692041 w 1573156"/>
                <a:gd name="connsiteY85" fmla="*/ 1071514 h 3841229"/>
                <a:gd name="connsiteX86" fmla="*/ 700355 w 1573156"/>
                <a:gd name="connsiteY86" fmla="*/ 1035314 h 3841229"/>
                <a:gd name="connsiteX87" fmla="*/ 661560 w 1573156"/>
                <a:gd name="connsiteY87" fmla="*/ 957743 h 3841229"/>
                <a:gd name="connsiteX88" fmla="*/ 730836 w 1573156"/>
                <a:gd name="connsiteY88" fmla="*/ 911200 h 3841229"/>
                <a:gd name="connsiteX89" fmla="*/ 798608 w 1573156"/>
                <a:gd name="connsiteY89" fmla="*/ 918934 h 3841229"/>
                <a:gd name="connsiteX90" fmla="*/ 822441 w 1573156"/>
                <a:gd name="connsiteY90" fmla="*/ 951001 h 3841229"/>
                <a:gd name="connsiteX91" fmla="*/ 978170 w 1573156"/>
                <a:gd name="connsiteY91" fmla="*/ 1007364 h 3841229"/>
                <a:gd name="connsiteX92" fmla="*/ 963762 w 1573156"/>
                <a:gd name="connsiteY92" fmla="*/ 971687 h 3841229"/>
                <a:gd name="connsiteX93" fmla="*/ 930510 w 1573156"/>
                <a:gd name="connsiteY93" fmla="*/ 932901 h 3841229"/>
                <a:gd name="connsiteX94" fmla="*/ 919426 w 1573156"/>
                <a:gd name="connsiteY94" fmla="*/ 881187 h 3841229"/>
                <a:gd name="connsiteX95" fmla="*/ 958221 w 1573156"/>
                <a:gd name="connsiteY95" fmla="*/ 832060 h 3841229"/>
                <a:gd name="connsiteX96" fmla="*/ 985931 w 1573156"/>
                <a:gd name="connsiteY96" fmla="*/ 803617 h 3841229"/>
                <a:gd name="connsiteX97" fmla="*/ 1010871 w 1573156"/>
                <a:gd name="connsiteY97" fmla="*/ 767417 h 3841229"/>
                <a:gd name="connsiteX98" fmla="*/ 1091231 w 1573156"/>
                <a:gd name="connsiteY98" fmla="*/ 762245 h 3841229"/>
                <a:gd name="connsiteX99" fmla="*/ 1096772 w 1573156"/>
                <a:gd name="connsiteY99" fmla="*/ 741560 h 3841229"/>
                <a:gd name="connsiteX100" fmla="*/ 1121712 w 1573156"/>
                <a:gd name="connsiteY100" fmla="*/ 705360 h 3841229"/>
                <a:gd name="connsiteX101" fmla="*/ 1155516 w 1573156"/>
                <a:gd name="connsiteY101" fmla="*/ 687772 h 3841229"/>
                <a:gd name="connsiteX102" fmla="*/ 1213156 w 1573156"/>
                <a:gd name="connsiteY102" fmla="*/ 700189 h 3841229"/>
                <a:gd name="connsiteX103" fmla="*/ 1251949 w 1573156"/>
                <a:gd name="connsiteY103" fmla="*/ 720875 h 3841229"/>
                <a:gd name="connsiteX104" fmla="*/ 1299057 w 1573156"/>
                <a:gd name="connsiteY104" fmla="*/ 728632 h 3841229"/>
                <a:gd name="connsiteX105" fmla="*/ 1299057 w 1573156"/>
                <a:gd name="connsiteY105" fmla="*/ 733803 h 3841229"/>
                <a:gd name="connsiteX106" fmla="*/ 1321226 w 1573156"/>
                <a:gd name="connsiteY106" fmla="*/ 674332 h 3841229"/>
                <a:gd name="connsiteX107" fmla="*/ 1331201 w 1573156"/>
                <a:gd name="connsiteY107" fmla="*/ 640714 h 3841229"/>
                <a:gd name="connsiteX108" fmla="*/ 1337852 w 1573156"/>
                <a:gd name="connsiteY108" fmla="*/ 622618 h 3841229"/>
                <a:gd name="connsiteX109" fmla="*/ 1340789 w 1573156"/>
                <a:gd name="connsiteY109" fmla="*/ 591288 h 3841229"/>
                <a:gd name="connsiteX110" fmla="*/ 1260263 w 1573156"/>
                <a:gd name="connsiteY110" fmla="*/ 545048 h 3841229"/>
                <a:gd name="connsiteX111" fmla="*/ 1246408 w 1573156"/>
                <a:gd name="connsiteY111" fmla="*/ 472648 h 3841229"/>
                <a:gd name="connsiteX112" fmla="*/ 1246408 w 1573156"/>
                <a:gd name="connsiteY112" fmla="*/ 454548 h 3841229"/>
                <a:gd name="connsiteX113" fmla="*/ 1257491 w 1573156"/>
                <a:gd name="connsiteY113" fmla="*/ 431276 h 3841229"/>
                <a:gd name="connsiteX114" fmla="*/ 1260263 w 1573156"/>
                <a:gd name="connsiteY114" fmla="*/ 415762 h 3841229"/>
                <a:gd name="connsiteX115" fmla="*/ 1260262 w 1573156"/>
                <a:gd name="connsiteY115" fmla="*/ 358878 h 3841229"/>
                <a:gd name="connsiteX116" fmla="*/ 1238094 w 1573156"/>
                <a:gd name="connsiteY116" fmla="*/ 335607 h 3841229"/>
                <a:gd name="connsiteX117" fmla="*/ 1210384 w 1573156"/>
                <a:gd name="connsiteY117" fmla="*/ 304578 h 3841229"/>
                <a:gd name="connsiteX118" fmla="*/ 1206216 w 1573156"/>
                <a:gd name="connsiteY118" fmla="*/ 280325 h 3841229"/>
                <a:gd name="connsiteX119" fmla="*/ 1257492 w 1573156"/>
                <a:gd name="connsiteY119" fmla="*/ 258034 h 3841229"/>
                <a:gd name="connsiteX120" fmla="*/ 1311072 w 1573156"/>
                <a:gd name="connsiteY120" fmla="*/ 267906 h 3841229"/>
                <a:gd name="connsiteX121" fmla="*/ 1389856 w 1573156"/>
                <a:gd name="connsiteY121" fmla="*/ 279816 h 3841229"/>
                <a:gd name="connsiteX122" fmla="*/ 1474179 w 1573156"/>
                <a:gd name="connsiteY122" fmla="*/ 349175 h 3841229"/>
                <a:gd name="connsiteX123" fmla="*/ 1536314 w 1573156"/>
                <a:gd name="connsiteY123" fmla="*/ 425271 h 3841229"/>
                <a:gd name="connsiteX124" fmla="*/ 1435343 w 1573156"/>
                <a:gd name="connsiteY124" fmla="*/ 454265 h 3841229"/>
                <a:gd name="connsiteX125" fmla="*/ 1419809 w 1573156"/>
                <a:gd name="connsiteY125" fmla="*/ 501372 h 3841229"/>
                <a:gd name="connsiteX126" fmla="*/ 1477479 w 1573156"/>
                <a:gd name="connsiteY126" fmla="*/ 585862 h 3841229"/>
                <a:gd name="connsiteX127" fmla="*/ 1513013 w 1573156"/>
                <a:gd name="connsiteY127" fmla="*/ 591964 h 3841229"/>
                <a:gd name="connsiteX128" fmla="*/ 1565633 w 1573156"/>
                <a:gd name="connsiteY128" fmla="*/ 598304 h 3841229"/>
                <a:gd name="connsiteX129" fmla="*/ 1560670 w 1573156"/>
                <a:gd name="connsiteY129" fmla="*/ 709079 h 3841229"/>
                <a:gd name="connsiteX130" fmla="*/ 1571739 w 1573156"/>
                <a:gd name="connsiteY130" fmla="*/ 1040047 h 3841229"/>
                <a:gd name="connsiteX131" fmla="*/ 1562871 w 1573156"/>
                <a:gd name="connsiteY131" fmla="*/ 1842646 h 3841229"/>
                <a:gd name="connsiteX132" fmla="*/ 1571738 w 1573156"/>
                <a:gd name="connsiteY132" fmla="*/ 2297728 h 3841229"/>
                <a:gd name="connsiteX133" fmla="*/ 1561917 w 1573156"/>
                <a:gd name="connsiteY133" fmla="*/ 3721463 h 3841229"/>
                <a:gd name="connsiteX134" fmla="*/ 1556603 w 1573156"/>
                <a:gd name="connsiteY134" fmla="*/ 3758050 h 3841229"/>
                <a:gd name="connsiteX135" fmla="*/ 1534434 w 1573156"/>
                <a:gd name="connsiteY135" fmla="*/ 3701165 h 3841229"/>
                <a:gd name="connsiteX136" fmla="*/ 1545518 w 1573156"/>
                <a:gd name="connsiteY136" fmla="*/ 3688238 h 3841229"/>
                <a:gd name="connsiteX137" fmla="*/ 1503953 w 1573156"/>
                <a:gd name="connsiteY137" fmla="*/ 3670136 h 3841229"/>
                <a:gd name="connsiteX138" fmla="*/ 1473471 w 1573156"/>
                <a:gd name="connsiteY138" fmla="*/ 3685650 h 3841229"/>
                <a:gd name="connsiteX139" fmla="*/ 1445761 w 1573156"/>
                <a:gd name="connsiteY139" fmla="*/ 3652040 h 3841229"/>
                <a:gd name="connsiteX140" fmla="*/ 1398654 w 1573156"/>
                <a:gd name="connsiteY140" fmla="*/ 3659796 h 3841229"/>
                <a:gd name="connsiteX141" fmla="*/ 1357089 w 1573156"/>
                <a:gd name="connsiteY141" fmla="*/ 3662380 h 3841229"/>
                <a:gd name="connsiteX142" fmla="*/ 1343234 w 1573156"/>
                <a:gd name="connsiteY142" fmla="*/ 3631352 h 3841229"/>
                <a:gd name="connsiteX143" fmla="*/ 1304439 w 1573156"/>
                <a:gd name="connsiteY143" fmla="*/ 3641695 h 3841229"/>
                <a:gd name="connsiteX144" fmla="*/ 1290584 w 1573156"/>
                <a:gd name="connsiteY144" fmla="*/ 3610666 h 3841229"/>
                <a:gd name="connsiteX145" fmla="*/ 1195420 w 1573156"/>
                <a:gd name="connsiteY145" fmla="*/ 3605469 h 3841229"/>
                <a:gd name="connsiteX146" fmla="*/ 1013482 w 1573156"/>
                <a:gd name="connsiteY146" fmla="*/ 3592567 h 3841229"/>
                <a:gd name="connsiteX147" fmla="*/ 1123928 w 1573156"/>
                <a:gd name="connsiteY147" fmla="*/ 3663387 h 3841229"/>
                <a:gd name="connsiteX148" fmla="*/ 907787 w 1573156"/>
                <a:gd name="connsiteY148" fmla="*/ 3629257 h 3841229"/>
                <a:gd name="connsiteX149" fmla="*/ 776238 w 1573156"/>
                <a:gd name="connsiteY149" fmla="*/ 3504783 h 3841229"/>
                <a:gd name="connsiteX150" fmla="*/ 708669 w 1573156"/>
                <a:gd name="connsiteY150" fmla="*/ 3437426 h 3841229"/>
                <a:gd name="connsiteX151" fmla="*/ 739150 w 1573156"/>
                <a:gd name="connsiteY151" fmla="*/ 3437426 h 3841229"/>
                <a:gd name="connsiteX152" fmla="*/ 750233 w 1573156"/>
                <a:gd name="connsiteY152" fmla="*/ 3408982 h 3841229"/>
                <a:gd name="connsiteX153" fmla="*/ 783486 w 1573156"/>
                <a:gd name="connsiteY153" fmla="*/ 3354683 h 3841229"/>
                <a:gd name="connsiteX154" fmla="*/ 747462 w 1573156"/>
                <a:gd name="connsiteY154" fmla="*/ 3297798 h 3841229"/>
                <a:gd name="connsiteX155" fmla="*/ 836135 w 1573156"/>
                <a:gd name="connsiteY155" fmla="*/ 3225398 h 3841229"/>
                <a:gd name="connsiteX156" fmla="*/ 902641 w 1573156"/>
                <a:gd name="connsiteY156" fmla="*/ 3217642 h 3841229"/>
                <a:gd name="connsiteX157" fmla="*/ 955289 w 1573156"/>
                <a:gd name="connsiteY157" fmla="*/ 3160756 h 3841229"/>
                <a:gd name="connsiteX158" fmla="*/ 1024565 w 1573156"/>
                <a:gd name="connsiteY158" fmla="*/ 3114213 h 3841229"/>
                <a:gd name="connsiteX159" fmla="*/ 1019023 w 1573156"/>
                <a:gd name="connsiteY159" fmla="*/ 3067671 h 3841229"/>
                <a:gd name="connsiteX160" fmla="*/ 1043963 w 1573156"/>
                <a:gd name="connsiteY160" fmla="*/ 3028886 h 3841229"/>
                <a:gd name="connsiteX161" fmla="*/ 1016252 w 1573156"/>
                <a:gd name="connsiteY161" fmla="*/ 3026300 h 3841229"/>
                <a:gd name="connsiteX162" fmla="*/ 1031704 w 1573156"/>
                <a:gd name="connsiteY162" fmla="*/ 2992878 h 3841229"/>
                <a:gd name="connsiteX163" fmla="*/ 914211 w 1573156"/>
                <a:gd name="connsiteY163" fmla="*/ 2928233 h 3841229"/>
                <a:gd name="connsiteX164" fmla="*/ 877701 w 1573156"/>
                <a:gd name="connsiteY164" fmla="*/ 2920285 h 3841229"/>
                <a:gd name="connsiteX165" fmla="*/ 858304 w 1573156"/>
                <a:gd name="connsiteY165" fmla="*/ 2909943 h 3841229"/>
                <a:gd name="connsiteX166" fmla="*/ 827823 w 1573156"/>
                <a:gd name="connsiteY166" fmla="*/ 2881501 h 3841229"/>
                <a:gd name="connsiteX167" fmla="*/ 761317 w 1573156"/>
                <a:gd name="connsiteY167" fmla="*/ 2897015 h 3841229"/>
                <a:gd name="connsiteX168" fmla="*/ 700355 w 1573156"/>
                <a:gd name="connsiteY168" fmla="*/ 2881501 h 3841229"/>
                <a:gd name="connsiteX169" fmla="*/ 658790 w 1573156"/>
                <a:gd name="connsiteY169" fmla="*/ 2827201 h 3841229"/>
                <a:gd name="connsiteX170" fmla="*/ 656019 w 1573156"/>
                <a:gd name="connsiteY170" fmla="*/ 2785830 h 3841229"/>
                <a:gd name="connsiteX171" fmla="*/ 631080 w 1573156"/>
                <a:gd name="connsiteY171" fmla="*/ 2772902 h 3841229"/>
                <a:gd name="connsiteX172" fmla="*/ 567346 w 1573156"/>
                <a:gd name="connsiteY172" fmla="*/ 2759974 h 3841229"/>
                <a:gd name="connsiteX173" fmla="*/ 586743 w 1573156"/>
                <a:gd name="connsiteY173" fmla="*/ 2721188 h 3841229"/>
                <a:gd name="connsiteX174" fmla="*/ 557777 w 1573156"/>
                <a:gd name="connsiteY174" fmla="*/ 2715007 h 3841229"/>
                <a:gd name="connsiteX175" fmla="*/ 531809 w 1573156"/>
                <a:gd name="connsiteY175" fmla="*/ 2672771 h 3841229"/>
                <a:gd name="connsiteX176" fmla="*/ 414939 w 1573156"/>
                <a:gd name="connsiteY176" fmla="*/ 2682402 h 3841229"/>
                <a:gd name="connsiteX177" fmla="*/ 390000 w 1573156"/>
                <a:gd name="connsiteY177" fmla="*/ 2672059 h 3841229"/>
                <a:gd name="connsiteX178" fmla="*/ 367832 w 1573156"/>
                <a:gd name="connsiteY178" fmla="*/ 2684989 h 3841229"/>
                <a:gd name="connsiteX179" fmla="*/ 351205 w 1573156"/>
                <a:gd name="connsiteY179" fmla="*/ 2622932 h 3841229"/>
                <a:gd name="connsiteX180" fmla="*/ 340121 w 1573156"/>
                <a:gd name="connsiteY180" fmla="*/ 2597075 h 3841229"/>
                <a:gd name="connsiteX181" fmla="*/ 353976 w 1573156"/>
                <a:gd name="connsiteY181" fmla="*/ 2578974 h 3841229"/>
                <a:gd name="connsiteX182" fmla="*/ 381687 w 1573156"/>
                <a:gd name="connsiteY182" fmla="*/ 2581561 h 3841229"/>
                <a:gd name="connsiteX183" fmla="*/ 414939 w 1573156"/>
                <a:gd name="connsiteY183" fmla="*/ 2563461 h 3841229"/>
                <a:gd name="connsiteX184" fmla="*/ 412168 w 1573156"/>
                <a:gd name="connsiteY184" fmla="*/ 2537603 h 3841229"/>
                <a:gd name="connsiteX185" fmla="*/ 362289 w 1573156"/>
                <a:gd name="connsiteY185" fmla="*/ 2501404 h 3841229"/>
                <a:gd name="connsiteX186" fmla="*/ 338946 w 1573156"/>
                <a:gd name="connsiteY186" fmla="*/ 2513491 h 3841229"/>
                <a:gd name="connsiteX187" fmla="*/ 340121 w 1573156"/>
                <a:gd name="connsiteY187" fmla="*/ 2467790 h 3841229"/>
                <a:gd name="connsiteX188" fmla="*/ 306869 w 1573156"/>
                <a:gd name="connsiteY188" fmla="*/ 2429005 h 3841229"/>
                <a:gd name="connsiteX189" fmla="*/ 309641 w 1573156"/>
                <a:gd name="connsiteY189" fmla="*/ 2351433 h 3841229"/>
                <a:gd name="connsiteX190" fmla="*/ 290243 w 1573156"/>
                <a:gd name="connsiteY190" fmla="*/ 2299720 h 3841229"/>
                <a:gd name="connsiteX191" fmla="*/ 256991 w 1573156"/>
                <a:gd name="connsiteY191" fmla="*/ 2266106 h 3841229"/>
                <a:gd name="connsiteX192" fmla="*/ 218196 w 1573156"/>
                <a:gd name="connsiteY192" fmla="*/ 2242835 h 3841229"/>
                <a:gd name="connsiteX193" fmla="*/ 176631 w 1573156"/>
                <a:gd name="connsiteY193" fmla="*/ 2250592 h 3841229"/>
                <a:gd name="connsiteX194" fmla="*/ 122255 w 1573156"/>
                <a:gd name="connsiteY194" fmla="*/ 2214066 h 3841229"/>
                <a:gd name="connsiteX0" fmla="*/ 122255 w 1573308"/>
                <a:gd name="connsiteY0" fmla="*/ 2214066 h 3841229"/>
                <a:gd name="connsiteX1" fmla="*/ 63018 w 1573308"/>
                <a:gd name="connsiteY1" fmla="*/ 2216977 h 3841229"/>
                <a:gd name="connsiteX2" fmla="*/ 60248 w 1573308"/>
                <a:gd name="connsiteY2" fmla="*/ 2118721 h 3841229"/>
                <a:gd name="connsiteX3" fmla="*/ 65791 w 1573308"/>
                <a:gd name="connsiteY3" fmla="*/ 2079936 h 3841229"/>
                <a:gd name="connsiteX4" fmla="*/ 68561 w 1573308"/>
                <a:gd name="connsiteY4" fmla="*/ 2030807 h 3841229"/>
                <a:gd name="connsiteX5" fmla="*/ 54707 w 1573308"/>
                <a:gd name="connsiteY5" fmla="*/ 2028225 h 3841229"/>
                <a:gd name="connsiteX6" fmla="*/ 118439 w 1573308"/>
                <a:gd name="connsiteY6" fmla="*/ 1992023 h 3841229"/>
                <a:gd name="connsiteX7" fmla="*/ 82416 w 1573308"/>
                <a:gd name="connsiteY7" fmla="*/ 1963580 h 3841229"/>
                <a:gd name="connsiteX8" fmla="*/ 51935 w 1573308"/>
                <a:gd name="connsiteY8" fmla="*/ 1927380 h 3841229"/>
                <a:gd name="connsiteX9" fmla="*/ 40850 w 1573308"/>
                <a:gd name="connsiteY9" fmla="*/ 1893766 h 3841229"/>
                <a:gd name="connsiteX10" fmla="*/ 43621 w 1573308"/>
                <a:gd name="connsiteY10" fmla="*/ 1844639 h 3841229"/>
                <a:gd name="connsiteX11" fmla="*/ 82416 w 1573308"/>
                <a:gd name="connsiteY11" fmla="*/ 1826538 h 3841229"/>
                <a:gd name="connsiteX12" fmla="*/ 112899 w 1573308"/>
                <a:gd name="connsiteY12" fmla="*/ 1782581 h 3841229"/>
                <a:gd name="connsiteX13" fmla="*/ 96271 w 1573308"/>
                <a:gd name="connsiteY13" fmla="*/ 1754138 h 3841229"/>
                <a:gd name="connsiteX14" fmla="*/ 40851 w 1573308"/>
                <a:gd name="connsiteY14" fmla="*/ 1746381 h 3841229"/>
                <a:gd name="connsiteX15" fmla="*/ 2057 w 1573308"/>
                <a:gd name="connsiteY15" fmla="*/ 1730867 h 3841229"/>
                <a:gd name="connsiteX16" fmla="*/ 38079 w 1573308"/>
                <a:gd name="connsiteY16" fmla="*/ 1689496 h 3841229"/>
                <a:gd name="connsiteX17" fmla="*/ 18683 w 1573308"/>
                <a:gd name="connsiteY17" fmla="*/ 1679153 h 3841229"/>
                <a:gd name="connsiteX18" fmla="*/ 2055 w 1573308"/>
                <a:gd name="connsiteY18" fmla="*/ 1640367 h 3841229"/>
                <a:gd name="connsiteX19" fmla="*/ 65790 w 1573308"/>
                <a:gd name="connsiteY19" fmla="*/ 1650711 h 3841229"/>
                <a:gd name="connsiteX20" fmla="*/ 93501 w 1573308"/>
                <a:gd name="connsiteY20" fmla="*/ 1627440 h 3841229"/>
                <a:gd name="connsiteX21" fmla="*/ 187716 w 1573308"/>
                <a:gd name="connsiteY21" fmla="*/ 1536941 h 3841229"/>
                <a:gd name="connsiteX22" fmla="*/ 212655 w 1573308"/>
                <a:gd name="connsiteY22" fmla="*/ 1505912 h 3841229"/>
                <a:gd name="connsiteX23" fmla="*/ 198801 w 1573308"/>
                <a:gd name="connsiteY23" fmla="*/ 1555040 h 3841229"/>
                <a:gd name="connsiteX24" fmla="*/ 218197 w 1573308"/>
                <a:gd name="connsiteY24" fmla="*/ 1588655 h 3841229"/>
                <a:gd name="connsiteX25" fmla="*/ 262534 w 1573308"/>
                <a:gd name="connsiteY25" fmla="*/ 1666225 h 3841229"/>
                <a:gd name="connsiteX26" fmla="*/ 331810 w 1573308"/>
                <a:gd name="connsiteY26" fmla="*/ 1653297 h 3841229"/>
                <a:gd name="connsiteX27" fmla="*/ 351206 w 1573308"/>
                <a:gd name="connsiteY27" fmla="*/ 1622268 h 3841229"/>
                <a:gd name="connsiteX28" fmla="*/ 365062 w 1573308"/>
                <a:gd name="connsiteY28" fmla="*/ 1557627 h 3841229"/>
                <a:gd name="connsiteX29" fmla="*/ 304099 w 1573308"/>
                <a:gd name="connsiteY29" fmla="*/ 1511084 h 3841229"/>
                <a:gd name="connsiteX30" fmla="*/ 259763 w 1573308"/>
                <a:gd name="connsiteY30" fmla="*/ 1485227 h 3841229"/>
                <a:gd name="connsiteX31" fmla="*/ 198801 w 1573308"/>
                <a:gd name="connsiteY31" fmla="*/ 1495570 h 3841229"/>
                <a:gd name="connsiteX32" fmla="*/ 315182 w 1573308"/>
                <a:gd name="connsiteY32" fmla="*/ 1389554 h 3841229"/>
                <a:gd name="connsiteX33" fmla="*/ 376147 w 1573308"/>
                <a:gd name="connsiteY33" fmla="*/ 1299057 h 3841229"/>
                <a:gd name="connsiteX34" fmla="*/ 359519 w 1573308"/>
                <a:gd name="connsiteY34" fmla="*/ 1275784 h 3841229"/>
                <a:gd name="connsiteX35" fmla="*/ 295785 w 1573308"/>
                <a:gd name="connsiteY35" fmla="*/ 1229242 h 3841229"/>
                <a:gd name="connsiteX36" fmla="*/ 223740 w 1573308"/>
                <a:gd name="connsiteY36" fmla="*/ 1151672 h 3841229"/>
                <a:gd name="connsiteX37" fmla="*/ 284703 w 1573308"/>
                <a:gd name="connsiteY37" fmla="*/ 1089617 h 3841229"/>
                <a:gd name="connsiteX38" fmla="*/ 218198 w 1573308"/>
                <a:gd name="connsiteY38" fmla="*/ 1050829 h 3841229"/>
                <a:gd name="connsiteX39" fmla="*/ 259763 w 1573308"/>
                <a:gd name="connsiteY39" fmla="*/ 1019802 h 3841229"/>
                <a:gd name="connsiteX40" fmla="*/ 212657 w 1573308"/>
                <a:gd name="connsiteY40" fmla="*/ 993947 h 3841229"/>
                <a:gd name="connsiteX41" fmla="*/ 212656 w 1573308"/>
                <a:gd name="connsiteY41" fmla="*/ 794845 h 3841229"/>
                <a:gd name="connsiteX42" fmla="*/ 251451 w 1573308"/>
                <a:gd name="connsiteY42" fmla="*/ 779332 h 3841229"/>
                <a:gd name="connsiteX43" fmla="*/ 137838 w 1573308"/>
                <a:gd name="connsiteY43" fmla="*/ 551792 h 3841229"/>
                <a:gd name="connsiteX44" fmla="*/ 135067 w 1573308"/>
                <a:gd name="connsiteY44" fmla="*/ 551792 h 3841229"/>
                <a:gd name="connsiteX45" fmla="*/ 184945 w 1573308"/>
                <a:gd name="connsiteY45" fmla="*/ 469048 h 3841229"/>
                <a:gd name="connsiteX46" fmla="*/ 201571 w 1573308"/>
                <a:gd name="connsiteY46" fmla="*/ 378550 h 3841229"/>
                <a:gd name="connsiteX47" fmla="*/ 126752 w 1573308"/>
                <a:gd name="connsiteY47" fmla="*/ 319079 h 3841229"/>
                <a:gd name="connsiteX48" fmla="*/ 118440 w 1573308"/>
                <a:gd name="connsiteY48" fmla="*/ 251851 h 3841229"/>
                <a:gd name="connsiteX49" fmla="*/ 173860 w 1573308"/>
                <a:gd name="connsiteY49" fmla="*/ 158764 h 3841229"/>
                <a:gd name="connsiteX50" fmla="*/ 193258 w 1573308"/>
                <a:gd name="connsiteY50" fmla="*/ 135494 h 3841229"/>
                <a:gd name="connsiteX51" fmla="*/ 207113 w 1573308"/>
                <a:gd name="connsiteY51" fmla="*/ 117394 h 3841229"/>
                <a:gd name="connsiteX52" fmla="*/ 215426 w 1573308"/>
                <a:gd name="connsiteY52" fmla="*/ 73438 h 3841229"/>
                <a:gd name="connsiteX53" fmla="*/ 240365 w 1573308"/>
                <a:gd name="connsiteY53" fmla="*/ 101880 h 3841229"/>
                <a:gd name="connsiteX54" fmla="*/ 270847 w 1573308"/>
                <a:gd name="connsiteY54" fmla="*/ 88952 h 3841229"/>
                <a:gd name="connsiteX55" fmla="*/ 273617 w 1573308"/>
                <a:gd name="connsiteY55" fmla="*/ 63095 h 3841229"/>
                <a:gd name="connsiteX56" fmla="*/ 281931 w 1573308"/>
                <a:gd name="connsiteY56" fmla="*/ 34652 h 3841229"/>
                <a:gd name="connsiteX57" fmla="*/ 284703 w 1573308"/>
                <a:gd name="connsiteY57" fmla="*/ 3624 h 3841229"/>
                <a:gd name="connsiteX58" fmla="*/ 420483 w 1573308"/>
                <a:gd name="connsiteY58" fmla="*/ 57924 h 3841229"/>
                <a:gd name="connsiteX59" fmla="*/ 450963 w 1573308"/>
                <a:gd name="connsiteY59" fmla="*/ 161352 h 3841229"/>
                <a:gd name="connsiteX60" fmla="*/ 464819 w 1573308"/>
                <a:gd name="connsiteY60" fmla="*/ 184622 h 3841229"/>
                <a:gd name="connsiteX61" fmla="*/ 475903 w 1573308"/>
                <a:gd name="connsiteY61" fmla="*/ 187208 h 3841229"/>
                <a:gd name="connsiteX62" fmla="*/ 589515 w 1573308"/>
                <a:gd name="connsiteY62" fmla="*/ 156181 h 3841229"/>
                <a:gd name="connsiteX63" fmla="*/ 656020 w 1573308"/>
                <a:gd name="connsiteY63" fmla="*/ 166522 h 3841229"/>
                <a:gd name="connsiteX64" fmla="*/ 719754 w 1573308"/>
                <a:gd name="connsiteY64" fmla="*/ 213065 h 3841229"/>
                <a:gd name="connsiteX65" fmla="*/ 733781 w 1573308"/>
                <a:gd name="connsiteY65" fmla="*/ 242621 h 3841229"/>
                <a:gd name="connsiteX66" fmla="*/ 789028 w 1573308"/>
                <a:gd name="connsiteY66" fmla="*/ 277708 h 3841229"/>
                <a:gd name="connsiteX67" fmla="*/ 877702 w 1573308"/>
                <a:gd name="connsiteY67" fmla="*/ 303563 h 3841229"/>
                <a:gd name="connsiteX68" fmla="*/ 949748 w 1573308"/>
                <a:gd name="connsiteY68" fmla="*/ 350106 h 3841229"/>
                <a:gd name="connsiteX69" fmla="*/ 999627 w 1573308"/>
                <a:gd name="connsiteY69" fmla="*/ 401820 h 3841229"/>
                <a:gd name="connsiteX70" fmla="*/ 1024566 w 1573308"/>
                <a:gd name="connsiteY70" fmla="*/ 440606 h 3841229"/>
                <a:gd name="connsiteX71" fmla="*/ 1057819 w 1573308"/>
                <a:gd name="connsiteY71" fmla="*/ 466462 h 3841229"/>
                <a:gd name="connsiteX72" fmla="*/ 1041191 w 1573308"/>
                <a:gd name="connsiteY72" fmla="*/ 691417 h 3841229"/>
                <a:gd name="connsiteX73" fmla="*/ 913725 w 1573308"/>
                <a:gd name="connsiteY73" fmla="*/ 771575 h 3841229"/>
                <a:gd name="connsiteX74" fmla="*/ 800113 w 1573308"/>
                <a:gd name="connsiteY74" fmla="*/ 779331 h 3841229"/>
                <a:gd name="connsiteX75" fmla="*/ 661560 w 1573308"/>
                <a:gd name="connsiteY75" fmla="*/ 758645 h 3841229"/>
                <a:gd name="connsiteX76" fmla="*/ 570116 w 1573308"/>
                <a:gd name="connsiteY76" fmla="*/ 722445 h 3841229"/>
                <a:gd name="connsiteX77" fmla="*/ 550719 w 1573308"/>
                <a:gd name="connsiteY77" fmla="*/ 750888 h 3841229"/>
                <a:gd name="connsiteX78" fmla="*/ 581361 w 1573308"/>
                <a:gd name="connsiteY78" fmla="*/ 824301 h 3841229"/>
                <a:gd name="connsiteX79" fmla="*/ 586902 w 1573308"/>
                <a:gd name="connsiteY79" fmla="*/ 951000 h 3841229"/>
                <a:gd name="connsiteX80" fmla="*/ 559032 w 1573308"/>
                <a:gd name="connsiteY80" fmla="*/ 1012043 h 3841229"/>
                <a:gd name="connsiteX81" fmla="*/ 614451 w 1573308"/>
                <a:gd name="connsiteY81" fmla="*/ 1032728 h 3841229"/>
                <a:gd name="connsiteX82" fmla="*/ 631079 w 1573308"/>
                <a:gd name="connsiteY82" fmla="*/ 1048242 h 3841229"/>
                <a:gd name="connsiteX83" fmla="*/ 656019 w 1573308"/>
                <a:gd name="connsiteY83" fmla="*/ 1074099 h 3841229"/>
                <a:gd name="connsiteX84" fmla="*/ 653248 w 1573308"/>
                <a:gd name="connsiteY84" fmla="*/ 1076685 h 3841229"/>
                <a:gd name="connsiteX85" fmla="*/ 692041 w 1573308"/>
                <a:gd name="connsiteY85" fmla="*/ 1071514 h 3841229"/>
                <a:gd name="connsiteX86" fmla="*/ 700355 w 1573308"/>
                <a:gd name="connsiteY86" fmla="*/ 1035314 h 3841229"/>
                <a:gd name="connsiteX87" fmla="*/ 661560 w 1573308"/>
                <a:gd name="connsiteY87" fmla="*/ 957743 h 3841229"/>
                <a:gd name="connsiteX88" fmla="*/ 730836 w 1573308"/>
                <a:gd name="connsiteY88" fmla="*/ 911200 h 3841229"/>
                <a:gd name="connsiteX89" fmla="*/ 798608 w 1573308"/>
                <a:gd name="connsiteY89" fmla="*/ 918934 h 3841229"/>
                <a:gd name="connsiteX90" fmla="*/ 822441 w 1573308"/>
                <a:gd name="connsiteY90" fmla="*/ 951001 h 3841229"/>
                <a:gd name="connsiteX91" fmla="*/ 978170 w 1573308"/>
                <a:gd name="connsiteY91" fmla="*/ 1007364 h 3841229"/>
                <a:gd name="connsiteX92" fmla="*/ 963762 w 1573308"/>
                <a:gd name="connsiteY92" fmla="*/ 971687 h 3841229"/>
                <a:gd name="connsiteX93" fmla="*/ 930510 w 1573308"/>
                <a:gd name="connsiteY93" fmla="*/ 932901 h 3841229"/>
                <a:gd name="connsiteX94" fmla="*/ 919426 w 1573308"/>
                <a:gd name="connsiteY94" fmla="*/ 881187 h 3841229"/>
                <a:gd name="connsiteX95" fmla="*/ 958221 w 1573308"/>
                <a:gd name="connsiteY95" fmla="*/ 832060 h 3841229"/>
                <a:gd name="connsiteX96" fmla="*/ 985931 w 1573308"/>
                <a:gd name="connsiteY96" fmla="*/ 803617 h 3841229"/>
                <a:gd name="connsiteX97" fmla="*/ 1010871 w 1573308"/>
                <a:gd name="connsiteY97" fmla="*/ 767417 h 3841229"/>
                <a:gd name="connsiteX98" fmla="*/ 1091231 w 1573308"/>
                <a:gd name="connsiteY98" fmla="*/ 762245 h 3841229"/>
                <a:gd name="connsiteX99" fmla="*/ 1096772 w 1573308"/>
                <a:gd name="connsiteY99" fmla="*/ 741560 h 3841229"/>
                <a:gd name="connsiteX100" fmla="*/ 1121712 w 1573308"/>
                <a:gd name="connsiteY100" fmla="*/ 705360 h 3841229"/>
                <a:gd name="connsiteX101" fmla="*/ 1155516 w 1573308"/>
                <a:gd name="connsiteY101" fmla="*/ 687772 h 3841229"/>
                <a:gd name="connsiteX102" fmla="*/ 1213156 w 1573308"/>
                <a:gd name="connsiteY102" fmla="*/ 700189 h 3841229"/>
                <a:gd name="connsiteX103" fmla="*/ 1251949 w 1573308"/>
                <a:gd name="connsiteY103" fmla="*/ 720875 h 3841229"/>
                <a:gd name="connsiteX104" fmla="*/ 1299057 w 1573308"/>
                <a:gd name="connsiteY104" fmla="*/ 728632 h 3841229"/>
                <a:gd name="connsiteX105" fmla="*/ 1299057 w 1573308"/>
                <a:gd name="connsiteY105" fmla="*/ 733803 h 3841229"/>
                <a:gd name="connsiteX106" fmla="*/ 1321226 w 1573308"/>
                <a:gd name="connsiteY106" fmla="*/ 674332 h 3841229"/>
                <a:gd name="connsiteX107" fmla="*/ 1331201 w 1573308"/>
                <a:gd name="connsiteY107" fmla="*/ 640714 h 3841229"/>
                <a:gd name="connsiteX108" fmla="*/ 1337852 w 1573308"/>
                <a:gd name="connsiteY108" fmla="*/ 622618 h 3841229"/>
                <a:gd name="connsiteX109" fmla="*/ 1340789 w 1573308"/>
                <a:gd name="connsiteY109" fmla="*/ 591288 h 3841229"/>
                <a:gd name="connsiteX110" fmla="*/ 1260263 w 1573308"/>
                <a:gd name="connsiteY110" fmla="*/ 545048 h 3841229"/>
                <a:gd name="connsiteX111" fmla="*/ 1246408 w 1573308"/>
                <a:gd name="connsiteY111" fmla="*/ 472648 h 3841229"/>
                <a:gd name="connsiteX112" fmla="*/ 1246408 w 1573308"/>
                <a:gd name="connsiteY112" fmla="*/ 454548 h 3841229"/>
                <a:gd name="connsiteX113" fmla="*/ 1257491 w 1573308"/>
                <a:gd name="connsiteY113" fmla="*/ 431276 h 3841229"/>
                <a:gd name="connsiteX114" fmla="*/ 1260263 w 1573308"/>
                <a:gd name="connsiteY114" fmla="*/ 415762 h 3841229"/>
                <a:gd name="connsiteX115" fmla="*/ 1260262 w 1573308"/>
                <a:gd name="connsiteY115" fmla="*/ 358878 h 3841229"/>
                <a:gd name="connsiteX116" fmla="*/ 1238094 w 1573308"/>
                <a:gd name="connsiteY116" fmla="*/ 335607 h 3841229"/>
                <a:gd name="connsiteX117" fmla="*/ 1210384 w 1573308"/>
                <a:gd name="connsiteY117" fmla="*/ 304578 h 3841229"/>
                <a:gd name="connsiteX118" fmla="*/ 1206216 w 1573308"/>
                <a:gd name="connsiteY118" fmla="*/ 280325 h 3841229"/>
                <a:gd name="connsiteX119" fmla="*/ 1257492 w 1573308"/>
                <a:gd name="connsiteY119" fmla="*/ 258034 h 3841229"/>
                <a:gd name="connsiteX120" fmla="*/ 1311072 w 1573308"/>
                <a:gd name="connsiteY120" fmla="*/ 267906 h 3841229"/>
                <a:gd name="connsiteX121" fmla="*/ 1389856 w 1573308"/>
                <a:gd name="connsiteY121" fmla="*/ 279816 h 3841229"/>
                <a:gd name="connsiteX122" fmla="*/ 1474179 w 1573308"/>
                <a:gd name="connsiteY122" fmla="*/ 349175 h 3841229"/>
                <a:gd name="connsiteX123" fmla="*/ 1536314 w 1573308"/>
                <a:gd name="connsiteY123" fmla="*/ 425271 h 3841229"/>
                <a:gd name="connsiteX124" fmla="*/ 1435343 w 1573308"/>
                <a:gd name="connsiteY124" fmla="*/ 454265 h 3841229"/>
                <a:gd name="connsiteX125" fmla="*/ 1419809 w 1573308"/>
                <a:gd name="connsiteY125" fmla="*/ 501372 h 3841229"/>
                <a:gd name="connsiteX126" fmla="*/ 1477479 w 1573308"/>
                <a:gd name="connsiteY126" fmla="*/ 585862 h 3841229"/>
                <a:gd name="connsiteX127" fmla="*/ 1513013 w 1573308"/>
                <a:gd name="connsiteY127" fmla="*/ 591964 h 3841229"/>
                <a:gd name="connsiteX128" fmla="*/ 1565633 w 1573308"/>
                <a:gd name="connsiteY128" fmla="*/ 598304 h 3841229"/>
                <a:gd name="connsiteX129" fmla="*/ 1563440 w 1573308"/>
                <a:gd name="connsiteY129" fmla="*/ 714250 h 3841229"/>
                <a:gd name="connsiteX130" fmla="*/ 1571739 w 1573308"/>
                <a:gd name="connsiteY130" fmla="*/ 1040047 h 3841229"/>
                <a:gd name="connsiteX131" fmla="*/ 1562871 w 1573308"/>
                <a:gd name="connsiteY131" fmla="*/ 1842646 h 3841229"/>
                <a:gd name="connsiteX132" fmla="*/ 1571738 w 1573308"/>
                <a:gd name="connsiteY132" fmla="*/ 2297728 h 3841229"/>
                <a:gd name="connsiteX133" fmla="*/ 1561917 w 1573308"/>
                <a:gd name="connsiteY133" fmla="*/ 3721463 h 3841229"/>
                <a:gd name="connsiteX134" fmla="*/ 1556603 w 1573308"/>
                <a:gd name="connsiteY134" fmla="*/ 3758050 h 3841229"/>
                <a:gd name="connsiteX135" fmla="*/ 1534434 w 1573308"/>
                <a:gd name="connsiteY135" fmla="*/ 3701165 h 3841229"/>
                <a:gd name="connsiteX136" fmla="*/ 1545518 w 1573308"/>
                <a:gd name="connsiteY136" fmla="*/ 3688238 h 3841229"/>
                <a:gd name="connsiteX137" fmla="*/ 1503953 w 1573308"/>
                <a:gd name="connsiteY137" fmla="*/ 3670136 h 3841229"/>
                <a:gd name="connsiteX138" fmla="*/ 1473471 w 1573308"/>
                <a:gd name="connsiteY138" fmla="*/ 3685650 h 3841229"/>
                <a:gd name="connsiteX139" fmla="*/ 1445761 w 1573308"/>
                <a:gd name="connsiteY139" fmla="*/ 3652040 h 3841229"/>
                <a:gd name="connsiteX140" fmla="*/ 1398654 w 1573308"/>
                <a:gd name="connsiteY140" fmla="*/ 3659796 h 3841229"/>
                <a:gd name="connsiteX141" fmla="*/ 1357089 w 1573308"/>
                <a:gd name="connsiteY141" fmla="*/ 3662380 h 3841229"/>
                <a:gd name="connsiteX142" fmla="*/ 1343234 w 1573308"/>
                <a:gd name="connsiteY142" fmla="*/ 3631352 h 3841229"/>
                <a:gd name="connsiteX143" fmla="*/ 1304439 w 1573308"/>
                <a:gd name="connsiteY143" fmla="*/ 3641695 h 3841229"/>
                <a:gd name="connsiteX144" fmla="*/ 1290584 w 1573308"/>
                <a:gd name="connsiteY144" fmla="*/ 3610666 h 3841229"/>
                <a:gd name="connsiteX145" fmla="*/ 1195420 w 1573308"/>
                <a:gd name="connsiteY145" fmla="*/ 3605469 h 3841229"/>
                <a:gd name="connsiteX146" fmla="*/ 1013482 w 1573308"/>
                <a:gd name="connsiteY146" fmla="*/ 3592567 h 3841229"/>
                <a:gd name="connsiteX147" fmla="*/ 1123928 w 1573308"/>
                <a:gd name="connsiteY147" fmla="*/ 3663387 h 3841229"/>
                <a:gd name="connsiteX148" fmla="*/ 907787 w 1573308"/>
                <a:gd name="connsiteY148" fmla="*/ 3629257 h 3841229"/>
                <a:gd name="connsiteX149" fmla="*/ 776238 w 1573308"/>
                <a:gd name="connsiteY149" fmla="*/ 3504783 h 3841229"/>
                <a:gd name="connsiteX150" fmla="*/ 708669 w 1573308"/>
                <a:gd name="connsiteY150" fmla="*/ 3437426 h 3841229"/>
                <a:gd name="connsiteX151" fmla="*/ 739150 w 1573308"/>
                <a:gd name="connsiteY151" fmla="*/ 3437426 h 3841229"/>
                <a:gd name="connsiteX152" fmla="*/ 750233 w 1573308"/>
                <a:gd name="connsiteY152" fmla="*/ 3408982 h 3841229"/>
                <a:gd name="connsiteX153" fmla="*/ 783486 w 1573308"/>
                <a:gd name="connsiteY153" fmla="*/ 3354683 h 3841229"/>
                <a:gd name="connsiteX154" fmla="*/ 747462 w 1573308"/>
                <a:gd name="connsiteY154" fmla="*/ 3297798 h 3841229"/>
                <a:gd name="connsiteX155" fmla="*/ 836135 w 1573308"/>
                <a:gd name="connsiteY155" fmla="*/ 3225398 h 3841229"/>
                <a:gd name="connsiteX156" fmla="*/ 902641 w 1573308"/>
                <a:gd name="connsiteY156" fmla="*/ 3217642 h 3841229"/>
                <a:gd name="connsiteX157" fmla="*/ 955289 w 1573308"/>
                <a:gd name="connsiteY157" fmla="*/ 3160756 h 3841229"/>
                <a:gd name="connsiteX158" fmla="*/ 1024565 w 1573308"/>
                <a:gd name="connsiteY158" fmla="*/ 3114213 h 3841229"/>
                <a:gd name="connsiteX159" fmla="*/ 1019023 w 1573308"/>
                <a:gd name="connsiteY159" fmla="*/ 3067671 h 3841229"/>
                <a:gd name="connsiteX160" fmla="*/ 1043963 w 1573308"/>
                <a:gd name="connsiteY160" fmla="*/ 3028886 h 3841229"/>
                <a:gd name="connsiteX161" fmla="*/ 1016252 w 1573308"/>
                <a:gd name="connsiteY161" fmla="*/ 3026300 h 3841229"/>
                <a:gd name="connsiteX162" fmla="*/ 1031704 w 1573308"/>
                <a:gd name="connsiteY162" fmla="*/ 2992878 h 3841229"/>
                <a:gd name="connsiteX163" fmla="*/ 914211 w 1573308"/>
                <a:gd name="connsiteY163" fmla="*/ 2928233 h 3841229"/>
                <a:gd name="connsiteX164" fmla="*/ 877701 w 1573308"/>
                <a:gd name="connsiteY164" fmla="*/ 2920285 h 3841229"/>
                <a:gd name="connsiteX165" fmla="*/ 858304 w 1573308"/>
                <a:gd name="connsiteY165" fmla="*/ 2909943 h 3841229"/>
                <a:gd name="connsiteX166" fmla="*/ 827823 w 1573308"/>
                <a:gd name="connsiteY166" fmla="*/ 2881501 h 3841229"/>
                <a:gd name="connsiteX167" fmla="*/ 761317 w 1573308"/>
                <a:gd name="connsiteY167" fmla="*/ 2897015 h 3841229"/>
                <a:gd name="connsiteX168" fmla="*/ 700355 w 1573308"/>
                <a:gd name="connsiteY168" fmla="*/ 2881501 h 3841229"/>
                <a:gd name="connsiteX169" fmla="*/ 658790 w 1573308"/>
                <a:gd name="connsiteY169" fmla="*/ 2827201 h 3841229"/>
                <a:gd name="connsiteX170" fmla="*/ 656019 w 1573308"/>
                <a:gd name="connsiteY170" fmla="*/ 2785830 h 3841229"/>
                <a:gd name="connsiteX171" fmla="*/ 631080 w 1573308"/>
                <a:gd name="connsiteY171" fmla="*/ 2772902 h 3841229"/>
                <a:gd name="connsiteX172" fmla="*/ 567346 w 1573308"/>
                <a:gd name="connsiteY172" fmla="*/ 2759974 h 3841229"/>
                <a:gd name="connsiteX173" fmla="*/ 586743 w 1573308"/>
                <a:gd name="connsiteY173" fmla="*/ 2721188 h 3841229"/>
                <a:gd name="connsiteX174" fmla="*/ 557777 w 1573308"/>
                <a:gd name="connsiteY174" fmla="*/ 2715007 h 3841229"/>
                <a:gd name="connsiteX175" fmla="*/ 531809 w 1573308"/>
                <a:gd name="connsiteY175" fmla="*/ 2672771 h 3841229"/>
                <a:gd name="connsiteX176" fmla="*/ 414939 w 1573308"/>
                <a:gd name="connsiteY176" fmla="*/ 2682402 h 3841229"/>
                <a:gd name="connsiteX177" fmla="*/ 390000 w 1573308"/>
                <a:gd name="connsiteY177" fmla="*/ 2672059 h 3841229"/>
                <a:gd name="connsiteX178" fmla="*/ 367832 w 1573308"/>
                <a:gd name="connsiteY178" fmla="*/ 2684989 h 3841229"/>
                <a:gd name="connsiteX179" fmla="*/ 351205 w 1573308"/>
                <a:gd name="connsiteY179" fmla="*/ 2622932 h 3841229"/>
                <a:gd name="connsiteX180" fmla="*/ 340121 w 1573308"/>
                <a:gd name="connsiteY180" fmla="*/ 2597075 h 3841229"/>
                <a:gd name="connsiteX181" fmla="*/ 353976 w 1573308"/>
                <a:gd name="connsiteY181" fmla="*/ 2578974 h 3841229"/>
                <a:gd name="connsiteX182" fmla="*/ 381687 w 1573308"/>
                <a:gd name="connsiteY182" fmla="*/ 2581561 h 3841229"/>
                <a:gd name="connsiteX183" fmla="*/ 414939 w 1573308"/>
                <a:gd name="connsiteY183" fmla="*/ 2563461 h 3841229"/>
                <a:gd name="connsiteX184" fmla="*/ 412168 w 1573308"/>
                <a:gd name="connsiteY184" fmla="*/ 2537603 h 3841229"/>
                <a:gd name="connsiteX185" fmla="*/ 362289 w 1573308"/>
                <a:gd name="connsiteY185" fmla="*/ 2501404 h 3841229"/>
                <a:gd name="connsiteX186" fmla="*/ 338946 w 1573308"/>
                <a:gd name="connsiteY186" fmla="*/ 2513491 h 3841229"/>
                <a:gd name="connsiteX187" fmla="*/ 340121 w 1573308"/>
                <a:gd name="connsiteY187" fmla="*/ 2467790 h 3841229"/>
                <a:gd name="connsiteX188" fmla="*/ 306869 w 1573308"/>
                <a:gd name="connsiteY188" fmla="*/ 2429005 h 3841229"/>
                <a:gd name="connsiteX189" fmla="*/ 309641 w 1573308"/>
                <a:gd name="connsiteY189" fmla="*/ 2351433 h 3841229"/>
                <a:gd name="connsiteX190" fmla="*/ 290243 w 1573308"/>
                <a:gd name="connsiteY190" fmla="*/ 2299720 h 3841229"/>
                <a:gd name="connsiteX191" fmla="*/ 256991 w 1573308"/>
                <a:gd name="connsiteY191" fmla="*/ 2266106 h 3841229"/>
                <a:gd name="connsiteX192" fmla="*/ 218196 w 1573308"/>
                <a:gd name="connsiteY192" fmla="*/ 2242835 h 3841229"/>
                <a:gd name="connsiteX193" fmla="*/ 176631 w 1573308"/>
                <a:gd name="connsiteY193" fmla="*/ 2250592 h 3841229"/>
                <a:gd name="connsiteX194" fmla="*/ 122255 w 1573308"/>
                <a:gd name="connsiteY194" fmla="*/ 2214066 h 3841229"/>
                <a:gd name="connsiteX0" fmla="*/ 122255 w 1573740"/>
                <a:gd name="connsiteY0" fmla="*/ 2214066 h 3841229"/>
                <a:gd name="connsiteX1" fmla="*/ 63018 w 1573740"/>
                <a:gd name="connsiteY1" fmla="*/ 2216977 h 3841229"/>
                <a:gd name="connsiteX2" fmla="*/ 60248 w 1573740"/>
                <a:gd name="connsiteY2" fmla="*/ 2118721 h 3841229"/>
                <a:gd name="connsiteX3" fmla="*/ 65791 w 1573740"/>
                <a:gd name="connsiteY3" fmla="*/ 2079936 h 3841229"/>
                <a:gd name="connsiteX4" fmla="*/ 68561 w 1573740"/>
                <a:gd name="connsiteY4" fmla="*/ 2030807 h 3841229"/>
                <a:gd name="connsiteX5" fmla="*/ 54707 w 1573740"/>
                <a:gd name="connsiteY5" fmla="*/ 2028225 h 3841229"/>
                <a:gd name="connsiteX6" fmla="*/ 118439 w 1573740"/>
                <a:gd name="connsiteY6" fmla="*/ 1992023 h 3841229"/>
                <a:gd name="connsiteX7" fmla="*/ 82416 w 1573740"/>
                <a:gd name="connsiteY7" fmla="*/ 1963580 h 3841229"/>
                <a:gd name="connsiteX8" fmla="*/ 51935 w 1573740"/>
                <a:gd name="connsiteY8" fmla="*/ 1927380 h 3841229"/>
                <a:gd name="connsiteX9" fmla="*/ 40850 w 1573740"/>
                <a:gd name="connsiteY9" fmla="*/ 1893766 h 3841229"/>
                <a:gd name="connsiteX10" fmla="*/ 43621 w 1573740"/>
                <a:gd name="connsiteY10" fmla="*/ 1844639 h 3841229"/>
                <a:gd name="connsiteX11" fmla="*/ 82416 w 1573740"/>
                <a:gd name="connsiteY11" fmla="*/ 1826538 h 3841229"/>
                <a:gd name="connsiteX12" fmla="*/ 112899 w 1573740"/>
                <a:gd name="connsiteY12" fmla="*/ 1782581 h 3841229"/>
                <a:gd name="connsiteX13" fmla="*/ 96271 w 1573740"/>
                <a:gd name="connsiteY13" fmla="*/ 1754138 h 3841229"/>
                <a:gd name="connsiteX14" fmla="*/ 40851 w 1573740"/>
                <a:gd name="connsiteY14" fmla="*/ 1746381 h 3841229"/>
                <a:gd name="connsiteX15" fmla="*/ 2057 w 1573740"/>
                <a:gd name="connsiteY15" fmla="*/ 1730867 h 3841229"/>
                <a:gd name="connsiteX16" fmla="*/ 38079 w 1573740"/>
                <a:gd name="connsiteY16" fmla="*/ 1689496 h 3841229"/>
                <a:gd name="connsiteX17" fmla="*/ 18683 w 1573740"/>
                <a:gd name="connsiteY17" fmla="*/ 1679153 h 3841229"/>
                <a:gd name="connsiteX18" fmla="*/ 2055 w 1573740"/>
                <a:gd name="connsiteY18" fmla="*/ 1640367 h 3841229"/>
                <a:gd name="connsiteX19" fmla="*/ 65790 w 1573740"/>
                <a:gd name="connsiteY19" fmla="*/ 1650711 h 3841229"/>
                <a:gd name="connsiteX20" fmla="*/ 93501 w 1573740"/>
                <a:gd name="connsiteY20" fmla="*/ 1627440 h 3841229"/>
                <a:gd name="connsiteX21" fmla="*/ 187716 w 1573740"/>
                <a:gd name="connsiteY21" fmla="*/ 1536941 h 3841229"/>
                <a:gd name="connsiteX22" fmla="*/ 212655 w 1573740"/>
                <a:gd name="connsiteY22" fmla="*/ 1505912 h 3841229"/>
                <a:gd name="connsiteX23" fmla="*/ 198801 w 1573740"/>
                <a:gd name="connsiteY23" fmla="*/ 1555040 h 3841229"/>
                <a:gd name="connsiteX24" fmla="*/ 218197 w 1573740"/>
                <a:gd name="connsiteY24" fmla="*/ 1588655 h 3841229"/>
                <a:gd name="connsiteX25" fmla="*/ 262534 w 1573740"/>
                <a:gd name="connsiteY25" fmla="*/ 1666225 h 3841229"/>
                <a:gd name="connsiteX26" fmla="*/ 331810 w 1573740"/>
                <a:gd name="connsiteY26" fmla="*/ 1653297 h 3841229"/>
                <a:gd name="connsiteX27" fmla="*/ 351206 w 1573740"/>
                <a:gd name="connsiteY27" fmla="*/ 1622268 h 3841229"/>
                <a:gd name="connsiteX28" fmla="*/ 365062 w 1573740"/>
                <a:gd name="connsiteY28" fmla="*/ 1557627 h 3841229"/>
                <a:gd name="connsiteX29" fmla="*/ 304099 w 1573740"/>
                <a:gd name="connsiteY29" fmla="*/ 1511084 h 3841229"/>
                <a:gd name="connsiteX30" fmla="*/ 259763 w 1573740"/>
                <a:gd name="connsiteY30" fmla="*/ 1485227 h 3841229"/>
                <a:gd name="connsiteX31" fmla="*/ 198801 w 1573740"/>
                <a:gd name="connsiteY31" fmla="*/ 1495570 h 3841229"/>
                <a:gd name="connsiteX32" fmla="*/ 315182 w 1573740"/>
                <a:gd name="connsiteY32" fmla="*/ 1389554 h 3841229"/>
                <a:gd name="connsiteX33" fmla="*/ 376147 w 1573740"/>
                <a:gd name="connsiteY33" fmla="*/ 1299057 h 3841229"/>
                <a:gd name="connsiteX34" fmla="*/ 359519 w 1573740"/>
                <a:gd name="connsiteY34" fmla="*/ 1275784 h 3841229"/>
                <a:gd name="connsiteX35" fmla="*/ 295785 w 1573740"/>
                <a:gd name="connsiteY35" fmla="*/ 1229242 h 3841229"/>
                <a:gd name="connsiteX36" fmla="*/ 223740 w 1573740"/>
                <a:gd name="connsiteY36" fmla="*/ 1151672 h 3841229"/>
                <a:gd name="connsiteX37" fmla="*/ 284703 w 1573740"/>
                <a:gd name="connsiteY37" fmla="*/ 1089617 h 3841229"/>
                <a:gd name="connsiteX38" fmla="*/ 218198 w 1573740"/>
                <a:gd name="connsiteY38" fmla="*/ 1050829 h 3841229"/>
                <a:gd name="connsiteX39" fmla="*/ 259763 w 1573740"/>
                <a:gd name="connsiteY39" fmla="*/ 1019802 h 3841229"/>
                <a:gd name="connsiteX40" fmla="*/ 212657 w 1573740"/>
                <a:gd name="connsiteY40" fmla="*/ 993947 h 3841229"/>
                <a:gd name="connsiteX41" fmla="*/ 212656 w 1573740"/>
                <a:gd name="connsiteY41" fmla="*/ 794845 h 3841229"/>
                <a:gd name="connsiteX42" fmla="*/ 251451 w 1573740"/>
                <a:gd name="connsiteY42" fmla="*/ 779332 h 3841229"/>
                <a:gd name="connsiteX43" fmla="*/ 137838 w 1573740"/>
                <a:gd name="connsiteY43" fmla="*/ 551792 h 3841229"/>
                <a:gd name="connsiteX44" fmla="*/ 135067 w 1573740"/>
                <a:gd name="connsiteY44" fmla="*/ 551792 h 3841229"/>
                <a:gd name="connsiteX45" fmla="*/ 184945 w 1573740"/>
                <a:gd name="connsiteY45" fmla="*/ 469048 h 3841229"/>
                <a:gd name="connsiteX46" fmla="*/ 201571 w 1573740"/>
                <a:gd name="connsiteY46" fmla="*/ 378550 h 3841229"/>
                <a:gd name="connsiteX47" fmla="*/ 126752 w 1573740"/>
                <a:gd name="connsiteY47" fmla="*/ 319079 h 3841229"/>
                <a:gd name="connsiteX48" fmla="*/ 118440 w 1573740"/>
                <a:gd name="connsiteY48" fmla="*/ 251851 h 3841229"/>
                <a:gd name="connsiteX49" fmla="*/ 173860 w 1573740"/>
                <a:gd name="connsiteY49" fmla="*/ 158764 h 3841229"/>
                <a:gd name="connsiteX50" fmla="*/ 193258 w 1573740"/>
                <a:gd name="connsiteY50" fmla="*/ 135494 h 3841229"/>
                <a:gd name="connsiteX51" fmla="*/ 207113 w 1573740"/>
                <a:gd name="connsiteY51" fmla="*/ 117394 h 3841229"/>
                <a:gd name="connsiteX52" fmla="*/ 215426 w 1573740"/>
                <a:gd name="connsiteY52" fmla="*/ 73438 h 3841229"/>
                <a:gd name="connsiteX53" fmla="*/ 240365 w 1573740"/>
                <a:gd name="connsiteY53" fmla="*/ 101880 h 3841229"/>
                <a:gd name="connsiteX54" fmla="*/ 270847 w 1573740"/>
                <a:gd name="connsiteY54" fmla="*/ 88952 h 3841229"/>
                <a:gd name="connsiteX55" fmla="*/ 273617 w 1573740"/>
                <a:gd name="connsiteY55" fmla="*/ 63095 h 3841229"/>
                <a:gd name="connsiteX56" fmla="*/ 281931 w 1573740"/>
                <a:gd name="connsiteY56" fmla="*/ 34652 h 3841229"/>
                <a:gd name="connsiteX57" fmla="*/ 284703 w 1573740"/>
                <a:gd name="connsiteY57" fmla="*/ 3624 h 3841229"/>
                <a:gd name="connsiteX58" fmla="*/ 420483 w 1573740"/>
                <a:gd name="connsiteY58" fmla="*/ 57924 h 3841229"/>
                <a:gd name="connsiteX59" fmla="*/ 450963 w 1573740"/>
                <a:gd name="connsiteY59" fmla="*/ 161352 h 3841229"/>
                <a:gd name="connsiteX60" fmla="*/ 464819 w 1573740"/>
                <a:gd name="connsiteY60" fmla="*/ 184622 h 3841229"/>
                <a:gd name="connsiteX61" fmla="*/ 475903 w 1573740"/>
                <a:gd name="connsiteY61" fmla="*/ 187208 h 3841229"/>
                <a:gd name="connsiteX62" fmla="*/ 589515 w 1573740"/>
                <a:gd name="connsiteY62" fmla="*/ 156181 h 3841229"/>
                <a:gd name="connsiteX63" fmla="*/ 656020 w 1573740"/>
                <a:gd name="connsiteY63" fmla="*/ 166522 h 3841229"/>
                <a:gd name="connsiteX64" fmla="*/ 719754 w 1573740"/>
                <a:gd name="connsiteY64" fmla="*/ 213065 h 3841229"/>
                <a:gd name="connsiteX65" fmla="*/ 733781 w 1573740"/>
                <a:gd name="connsiteY65" fmla="*/ 242621 h 3841229"/>
                <a:gd name="connsiteX66" fmla="*/ 789028 w 1573740"/>
                <a:gd name="connsiteY66" fmla="*/ 277708 h 3841229"/>
                <a:gd name="connsiteX67" fmla="*/ 877702 w 1573740"/>
                <a:gd name="connsiteY67" fmla="*/ 303563 h 3841229"/>
                <a:gd name="connsiteX68" fmla="*/ 949748 w 1573740"/>
                <a:gd name="connsiteY68" fmla="*/ 350106 h 3841229"/>
                <a:gd name="connsiteX69" fmla="*/ 999627 w 1573740"/>
                <a:gd name="connsiteY69" fmla="*/ 401820 h 3841229"/>
                <a:gd name="connsiteX70" fmla="*/ 1024566 w 1573740"/>
                <a:gd name="connsiteY70" fmla="*/ 440606 h 3841229"/>
                <a:gd name="connsiteX71" fmla="*/ 1057819 w 1573740"/>
                <a:gd name="connsiteY71" fmla="*/ 466462 h 3841229"/>
                <a:gd name="connsiteX72" fmla="*/ 1041191 w 1573740"/>
                <a:gd name="connsiteY72" fmla="*/ 691417 h 3841229"/>
                <a:gd name="connsiteX73" fmla="*/ 913725 w 1573740"/>
                <a:gd name="connsiteY73" fmla="*/ 771575 h 3841229"/>
                <a:gd name="connsiteX74" fmla="*/ 800113 w 1573740"/>
                <a:gd name="connsiteY74" fmla="*/ 779331 h 3841229"/>
                <a:gd name="connsiteX75" fmla="*/ 661560 w 1573740"/>
                <a:gd name="connsiteY75" fmla="*/ 758645 h 3841229"/>
                <a:gd name="connsiteX76" fmla="*/ 570116 w 1573740"/>
                <a:gd name="connsiteY76" fmla="*/ 722445 h 3841229"/>
                <a:gd name="connsiteX77" fmla="*/ 550719 w 1573740"/>
                <a:gd name="connsiteY77" fmla="*/ 750888 h 3841229"/>
                <a:gd name="connsiteX78" fmla="*/ 581361 w 1573740"/>
                <a:gd name="connsiteY78" fmla="*/ 824301 h 3841229"/>
                <a:gd name="connsiteX79" fmla="*/ 586902 w 1573740"/>
                <a:gd name="connsiteY79" fmla="*/ 951000 h 3841229"/>
                <a:gd name="connsiteX80" fmla="*/ 559032 w 1573740"/>
                <a:gd name="connsiteY80" fmla="*/ 1012043 h 3841229"/>
                <a:gd name="connsiteX81" fmla="*/ 614451 w 1573740"/>
                <a:gd name="connsiteY81" fmla="*/ 1032728 h 3841229"/>
                <a:gd name="connsiteX82" fmla="*/ 631079 w 1573740"/>
                <a:gd name="connsiteY82" fmla="*/ 1048242 h 3841229"/>
                <a:gd name="connsiteX83" fmla="*/ 656019 w 1573740"/>
                <a:gd name="connsiteY83" fmla="*/ 1074099 h 3841229"/>
                <a:gd name="connsiteX84" fmla="*/ 653248 w 1573740"/>
                <a:gd name="connsiteY84" fmla="*/ 1076685 h 3841229"/>
                <a:gd name="connsiteX85" fmla="*/ 692041 w 1573740"/>
                <a:gd name="connsiteY85" fmla="*/ 1071514 h 3841229"/>
                <a:gd name="connsiteX86" fmla="*/ 700355 w 1573740"/>
                <a:gd name="connsiteY86" fmla="*/ 1035314 h 3841229"/>
                <a:gd name="connsiteX87" fmla="*/ 661560 w 1573740"/>
                <a:gd name="connsiteY87" fmla="*/ 957743 h 3841229"/>
                <a:gd name="connsiteX88" fmla="*/ 730836 w 1573740"/>
                <a:gd name="connsiteY88" fmla="*/ 911200 h 3841229"/>
                <a:gd name="connsiteX89" fmla="*/ 798608 w 1573740"/>
                <a:gd name="connsiteY89" fmla="*/ 918934 h 3841229"/>
                <a:gd name="connsiteX90" fmla="*/ 822441 w 1573740"/>
                <a:gd name="connsiteY90" fmla="*/ 951001 h 3841229"/>
                <a:gd name="connsiteX91" fmla="*/ 978170 w 1573740"/>
                <a:gd name="connsiteY91" fmla="*/ 1007364 h 3841229"/>
                <a:gd name="connsiteX92" fmla="*/ 963762 w 1573740"/>
                <a:gd name="connsiteY92" fmla="*/ 971687 h 3841229"/>
                <a:gd name="connsiteX93" fmla="*/ 930510 w 1573740"/>
                <a:gd name="connsiteY93" fmla="*/ 932901 h 3841229"/>
                <a:gd name="connsiteX94" fmla="*/ 919426 w 1573740"/>
                <a:gd name="connsiteY94" fmla="*/ 881187 h 3841229"/>
                <a:gd name="connsiteX95" fmla="*/ 958221 w 1573740"/>
                <a:gd name="connsiteY95" fmla="*/ 832060 h 3841229"/>
                <a:gd name="connsiteX96" fmla="*/ 985931 w 1573740"/>
                <a:gd name="connsiteY96" fmla="*/ 803617 h 3841229"/>
                <a:gd name="connsiteX97" fmla="*/ 1010871 w 1573740"/>
                <a:gd name="connsiteY97" fmla="*/ 767417 h 3841229"/>
                <a:gd name="connsiteX98" fmla="*/ 1091231 w 1573740"/>
                <a:gd name="connsiteY98" fmla="*/ 762245 h 3841229"/>
                <a:gd name="connsiteX99" fmla="*/ 1096772 w 1573740"/>
                <a:gd name="connsiteY99" fmla="*/ 741560 h 3841229"/>
                <a:gd name="connsiteX100" fmla="*/ 1121712 w 1573740"/>
                <a:gd name="connsiteY100" fmla="*/ 705360 h 3841229"/>
                <a:gd name="connsiteX101" fmla="*/ 1155516 w 1573740"/>
                <a:gd name="connsiteY101" fmla="*/ 687772 h 3841229"/>
                <a:gd name="connsiteX102" fmla="*/ 1213156 w 1573740"/>
                <a:gd name="connsiteY102" fmla="*/ 700189 h 3841229"/>
                <a:gd name="connsiteX103" fmla="*/ 1251949 w 1573740"/>
                <a:gd name="connsiteY103" fmla="*/ 720875 h 3841229"/>
                <a:gd name="connsiteX104" fmla="*/ 1299057 w 1573740"/>
                <a:gd name="connsiteY104" fmla="*/ 728632 h 3841229"/>
                <a:gd name="connsiteX105" fmla="*/ 1299057 w 1573740"/>
                <a:gd name="connsiteY105" fmla="*/ 733803 h 3841229"/>
                <a:gd name="connsiteX106" fmla="*/ 1321226 w 1573740"/>
                <a:gd name="connsiteY106" fmla="*/ 674332 h 3841229"/>
                <a:gd name="connsiteX107" fmla="*/ 1331201 w 1573740"/>
                <a:gd name="connsiteY107" fmla="*/ 640714 h 3841229"/>
                <a:gd name="connsiteX108" fmla="*/ 1337852 w 1573740"/>
                <a:gd name="connsiteY108" fmla="*/ 622618 h 3841229"/>
                <a:gd name="connsiteX109" fmla="*/ 1340789 w 1573740"/>
                <a:gd name="connsiteY109" fmla="*/ 591288 h 3841229"/>
                <a:gd name="connsiteX110" fmla="*/ 1260263 w 1573740"/>
                <a:gd name="connsiteY110" fmla="*/ 545048 h 3841229"/>
                <a:gd name="connsiteX111" fmla="*/ 1246408 w 1573740"/>
                <a:gd name="connsiteY111" fmla="*/ 472648 h 3841229"/>
                <a:gd name="connsiteX112" fmla="*/ 1246408 w 1573740"/>
                <a:gd name="connsiteY112" fmla="*/ 454548 h 3841229"/>
                <a:gd name="connsiteX113" fmla="*/ 1257491 w 1573740"/>
                <a:gd name="connsiteY113" fmla="*/ 431276 h 3841229"/>
                <a:gd name="connsiteX114" fmla="*/ 1260263 w 1573740"/>
                <a:gd name="connsiteY114" fmla="*/ 415762 h 3841229"/>
                <a:gd name="connsiteX115" fmla="*/ 1260262 w 1573740"/>
                <a:gd name="connsiteY115" fmla="*/ 358878 h 3841229"/>
                <a:gd name="connsiteX116" fmla="*/ 1238094 w 1573740"/>
                <a:gd name="connsiteY116" fmla="*/ 335607 h 3841229"/>
                <a:gd name="connsiteX117" fmla="*/ 1210384 w 1573740"/>
                <a:gd name="connsiteY117" fmla="*/ 304578 h 3841229"/>
                <a:gd name="connsiteX118" fmla="*/ 1206216 w 1573740"/>
                <a:gd name="connsiteY118" fmla="*/ 280325 h 3841229"/>
                <a:gd name="connsiteX119" fmla="*/ 1257492 w 1573740"/>
                <a:gd name="connsiteY119" fmla="*/ 258034 h 3841229"/>
                <a:gd name="connsiteX120" fmla="*/ 1311072 w 1573740"/>
                <a:gd name="connsiteY120" fmla="*/ 267906 h 3841229"/>
                <a:gd name="connsiteX121" fmla="*/ 1389856 w 1573740"/>
                <a:gd name="connsiteY121" fmla="*/ 279816 h 3841229"/>
                <a:gd name="connsiteX122" fmla="*/ 1474179 w 1573740"/>
                <a:gd name="connsiteY122" fmla="*/ 349175 h 3841229"/>
                <a:gd name="connsiteX123" fmla="*/ 1536314 w 1573740"/>
                <a:gd name="connsiteY123" fmla="*/ 425271 h 3841229"/>
                <a:gd name="connsiteX124" fmla="*/ 1435343 w 1573740"/>
                <a:gd name="connsiteY124" fmla="*/ 454265 h 3841229"/>
                <a:gd name="connsiteX125" fmla="*/ 1419809 w 1573740"/>
                <a:gd name="connsiteY125" fmla="*/ 501372 h 3841229"/>
                <a:gd name="connsiteX126" fmla="*/ 1477479 w 1573740"/>
                <a:gd name="connsiteY126" fmla="*/ 585862 h 3841229"/>
                <a:gd name="connsiteX127" fmla="*/ 1513013 w 1573740"/>
                <a:gd name="connsiteY127" fmla="*/ 591964 h 3841229"/>
                <a:gd name="connsiteX128" fmla="*/ 1565633 w 1573740"/>
                <a:gd name="connsiteY128" fmla="*/ 598304 h 3841229"/>
                <a:gd name="connsiteX129" fmla="*/ 1568983 w 1573740"/>
                <a:gd name="connsiteY129" fmla="*/ 706492 h 3841229"/>
                <a:gd name="connsiteX130" fmla="*/ 1571739 w 1573740"/>
                <a:gd name="connsiteY130" fmla="*/ 1040047 h 3841229"/>
                <a:gd name="connsiteX131" fmla="*/ 1562871 w 1573740"/>
                <a:gd name="connsiteY131" fmla="*/ 1842646 h 3841229"/>
                <a:gd name="connsiteX132" fmla="*/ 1571738 w 1573740"/>
                <a:gd name="connsiteY132" fmla="*/ 2297728 h 3841229"/>
                <a:gd name="connsiteX133" fmla="*/ 1561917 w 1573740"/>
                <a:gd name="connsiteY133" fmla="*/ 3721463 h 3841229"/>
                <a:gd name="connsiteX134" fmla="*/ 1556603 w 1573740"/>
                <a:gd name="connsiteY134" fmla="*/ 3758050 h 3841229"/>
                <a:gd name="connsiteX135" fmla="*/ 1534434 w 1573740"/>
                <a:gd name="connsiteY135" fmla="*/ 3701165 h 3841229"/>
                <a:gd name="connsiteX136" fmla="*/ 1545518 w 1573740"/>
                <a:gd name="connsiteY136" fmla="*/ 3688238 h 3841229"/>
                <a:gd name="connsiteX137" fmla="*/ 1503953 w 1573740"/>
                <a:gd name="connsiteY137" fmla="*/ 3670136 h 3841229"/>
                <a:gd name="connsiteX138" fmla="*/ 1473471 w 1573740"/>
                <a:gd name="connsiteY138" fmla="*/ 3685650 h 3841229"/>
                <a:gd name="connsiteX139" fmla="*/ 1445761 w 1573740"/>
                <a:gd name="connsiteY139" fmla="*/ 3652040 h 3841229"/>
                <a:gd name="connsiteX140" fmla="*/ 1398654 w 1573740"/>
                <a:gd name="connsiteY140" fmla="*/ 3659796 h 3841229"/>
                <a:gd name="connsiteX141" fmla="*/ 1357089 w 1573740"/>
                <a:gd name="connsiteY141" fmla="*/ 3662380 h 3841229"/>
                <a:gd name="connsiteX142" fmla="*/ 1343234 w 1573740"/>
                <a:gd name="connsiteY142" fmla="*/ 3631352 h 3841229"/>
                <a:gd name="connsiteX143" fmla="*/ 1304439 w 1573740"/>
                <a:gd name="connsiteY143" fmla="*/ 3641695 h 3841229"/>
                <a:gd name="connsiteX144" fmla="*/ 1290584 w 1573740"/>
                <a:gd name="connsiteY144" fmla="*/ 3610666 h 3841229"/>
                <a:gd name="connsiteX145" fmla="*/ 1195420 w 1573740"/>
                <a:gd name="connsiteY145" fmla="*/ 3605469 h 3841229"/>
                <a:gd name="connsiteX146" fmla="*/ 1013482 w 1573740"/>
                <a:gd name="connsiteY146" fmla="*/ 3592567 h 3841229"/>
                <a:gd name="connsiteX147" fmla="*/ 1123928 w 1573740"/>
                <a:gd name="connsiteY147" fmla="*/ 3663387 h 3841229"/>
                <a:gd name="connsiteX148" fmla="*/ 907787 w 1573740"/>
                <a:gd name="connsiteY148" fmla="*/ 3629257 h 3841229"/>
                <a:gd name="connsiteX149" fmla="*/ 776238 w 1573740"/>
                <a:gd name="connsiteY149" fmla="*/ 3504783 h 3841229"/>
                <a:gd name="connsiteX150" fmla="*/ 708669 w 1573740"/>
                <a:gd name="connsiteY150" fmla="*/ 3437426 h 3841229"/>
                <a:gd name="connsiteX151" fmla="*/ 739150 w 1573740"/>
                <a:gd name="connsiteY151" fmla="*/ 3437426 h 3841229"/>
                <a:gd name="connsiteX152" fmla="*/ 750233 w 1573740"/>
                <a:gd name="connsiteY152" fmla="*/ 3408982 h 3841229"/>
                <a:gd name="connsiteX153" fmla="*/ 783486 w 1573740"/>
                <a:gd name="connsiteY153" fmla="*/ 3354683 h 3841229"/>
                <a:gd name="connsiteX154" fmla="*/ 747462 w 1573740"/>
                <a:gd name="connsiteY154" fmla="*/ 3297798 h 3841229"/>
                <a:gd name="connsiteX155" fmla="*/ 836135 w 1573740"/>
                <a:gd name="connsiteY155" fmla="*/ 3225398 h 3841229"/>
                <a:gd name="connsiteX156" fmla="*/ 902641 w 1573740"/>
                <a:gd name="connsiteY156" fmla="*/ 3217642 h 3841229"/>
                <a:gd name="connsiteX157" fmla="*/ 955289 w 1573740"/>
                <a:gd name="connsiteY157" fmla="*/ 3160756 h 3841229"/>
                <a:gd name="connsiteX158" fmla="*/ 1024565 w 1573740"/>
                <a:gd name="connsiteY158" fmla="*/ 3114213 h 3841229"/>
                <a:gd name="connsiteX159" fmla="*/ 1019023 w 1573740"/>
                <a:gd name="connsiteY159" fmla="*/ 3067671 h 3841229"/>
                <a:gd name="connsiteX160" fmla="*/ 1043963 w 1573740"/>
                <a:gd name="connsiteY160" fmla="*/ 3028886 h 3841229"/>
                <a:gd name="connsiteX161" fmla="*/ 1016252 w 1573740"/>
                <a:gd name="connsiteY161" fmla="*/ 3026300 h 3841229"/>
                <a:gd name="connsiteX162" fmla="*/ 1031704 w 1573740"/>
                <a:gd name="connsiteY162" fmla="*/ 2992878 h 3841229"/>
                <a:gd name="connsiteX163" fmla="*/ 914211 w 1573740"/>
                <a:gd name="connsiteY163" fmla="*/ 2928233 h 3841229"/>
                <a:gd name="connsiteX164" fmla="*/ 877701 w 1573740"/>
                <a:gd name="connsiteY164" fmla="*/ 2920285 h 3841229"/>
                <a:gd name="connsiteX165" fmla="*/ 858304 w 1573740"/>
                <a:gd name="connsiteY165" fmla="*/ 2909943 h 3841229"/>
                <a:gd name="connsiteX166" fmla="*/ 827823 w 1573740"/>
                <a:gd name="connsiteY166" fmla="*/ 2881501 h 3841229"/>
                <a:gd name="connsiteX167" fmla="*/ 761317 w 1573740"/>
                <a:gd name="connsiteY167" fmla="*/ 2897015 h 3841229"/>
                <a:gd name="connsiteX168" fmla="*/ 700355 w 1573740"/>
                <a:gd name="connsiteY168" fmla="*/ 2881501 h 3841229"/>
                <a:gd name="connsiteX169" fmla="*/ 658790 w 1573740"/>
                <a:gd name="connsiteY169" fmla="*/ 2827201 h 3841229"/>
                <a:gd name="connsiteX170" fmla="*/ 656019 w 1573740"/>
                <a:gd name="connsiteY170" fmla="*/ 2785830 h 3841229"/>
                <a:gd name="connsiteX171" fmla="*/ 631080 w 1573740"/>
                <a:gd name="connsiteY171" fmla="*/ 2772902 h 3841229"/>
                <a:gd name="connsiteX172" fmla="*/ 567346 w 1573740"/>
                <a:gd name="connsiteY172" fmla="*/ 2759974 h 3841229"/>
                <a:gd name="connsiteX173" fmla="*/ 586743 w 1573740"/>
                <a:gd name="connsiteY173" fmla="*/ 2721188 h 3841229"/>
                <a:gd name="connsiteX174" fmla="*/ 557777 w 1573740"/>
                <a:gd name="connsiteY174" fmla="*/ 2715007 h 3841229"/>
                <a:gd name="connsiteX175" fmla="*/ 531809 w 1573740"/>
                <a:gd name="connsiteY175" fmla="*/ 2672771 h 3841229"/>
                <a:gd name="connsiteX176" fmla="*/ 414939 w 1573740"/>
                <a:gd name="connsiteY176" fmla="*/ 2682402 h 3841229"/>
                <a:gd name="connsiteX177" fmla="*/ 390000 w 1573740"/>
                <a:gd name="connsiteY177" fmla="*/ 2672059 h 3841229"/>
                <a:gd name="connsiteX178" fmla="*/ 367832 w 1573740"/>
                <a:gd name="connsiteY178" fmla="*/ 2684989 h 3841229"/>
                <a:gd name="connsiteX179" fmla="*/ 351205 w 1573740"/>
                <a:gd name="connsiteY179" fmla="*/ 2622932 h 3841229"/>
                <a:gd name="connsiteX180" fmla="*/ 340121 w 1573740"/>
                <a:gd name="connsiteY180" fmla="*/ 2597075 h 3841229"/>
                <a:gd name="connsiteX181" fmla="*/ 353976 w 1573740"/>
                <a:gd name="connsiteY181" fmla="*/ 2578974 h 3841229"/>
                <a:gd name="connsiteX182" fmla="*/ 381687 w 1573740"/>
                <a:gd name="connsiteY182" fmla="*/ 2581561 h 3841229"/>
                <a:gd name="connsiteX183" fmla="*/ 414939 w 1573740"/>
                <a:gd name="connsiteY183" fmla="*/ 2563461 h 3841229"/>
                <a:gd name="connsiteX184" fmla="*/ 412168 w 1573740"/>
                <a:gd name="connsiteY184" fmla="*/ 2537603 h 3841229"/>
                <a:gd name="connsiteX185" fmla="*/ 362289 w 1573740"/>
                <a:gd name="connsiteY185" fmla="*/ 2501404 h 3841229"/>
                <a:gd name="connsiteX186" fmla="*/ 338946 w 1573740"/>
                <a:gd name="connsiteY186" fmla="*/ 2513491 h 3841229"/>
                <a:gd name="connsiteX187" fmla="*/ 340121 w 1573740"/>
                <a:gd name="connsiteY187" fmla="*/ 2467790 h 3841229"/>
                <a:gd name="connsiteX188" fmla="*/ 306869 w 1573740"/>
                <a:gd name="connsiteY188" fmla="*/ 2429005 h 3841229"/>
                <a:gd name="connsiteX189" fmla="*/ 309641 w 1573740"/>
                <a:gd name="connsiteY189" fmla="*/ 2351433 h 3841229"/>
                <a:gd name="connsiteX190" fmla="*/ 290243 w 1573740"/>
                <a:gd name="connsiteY190" fmla="*/ 2299720 h 3841229"/>
                <a:gd name="connsiteX191" fmla="*/ 256991 w 1573740"/>
                <a:gd name="connsiteY191" fmla="*/ 2266106 h 3841229"/>
                <a:gd name="connsiteX192" fmla="*/ 218196 w 1573740"/>
                <a:gd name="connsiteY192" fmla="*/ 2242835 h 3841229"/>
                <a:gd name="connsiteX193" fmla="*/ 176631 w 1573740"/>
                <a:gd name="connsiteY193" fmla="*/ 2250592 h 3841229"/>
                <a:gd name="connsiteX194" fmla="*/ 122255 w 1573740"/>
                <a:gd name="connsiteY194" fmla="*/ 2214066 h 3841229"/>
                <a:gd name="connsiteX0" fmla="*/ 122255 w 1573740"/>
                <a:gd name="connsiteY0" fmla="*/ 2214066 h 3841229"/>
                <a:gd name="connsiteX1" fmla="*/ 63018 w 1573740"/>
                <a:gd name="connsiteY1" fmla="*/ 2216977 h 3841229"/>
                <a:gd name="connsiteX2" fmla="*/ 60248 w 1573740"/>
                <a:gd name="connsiteY2" fmla="*/ 2118721 h 3841229"/>
                <a:gd name="connsiteX3" fmla="*/ 65791 w 1573740"/>
                <a:gd name="connsiteY3" fmla="*/ 2079936 h 3841229"/>
                <a:gd name="connsiteX4" fmla="*/ 68561 w 1573740"/>
                <a:gd name="connsiteY4" fmla="*/ 2030807 h 3841229"/>
                <a:gd name="connsiteX5" fmla="*/ 54707 w 1573740"/>
                <a:gd name="connsiteY5" fmla="*/ 2028225 h 3841229"/>
                <a:gd name="connsiteX6" fmla="*/ 118439 w 1573740"/>
                <a:gd name="connsiteY6" fmla="*/ 1992023 h 3841229"/>
                <a:gd name="connsiteX7" fmla="*/ 82416 w 1573740"/>
                <a:gd name="connsiteY7" fmla="*/ 1963580 h 3841229"/>
                <a:gd name="connsiteX8" fmla="*/ 51935 w 1573740"/>
                <a:gd name="connsiteY8" fmla="*/ 1927380 h 3841229"/>
                <a:gd name="connsiteX9" fmla="*/ 40850 w 1573740"/>
                <a:gd name="connsiteY9" fmla="*/ 1893766 h 3841229"/>
                <a:gd name="connsiteX10" fmla="*/ 43621 w 1573740"/>
                <a:gd name="connsiteY10" fmla="*/ 1844639 h 3841229"/>
                <a:gd name="connsiteX11" fmla="*/ 82416 w 1573740"/>
                <a:gd name="connsiteY11" fmla="*/ 1826538 h 3841229"/>
                <a:gd name="connsiteX12" fmla="*/ 112899 w 1573740"/>
                <a:gd name="connsiteY12" fmla="*/ 1782581 h 3841229"/>
                <a:gd name="connsiteX13" fmla="*/ 96271 w 1573740"/>
                <a:gd name="connsiteY13" fmla="*/ 1754138 h 3841229"/>
                <a:gd name="connsiteX14" fmla="*/ 40851 w 1573740"/>
                <a:gd name="connsiteY14" fmla="*/ 1746381 h 3841229"/>
                <a:gd name="connsiteX15" fmla="*/ 2057 w 1573740"/>
                <a:gd name="connsiteY15" fmla="*/ 1730867 h 3841229"/>
                <a:gd name="connsiteX16" fmla="*/ 38079 w 1573740"/>
                <a:gd name="connsiteY16" fmla="*/ 1689496 h 3841229"/>
                <a:gd name="connsiteX17" fmla="*/ 18683 w 1573740"/>
                <a:gd name="connsiteY17" fmla="*/ 1679153 h 3841229"/>
                <a:gd name="connsiteX18" fmla="*/ 2055 w 1573740"/>
                <a:gd name="connsiteY18" fmla="*/ 1640367 h 3841229"/>
                <a:gd name="connsiteX19" fmla="*/ 65790 w 1573740"/>
                <a:gd name="connsiteY19" fmla="*/ 1650711 h 3841229"/>
                <a:gd name="connsiteX20" fmla="*/ 93501 w 1573740"/>
                <a:gd name="connsiteY20" fmla="*/ 1627440 h 3841229"/>
                <a:gd name="connsiteX21" fmla="*/ 187716 w 1573740"/>
                <a:gd name="connsiteY21" fmla="*/ 1536941 h 3841229"/>
                <a:gd name="connsiteX22" fmla="*/ 212655 w 1573740"/>
                <a:gd name="connsiteY22" fmla="*/ 1505912 h 3841229"/>
                <a:gd name="connsiteX23" fmla="*/ 198801 w 1573740"/>
                <a:gd name="connsiteY23" fmla="*/ 1555040 h 3841229"/>
                <a:gd name="connsiteX24" fmla="*/ 218197 w 1573740"/>
                <a:gd name="connsiteY24" fmla="*/ 1588655 h 3841229"/>
                <a:gd name="connsiteX25" fmla="*/ 262534 w 1573740"/>
                <a:gd name="connsiteY25" fmla="*/ 1666225 h 3841229"/>
                <a:gd name="connsiteX26" fmla="*/ 331810 w 1573740"/>
                <a:gd name="connsiteY26" fmla="*/ 1653297 h 3841229"/>
                <a:gd name="connsiteX27" fmla="*/ 351206 w 1573740"/>
                <a:gd name="connsiteY27" fmla="*/ 1622268 h 3841229"/>
                <a:gd name="connsiteX28" fmla="*/ 365062 w 1573740"/>
                <a:gd name="connsiteY28" fmla="*/ 1557627 h 3841229"/>
                <a:gd name="connsiteX29" fmla="*/ 304099 w 1573740"/>
                <a:gd name="connsiteY29" fmla="*/ 1511084 h 3841229"/>
                <a:gd name="connsiteX30" fmla="*/ 259763 w 1573740"/>
                <a:gd name="connsiteY30" fmla="*/ 1485227 h 3841229"/>
                <a:gd name="connsiteX31" fmla="*/ 198801 w 1573740"/>
                <a:gd name="connsiteY31" fmla="*/ 1495570 h 3841229"/>
                <a:gd name="connsiteX32" fmla="*/ 315182 w 1573740"/>
                <a:gd name="connsiteY32" fmla="*/ 1389554 h 3841229"/>
                <a:gd name="connsiteX33" fmla="*/ 376147 w 1573740"/>
                <a:gd name="connsiteY33" fmla="*/ 1299057 h 3841229"/>
                <a:gd name="connsiteX34" fmla="*/ 359519 w 1573740"/>
                <a:gd name="connsiteY34" fmla="*/ 1275784 h 3841229"/>
                <a:gd name="connsiteX35" fmla="*/ 295785 w 1573740"/>
                <a:gd name="connsiteY35" fmla="*/ 1229242 h 3841229"/>
                <a:gd name="connsiteX36" fmla="*/ 223740 w 1573740"/>
                <a:gd name="connsiteY36" fmla="*/ 1151672 h 3841229"/>
                <a:gd name="connsiteX37" fmla="*/ 284703 w 1573740"/>
                <a:gd name="connsiteY37" fmla="*/ 1089617 h 3841229"/>
                <a:gd name="connsiteX38" fmla="*/ 218198 w 1573740"/>
                <a:gd name="connsiteY38" fmla="*/ 1050829 h 3841229"/>
                <a:gd name="connsiteX39" fmla="*/ 259763 w 1573740"/>
                <a:gd name="connsiteY39" fmla="*/ 1019802 h 3841229"/>
                <a:gd name="connsiteX40" fmla="*/ 212657 w 1573740"/>
                <a:gd name="connsiteY40" fmla="*/ 993947 h 3841229"/>
                <a:gd name="connsiteX41" fmla="*/ 212656 w 1573740"/>
                <a:gd name="connsiteY41" fmla="*/ 794845 h 3841229"/>
                <a:gd name="connsiteX42" fmla="*/ 251451 w 1573740"/>
                <a:gd name="connsiteY42" fmla="*/ 779332 h 3841229"/>
                <a:gd name="connsiteX43" fmla="*/ 137838 w 1573740"/>
                <a:gd name="connsiteY43" fmla="*/ 551792 h 3841229"/>
                <a:gd name="connsiteX44" fmla="*/ 135067 w 1573740"/>
                <a:gd name="connsiteY44" fmla="*/ 551792 h 3841229"/>
                <a:gd name="connsiteX45" fmla="*/ 184945 w 1573740"/>
                <a:gd name="connsiteY45" fmla="*/ 469048 h 3841229"/>
                <a:gd name="connsiteX46" fmla="*/ 201571 w 1573740"/>
                <a:gd name="connsiteY46" fmla="*/ 378550 h 3841229"/>
                <a:gd name="connsiteX47" fmla="*/ 126752 w 1573740"/>
                <a:gd name="connsiteY47" fmla="*/ 319079 h 3841229"/>
                <a:gd name="connsiteX48" fmla="*/ 118440 w 1573740"/>
                <a:gd name="connsiteY48" fmla="*/ 251851 h 3841229"/>
                <a:gd name="connsiteX49" fmla="*/ 173860 w 1573740"/>
                <a:gd name="connsiteY49" fmla="*/ 158764 h 3841229"/>
                <a:gd name="connsiteX50" fmla="*/ 193258 w 1573740"/>
                <a:gd name="connsiteY50" fmla="*/ 135494 h 3841229"/>
                <a:gd name="connsiteX51" fmla="*/ 207113 w 1573740"/>
                <a:gd name="connsiteY51" fmla="*/ 117394 h 3841229"/>
                <a:gd name="connsiteX52" fmla="*/ 215426 w 1573740"/>
                <a:gd name="connsiteY52" fmla="*/ 73438 h 3841229"/>
                <a:gd name="connsiteX53" fmla="*/ 240365 w 1573740"/>
                <a:gd name="connsiteY53" fmla="*/ 101880 h 3841229"/>
                <a:gd name="connsiteX54" fmla="*/ 270847 w 1573740"/>
                <a:gd name="connsiteY54" fmla="*/ 88952 h 3841229"/>
                <a:gd name="connsiteX55" fmla="*/ 273617 w 1573740"/>
                <a:gd name="connsiteY55" fmla="*/ 63095 h 3841229"/>
                <a:gd name="connsiteX56" fmla="*/ 281931 w 1573740"/>
                <a:gd name="connsiteY56" fmla="*/ 34652 h 3841229"/>
                <a:gd name="connsiteX57" fmla="*/ 284703 w 1573740"/>
                <a:gd name="connsiteY57" fmla="*/ 3624 h 3841229"/>
                <a:gd name="connsiteX58" fmla="*/ 420483 w 1573740"/>
                <a:gd name="connsiteY58" fmla="*/ 57924 h 3841229"/>
                <a:gd name="connsiteX59" fmla="*/ 450963 w 1573740"/>
                <a:gd name="connsiteY59" fmla="*/ 161352 h 3841229"/>
                <a:gd name="connsiteX60" fmla="*/ 464819 w 1573740"/>
                <a:gd name="connsiteY60" fmla="*/ 184622 h 3841229"/>
                <a:gd name="connsiteX61" fmla="*/ 475903 w 1573740"/>
                <a:gd name="connsiteY61" fmla="*/ 187208 h 3841229"/>
                <a:gd name="connsiteX62" fmla="*/ 589515 w 1573740"/>
                <a:gd name="connsiteY62" fmla="*/ 156181 h 3841229"/>
                <a:gd name="connsiteX63" fmla="*/ 656020 w 1573740"/>
                <a:gd name="connsiteY63" fmla="*/ 166522 h 3841229"/>
                <a:gd name="connsiteX64" fmla="*/ 719754 w 1573740"/>
                <a:gd name="connsiteY64" fmla="*/ 213065 h 3841229"/>
                <a:gd name="connsiteX65" fmla="*/ 733781 w 1573740"/>
                <a:gd name="connsiteY65" fmla="*/ 242621 h 3841229"/>
                <a:gd name="connsiteX66" fmla="*/ 789028 w 1573740"/>
                <a:gd name="connsiteY66" fmla="*/ 277708 h 3841229"/>
                <a:gd name="connsiteX67" fmla="*/ 877702 w 1573740"/>
                <a:gd name="connsiteY67" fmla="*/ 303563 h 3841229"/>
                <a:gd name="connsiteX68" fmla="*/ 949748 w 1573740"/>
                <a:gd name="connsiteY68" fmla="*/ 350106 h 3841229"/>
                <a:gd name="connsiteX69" fmla="*/ 999627 w 1573740"/>
                <a:gd name="connsiteY69" fmla="*/ 401820 h 3841229"/>
                <a:gd name="connsiteX70" fmla="*/ 1024566 w 1573740"/>
                <a:gd name="connsiteY70" fmla="*/ 440606 h 3841229"/>
                <a:gd name="connsiteX71" fmla="*/ 1057819 w 1573740"/>
                <a:gd name="connsiteY71" fmla="*/ 466462 h 3841229"/>
                <a:gd name="connsiteX72" fmla="*/ 1041191 w 1573740"/>
                <a:gd name="connsiteY72" fmla="*/ 691417 h 3841229"/>
                <a:gd name="connsiteX73" fmla="*/ 913725 w 1573740"/>
                <a:gd name="connsiteY73" fmla="*/ 771575 h 3841229"/>
                <a:gd name="connsiteX74" fmla="*/ 800113 w 1573740"/>
                <a:gd name="connsiteY74" fmla="*/ 779331 h 3841229"/>
                <a:gd name="connsiteX75" fmla="*/ 661560 w 1573740"/>
                <a:gd name="connsiteY75" fmla="*/ 758645 h 3841229"/>
                <a:gd name="connsiteX76" fmla="*/ 570116 w 1573740"/>
                <a:gd name="connsiteY76" fmla="*/ 722445 h 3841229"/>
                <a:gd name="connsiteX77" fmla="*/ 550719 w 1573740"/>
                <a:gd name="connsiteY77" fmla="*/ 750888 h 3841229"/>
                <a:gd name="connsiteX78" fmla="*/ 581361 w 1573740"/>
                <a:gd name="connsiteY78" fmla="*/ 824301 h 3841229"/>
                <a:gd name="connsiteX79" fmla="*/ 586902 w 1573740"/>
                <a:gd name="connsiteY79" fmla="*/ 951000 h 3841229"/>
                <a:gd name="connsiteX80" fmla="*/ 559032 w 1573740"/>
                <a:gd name="connsiteY80" fmla="*/ 1012043 h 3841229"/>
                <a:gd name="connsiteX81" fmla="*/ 614451 w 1573740"/>
                <a:gd name="connsiteY81" fmla="*/ 1032728 h 3841229"/>
                <a:gd name="connsiteX82" fmla="*/ 631079 w 1573740"/>
                <a:gd name="connsiteY82" fmla="*/ 1048242 h 3841229"/>
                <a:gd name="connsiteX83" fmla="*/ 656019 w 1573740"/>
                <a:gd name="connsiteY83" fmla="*/ 1074099 h 3841229"/>
                <a:gd name="connsiteX84" fmla="*/ 653248 w 1573740"/>
                <a:gd name="connsiteY84" fmla="*/ 1076685 h 3841229"/>
                <a:gd name="connsiteX85" fmla="*/ 692041 w 1573740"/>
                <a:gd name="connsiteY85" fmla="*/ 1071514 h 3841229"/>
                <a:gd name="connsiteX86" fmla="*/ 700355 w 1573740"/>
                <a:gd name="connsiteY86" fmla="*/ 1035314 h 3841229"/>
                <a:gd name="connsiteX87" fmla="*/ 661560 w 1573740"/>
                <a:gd name="connsiteY87" fmla="*/ 957743 h 3841229"/>
                <a:gd name="connsiteX88" fmla="*/ 730836 w 1573740"/>
                <a:gd name="connsiteY88" fmla="*/ 911200 h 3841229"/>
                <a:gd name="connsiteX89" fmla="*/ 798608 w 1573740"/>
                <a:gd name="connsiteY89" fmla="*/ 918934 h 3841229"/>
                <a:gd name="connsiteX90" fmla="*/ 822441 w 1573740"/>
                <a:gd name="connsiteY90" fmla="*/ 951001 h 3841229"/>
                <a:gd name="connsiteX91" fmla="*/ 978170 w 1573740"/>
                <a:gd name="connsiteY91" fmla="*/ 1007364 h 3841229"/>
                <a:gd name="connsiteX92" fmla="*/ 963762 w 1573740"/>
                <a:gd name="connsiteY92" fmla="*/ 971687 h 3841229"/>
                <a:gd name="connsiteX93" fmla="*/ 930510 w 1573740"/>
                <a:gd name="connsiteY93" fmla="*/ 932901 h 3841229"/>
                <a:gd name="connsiteX94" fmla="*/ 919426 w 1573740"/>
                <a:gd name="connsiteY94" fmla="*/ 881187 h 3841229"/>
                <a:gd name="connsiteX95" fmla="*/ 958221 w 1573740"/>
                <a:gd name="connsiteY95" fmla="*/ 832060 h 3841229"/>
                <a:gd name="connsiteX96" fmla="*/ 985931 w 1573740"/>
                <a:gd name="connsiteY96" fmla="*/ 803617 h 3841229"/>
                <a:gd name="connsiteX97" fmla="*/ 1010871 w 1573740"/>
                <a:gd name="connsiteY97" fmla="*/ 767417 h 3841229"/>
                <a:gd name="connsiteX98" fmla="*/ 1091231 w 1573740"/>
                <a:gd name="connsiteY98" fmla="*/ 762245 h 3841229"/>
                <a:gd name="connsiteX99" fmla="*/ 1096772 w 1573740"/>
                <a:gd name="connsiteY99" fmla="*/ 741560 h 3841229"/>
                <a:gd name="connsiteX100" fmla="*/ 1121712 w 1573740"/>
                <a:gd name="connsiteY100" fmla="*/ 705360 h 3841229"/>
                <a:gd name="connsiteX101" fmla="*/ 1155516 w 1573740"/>
                <a:gd name="connsiteY101" fmla="*/ 687772 h 3841229"/>
                <a:gd name="connsiteX102" fmla="*/ 1213156 w 1573740"/>
                <a:gd name="connsiteY102" fmla="*/ 700189 h 3841229"/>
                <a:gd name="connsiteX103" fmla="*/ 1251949 w 1573740"/>
                <a:gd name="connsiteY103" fmla="*/ 720875 h 3841229"/>
                <a:gd name="connsiteX104" fmla="*/ 1299057 w 1573740"/>
                <a:gd name="connsiteY104" fmla="*/ 728632 h 3841229"/>
                <a:gd name="connsiteX105" fmla="*/ 1299057 w 1573740"/>
                <a:gd name="connsiteY105" fmla="*/ 733803 h 3841229"/>
                <a:gd name="connsiteX106" fmla="*/ 1321226 w 1573740"/>
                <a:gd name="connsiteY106" fmla="*/ 674332 h 3841229"/>
                <a:gd name="connsiteX107" fmla="*/ 1331201 w 1573740"/>
                <a:gd name="connsiteY107" fmla="*/ 640714 h 3841229"/>
                <a:gd name="connsiteX108" fmla="*/ 1337852 w 1573740"/>
                <a:gd name="connsiteY108" fmla="*/ 622618 h 3841229"/>
                <a:gd name="connsiteX109" fmla="*/ 1340789 w 1573740"/>
                <a:gd name="connsiteY109" fmla="*/ 591288 h 3841229"/>
                <a:gd name="connsiteX110" fmla="*/ 1260263 w 1573740"/>
                <a:gd name="connsiteY110" fmla="*/ 545048 h 3841229"/>
                <a:gd name="connsiteX111" fmla="*/ 1246408 w 1573740"/>
                <a:gd name="connsiteY111" fmla="*/ 472648 h 3841229"/>
                <a:gd name="connsiteX112" fmla="*/ 1246408 w 1573740"/>
                <a:gd name="connsiteY112" fmla="*/ 454548 h 3841229"/>
                <a:gd name="connsiteX113" fmla="*/ 1257491 w 1573740"/>
                <a:gd name="connsiteY113" fmla="*/ 431276 h 3841229"/>
                <a:gd name="connsiteX114" fmla="*/ 1260263 w 1573740"/>
                <a:gd name="connsiteY114" fmla="*/ 415762 h 3841229"/>
                <a:gd name="connsiteX115" fmla="*/ 1260262 w 1573740"/>
                <a:gd name="connsiteY115" fmla="*/ 358878 h 3841229"/>
                <a:gd name="connsiteX116" fmla="*/ 1238094 w 1573740"/>
                <a:gd name="connsiteY116" fmla="*/ 335607 h 3841229"/>
                <a:gd name="connsiteX117" fmla="*/ 1210384 w 1573740"/>
                <a:gd name="connsiteY117" fmla="*/ 304578 h 3841229"/>
                <a:gd name="connsiteX118" fmla="*/ 1206216 w 1573740"/>
                <a:gd name="connsiteY118" fmla="*/ 280325 h 3841229"/>
                <a:gd name="connsiteX119" fmla="*/ 1257492 w 1573740"/>
                <a:gd name="connsiteY119" fmla="*/ 258034 h 3841229"/>
                <a:gd name="connsiteX120" fmla="*/ 1311072 w 1573740"/>
                <a:gd name="connsiteY120" fmla="*/ 267906 h 3841229"/>
                <a:gd name="connsiteX121" fmla="*/ 1389856 w 1573740"/>
                <a:gd name="connsiteY121" fmla="*/ 279816 h 3841229"/>
                <a:gd name="connsiteX122" fmla="*/ 1474179 w 1573740"/>
                <a:gd name="connsiteY122" fmla="*/ 349175 h 3841229"/>
                <a:gd name="connsiteX123" fmla="*/ 1536314 w 1573740"/>
                <a:gd name="connsiteY123" fmla="*/ 425271 h 3841229"/>
                <a:gd name="connsiteX124" fmla="*/ 1435343 w 1573740"/>
                <a:gd name="connsiteY124" fmla="*/ 454265 h 3841229"/>
                <a:gd name="connsiteX125" fmla="*/ 1419809 w 1573740"/>
                <a:gd name="connsiteY125" fmla="*/ 501372 h 3841229"/>
                <a:gd name="connsiteX126" fmla="*/ 1477479 w 1573740"/>
                <a:gd name="connsiteY126" fmla="*/ 585862 h 3841229"/>
                <a:gd name="connsiteX127" fmla="*/ 1513013 w 1573740"/>
                <a:gd name="connsiteY127" fmla="*/ 591964 h 3841229"/>
                <a:gd name="connsiteX128" fmla="*/ 1565633 w 1573740"/>
                <a:gd name="connsiteY128" fmla="*/ 598304 h 3841229"/>
                <a:gd name="connsiteX129" fmla="*/ 1568983 w 1573740"/>
                <a:gd name="connsiteY129" fmla="*/ 706492 h 3841229"/>
                <a:gd name="connsiteX130" fmla="*/ 1571739 w 1573740"/>
                <a:gd name="connsiteY130" fmla="*/ 1040047 h 3841229"/>
                <a:gd name="connsiteX131" fmla="*/ 1562871 w 1573740"/>
                <a:gd name="connsiteY131" fmla="*/ 1842646 h 3841229"/>
                <a:gd name="connsiteX132" fmla="*/ 1566197 w 1573740"/>
                <a:gd name="connsiteY132" fmla="*/ 2297728 h 3841229"/>
                <a:gd name="connsiteX133" fmla="*/ 1561917 w 1573740"/>
                <a:gd name="connsiteY133" fmla="*/ 3721463 h 3841229"/>
                <a:gd name="connsiteX134" fmla="*/ 1556603 w 1573740"/>
                <a:gd name="connsiteY134" fmla="*/ 3758050 h 3841229"/>
                <a:gd name="connsiteX135" fmla="*/ 1534434 w 1573740"/>
                <a:gd name="connsiteY135" fmla="*/ 3701165 h 3841229"/>
                <a:gd name="connsiteX136" fmla="*/ 1545518 w 1573740"/>
                <a:gd name="connsiteY136" fmla="*/ 3688238 h 3841229"/>
                <a:gd name="connsiteX137" fmla="*/ 1503953 w 1573740"/>
                <a:gd name="connsiteY137" fmla="*/ 3670136 h 3841229"/>
                <a:gd name="connsiteX138" fmla="*/ 1473471 w 1573740"/>
                <a:gd name="connsiteY138" fmla="*/ 3685650 h 3841229"/>
                <a:gd name="connsiteX139" fmla="*/ 1445761 w 1573740"/>
                <a:gd name="connsiteY139" fmla="*/ 3652040 h 3841229"/>
                <a:gd name="connsiteX140" fmla="*/ 1398654 w 1573740"/>
                <a:gd name="connsiteY140" fmla="*/ 3659796 h 3841229"/>
                <a:gd name="connsiteX141" fmla="*/ 1357089 w 1573740"/>
                <a:gd name="connsiteY141" fmla="*/ 3662380 h 3841229"/>
                <a:gd name="connsiteX142" fmla="*/ 1343234 w 1573740"/>
                <a:gd name="connsiteY142" fmla="*/ 3631352 h 3841229"/>
                <a:gd name="connsiteX143" fmla="*/ 1304439 w 1573740"/>
                <a:gd name="connsiteY143" fmla="*/ 3641695 h 3841229"/>
                <a:gd name="connsiteX144" fmla="*/ 1290584 w 1573740"/>
                <a:gd name="connsiteY144" fmla="*/ 3610666 h 3841229"/>
                <a:gd name="connsiteX145" fmla="*/ 1195420 w 1573740"/>
                <a:gd name="connsiteY145" fmla="*/ 3605469 h 3841229"/>
                <a:gd name="connsiteX146" fmla="*/ 1013482 w 1573740"/>
                <a:gd name="connsiteY146" fmla="*/ 3592567 h 3841229"/>
                <a:gd name="connsiteX147" fmla="*/ 1123928 w 1573740"/>
                <a:gd name="connsiteY147" fmla="*/ 3663387 h 3841229"/>
                <a:gd name="connsiteX148" fmla="*/ 907787 w 1573740"/>
                <a:gd name="connsiteY148" fmla="*/ 3629257 h 3841229"/>
                <a:gd name="connsiteX149" fmla="*/ 776238 w 1573740"/>
                <a:gd name="connsiteY149" fmla="*/ 3504783 h 3841229"/>
                <a:gd name="connsiteX150" fmla="*/ 708669 w 1573740"/>
                <a:gd name="connsiteY150" fmla="*/ 3437426 h 3841229"/>
                <a:gd name="connsiteX151" fmla="*/ 739150 w 1573740"/>
                <a:gd name="connsiteY151" fmla="*/ 3437426 h 3841229"/>
                <a:gd name="connsiteX152" fmla="*/ 750233 w 1573740"/>
                <a:gd name="connsiteY152" fmla="*/ 3408982 h 3841229"/>
                <a:gd name="connsiteX153" fmla="*/ 783486 w 1573740"/>
                <a:gd name="connsiteY153" fmla="*/ 3354683 h 3841229"/>
                <a:gd name="connsiteX154" fmla="*/ 747462 w 1573740"/>
                <a:gd name="connsiteY154" fmla="*/ 3297798 h 3841229"/>
                <a:gd name="connsiteX155" fmla="*/ 836135 w 1573740"/>
                <a:gd name="connsiteY155" fmla="*/ 3225398 h 3841229"/>
                <a:gd name="connsiteX156" fmla="*/ 902641 w 1573740"/>
                <a:gd name="connsiteY156" fmla="*/ 3217642 h 3841229"/>
                <a:gd name="connsiteX157" fmla="*/ 955289 w 1573740"/>
                <a:gd name="connsiteY157" fmla="*/ 3160756 h 3841229"/>
                <a:gd name="connsiteX158" fmla="*/ 1024565 w 1573740"/>
                <a:gd name="connsiteY158" fmla="*/ 3114213 h 3841229"/>
                <a:gd name="connsiteX159" fmla="*/ 1019023 w 1573740"/>
                <a:gd name="connsiteY159" fmla="*/ 3067671 h 3841229"/>
                <a:gd name="connsiteX160" fmla="*/ 1043963 w 1573740"/>
                <a:gd name="connsiteY160" fmla="*/ 3028886 h 3841229"/>
                <a:gd name="connsiteX161" fmla="*/ 1016252 w 1573740"/>
                <a:gd name="connsiteY161" fmla="*/ 3026300 h 3841229"/>
                <a:gd name="connsiteX162" fmla="*/ 1031704 w 1573740"/>
                <a:gd name="connsiteY162" fmla="*/ 2992878 h 3841229"/>
                <a:gd name="connsiteX163" fmla="*/ 914211 w 1573740"/>
                <a:gd name="connsiteY163" fmla="*/ 2928233 h 3841229"/>
                <a:gd name="connsiteX164" fmla="*/ 877701 w 1573740"/>
                <a:gd name="connsiteY164" fmla="*/ 2920285 h 3841229"/>
                <a:gd name="connsiteX165" fmla="*/ 858304 w 1573740"/>
                <a:gd name="connsiteY165" fmla="*/ 2909943 h 3841229"/>
                <a:gd name="connsiteX166" fmla="*/ 827823 w 1573740"/>
                <a:gd name="connsiteY166" fmla="*/ 2881501 h 3841229"/>
                <a:gd name="connsiteX167" fmla="*/ 761317 w 1573740"/>
                <a:gd name="connsiteY167" fmla="*/ 2897015 h 3841229"/>
                <a:gd name="connsiteX168" fmla="*/ 700355 w 1573740"/>
                <a:gd name="connsiteY168" fmla="*/ 2881501 h 3841229"/>
                <a:gd name="connsiteX169" fmla="*/ 658790 w 1573740"/>
                <a:gd name="connsiteY169" fmla="*/ 2827201 h 3841229"/>
                <a:gd name="connsiteX170" fmla="*/ 656019 w 1573740"/>
                <a:gd name="connsiteY170" fmla="*/ 2785830 h 3841229"/>
                <a:gd name="connsiteX171" fmla="*/ 631080 w 1573740"/>
                <a:gd name="connsiteY171" fmla="*/ 2772902 h 3841229"/>
                <a:gd name="connsiteX172" fmla="*/ 567346 w 1573740"/>
                <a:gd name="connsiteY172" fmla="*/ 2759974 h 3841229"/>
                <a:gd name="connsiteX173" fmla="*/ 586743 w 1573740"/>
                <a:gd name="connsiteY173" fmla="*/ 2721188 h 3841229"/>
                <a:gd name="connsiteX174" fmla="*/ 557777 w 1573740"/>
                <a:gd name="connsiteY174" fmla="*/ 2715007 h 3841229"/>
                <a:gd name="connsiteX175" fmla="*/ 531809 w 1573740"/>
                <a:gd name="connsiteY175" fmla="*/ 2672771 h 3841229"/>
                <a:gd name="connsiteX176" fmla="*/ 414939 w 1573740"/>
                <a:gd name="connsiteY176" fmla="*/ 2682402 h 3841229"/>
                <a:gd name="connsiteX177" fmla="*/ 390000 w 1573740"/>
                <a:gd name="connsiteY177" fmla="*/ 2672059 h 3841229"/>
                <a:gd name="connsiteX178" fmla="*/ 367832 w 1573740"/>
                <a:gd name="connsiteY178" fmla="*/ 2684989 h 3841229"/>
                <a:gd name="connsiteX179" fmla="*/ 351205 w 1573740"/>
                <a:gd name="connsiteY179" fmla="*/ 2622932 h 3841229"/>
                <a:gd name="connsiteX180" fmla="*/ 340121 w 1573740"/>
                <a:gd name="connsiteY180" fmla="*/ 2597075 h 3841229"/>
                <a:gd name="connsiteX181" fmla="*/ 353976 w 1573740"/>
                <a:gd name="connsiteY181" fmla="*/ 2578974 h 3841229"/>
                <a:gd name="connsiteX182" fmla="*/ 381687 w 1573740"/>
                <a:gd name="connsiteY182" fmla="*/ 2581561 h 3841229"/>
                <a:gd name="connsiteX183" fmla="*/ 414939 w 1573740"/>
                <a:gd name="connsiteY183" fmla="*/ 2563461 h 3841229"/>
                <a:gd name="connsiteX184" fmla="*/ 412168 w 1573740"/>
                <a:gd name="connsiteY184" fmla="*/ 2537603 h 3841229"/>
                <a:gd name="connsiteX185" fmla="*/ 362289 w 1573740"/>
                <a:gd name="connsiteY185" fmla="*/ 2501404 h 3841229"/>
                <a:gd name="connsiteX186" fmla="*/ 338946 w 1573740"/>
                <a:gd name="connsiteY186" fmla="*/ 2513491 h 3841229"/>
                <a:gd name="connsiteX187" fmla="*/ 340121 w 1573740"/>
                <a:gd name="connsiteY187" fmla="*/ 2467790 h 3841229"/>
                <a:gd name="connsiteX188" fmla="*/ 306869 w 1573740"/>
                <a:gd name="connsiteY188" fmla="*/ 2429005 h 3841229"/>
                <a:gd name="connsiteX189" fmla="*/ 309641 w 1573740"/>
                <a:gd name="connsiteY189" fmla="*/ 2351433 h 3841229"/>
                <a:gd name="connsiteX190" fmla="*/ 290243 w 1573740"/>
                <a:gd name="connsiteY190" fmla="*/ 2299720 h 3841229"/>
                <a:gd name="connsiteX191" fmla="*/ 256991 w 1573740"/>
                <a:gd name="connsiteY191" fmla="*/ 2266106 h 3841229"/>
                <a:gd name="connsiteX192" fmla="*/ 218196 w 1573740"/>
                <a:gd name="connsiteY192" fmla="*/ 2242835 h 3841229"/>
                <a:gd name="connsiteX193" fmla="*/ 176631 w 1573740"/>
                <a:gd name="connsiteY193" fmla="*/ 2250592 h 3841229"/>
                <a:gd name="connsiteX194" fmla="*/ 122255 w 1573740"/>
                <a:gd name="connsiteY194" fmla="*/ 2214066 h 3841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573740" h="3841229">
                  <a:moveTo>
                    <a:pt x="122255" y="2214066"/>
                  </a:moveTo>
                  <a:cubicBezTo>
                    <a:pt x="27312" y="2177145"/>
                    <a:pt x="73814" y="2229420"/>
                    <a:pt x="63018" y="2216977"/>
                  </a:cubicBezTo>
                  <a:cubicBezTo>
                    <a:pt x="52222" y="2204534"/>
                    <a:pt x="63481" y="2134235"/>
                    <a:pt x="60248" y="2118721"/>
                  </a:cubicBezTo>
                  <a:cubicBezTo>
                    <a:pt x="57015" y="2103207"/>
                    <a:pt x="66715" y="2093295"/>
                    <a:pt x="65791" y="2079936"/>
                  </a:cubicBezTo>
                  <a:cubicBezTo>
                    <a:pt x="83168" y="2042496"/>
                    <a:pt x="66714" y="2040288"/>
                    <a:pt x="68561" y="2030807"/>
                  </a:cubicBezTo>
                  <a:cubicBezTo>
                    <a:pt x="60074" y="2000264"/>
                    <a:pt x="47318" y="2034689"/>
                    <a:pt x="54707" y="2028225"/>
                  </a:cubicBezTo>
                  <a:cubicBezTo>
                    <a:pt x="62096" y="2021761"/>
                    <a:pt x="118901" y="1999780"/>
                    <a:pt x="118439" y="1992023"/>
                  </a:cubicBezTo>
                  <a:cubicBezTo>
                    <a:pt x="117977" y="1981249"/>
                    <a:pt x="93500" y="1974354"/>
                    <a:pt x="82416" y="1963580"/>
                  </a:cubicBezTo>
                  <a:cubicBezTo>
                    <a:pt x="71332" y="1952806"/>
                    <a:pt x="59786" y="1938154"/>
                    <a:pt x="51935" y="1927380"/>
                  </a:cubicBezTo>
                  <a:cubicBezTo>
                    <a:pt x="44372" y="1882185"/>
                    <a:pt x="42236" y="1907556"/>
                    <a:pt x="40850" y="1893766"/>
                  </a:cubicBezTo>
                  <a:cubicBezTo>
                    <a:pt x="39464" y="1879976"/>
                    <a:pt x="37617" y="1854982"/>
                    <a:pt x="43621" y="1844639"/>
                  </a:cubicBezTo>
                  <a:cubicBezTo>
                    <a:pt x="46392" y="1825246"/>
                    <a:pt x="70870" y="1836881"/>
                    <a:pt x="82416" y="1826538"/>
                  </a:cubicBezTo>
                  <a:cubicBezTo>
                    <a:pt x="93962" y="1816195"/>
                    <a:pt x="108281" y="1792062"/>
                    <a:pt x="112899" y="1782581"/>
                  </a:cubicBezTo>
                  <a:cubicBezTo>
                    <a:pt x="117517" y="1773100"/>
                    <a:pt x="116592" y="1760602"/>
                    <a:pt x="96271" y="1754138"/>
                  </a:cubicBezTo>
                  <a:cubicBezTo>
                    <a:pt x="73179" y="1721817"/>
                    <a:pt x="53782" y="1751552"/>
                    <a:pt x="40851" y="1746381"/>
                  </a:cubicBezTo>
                  <a:cubicBezTo>
                    <a:pt x="27920" y="1741210"/>
                    <a:pt x="3443" y="1745088"/>
                    <a:pt x="2057" y="1730867"/>
                  </a:cubicBezTo>
                  <a:cubicBezTo>
                    <a:pt x="-5506" y="1651196"/>
                    <a:pt x="43621" y="1697253"/>
                    <a:pt x="38079" y="1689496"/>
                  </a:cubicBezTo>
                  <a:cubicBezTo>
                    <a:pt x="32537" y="1681739"/>
                    <a:pt x="26534" y="1686479"/>
                    <a:pt x="18683" y="1679153"/>
                  </a:cubicBezTo>
                  <a:cubicBezTo>
                    <a:pt x="10832" y="1671827"/>
                    <a:pt x="-5796" y="1645107"/>
                    <a:pt x="2055" y="1640367"/>
                  </a:cubicBezTo>
                  <a:cubicBezTo>
                    <a:pt x="9906" y="1635627"/>
                    <a:pt x="53782" y="1654589"/>
                    <a:pt x="65790" y="1650711"/>
                  </a:cubicBezTo>
                  <a:cubicBezTo>
                    <a:pt x="77798" y="1646833"/>
                    <a:pt x="72256" y="1645540"/>
                    <a:pt x="93501" y="1627440"/>
                  </a:cubicBezTo>
                  <a:cubicBezTo>
                    <a:pt x="114746" y="1609340"/>
                    <a:pt x="163700" y="1551593"/>
                    <a:pt x="187716" y="1536941"/>
                  </a:cubicBezTo>
                  <a:cubicBezTo>
                    <a:pt x="211732" y="1522289"/>
                    <a:pt x="208498" y="1502464"/>
                    <a:pt x="212655" y="1505912"/>
                  </a:cubicBezTo>
                  <a:cubicBezTo>
                    <a:pt x="223277" y="1498586"/>
                    <a:pt x="197877" y="1541250"/>
                    <a:pt x="198801" y="1555040"/>
                  </a:cubicBezTo>
                  <a:cubicBezTo>
                    <a:pt x="199725" y="1568830"/>
                    <a:pt x="210808" y="1568400"/>
                    <a:pt x="218197" y="1588655"/>
                  </a:cubicBezTo>
                  <a:cubicBezTo>
                    <a:pt x="225587" y="1608910"/>
                    <a:pt x="238518" y="1652435"/>
                    <a:pt x="262534" y="1666225"/>
                  </a:cubicBezTo>
                  <a:cubicBezTo>
                    <a:pt x="249891" y="1654213"/>
                    <a:pt x="318417" y="1663209"/>
                    <a:pt x="331810" y="1653297"/>
                  </a:cubicBezTo>
                  <a:cubicBezTo>
                    <a:pt x="345203" y="1643385"/>
                    <a:pt x="343355" y="1637782"/>
                    <a:pt x="351206" y="1622268"/>
                  </a:cubicBezTo>
                  <a:cubicBezTo>
                    <a:pt x="359057" y="1606754"/>
                    <a:pt x="378917" y="1577451"/>
                    <a:pt x="365062" y="1557627"/>
                  </a:cubicBezTo>
                  <a:cubicBezTo>
                    <a:pt x="339026" y="1546046"/>
                    <a:pt x="321649" y="1523151"/>
                    <a:pt x="304099" y="1511084"/>
                  </a:cubicBezTo>
                  <a:cubicBezTo>
                    <a:pt x="278236" y="1514530"/>
                    <a:pt x="275003" y="1489536"/>
                    <a:pt x="259763" y="1485227"/>
                  </a:cubicBezTo>
                  <a:cubicBezTo>
                    <a:pt x="230205" y="1479194"/>
                    <a:pt x="174323" y="1529184"/>
                    <a:pt x="198801" y="1495570"/>
                  </a:cubicBezTo>
                  <a:cubicBezTo>
                    <a:pt x="205728" y="1477901"/>
                    <a:pt x="285624" y="1422306"/>
                    <a:pt x="315182" y="1389554"/>
                  </a:cubicBezTo>
                  <a:cubicBezTo>
                    <a:pt x="344740" y="1356802"/>
                    <a:pt x="366448" y="1316295"/>
                    <a:pt x="376147" y="1299057"/>
                  </a:cubicBezTo>
                  <a:cubicBezTo>
                    <a:pt x="385846" y="1281819"/>
                    <a:pt x="372913" y="1287420"/>
                    <a:pt x="359519" y="1275784"/>
                  </a:cubicBezTo>
                  <a:cubicBezTo>
                    <a:pt x="346125" y="1264148"/>
                    <a:pt x="318876" y="1247342"/>
                    <a:pt x="295785" y="1229242"/>
                  </a:cubicBezTo>
                  <a:cubicBezTo>
                    <a:pt x="272694" y="1211142"/>
                    <a:pt x="225587" y="1175374"/>
                    <a:pt x="223740" y="1151672"/>
                  </a:cubicBezTo>
                  <a:cubicBezTo>
                    <a:pt x="221893" y="1127970"/>
                    <a:pt x="289320" y="1099098"/>
                    <a:pt x="284703" y="1089617"/>
                  </a:cubicBezTo>
                  <a:cubicBezTo>
                    <a:pt x="265767" y="1065915"/>
                    <a:pt x="232515" y="1060741"/>
                    <a:pt x="218198" y="1050829"/>
                  </a:cubicBezTo>
                  <a:cubicBezTo>
                    <a:pt x="203881" y="1040917"/>
                    <a:pt x="269923" y="1029714"/>
                    <a:pt x="259763" y="1019802"/>
                  </a:cubicBezTo>
                  <a:cubicBezTo>
                    <a:pt x="249603" y="1009891"/>
                    <a:pt x="220508" y="1031440"/>
                    <a:pt x="212657" y="993947"/>
                  </a:cubicBezTo>
                  <a:cubicBezTo>
                    <a:pt x="204806" y="956454"/>
                    <a:pt x="222354" y="819409"/>
                    <a:pt x="212656" y="794845"/>
                  </a:cubicBezTo>
                  <a:lnTo>
                    <a:pt x="251451" y="779332"/>
                  </a:lnTo>
                  <a:lnTo>
                    <a:pt x="137838" y="551792"/>
                  </a:lnTo>
                  <a:lnTo>
                    <a:pt x="135067" y="551792"/>
                  </a:lnTo>
                  <a:cubicBezTo>
                    <a:pt x="141533" y="538433"/>
                    <a:pt x="173861" y="497922"/>
                    <a:pt x="184945" y="469048"/>
                  </a:cubicBezTo>
                  <a:cubicBezTo>
                    <a:pt x="196029" y="440174"/>
                    <a:pt x="209884" y="403976"/>
                    <a:pt x="201571" y="378550"/>
                  </a:cubicBezTo>
                  <a:cubicBezTo>
                    <a:pt x="193258" y="353124"/>
                    <a:pt x="135065" y="340626"/>
                    <a:pt x="126752" y="319079"/>
                  </a:cubicBezTo>
                  <a:cubicBezTo>
                    <a:pt x="118439" y="297532"/>
                    <a:pt x="112436" y="276415"/>
                    <a:pt x="118440" y="251851"/>
                  </a:cubicBezTo>
                  <a:cubicBezTo>
                    <a:pt x="124444" y="227287"/>
                    <a:pt x="159081" y="177726"/>
                    <a:pt x="173860" y="158764"/>
                  </a:cubicBezTo>
                  <a:cubicBezTo>
                    <a:pt x="188639" y="139802"/>
                    <a:pt x="187716" y="142820"/>
                    <a:pt x="193258" y="135494"/>
                  </a:cubicBezTo>
                  <a:cubicBezTo>
                    <a:pt x="198800" y="128168"/>
                    <a:pt x="205266" y="127737"/>
                    <a:pt x="207113" y="117394"/>
                  </a:cubicBezTo>
                  <a:cubicBezTo>
                    <a:pt x="208960" y="107051"/>
                    <a:pt x="208960" y="74731"/>
                    <a:pt x="215426" y="73438"/>
                  </a:cubicBezTo>
                  <a:cubicBezTo>
                    <a:pt x="221892" y="72145"/>
                    <a:pt x="229281" y="100156"/>
                    <a:pt x="240365" y="101880"/>
                  </a:cubicBezTo>
                  <a:cubicBezTo>
                    <a:pt x="251449" y="103604"/>
                    <a:pt x="265305" y="92830"/>
                    <a:pt x="270847" y="88952"/>
                  </a:cubicBezTo>
                  <a:cubicBezTo>
                    <a:pt x="287012" y="72576"/>
                    <a:pt x="271770" y="72145"/>
                    <a:pt x="273617" y="63095"/>
                  </a:cubicBezTo>
                  <a:cubicBezTo>
                    <a:pt x="275464" y="54045"/>
                    <a:pt x="281007" y="44564"/>
                    <a:pt x="281931" y="34652"/>
                  </a:cubicBezTo>
                  <a:cubicBezTo>
                    <a:pt x="282855" y="24740"/>
                    <a:pt x="260225" y="-1547"/>
                    <a:pt x="284703" y="3624"/>
                  </a:cubicBezTo>
                  <a:cubicBezTo>
                    <a:pt x="319341" y="-13183"/>
                    <a:pt x="399239" y="32498"/>
                    <a:pt x="420483" y="57924"/>
                  </a:cubicBezTo>
                  <a:cubicBezTo>
                    <a:pt x="441727" y="83350"/>
                    <a:pt x="443574" y="137650"/>
                    <a:pt x="450963" y="161352"/>
                  </a:cubicBezTo>
                  <a:cubicBezTo>
                    <a:pt x="458352" y="185054"/>
                    <a:pt x="450964" y="179020"/>
                    <a:pt x="464819" y="184622"/>
                  </a:cubicBezTo>
                  <a:cubicBezTo>
                    <a:pt x="492529" y="216081"/>
                    <a:pt x="450040" y="193672"/>
                    <a:pt x="475903" y="187208"/>
                  </a:cubicBezTo>
                  <a:cubicBezTo>
                    <a:pt x="501766" y="180744"/>
                    <a:pt x="561805" y="161353"/>
                    <a:pt x="589515" y="156181"/>
                  </a:cubicBezTo>
                  <a:cubicBezTo>
                    <a:pt x="617225" y="151010"/>
                    <a:pt x="634314" y="160058"/>
                    <a:pt x="656020" y="166522"/>
                  </a:cubicBezTo>
                  <a:cubicBezTo>
                    <a:pt x="675417" y="184622"/>
                    <a:pt x="700357" y="194965"/>
                    <a:pt x="719754" y="213065"/>
                  </a:cubicBezTo>
                  <a:lnTo>
                    <a:pt x="733781" y="242621"/>
                  </a:lnTo>
                  <a:cubicBezTo>
                    <a:pt x="834924" y="260721"/>
                    <a:pt x="740564" y="244710"/>
                    <a:pt x="789028" y="277708"/>
                  </a:cubicBezTo>
                  <a:cubicBezTo>
                    <a:pt x="813015" y="290451"/>
                    <a:pt x="849530" y="292789"/>
                    <a:pt x="877702" y="303563"/>
                  </a:cubicBezTo>
                  <a:cubicBezTo>
                    <a:pt x="905874" y="314337"/>
                    <a:pt x="929427" y="336316"/>
                    <a:pt x="949748" y="350106"/>
                  </a:cubicBezTo>
                  <a:cubicBezTo>
                    <a:pt x="984848" y="370360"/>
                    <a:pt x="987157" y="386737"/>
                    <a:pt x="999627" y="401820"/>
                  </a:cubicBezTo>
                  <a:cubicBezTo>
                    <a:pt x="1012097" y="416903"/>
                    <a:pt x="1013482" y="430694"/>
                    <a:pt x="1024566" y="440606"/>
                  </a:cubicBezTo>
                  <a:cubicBezTo>
                    <a:pt x="1074878" y="478775"/>
                    <a:pt x="1055048" y="424660"/>
                    <a:pt x="1057819" y="466462"/>
                  </a:cubicBezTo>
                  <a:cubicBezTo>
                    <a:pt x="1060590" y="508264"/>
                    <a:pt x="1068439" y="647029"/>
                    <a:pt x="1041191" y="691417"/>
                  </a:cubicBezTo>
                  <a:cubicBezTo>
                    <a:pt x="1013943" y="735805"/>
                    <a:pt x="953905" y="758215"/>
                    <a:pt x="913725" y="771575"/>
                  </a:cubicBezTo>
                  <a:cubicBezTo>
                    <a:pt x="873545" y="784935"/>
                    <a:pt x="842140" y="781486"/>
                    <a:pt x="800113" y="779331"/>
                  </a:cubicBezTo>
                  <a:cubicBezTo>
                    <a:pt x="758086" y="777176"/>
                    <a:pt x="699893" y="766833"/>
                    <a:pt x="661560" y="758645"/>
                  </a:cubicBezTo>
                  <a:cubicBezTo>
                    <a:pt x="623227" y="750457"/>
                    <a:pt x="579353" y="717274"/>
                    <a:pt x="570116" y="722445"/>
                  </a:cubicBezTo>
                  <a:cubicBezTo>
                    <a:pt x="551152" y="755011"/>
                    <a:pt x="543765" y="732188"/>
                    <a:pt x="550719" y="750888"/>
                  </a:cubicBezTo>
                  <a:cubicBezTo>
                    <a:pt x="557673" y="769588"/>
                    <a:pt x="575793" y="793104"/>
                    <a:pt x="581361" y="824301"/>
                  </a:cubicBezTo>
                  <a:cubicBezTo>
                    <a:pt x="576278" y="877291"/>
                    <a:pt x="547461" y="938245"/>
                    <a:pt x="586902" y="951000"/>
                  </a:cubicBezTo>
                  <a:cubicBezTo>
                    <a:pt x="588723" y="983152"/>
                    <a:pt x="542894" y="1004886"/>
                    <a:pt x="559032" y="1012043"/>
                  </a:cubicBezTo>
                  <a:cubicBezTo>
                    <a:pt x="575170" y="1019200"/>
                    <a:pt x="604752" y="1030573"/>
                    <a:pt x="614451" y="1032728"/>
                  </a:cubicBezTo>
                  <a:cubicBezTo>
                    <a:pt x="625047" y="1039455"/>
                    <a:pt x="624151" y="1046518"/>
                    <a:pt x="631079" y="1048242"/>
                  </a:cubicBezTo>
                  <a:cubicBezTo>
                    <a:pt x="638007" y="1049966"/>
                    <a:pt x="648168" y="1074530"/>
                    <a:pt x="656019" y="1074099"/>
                  </a:cubicBezTo>
                  <a:cubicBezTo>
                    <a:pt x="663870" y="1073668"/>
                    <a:pt x="641240" y="1066773"/>
                    <a:pt x="653248" y="1076685"/>
                  </a:cubicBezTo>
                  <a:cubicBezTo>
                    <a:pt x="665256" y="1086597"/>
                    <a:pt x="686961" y="1087028"/>
                    <a:pt x="692041" y="1071514"/>
                  </a:cubicBezTo>
                  <a:cubicBezTo>
                    <a:pt x="697121" y="1056000"/>
                    <a:pt x="705435" y="1054276"/>
                    <a:pt x="700355" y="1035314"/>
                  </a:cubicBezTo>
                  <a:cubicBezTo>
                    <a:pt x="695275" y="1016352"/>
                    <a:pt x="653247" y="976274"/>
                    <a:pt x="661560" y="957743"/>
                  </a:cubicBezTo>
                  <a:cubicBezTo>
                    <a:pt x="669873" y="939212"/>
                    <a:pt x="706147" y="915082"/>
                    <a:pt x="730836" y="911200"/>
                  </a:cubicBezTo>
                  <a:cubicBezTo>
                    <a:pt x="755525" y="907318"/>
                    <a:pt x="780570" y="915748"/>
                    <a:pt x="798608" y="918934"/>
                  </a:cubicBezTo>
                  <a:cubicBezTo>
                    <a:pt x="827701" y="1002953"/>
                    <a:pt x="791129" y="956517"/>
                    <a:pt x="822441" y="951001"/>
                  </a:cubicBezTo>
                  <a:cubicBezTo>
                    <a:pt x="853754" y="945485"/>
                    <a:pt x="953231" y="1003486"/>
                    <a:pt x="978170" y="1007364"/>
                  </a:cubicBezTo>
                  <a:cubicBezTo>
                    <a:pt x="1003109" y="1011242"/>
                    <a:pt x="971705" y="984098"/>
                    <a:pt x="963762" y="971687"/>
                  </a:cubicBezTo>
                  <a:cubicBezTo>
                    <a:pt x="955819" y="959277"/>
                    <a:pt x="939285" y="948415"/>
                    <a:pt x="930510" y="932901"/>
                  </a:cubicBezTo>
                  <a:cubicBezTo>
                    <a:pt x="922567" y="911441"/>
                    <a:pt x="914808" y="897994"/>
                    <a:pt x="919426" y="881187"/>
                  </a:cubicBezTo>
                  <a:cubicBezTo>
                    <a:pt x="924044" y="864380"/>
                    <a:pt x="949446" y="844127"/>
                    <a:pt x="958221" y="832060"/>
                  </a:cubicBezTo>
                  <a:cubicBezTo>
                    <a:pt x="966996" y="819993"/>
                    <a:pt x="975309" y="815684"/>
                    <a:pt x="985931" y="803617"/>
                  </a:cubicBezTo>
                  <a:cubicBezTo>
                    <a:pt x="996553" y="791550"/>
                    <a:pt x="997478" y="775605"/>
                    <a:pt x="1010871" y="767417"/>
                  </a:cubicBezTo>
                  <a:cubicBezTo>
                    <a:pt x="1024264" y="759229"/>
                    <a:pt x="1074143" y="766555"/>
                    <a:pt x="1091231" y="762245"/>
                  </a:cubicBezTo>
                  <a:cubicBezTo>
                    <a:pt x="1108319" y="757936"/>
                    <a:pt x="1091692" y="751041"/>
                    <a:pt x="1096772" y="741560"/>
                  </a:cubicBezTo>
                  <a:cubicBezTo>
                    <a:pt x="1101852" y="732079"/>
                    <a:pt x="1114692" y="714325"/>
                    <a:pt x="1121712" y="705360"/>
                  </a:cubicBezTo>
                  <a:cubicBezTo>
                    <a:pt x="1128732" y="696395"/>
                    <a:pt x="1140737" y="687772"/>
                    <a:pt x="1155516" y="687772"/>
                  </a:cubicBezTo>
                  <a:cubicBezTo>
                    <a:pt x="1170295" y="687772"/>
                    <a:pt x="1197084" y="694672"/>
                    <a:pt x="1213156" y="700189"/>
                  </a:cubicBezTo>
                  <a:cubicBezTo>
                    <a:pt x="1229228" y="705706"/>
                    <a:pt x="1237170" y="716996"/>
                    <a:pt x="1251949" y="720875"/>
                  </a:cubicBezTo>
                  <a:cubicBezTo>
                    <a:pt x="1266728" y="724754"/>
                    <a:pt x="1289358" y="726046"/>
                    <a:pt x="1299057" y="728632"/>
                  </a:cubicBezTo>
                  <a:cubicBezTo>
                    <a:pt x="1308756" y="731218"/>
                    <a:pt x="1257029" y="763969"/>
                    <a:pt x="1299057" y="733803"/>
                  </a:cubicBezTo>
                  <a:cubicBezTo>
                    <a:pt x="1305061" y="713979"/>
                    <a:pt x="1312636" y="685106"/>
                    <a:pt x="1321226" y="674332"/>
                  </a:cubicBezTo>
                  <a:cubicBezTo>
                    <a:pt x="1329816" y="663558"/>
                    <a:pt x="1335358" y="648040"/>
                    <a:pt x="1331201" y="640714"/>
                  </a:cubicBezTo>
                  <a:cubicBezTo>
                    <a:pt x="1327045" y="633388"/>
                    <a:pt x="1341796" y="631287"/>
                    <a:pt x="1337852" y="622618"/>
                  </a:cubicBezTo>
                  <a:cubicBezTo>
                    <a:pt x="1333908" y="613949"/>
                    <a:pt x="1338018" y="613698"/>
                    <a:pt x="1340789" y="591288"/>
                  </a:cubicBezTo>
                  <a:cubicBezTo>
                    <a:pt x="1325271" y="555089"/>
                    <a:pt x="1271375" y="542412"/>
                    <a:pt x="1260263" y="545048"/>
                  </a:cubicBezTo>
                  <a:cubicBezTo>
                    <a:pt x="1247766" y="554579"/>
                    <a:pt x="1245485" y="491610"/>
                    <a:pt x="1246408" y="472648"/>
                  </a:cubicBezTo>
                  <a:cubicBezTo>
                    <a:pt x="1244561" y="457565"/>
                    <a:pt x="1244561" y="461443"/>
                    <a:pt x="1246408" y="454548"/>
                  </a:cubicBezTo>
                  <a:cubicBezTo>
                    <a:pt x="1248255" y="447653"/>
                    <a:pt x="1255644" y="437740"/>
                    <a:pt x="1257491" y="431276"/>
                  </a:cubicBezTo>
                  <a:cubicBezTo>
                    <a:pt x="1246841" y="430034"/>
                    <a:pt x="1258877" y="428690"/>
                    <a:pt x="1260263" y="415762"/>
                  </a:cubicBezTo>
                  <a:cubicBezTo>
                    <a:pt x="1261649" y="402834"/>
                    <a:pt x="1263033" y="371375"/>
                    <a:pt x="1260262" y="358878"/>
                  </a:cubicBezTo>
                  <a:cubicBezTo>
                    <a:pt x="1246379" y="344276"/>
                    <a:pt x="1250102" y="342933"/>
                    <a:pt x="1238094" y="335607"/>
                  </a:cubicBezTo>
                  <a:cubicBezTo>
                    <a:pt x="1226086" y="328281"/>
                    <a:pt x="1217545" y="312499"/>
                    <a:pt x="1210384" y="304578"/>
                  </a:cubicBezTo>
                  <a:cubicBezTo>
                    <a:pt x="1197682" y="293210"/>
                    <a:pt x="1200674" y="287220"/>
                    <a:pt x="1206216" y="280325"/>
                  </a:cubicBezTo>
                  <a:cubicBezTo>
                    <a:pt x="1194181" y="256242"/>
                    <a:pt x="1240016" y="259242"/>
                    <a:pt x="1257492" y="258034"/>
                  </a:cubicBezTo>
                  <a:cubicBezTo>
                    <a:pt x="1274968" y="256826"/>
                    <a:pt x="1289473" y="266431"/>
                    <a:pt x="1311072" y="267906"/>
                  </a:cubicBezTo>
                  <a:cubicBezTo>
                    <a:pt x="1332671" y="269381"/>
                    <a:pt x="1362672" y="267133"/>
                    <a:pt x="1389856" y="279816"/>
                  </a:cubicBezTo>
                  <a:cubicBezTo>
                    <a:pt x="1413473" y="268769"/>
                    <a:pt x="1456057" y="323809"/>
                    <a:pt x="1474179" y="349175"/>
                  </a:cubicBezTo>
                  <a:cubicBezTo>
                    <a:pt x="1503952" y="367293"/>
                    <a:pt x="1542787" y="407756"/>
                    <a:pt x="1536314" y="425271"/>
                  </a:cubicBezTo>
                  <a:cubicBezTo>
                    <a:pt x="1555401" y="433550"/>
                    <a:pt x="1452172" y="439770"/>
                    <a:pt x="1435343" y="454265"/>
                  </a:cubicBezTo>
                  <a:cubicBezTo>
                    <a:pt x="1418514" y="468760"/>
                    <a:pt x="1414728" y="481251"/>
                    <a:pt x="1419809" y="501372"/>
                  </a:cubicBezTo>
                  <a:cubicBezTo>
                    <a:pt x="1424890" y="521493"/>
                    <a:pt x="1468418" y="568348"/>
                    <a:pt x="1477479" y="585862"/>
                  </a:cubicBezTo>
                  <a:cubicBezTo>
                    <a:pt x="1507569" y="616487"/>
                    <a:pt x="1497026" y="594118"/>
                    <a:pt x="1513013" y="591964"/>
                  </a:cubicBezTo>
                  <a:cubicBezTo>
                    <a:pt x="1529000" y="589810"/>
                    <a:pt x="1557690" y="579993"/>
                    <a:pt x="1565633" y="598304"/>
                  </a:cubicBezTo>
                  <a:cubicBezTo>
                    <a:pt x="1573576" y="616615"/>
                    <a:pt x="1574708" y="636230"/>
                    <a:pt x="1568983" y="706492"/>
                  </a:cubicBezTo>
                  <a:cubicBezTo>
                    <a:pt x="1563258" y="776754"/>
                    <a:pt x="1579128" y="851119"/>
                    <a:pt x="1571739" y="1040047"/>
                  </a:cubicBezTo>
                  <a:cubicBezTo>
                    <a:pt x="1564350" y="1228975"/>
                    <a:pt x="1570261" y="1628895"/>
                    <a:pt x="1562871" y="1842646"/>
                  </a:cubicBezTo>
                  <a:cubicBezTo>
                    <a:pt x="1555482" y="2056397"/>
                    <a:pt x="1566171" y="2000795"/>
                    <a:pt x="1566197" y="2297728"/>
                  </a:cubicBezTo>
                  <a:cubicBezTo>
                    <a:pt x="1546985" y="2799428"/>
                    <a:pt x="1578488" y="3432804"/>
                    <a:pt x="1561917" y="3721463"/>
                  </a:cubicBezTo>
                  <a:cubicBezTo>
                    <a:pt x="1559395" y="3964850"/>
                    <a:pt x="1558874" y="3762726"/>
                    <a:pt x="1556603" y="3758050"/>
                  </a:cubicBezTo>
                  <a:cubicBezTo>
                    <a:pt x="1553870" y="3755098"/>
                    <a:pt x="1536281" y="3712800"/>
                    <a:pt x="1534434" y="3701165"/>
                  </a:cubicBezTo>
                  <a:cubicBezTo>
                    <a:pt x="1532587" y="3689530"/>
                    <a:pt x="1550598" y="3690393"/>
                    <a:pt x="1545518" y="3688238"/>
                  </a:cubicBezTo>
                  <a:cubicBezTo>
                    <a:pt x="1540438" y="3686083"/>
                    <a:pt x="1515961" y="3670567"/>
                    <a:pt x="1503953" y="3670136"/>
                  </a:cubicBezTo>
                  <a:cubicBezTo>
                    <a:pt x="1491945" y="3669705"/>
                    <a:pt x="1483170" y="3691683"/>
                    <a:pt x="1473471" y="3685650"/>
                  </a:cubicBezTo>
                  <a:cubicBezTo>
                    <a:pt x="1463772" y="3679617"/>
                    <a:pt x="1461002" y="3654625"/>
                    <a:pt x="1445761" y="3652040"/>
                  </a:cubicBezTo>
                  <a:cubicBezTo>
                    <a:pt x="1430521" y="3649455"/>
                    <a:pt x="1413433" y="3658073"/>
                    <a:pt x="1398654" y="3659796"/>
                  </a:cubicBezTo>
                  <a:cubicBezTo>
                    <a:pt x="1383875" y="3661519"/>
                    <a:pt x="1365864" y="3667982"/>
                    <a:pt x="1357089" y="3662380"/>
                  </a:cubicBezTo>
                  <a:cubicBezTo>
                    <a:pt x="1348314" y="3656778"/>
                    <a:pt x="1351547" y="3636093"/>
                    <a:pt x="1343234" y="3631352"/>
                  </a:cubicBezTo>
                  <a:cubicBezTo>
                    <a:pt x="1334921" y="3626612"/>
                    <a:pt x="1313214" y="3645143"/>
                    <a:pt x="1304439" y="3641695"/>
                  </a:cubicBezTo>
                  <a:cubicBezTo>
                    <a:pt x="1295664" y="3638247"/>
                    <a:pt x="1309216" y="3615411"/>
                    <a:pt x="1290584" y="3610666"/>
                  </a:cubicBezTo>
                  <a:cubicBezTo>
                    <a:pt x="1265948" y="3606352"/>
                    <a:pt x="1238833" y="3611933"/>
                    <a:pt x="1195420" y="3605469"/>
                  </a:cubicBezTo>
                  <a:cubicBezTo>
                    <a:pt x="1130801" y="3612860"/>
                    <a:pt x="1045256" y="3577742"/>
                    <a:pt x="1013482" y="3592567"/>
                  </a:cubicBezTo>
                  <a:cubicBezTo>
                    <a:pt x="981708" y="3607392"/>
                    <a:pt x="1165559" y="3667184"/>
                    <a:pt x="1123928" y="3663387"/>
                  </a:cubicBezTo>
                  <a:cubicBezTo>
                    <a:pt x="1070724" y="3633048"/>
                    <a:pt x="953728" y="3657846"/>
                    <a:pt x="907787" y="3629257"/>
                  </a:cubicBezTo>
                  <a:cubicBezTo>
                    <a:pt x="861846" y="3600668"/>
                    <a:pt x="808039" y="3496677"/>
                    <a:pt x="776238" y="3504783"/>
                  </a:cubicBezTo>
                  <a:cubicBezTo>
                    <a:pt x="744437" y="3512889"/>
                    <a:pt x="715312" y="3450807"/>
                    <a:pt x="708669" y="3437426"/>
                  </a:cubicBezTo>
                  <a:cubicBezTo>
                    <a:pt x="702026" y="3424045"/>
                    <a:pt x="730837" y="3441736"/>
                    <a:pt x="739150" y="3437426"/>
                  </a:cubicBezTo>
                  <a:cubicBezTo>
                    <a:pt x="747463" y="3433116"/>
                    <a:pt x="742382" y="3420618"/>
                    <a:pt x="750233" y="3408982"/>
                  </a:cubicBezTo>
                  <a:cubicBezTo>
                    <a:pt x="758084" y="3397346"/>
                    <a:pt x="788104" y="3373645"/>
                    <a:pt x="783486" y="3354683"/>
                  </a:cubicBezTo>
                  <a:cubicBezTo>
                    <a:pt x="778868" y="3335721"/>
                    <a:pt x="739611" y="3321500"/>
                    <a:pt x="747462" y="3297798"/>
                  </a:cubicBezTo>
                  <a:cubicBezTo>
                    <a:pt x="755313" y="3274096"/>
                    <a:pt x="810272" y="3238757"/>
                    <a:pt x="836135" y="3225398"/>
                  </a:cubicBezTo>
                  <a:cubicBezTo>
                    <a:pt x="861998" y="3212039"/>
                    <a:pt x="882782" y="3229709"/>
                    <a:pt x="902641" y="3217642"/>
                  </a:cubicBezTo>
                  <a:cubicBezTo>
                    <a:pt x="930351" y="3199542"/>
                    <a:pt x="934045" y="3175408"/>
                    <a:pt x="955289" y="3160756"/>
                  </a:cubicBezTo>
                  <a:cubicBezTo>
                    <a:pt x="976533" y="3146104"/>
                    <a:pt x="1020408" y="3131020"/>
                    <a:pt x="1024565" y="3114213"/>
                  </a:cubicBezTo>
                  <a:cubicBezTo>
                    <a:pt x="1028722" y="3097406"/>
                    <a:pt x="1012557" y="3081461"/>
                    <a:pt x="1019023" y="3067671"/>
                  </a:cubicBezTo>
                  <a:cubicBezTo>
                    <a:pt x="1025489" y="3053881"/>
                    <a:pt x="1047196" y="3037936"/>
                    <a:pt x="1043963" y="3028886"/>
                  </a:cubicBezTo>
                  <a:cubicBezTo>
                    <a:pt x="1040730" y="3019836"/>
                    <a:pt x="1013215" y="3034456"/>
                    <a:pt x="1016252" y="3026300"/>
                  </a:cubicBezTo>
                  <a:cubicBezTo>
                    <a:pt x="1019289" y="3018144"/>
                    <a:pt x="1050096" y="3008360"/>
                    <a:pt x="1031704" y="2992878"/>
                  </a:cubicBezTo>
                  <a:lnTo>
                    <a:pt x="914211" y="2928233"/>
                  </a:lnTo>
                  <a:cubicBezTo>
                    <a:pt x="889006" y="2915272"/>
                    <a:pt x="887019" y="2923333"/>
                    <a:pt x="877701" y="2920285"/>
                  </a:cubicBezTo>
                  <a:cubicBezTo>
                    <a:pt x="868383" y="2917237"/>
                    <a:pt x="867079" y="2915545"/>
                    <a:pt x="858304" y="2909943"/>
                  </a:cubicBezTo>
                  <a:cubicBezTo>
                    <a:pt x="843906" y="2902154"/>
                    <a:pt x="843987" y="2881501"/>
                    <a:pt x="827823" y="2881501"/>
                  </a:cubicBezTo>
                  <a:cubicBezTo>
                    <a:pt x="813425" y="2887071"/>
                    <a:pt x="782100" y="2893568"/>
                    <a:pt x="761317" y="2897015"/>
                  </a:cubicBezTo>
                  <a:cubicBezTo>
                    <a:pt x="740534" y="2900462"/>
                    <a:pt x="716519" y="2891844"/>
                    <a:pt x="700355" y="2881501"/>
                  </a:cubicBezTo>
                  <a:cubicBezTo>
                    <a:pt x="670254" y="2876729"/>
                    <a:pt x="666179" y="2844870"/>
                    <a:pt x="658790" y="2827201"/>
                  </a:cubicBezTo>
                  <a:cubicBezTo>
                    <a:pt x="651401" y="2809532"/>
                    <a:pt x="661099" y="2794880"/>
                    <a:pt x="656019" y="2785830"/>
                  </a:cubicBezTo>
                  <a:cubicBezTo>
                    <a:pt x="650939" y="2776780"/>
                    <a:pt x="644473" y="2778073"/>
                    <a:pt x="631080" y="2772902"/>
                  </a:cubicBezTo>
                  <a:cubicBezTo>
                    <a:pt x="591743" y="2755201"/>
                    <a:pt x="574736" y="2767300"/>
                    <a:pt x="567346" y="2759974"/>
                  </a:cubicBezTo>
                  <a:cubicBezTo>
                    <a:pt x="559957" y="2752648"/>
                    <a:pt x="594804" y="2726959"/>
                    <a:pt x="586743" y="2721188"/>
                  </a:cubicBezTo>
                  <a:cubicBezTo>
                    <a:pt x="578682" y="2715417"/>
                    <a:pt x="563700" y="2725231"/>
                    <a:pt x="557777" y="2715007"/>
                  </a:cubicBezTo>
                  <a:lnTo>
                    <a:pt x="531809" y="2672771"/>
                  </a:lnTo>
                  <a:cubicBezTo>
                    <a:pt x="507079" y="2655270"/>
                    <a:pt x="444578" y="2695449"/>
                    <a:pt x="414939" y="2682402"/>
                  </a:cubicBezTo>
                  <a:cubicBezTo>
                    <a:pt x="392228" y="2687024"/>
                    <a:pt x="397851" y="2671628"/>
                    <a:pt x="390000" y="2672059"/>
                  </a:cubicBezTo>
                  <a:cubicBezTo>
                    <a:pt x="382149" y="2672490"/>
                    <a:pt x="375222" y="2695332"/>
                    <a:pt x="367832" y="2684989"/>
                  </a:cubicBezTo>
                  <a:cubicBezTo>
                    <a:pt x="360443" y="2674646"/>
                    <a:pt x="353976" y="2637154"/>
                    <a:pt x="351205" y="2622932"/>
                  </a:cubicBezTo>
                  <a:cubicBezTo>
                    <a:pt x="348434" y="2608710"/>
                    <a:pt x="339659" y="2604401"/>
                    <a:pt x="340121" y="2597075"/>
                  </a:cubicBezTo>
                  <a:cubicBezTo>
                    <a:pt x="340583" y="2589749"/>
                    <a:pt x="348896" y="2583283"/>
                    <a:pt x="353976" y="2578974"/>
                  </a:cubicBezTo>
                  <a:cubicBezTo>
                    <a:pt x="359056" y="2574665"/>
                    <a:pt x="371526" y="2584147"/>
                    <a:pt x="381687" y="2581561"/>
                  </a:cubicBezTo>
                  <a:cubicBezTo>
                    <a:pt x="391848" y="2578975"/>
                    <a:pt x="408012" y="2569063"/>
                    <a:pt x="414939" y="2563461"/>
                  </a:cubicBezTo>
                  <a:cubicBezTo>
                    <a:pt x="421866" y="2557859"/>
                    <a:pt x="418634" y="2547084"/>
                    <a:pt x="412168" y="2537603"/>
                  </a:cubicBezTo>
                  <a:cubicBezTo>
                    <a:pt x="405702" y="2528122"/>
                    <a:pt x="380497" y="2500683"/>
                    <a:pt x="362289" y="2501404"/>
                  </a:cubicBezTo>
                  <a:lnTo>
                    <a:pt x="338946" y="2513491"/>
                  </a:lnTo>
                  <a:cubicBezTo>
                    <a:pt x="319087" y="2510043"/>
                    <a:pt x="345467" y="2481871"/>
                    <a:pt x="340121" y="2467790"/>
                  </a:cubicBezTo>
                  <a:cubicBezTo>
                    <a:pt x="334775" y="2453709"/>
                    <a:pt x="307792" y="2449691"/>
                    <a:pt x="306869" y="2429005"/>
                  </a:cubicBezTo>
                  <a:cubicBezTo>
                    <a:pt x="299214" y="2407598"/>
                    <a:pt x="312412" y="2372980"/>
                    <a:pt x="309641" y="2351433"/>
                  </a:cubicBezTo>
                  <a:cubicBezTo>
                    <a:pt x="306870" y="2329886"/>
                    <a:pt x="296247" y="2314372"/>
                    <a:pt x="290243" y="2299720"/>
                  </a:cubicBezTo>
                  <a:cubicBezTo>
                    <a:pt x="284239" y="2285068"/>
                    <a:pt x="269922" y="2273001"/>
                    <a:pt x="256991" y="2266106"/>
                  </a:cubicBezTo>
                  <a:cubicBezTo>
                    <a:pt x="244060" y="2259211"/>
                    <a:pt x="232513" y="2244990"/>
                    <a:pt x="218196" y="2242835"/>
                  </a:cubicBezTo>
                  <a:cubicBezTo>
                    <a:pt x="203879" y="2240680"/>
                    <a:pt x="191698" y="2257972"/>
                    <a:pt x="176631" y="2250592"/>
                  </a:cubicBezTo>
                  <a:lnTo>
                    <a:pt x="122255" y="2214066"/>
                  </a:lnTo>
                  <a:close/>
                </a:path>
              </a:pathLst>
            </a:custGeom>
            <a:solidFill>
              <a:srgbClr val="D0D0CE"/>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just" defTabSz="914400" rtl="0" eaLnBrk="1" fontAlgn="base" latinLnBrk="0" hangingPunct="1">
                <a:lnSpc>
                  <a:spcPct val="100000"/>
                </a:lnSpc>
                <a:spcBef>
                  <a:spcPct val="0"/>
                </a:spcBef>
                <a:spcAft>
                  <a:spcPct val="35000"/>
                </a:spcAft>
                <a:buClrTx/>
                <a:buSzTx/>
                <a:buFontTx/>
                <a:buNone/>
                <a:tabLst>
                  <a:tab pos="5715000" algn="l"/>
                </a:tabLst>
                <a:defRPr/>
              </a:pPr>
              <a:endParaRPr kumimoji="0" lang="en-GB" sz="1000" b="1" i="0" u="none" strike="noStrike" kern="0" cap="none" spc="0" normalizeH="0" baseline="0" noProof="0" dirty="0">
                <a:ln>
                  <a:noFill/>
                </a:ln>
                <a:solidFill>
                  <a:prstClr val="black"/>
                </a:solidFill>
                <a:effectLst/>
                <a:uLnTx/>
                <a:uFillTx/>
                <a:latin typeface="Arial" charset="0"/>
                <a:ea typeface="+mn-ea"/>
                <a:cs typeface="Arial" charset="0"/>
              </a:endParaRPr>
            </a:p>
          </p:txBody>
        </p:sp>
        <p:sp>
          <p:nvSpPr>
            <p:cNvPr id="124" name="Freeform 120">
              <a:extLst>
                <a:ext uri="{FF2B5EF4-FFF2-40B4-BE49-F238E27FC236}">
                  <a16:creationId xmlns:a16="http://schemas.microsoft.com/office/drawing/2014/main" id="{2A260C94-8857-40B3-A7E8-8DACF6ED3AB1}"/>
                </a:ext>
              </a:extLst>
            </p:cNvPr>
            <p:cNvSpPr>
              <a:spLocks/>
            </p:cNvSpPr>
            <p:nvPr/>
          </p:nvSpPr>
          <p:spPr bwMode="gray">
            <a:xfrm>
              <a:off x="8665786" y="3868363"/>
              <a:ext cx="220067" cy="199691"/>
            </a:xfrm>
            <a:custGeom>
              <a:avLst/>
              <a:gdLst/>
              <a:ahLst/>
              <a:cxnLst>
                <a:cxn ang="0">
                  <a:pos x="45" y="63"/>
                </a:cxn>
                <a:cxn ang="0">
                  <a:pos x="40" y="63"/>
                </a:cxn>
                <a:cxn ang="0">
                  <a:pos x="40" y="58"/>
                </a:cxn>
                <a:cxn ang="0">
                  <a:pos x="36" y="54"/>
                </a:cxn>
                <a:cxn ang="0">
                  <a:pos x="27" y="54"/>
                </a:cxn>
                <a:cxn ang="0">
                  <a:pos x="18" y="45"/>
                </a:cxn>
                <a:cxn ang="0">
                  <a:pos x="14" y="54"/>
                </a:cxn>
                <a:cxn ang="0">
                  <a:pos x="9" y="54"/>
                </a:cxn>
                <a:cxn ang="0">
                  <a:pos x="0" y="54"/>
                </a:cxn>
                <a:cxn ang="0">
                  <a:pos x="0" y="49"/>
                </a:cxn>
                <a:cxn ang="0">
                  <a:pos x="5" y="49"/>
                </a:cxn>
                <a:cxn ang="0">
                  <a:pos x="5" y="49"/>
                </a:cxn>
                <a:cxn ang="0">
                  <a:pos x="5" y="49"/>
                </a:cxn>
                <a:cxn ang="0">
                  <a:pos x="0" y="45"/>
                </a:cxn>
                <a:cxn ang="0">
                  <a:pos x="5" y="40"/>
                </a:cxn>
                <a:cxn ang="0">
                  <a:pos x="14" y="45"/>
                </a:cxn>
                <a:cxn ang="0">
                  <a:pos x="14" y="40"/>
                </a:cxn>
                <a:cxn ang="0">
                  <a:pos x="9" y="40"/>
                </a:cxn>
                <a:cxn ang="0">
                  <a:pos x="5" y="40"/>
                </a:cxn>
                <a:cxn ang="0">
                  <a:pos x="14" y="36"/>
                </a:cxn>
                <a:cxn ang="0">
                  <a:pos x="18" y="27"/>
                </a:cxn>
                <a:cxn ang="0">
                  <a:pos x="27" y="9"/>
                </a:cxn>
                <a:cxn ang="0">
                  <a:pos x="27" y="9"/>
                </a:cxn>
                <a:cxn ang="0">
                  <a:pos x="31" y="9"/>
                </a:cxn>
                <a:cxn ang="0">
                  <a:pos x="36" y="5"/>
                </a:cxn>
                <a:cxn ang="0">
                  <a:pos x="40" y="0"/>
                </a:cxn>
                <a:cxn ang="0">
                  <a:pos x="54" y="0"/>
                </a:cxn>
                <a:cxn ang="0">
                  <a:pos x="54" y="0"/>
                </a:cxn>
                <a:cxn ang="0">
                  <a:pos x="54" y="9"/>
                </a:cxn>
                <a:cxn ang="0">
                  <a:pos x="58" y="9"/>
                </a:cxn>
                <a:cxn ang="0">
                  <a:pos x="54" y="18"/>
                </a:cxn>
                <a:cxn ang="0">
                  <a:pos x="54" y="18"/>
                </a:cxn>
                <a:cxn ang="0">
                  <a:pos x="54" y="36"/>
                </a:cxn>
                <a:cxn ang="0">
                  <a:pos x="49" y="36"/>
                </a:cxn>
                <a:cxn ang="0">
                  <a:pos x="40" y="40"/>
                </a:cxn>
                <a:cxn ang="0">
                  <a:pos x="40" y="45"/>
                </a:cxn>
                <a:cxn ang="0">
                  <a:pos x="45" y="49"/>
                </a:cxn>
                <a:cxn ang="0">
                  <a:pos x="40" y="58"/>
                </a:cxn>
                <a:cxn ang="0">
                  <a:pos x="45" y="63"/>
                </a:cxn>
              </a:cxnLst>
              <a:rect l="0" t="0" r="r" b="b"/>
              <a:pathLst>
                <a:path w="58" h="63">
                  <a:moveTo>
                    <a:pt x="45" y="63"/>
                  </a:moveTo>
                  <a:lnTo>
                    <a:pt x="40" y="63"/>
                  </a:lnTo>
                  <a:lnTo>
                    <a:pt x="40" y="58"/>
                  </a:lnTo>
                  <a:lnTo>
                    <a:pt x="36" y="54"/>
                  </a:lnTo>
                  <a:lnTo>
                    <a:pt x="27" y="54"/>
                  </a:lnTo>
                  <a:lnTo>
                    <a:pt x="18" y="45"/>
                  </a:lnTo>
                  <a:lnTo>
                    <a:pt x="14" y="54"/>
                  </a:lnTo>
                  <a:lnTo>
                    <a:pt x="9" y="54"/>
                  </a:lnTo>
                  <a:lnTo>
                    <a:pt x="0" y="54"/>
                  </a:lnTo>
                  <a:lnTo>
                    <a:pt x="0" y="49"/>
                  </a:lnTo>
                  <a:lnTo>
                    <a:pt x="5" y="49"/>
                  </a:lnTo>
                  <a:lnTo>
                    <a:pt x="5" y="49"/>
                  </a:lnTo>
                  <a:lnTo>
                    <a:pt x="5" y="49"/>
                  </a:lnTo>
                  <a:lnTo>
                    <a:pt x="0" y="45"/>
                  </a:lnTo>
                  <a:lnTo>
                    <a:pt x="5" y="40"/>
                  </a:lnTo>
                  <a:lnTo>
                    <a:pt x="14" y="45"/>
                  </a:lnTo>
                  <a:lnTo>
                    <a:pt x="14" y="40"/>
                  </a:lnTo>
                  <a:lnTo>
                    <a:pt x="9" y="40"/>
                  </a:lnTo>
                  <a:lnTo>
                    <a:pt x="5" y="40"/>
                  </a:lnTo>
                  <a:lnTo>
                    <a:pt x="14" y="36"/>
                  </a:lnTo>
                  <a:lnTo>
                    <a:pt x="18" y="27"/>
                  </a:lnTo>
                  <a:lnTo>
                    <a:pt x="27" y="9"/>
                  </a:lnTo>
                  <a:lnTo>
                    <a:pt x="27" y="9"/>
                  </a:lnTo>
                  <a:lnTo>
                    <a:pt x="31" y="9"/>
                  </a:lnTo>
                  <a:lnTo>
                    <a:pt x="36" y="5"/>
                  </a:lnTo>
                  <a:lnTo>
                    <a:pt x="40" y="0"/>
                  </a:lnTo>
                  <a:lnTo>
                    <a:pt x="54" y="0"/>
                  </a:lnTo>
                  <a:lnTo>
                    <a:pt x="54" y="0"/>
                  </a:lnTo>
                  <a:lnTo>
                    <a:pt x="54" y="9"/>
                  </a:lnTo>
                  <a:lnTo>
                    <a:pt x="58" y="9"/>
                  </a:lnTo>
                  <a:lnTo>
                    <a:pt x="54" y="18"/>
                  </a:lnTo>
                  <a:lnTo>
                    <a:pt x="54" y="18"/>
                  </a:lnTo>
                  <a:lnTo>
                    <a:pt x="54" y="36"/>
                  </a:lnTo>
                  <a:lnTo>
                    <a:pt x="49" y="36"/>
                  </a:lnTo>
                  <a:lnTo>
                    <a:pt x="40" y="40"/>
                  </a:lnTo>
                  <a:lnTo>
                    <a:pt x="40" y="45"/>
                  </a:lnTo>
                  <a:lnTo>
                    <a:pt x="45" y="49"/>
                  </a:lnTo>
                  <a:lnTo>
                    <a:pt x="40" y="58"/>
                  </a:lnTo>
                  <a:lnTo>
                    <a:pt x="45" y="63"/>
                  </a:lnTo>
                  <a:close/>
                </a:path>
              </a:pathLst>
            </a:custGeom>
            <a:solidFill>
              <a:srgbClr val="86BC25"/>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25" name="Freeform 121">
              <a:extLst>
                <a:ext uri="{FF2B5EF4-FFF2-40B4-BE49-F238E27FC236}">
                  <a16:creationId xmlns:a16="http://schemas.microsoft.com/office/drawing/2014/main" id="{C16BE81D-31A8-4BF5-9A4E-23624B4D8AE6}"/>
                </a:ext>
              </a:extLst>
            </p:cNvPr>
            <p:cNvSpPr>
              <a:spLocks/>
            </p:cNvSpPr>
            <p:nvPr/>
          </p:nvSpPr>
          <p:spPr bwMode="gray">
            <a:xfrm>
              <a:off x="9598219" y="4252258"/>
              <a:ext cx="489038" cy="311354"/>
            </a:xfrm>
            <a:custGeom>
              <a:avLst/>
              <a:gdLst/>
              <a:ahLst/>
              <a:cxnLst>
                <a:cxn ang="0">
                  <a:pos x="0" y="45"/>
                </a:cxn>
                <a:cxn ang="0">
                  <a:pos x="4" y="54"/>
                </a:cxn>
                <a:cxn ang="0">
                  <a:pos x="4" y="62"/>
                </a:cxn>
                <a:cxn ang="0">
                  <a:pos x="13" y="71"/>
                </a:cxn>
                <a:cxn ang="0">
                  <a:pos x="22" y="76"/>
                </a:cxn>
                <a:cxn ang="0">
                  <a:pos x="27" y="76"/>
                </a:cxn>
                <a:cxn ang="0">
                  <a:pos x="27" y="80"/>
                </a:cxn>
                <a:cxn ang="0">
                  <a:pos x="31" y="80"/>
                </a:cxn>
                <a:cxn ang="0">
                  <a:pos x="36" y="80"/>
                </a:cxn>
                <a:cxn ang="0">
                  <a:pos x="36" y="89"/>
                </a:cxn>
                <a:cxn ang="0">
                  <a:pos x="49" y="94"/>
                </a:cxn>
                <a:cxn ang="0">
                  <a:pos x="62" y="98"/>
                </a:cxn>
                <a:cxn ang="0">
                  <a:pos x="76" y="98"/>
                </a:cxn>
                <a:cxn ang="0">
                  <a:pos x="85" y="89"/>
                </a:cxn>
                <a:cxn ang="0">
                  <a:pos x="98" y="85"/>
                </a:cxn>
                <a:cxn ang="0">
                  <a:pos x="116" y="94"/>
                </a:cxn>
                <a:cxn ang="0">
                  <a:pos x="116" y="85"/>
                </a:cxn>
                <a:cxn ang="0">
                  <a:pos x="120" y="80"/>
                </a:cxn>
                <a:cxn ang="0">
                  <a:pos x="120" y="67"/>
                </a:cxn>
                <a:cxn ang="0">
                  <a:pos x="120" y="71"/>
                </a:cxn>
                <a:cxn ang="0">
                  <a:pos x="129" y="71"/>
                </a:cxn>
                <a:cxn ang="0">
                  <a:pos x="129" y="62"/>
                </a:cxn>
                <a:cxn ang="0">
                  <a:pos x="125" y="62"/>
                </a:cxn>
                <a:cxn ang="0">
                  <a:pos x="116" y="67"/>
                </a:cxn>
                <a:cxn ang="0">
                  <a:pos x="112" y="62"/>
                </a:cxn>
                <a:cxn ang="0">
                  <a:pos x="107" y="58"/>
                </a:cxn>
                <a:cxn ang="0">
                  <a:pos x="112" y="40"/>
                </a:cxn>
                <a:cxn ang="0">
                  <a:pos x="107" y="27"/>
                </a:cxn>
                <a:cxn ang="0">
                  <a:pos x="103" y="18"/>
                </a:cxn>
                <a:cxn ang="0">
                  <a:pos x="89" y="0"/>
                </a:cxn>
                <a:cxn ang="0">
                  <a:pos x="67" y="9"/>
                </a:cxn>
                <a:cxn ang="0">
                  <a:pos x="40" y="4"/>
                </a:cxn>
                <a:cxn ang="0">
                  <a:pos x="36" y="9"/>
                </a:cxn>
                <a:cxn ang="0">
                  <a:pos x="36" y="13"/>
                </a:cxn>
                <a:cxn ang="0">
                  <a:pos x="22" y="18"/>
                </a:cxn>
                <a:cxn ang="0">
                  <a:pos x="13" y="36"/>
                </a:cxn>
                <a:cxn ang="0">
                  <a:pos x="13" y="40"/>
                </a:cxn>
                <a:cxn ang="0">
                  <a:pos x="4" y="45"/>
                </a:cxn>
                <a:cxn ang="0">
                  <a:pos x="0" y="45"/>
                </a:cxn>
              </a:cxnLst>
              <a:rect l="0" t="0" r="r" b="b"/>
              <a:pathLst>
                <a:path w="129" h="98">
                  <a:moveTo>
                    <a:pt x="0" y="45"/>
                  </a:moveTo>
                  <a:lnTo>
                    <a:pt x="4" y="54"/>
                  </a:lnTo>
                  <a:lnTo>
                    <a:pt x="4" y="62"/>
                  </a:lnTo>
                  <a:lnTo>
                    <a:pt x="13" y="71"/>
                  </a:lnTo>
                  <a:lnTo>
                    <a:pt x="22" y="76"/>
                  </a:lnTo>
                  <a:lnTo>
                    <a:pt x="27" y="76"/>
                  </a:lnTo>
                  <a:lnTo>
                    <a:pt x="27" y="80"/>
                  </a:lnTo>
                  <a:lnTo>
                    <a:pt x="31" y="80"/>
                  </a:lnTo>
                  <a:lnTo>
                    <a:pt x="36" y="80"/>
                  </a:lnTo>
                  <a:lnTo>
                    <a:pt x="36" y="89"/>
                  </a:lnTo>
                  <a:lnTo>
                    <a:pt x="49" y="94"/>
                  </a:lnTo>
                  <a:lnTo>
                    <a:pt x="62" y="98"/>
                  </a:lnTo>
                  <a:lnTo>
                    <a:pt x="76" y="98"/>
                  </a:lnTo>
                  <a:lnTo>
                    <a:pt x="85" y="89"/>
                  </a:lnTo>
                  <a:lnTo>
                    <a:pt x="98" y="85"/>
                  </a:lnTo>
                  <a:lnTo>
                    <a:pt x="116" y="94"/>
                  </a:lnTo>
                  <a:lnTo>
                    <a:pt x="116" y="85"/>
                  </a:lnTo>
                  <a:lnTo>
                    <a:pt x="120" y="80"/>
                  </a:lnTo>
                  <a:lnTo>
                    <a:pt x="120" y="67"/>
                  </a:lnTo>
                  <a:lnTo>
                    <a:pt x="120" y="71"/>
                  </a:lnTo>
                  <a:lnTo>
                    <a:pt x="129" y="71"/>
                  </a:lnTo>
                  <a:lnTo>
                    <a:pt x="129" y="62"/>
                  </a:lnTo>
                  <a:lnTo>
                    <a:pt x="125" y="62"/>
                  </a:lnTo>
                  <a:lnTo>
                    <a:pt x="116" y="67"/>
                  </a:lnTo>
                  <a:lnTo>
                    <a:pt x="112" y="62"/>
                  </a:lnTo>
                  <a:lnTo>
                    <a:pt x="107" y="58"/>
                  </a:lnTo>
                  <a:lnTo>
                    <a:pt x="112" y="40"/>
                  </a:lnTo>
                  <a:lnTo>
                    <a:pt x="107" y="27"/>
                  </a:lnTo>
                  <a:lnTo>
                    <a:pt x="103" y="18"/>
                  </a:lnTo>
                  <a:lnTo>
                    <a:pt x="89" y="0"/>
                  </a:lnTo>
                  <a:lnTo>
                    <a:pt x="67" y="9"/>
                  </a:lnTo>
                  <a:lnTo>
                    <a:pt x="40" y="4"/>
                  </a:lnTo>
                  <a:lnTo>
                    <a:pt x="36" y="9"/>
                  </a:lnTo>
                  <a:lnTo>
                    <a:pt x="36" y="13"/>
                  </a:lnTo>
                  <a:lnTo>
                    <a:pt x="22" y="18"/>
                  </a:lnTo>
                  <a:lnTo>
                    <a:pt x="13" y="36"/>
                  </a:lnTo>
                  <a:lnTo>
                    <a:pt x="13" y="40"/>
                  </a:lnTo>
                  <a:lnTo>
                    <a:pt x="4" y="45"/>
                  </a:lnTo>
                  <a:lnTo>
                    <a:pt x="0" y="45"/>
                  </a:lnTo>
                  <a:close/>
                </a:path>
              </a:pathLst>
            </a:custGeom>
            <a:solidFill>
              <a:schemeClr val="accent1"/>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26" name="Freeform 122">
              <a:extLst>
                <a:ext uri="{FF2B5EF4-FFF2-40B4-BE49-F238E27FC236}">
                  <a16:creationId xmlns:a16="http://schemas.microsoft.com/office/drawing/2014/main" id="{F1689461-7141-4992-9E0F-5994BFDFE79F}"/>
                </a:ext>
              </a:extLst>
            </p:cNvPr>
            <p:cNvSpPr>
              <a:spLocks noEditPoints="1"/>
            </p:cNvSpPr>
            <p:nvPr/>
          </p:nvSpPr>
          <p:spPr bwMode="gray">
            <a:xfrm>
              <a:off x="9242036" y="5017603"/>
              <a:ext cx="34233" cy="28527"/>
            </a:xfrm>
            <a:custGeom>
              <a:avLst/>
              <a:gdLst/>
              <a:ahLst/>
              <a:cxnLst>
                <a:cxn ang="0">
                  <a:pos x="0" y="0"/>
                </a:cxn>
                <a:cxn ang="0">
                  <a:pos x="0" y="0"/>
                </a:cxn>
                <a:cxn ang="0">
                  <a:pos x="0" y="0"/>
                </a:cxn>
                <a:cxn ang="0">
                  <a:pos x="0" y="0"/>
                </a:cxn>
                <a:cxn ang="0">
                  <a:pos x="5" y="5"/>
                </a:cxn>
                <a:cxn ang="0">
                  <a:pos x="0" y="5"/>
                </a:cxn>
                <a:cxn ang="0">
                  <a:pos x="5" y="9"/>
                </a:cxn>
                <a:cxn ang="0">
                  <a:pos x="9" y="9"/>
                </a:cxn>
                <a:cxn ang="0">
                  <a:pos x="5" y="5"/>
                </a:cxn>
              </a:cxnLst>
              <a:rect l="0" t="0" r="r" b="b"/>
              <a:pathLst>
                <a:path w="9" h="9">
                  <a:moveTo>
                    <a:pt x="0" y="0"/>
                  </a:moveTo>
                  <a:lnTo>
                    <a:pt x="0" y="0"/>
                  </a:lnTo>
                  <a:lnTo>
                    <a:pt x="0" y="0"/>
                  </a:lnTo>
                  <a:lnTo>
                    <a:pt x="0" y="0"/>
                  </a:lnTo>
                  <a:close/>
                  <a:moveTo>
                    <a:pt x="5" y="5"/>
                  </a:moveTo>
                  <a:lnTo>
                    <a:pt x="0" y="5"/>
                  </a:lnTo>
                  <a:lnTo>
                    <a:pt x="5" y="9"/>
                  </a:lnTo>
                  <a:lnTo>
                    <a:pt x="9" y="9"/>
                  </a:lnTo>
                  <a:lnTo>
                    <a:pt x="5" y="5"/>
                  </a:lnTo>
                  <a:close/>
                </a:path>
              </a:pathLst>
            </a:custGeom>
            <a:solidFill>
              <a:schemeClr val="accent1"/>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27" name="Freeform 123">
              <a:extLst>
                <a:ext uri="{FF2B5EF4-FFF2-40B4-BE49-F238E27FC236}">
                  <a16:creationId xmlns:a16="http://schemas.microsoft.com/office/drawing/2014/main" id="{176F3760-7ED7-43A1-983C-CB8661B199B1}"/>
                </a:ext>
              </a:extLst>
            </p:cNvPr>
            <p:cNvSpPr>
              <a:spLocks/>
            </p:cNvSpPr>
            <p:nvPr/>
          </p:nvSpPr>
          <p:spPr bwMode="gray">
            <a:xfrm>
              <a:off x="10849342" y="4719289"/>
              <a:ext cx="189910" cy="158938"/>
            </a:xfrm>
            <a:custGeom>
              <a:avLst/>
              <a:gdLst/>
              <a:ahLst/>
              <a:cxnLst>
                <a:cxn ang="0">
                  <a:pos x="0" y="0"/>
                </a:cxn>
                <a:cxn ang="0">
                  <a:pos x="5" y="18"/>
                </a:cxn>
                <a:cxn ang="0">
                  <a:pos x="14" y="23"/>
                </a:cxn>
                <a:cxn ang="0">
                  <a:pos x="18" y="32"/>
                </a:cxn>
                <a:cxn ang="0">
                  <a:pos x="23" y="32"/>
                </a:cxn>
                <a:cxn ang="0">
                  <a:pos x="32" y="36"/>
                </a:cxn>
                <a:cxn ang="0">
                  <a:pos x="36" y="36"/>
                </a:cxn>
                <a:cxn ang="0">
                  <a:pos x="41" y="36"/>
                </a:cxn>
                <a:cxn ang="0">
                  <a:pos x="41" y="50"/>
                </a:cxn>
                <a:cxn ang="0">
                  <a:pos x="45" y="50"/>
                </a:cxn>
                <a:cxn ang="0">
                  <a:pos x="45" y="45"/>
                </a:cxn>
                <a:cxn ang="0">
                  <a:pos x="45" y="41"/>
                </a:cxn>
                <a:cxn ang="0">
                  <a:pos x="50" y="41"/>
                </a:cxn>
                <a:cxn ang="0">
                  <a:pos x="50" y="36"/>
                </a:cxn>
                <a:cxn ang="0">
                  <a:pos x="45" y="36"/>
                </a:cxn>
                <a:cxn ang="0">
                  <a:pos x="45" y="32"/>
                </a:cxn>
                <a:cxn ang="0">
                  <a:pos x="36" y="27"/>
                </a:cxn>
                <a:cxn ang="0">
                  <a:pos x="41" y="23"/>
                </a:cxn>
                <a:cxn ang="0">
                  <a:pos x="27" y="14"/>
                </a:cxn>
                <a:cxn ang="0">
                  <a:pos x="32" y="14"/>
                </a:cxn>
                <a:cxn ang="0">
                  <a:pos x="32" y="9"/>
                </a:cxn>
                <a:cxn ang="0">
                  <a:pos x="32" y="5"/>
                </a:cxn>
                <a:cxn ang="0">
                  <a:pos x="27" y="9"/>
                </a:cxn>
                <a:cxn ang="0">
                  <a:pos x="23" y="5"/>
                </a:cxn>
                <a:cxn ang="0">
                  <a:pos x="27" y="5"/>
                </a:cxn>
                <a:cxn ang="0">
                  <a:pos x="23" y="5"/>
                </a:cxn>
                <a:cxn ang="0">
                  <a:pos x="14" y="0"/>
                </a:cxn>
                <a:cxn ang="0">
                  <a:pos x="9" y="5"/>
                </a:cxn>
                <a:cxn ang="0">
                  <a:pos x="0" y="0"/>
                </a:cxn>
              </a:cxnLst>
              <a:rect l="0" t="0" r="r" b="b"/>
              <a:pathLst>
                <a:path w="50" h="50">
                  <a:moveTo>
                    <a:pt x="0" y="0"/>
                  </a:moveTo>
                  <a:lnTo>
                    <a:pt x="5" y="18"/>
                  </a:lnTo>
                  <a:lnTo>
                    <a:pt x="14" y="23"/>
                  </a:lnTo>
                  <a:lnTo>
                    <a:pt x="18" y="32"/>
                  </a:lnTo>
                  <a:lnTo>
                    <a:pt x="23" y="32"/>
                  </a:lnTo>
                  <a:lnTo>
                    <a:pt x="32" y="36"/>
                  </a:lnTo>
                  <a:lnTo>
                    <a:pt x="36" y="36"/>
                  </a:lnTo>
                  <a:lnTo>
                    <a:pt x="41" y="36"/>
                  </a:lnTo>
                  <a:lnTo>
                    <a:pt x="41" y="50"/>
                  </a:lnTo>
                  <a:lnTo>
                    <a:pt x="45" y="50"/>
                  </a:lnTo>
                  <a:lnTo>
                    <a:pt x="45" y="45"/>
                  </a:lnTo>
                  <a:lnTo>
                    <a:pt x="45" y="41"/>
                  </a:lnTo>
                  <a:lnTo>
                    <a:pt x="50" y="41"/>
                  </a:lnTo>
                  <a:lnTo>
                    <a:pt x="50" y="36"/>
                  </a:lnTo>
                  <a:lnTo>
                    <a:pt x="45" y="36"/>
                  </a:lnTo>
                  <a:lnTo>
                    <a:pt x="45" y="32"/>
                  </a:lnTo>
                  <a:lnTo>
                    <a:pt x="36" y="27"/>
                  </a:lnTo>
                  <a:lnTo>
                    <a:pt x="41" y="23"/>
                  </a:lnTo>
                  <a:lnTo>
                    <a:pt x="27" y="14"/>
                  </a:lnTo>
                  <a:lnTo>
                    <a:pt x="32" y="14"/>
                  </a:lnTo>
                  <a:lnTo>
                    <a:pt x="32" y="9"/>
                  </a:lnTo>
                  <a:lnTo>
                    <a:pt x="32" y="5"/>
                  </a:lnTo>
                  <a:lnTo>
                    <a:pt x="27" y="9"/>
                  </a:lnTo>
                  <a:lnTo>
                    <a:pt x="23" y="5"/>
                  </a:lnTo>
                  <a:lnTo>
                    <a:pt x="27" y="5"/>
                  </a:lnTo>
                  <a:lnTo>
                    <a:pt x="23" y="5"/>
                  </a:lnTo>
                  <a:lnTo>
                    <a:pt x="14" y="0"/>
                  </a:lnTo>
                  <a:lnTo>
                    <a:pt x="9" y="5"/>
                  </a:lnTo>
                  <a:lnTo>
                    <a:pt x="0" y="0"/>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28" name="Freeform 124">
              <a:extLst>
                <a:ext uri="{FF2B5EF4-FFF2-40B4-BE49-F238E27FC236}">
                  <a16:creationId xmlns:a16="http://schemas.microsoft.com/office/drawing/2014/main" id="{82ECD8E4-7723-41F5-B2D2-01EBABE1A00C}"/>
                </a:ext>
              </a:extLst>
            </p:cNvPr>
            <p:cNvSpPr>
              <a:spLocks/>
            </p:cNvSpPr>
            <p:nvPr/>
          </p:nvSpPr>
          <p:spPr bwMode="gray">
            <a:xfrm>
              <a:off x="10663508" y="4579098"/>
              <a:ext cx="390416" cy="155677"/>
            </a:xfrm>
            <a:custGeom>
              <a:avLst/>
              <a:gdLst/>
              <a:ahLst/>
              <a:cxnLst>
                <a:cxn ang="0">
                  <a:pos x="0" y="0"/>
                </a:cxn>
                <a:cxn ang="0">
                  <a:pos x="18" y="9"/>
                </a:cxn>
                <a:cxn ang="0">
                  <a:pos x="23" y="18"/>
                </a:cxn>
                <a:cxn ang="0">
                  <a:pos x="23" y="31"/>
                </a:cxn>
                <a:cxn ang="0">
                  <a:pos x="18" y="35"/>
                </a:cxn>
                <a:cxn ang="0">
                  <a:pos x="40" y="40"/>
                </a:cxn>
                <a:cxn ang="0">
                  <a:pos x="49" y="44"/>
                </a:cxn>
                <a:cxn ang="0">
                  <a:pos x="58" y="49"/>
                </a:cxn>
                <a:cxn ang="0">
                  <a:pos x="63" y="44"/>
                </a:cxn>
                <a:cxn ang="0">
                  <a:pos x="72" y="49"/>
                </a:cxn>
                <a:cxn ang="0">
                  <a:pos x="76" y="44"/>
                </a:cxn>
                <a:cxn ang="0">
                  <a:pos x="85" y="49"/>
                </a:cxn>
                <a:cxn ang="0">
                  <a:pos x="94" y="44"/>
                </a:cxn>
                <a:cxn ang="0">
                  <a:pos x="99" y="49"/>
                </a:cxn>
                <a:cxn ang="0">
                  <a:pos x="103" y="44"/>
                </a:cxn>
                <a:cxn ang="0">
                  <a:pos x="94" y="40"/>
                </a:cxn>
                <a:cxn ang="0">
                  <a:pos x="90" y="35"/>
                </a:cxn>
                <a:cxn ang="0">
                  <a:pos x="94" y="26"/>
                </a:cxn>
                <a:cxn ang="0">
                  <a:pos x="94" y="26"/>
                </a:cxn>
                <a:cxn ang="0">
                  <a:pos x="85" y="22"/>
                </a:cxn>
                <a:cxn ang="0">
                  <a:pos x="90" y="18"/>
                </a:cxn>
                <a:cxn ang="0">
                  <a:pos x="76" y="18"/>
                </a:cxn>
                <a:cxn ang="0">
                  <a:pos x="76" y="13"/>
                </a:cxn>
                <a:cxn ang="0">
                  <a:pos x="67" y="13"/>
                </a:cxn>
                <a:cxn ang="0">
                  <a:pos x="67" y="18"/>
                </a:cxn>
                <a:cxn ang="0">
                  <a:pos x="63" y="13"/>
                </a:cxn>
                <a:cxn ang="0">
                  <a:pos x="58" y="18"/>
                </a:cxn>
                <a:cxn ang="0">
                  <a:pos x="54" y="9"/>
                </a:cxn>
                <a:cxn ang="0">
                  <a:pos x="49" y="13"/>
                </a:cxn>
                <a:cxn ang="0">
                  <a:pos x="45" y="4"/>
                </a:cxn>
                <a:cxn ang="0">
                  <a:pos x="27" y="4"/>
                </a:cxn>
                <a:cxn ang="0">
                  <a:pos x="18" y="0"/>
                </a:cxn>
                <a:cxn ang="0">
                  <a:pos x="5" y="0"/>
                </a:cxn>
                <a:cxn ang="0">
                  <a:pos x="0" y="0"/>
                </a:cxn>
              </a:cxnLst>
              <a:rect l="0" t="0" r="r" b="b"/>
              <a:pathLst>
                <a:path w="103" h="49">
                  <a:moveTo>
                    <a:pt x="0" y="0"/>
                  </a:moveTo>
                  <a:lnTo>
                    <a:pt x="18" y="9"/>
                  </a:lnTo>
                  <a:lnTo>
                    <a:pt x="23" y="18"/>
                  </a:lnTo>
                  <a:lnTo>
                    <a:pt x="23" y="31"/>
                  </a:lnTo>
                  <a:lnTo>
                    <a:pt x="18" y="35"/>
                  </a:lnTo>
                  <a:lnTo>
                    <a:pt x="40" y="40"/>
                  </a:lnTo>
                  <a:lnTo>
                    <a:pt x="49" y="44"/>
                  </a:lnTo>
                  <a:lnTo>
                    <a:pt x="58" y="49"/>
                  </a:lnTo>
                  <a:lnTo>
                    <a:pt x="63" y="44"/>
                  </a:lnTo>
                  <a:lnTo>
                    <a:pt x="72" y="49"/>
                  </a:lnTo>
                  <a:lnTo>
                    <a:pt x="76" y="44"/>
                  </a:lnTo>
                  <a:lnTo>
                    <a:pt x="85" y="49"/>
                  </a:lnTo>
                  <a:lnTo>
                    <a:pt x="94" y="44"/>
                  </a:lnTo>
                  <a:lnTo>
                    <a:pt x="99" y="49"/>
                  </a:lnTo>
                  <a:lnTo>
                    <a:pt x="103" y="44"/>
                  </a:lnTo>
                  <a:lnTo>
                    <a:pt x="94" y="40"/>
                  </a:lnTo>
                  <a:lnTo>
                    <a:pt x="90" y="35"/>
                  </a:lnTo>
                  <a:lnTo>
                    <a:pt x="94" y="26"/>
                  </a:lnTo>
                  <a:lnTo>
                    <a:pt x="94" y="26"/>
                  </a:lnTo>
                  <a:lnTo>
                    <a:pt x="85" y="22"/>
                  </a:lnTo>
                  <a:lnTo>
                    <a:pt x="90" y="18"/>
                  </a:lnTo>
                  <a:lnTo>
                    <a:pt x="76" y="18"/>
                  </a:lnTo>
                  <a:lnTo>
                    <a:pt x="76" y="13"/>
                  </a:lnTo>
                  <a:lnTo>
                    <a:pt x="67" y="13"/>
                  </a:lnTo>
                  <a:lnTo>
                    <a:pt x="67" y="18"/>
                  </a:lnTo>
                  <a:lnTo>
                    <a:pt x="63" y="13"/>
                  </a:lnTo>
                  <a:lnTo>
                    <a:pt x="58" y="18"/>
                  </a:lnTo>
                  <a:lnTo>
                    <a:pt x="54" y="9"/>
                  </a:lnTo>
                  <a:lnTo>
                    <a:pt x="49" y="13"/>
                  </a:lnTo>
                  <a:lnTo>
                    <a:pt x="45" y="4"/>
                  </a:lnTo>
                  <a:lnTo>
                    <a:pt x="27" y="4"/>
                  </a:lnTo>
                  <a:lnTo>
                    <a:pt x="18" y="0"/>
                  </a:lnTo>
                  <a:lnTo>
                    <a:pt x="5" y="0"/>
                  </a:lnTo>
                  <a:lnTo>
                    <a:pt x="0" y="0"/>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29" name="Freeform 125">
              <a:extLst>
                <a:ext uri="{FF2B5EF4-FFF2-40B4-BE49-F238E27FC236}">
                  <a16:creationId xmlns:a16="http://schemas.microsoft.com/office/drawing/2014/main" id="{811FCF01-5FBB-4EBC-A08A-261654A0D8FE}"/>
                </a:ext>
              </a:extLst>
            </p:cNvPr>
            <p:cNvSpPr>
              <a:spLocks/>
            </p:cNvSpPr>
            <p:nvPr/>
          </p:nvSpPr>
          <p:spPr bwMode="gray">
            <a:xfrm>
              <a:off x="9545240" y="4620666"/>
              <a:ext cx="102698" cy="199691"/>
            </a:xfrm>
            <a:custGeom>
              <a:avLst/>
              <a:gdLst/>
              <a:ahLst/>
              <a:cxnLst>
                <a:cxn ang="0">
                  <a:pos x="0" y="13"/>
                </a:cxn>
                <a:cxn ang="0">
                  <a:pos x="5" y="13"/>
                </a:cxn>
                <a:cxn ang="0">
                  <a:pos x="0" y="18"/>
                </a:cxn>
                <a:cxn ang="0">
                  <a:pos x="0" y="36"/>
                </a:cxn>
                <a:cxn ang="0">
                  <a:pos x="0" y="40"/>
                </a:cxn>
                <a:cxn ang="0">
                  <a:pos x="0" y="45"/>
                </a:cxn>
                <a:cxn ang="0">
                  <a:pos x="5" y="54"/>
                </a:cxn>
                <a:cxn ang="0">
                  <a:pos x="5" y="58"/>
                </a:cxn>
                <a:cxn ang="0">
                  <a:pos x="9" y="63"/>
                </a:cxn>
                <a:cxn ang="0">
                  <a:pos x="14" y="63"/>
                </a:cxn>
                <a:cxn ang="0">
                  <a:pos x="14" y="54"/>
                </a:cxn>
                <a:cxn ang="0">
                  <a:pos x="27" y="40"/>
                </a:cxn>
                <a:cxn ang="0">
                  <a:pos x="18" y="36"/>
                </a:cxn>
                <a:cxn ang="0">
                  <a:pos x="18" y="13"/>
                </a:cxn>
                <a:cxn ang="0">
                  <a:pos x="14" y="13"/>
                </a:cxn>
                <a:cxn ang="0">
                  <a:pos x="14" y="5"/>
                </a:cxn>
                <a:cxn ang="0">
                  <a:pos x="5" y="0"/>
                </a:cxn>
                <a:cxn ang="0">
                  <a:pos x="0" y="13"/>
                </a:cxn>
              </a:cxnLst>
              <a:rect l="0" t="0" r="r" b="b"/>
              <a:pathLst>
                <a:path w="27" h="63">
                  <a:moveTo>
                    <a:pt x="0" y="13"/>
                  </a:moveTo>
                  <a:lnTo>
                    <a:pt x="5" y="13"/>
                  </a:lnTo>
                  <a:lnTo>
                    <a:pt x="0" y="18"/>
                  </a:lnTo>
                  <a:lnTo>
                    <a:pt x="0" y="36"/>
                  </a:lnTo>
                  <a:lnTo>
                    <a:pt x="0" y="40"/>
                  </a:lnTo>
                  <a:lnTo>
                    <a:pt x="0" y="45"/>
                  </a:lnTo>
                  <a:lnTo>
                    <a:pt x="5" y="54"/>
                  </a:lnTo>
                  <a:lnTo>
                    <a:pt x="5" y="58"/>
                  </a:lnTo>
                  <a:lnTo>
                    <a:pt x="9" y="63"/>
                  </a:lnTo>
                  <a:lnTo>
                    <a:pt x="14" y="63"/>
                  </a:lnTo>
                  <a:lnTo>
                    <a:pt x="14" y="54"/>
                  </a:lnTo>
                  <a:lnTo>
                    <a:pt x="27" y="40"/>
                  </a:lnTo>
                  <a:lnTo>
                    <a:pt x="18" y="36"/>
                  </a:lnTo>
                  <a:lnTo>
                    <a:pt x="18" y="13"/>
                  </a:lnTo>
                  <a:lnTo>
                    <a:pt x="14" y="13"/>
                  </a:lnTo>
                  <a:lnTo>
                    <a:pt x="14" y="5"/>
                  </a:lnTo>
                  <a:lnTo>
                    <a:pt x="5" y="0"/>
                  </a:lnTo>
                  <a:lnTo>
                    <a:pt x="0" y="13"/>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30" name="Freeform 126">
              <a:extLst>
                <a:ext uri="{FF2B5EF4-FFF2-40B4-BE49-F238E27FC236}">
                  <a16:creationId xmlns:a16="http://schemas.microsoft.com/office/drawing/2014/main" id="{B50BB679-AB38-426B-AA23-3B222C220C89}"/>
                </a:ext>
              </a:extLst>
            </p:cNvPr>
            <p:cNvSpPr>
              <a:spLocks/>
            </p:cNvSpPr>
            <p:nvPr/>
          </p:nvSpPr>
          <p:spPr bwMode="gray">
            <a:xfrm>
              <a:off x="9021969" y="4195203"/>
              <a:ext cx="405902" cy="184204"/>
            </a:xfrm>
            <a:custGeom>
              <a:avLst/>
              <a:gdLst/>
              <a:ahLst/>
              <a:cxnLst>
                <a:cxn ang="0">
                  <a:pos x="0" y="31"/>
                </a:cxn>
                <a:cxn ang="0">
                  <a:pos x="0" y="45"/>
                </a:cxn>
                <a:cxn ang="0">
                  <a:pos x="0" y="49"/>
                </a:cxn>
                <a:cxn ang="0">
                  <a:pos x="9" y="45"/>
                </a:cxn>
                <a:cxn ang="0">
                  <a:pos x="9" y="49"/>
                </a:cxn>
                <a:cxn ang="0">
                  <a:pos x="18" y="49"/>
                </a:cxn>
                <a:cxn ang="0">
                  <a:pos x="22" y="45"/>
                </a:cxn>
                <a:cxn ang="0">
                  <a:pos x="36" y="45"/>
                </a:cxn>
                <a:cxn ang="0">
                  <a:pos x="40" y="54"/>
                </a:cxn>
                <a:cxn ang="0">
                  <a:pos x="54" y="58"/>
                </a:cxn>
                <a:cxn ang="0">
                  <a:pos x="67" y="58"/>
                </a:cxn>
                <a:cxn ang="0">
                  <a:pos x="76" y="54"/>
                </a:cxn>
                <a:cxn ang="0">
                  <a:pos x="89" y="49"/>
                </a:cxn>
                <a:cxn ang="0">
                  <a:pos x="94" y="45"/>
                </a:cxn>
                <a:cxn ang="0">
                  <a:pos x="94" y="40"/>
                </a:cxn>
                <a:cxn ang="0">
                  <a:pos x="94" y="36"/>
                </a:cxn>
                <a:cxn ang="0">
                  <a:pos x="94" y="31"/>
                </a:cxn>
                <a:cxn ang="0">
                  <a:pos x="103" y="31"/>
                </a:cxn>
                <a:cxn ang="0">
                  <a:pos x="107" y="22"/>
                </a:cxn>
                <a:cxn ang="0">
                  <a:pos x="107" y="18"/>
                </a:cxn>
                <a:cxn ang="0">
                  <a:pos x="107" y="13"/>
                </a:cxn>
                <a:cxn ang="0">
                  <a:pos x="103" y="13"/>
                </a:cxn>
                <a:cxn ang="0">
                  <a:pos x="98" y="13"/>
                </a:cxn>
                <a:cxn ang="0">
                  <a:pos x="98" y="4"/>
                </a:cxn>
                <a:cxn ang="0">
                  <a:pos x="76" y="0"/>
                </a:cxn>
                <a:cxn ang="0">
                  <a:pos x="67" y="9"/>
                </a:cxn>
                <a:cxn ang="0">
                  <a:pos x="58" y="9"/>
                </a:cxn>
                <a:cxn ang="0">
                  <a:pos x="54" y="13"/>
                </a:cxn>
                <a:cxn ang="0">
                  <a:pos x="45" y="18"/>
                </a:cxn>
                <a:cxn ang="0">
                  <a:pos x="40" y="22"/>
                </a:cxn>
                <a:cxn ang="0">
                  <a:pos x="49" y="27"/>
                </a:cxn>
                <a:cxn ang="0">
                  <a:pos x="45" y="36"/>
                </a:cxn>
                <a:cxn ang="0">
                  <a:pos x="40" y="31"/>
                </a:cxn>
                <a:cxn ang="0">
                  <a:pos x="22" y="36"/>
                </a:cxn>
                <a:cxn ang="0">
                  <a:pos x="0" y="31"/>
                </a:cxn>
              </a:cxnLst>
              <a:rect l="0" t="0" r="r" b="b"/>
              <a:pathLst>
                <a:path w="107" h="58">
                  <a:moveTo>
                    <a:pt x="0" y="31"/>
                  </a:moveTo>
                  <a:lnTo>
                    <a:pt x="0" y="45"/>
                  </a:lnTo>
                  <a:lnTo>
                    <a:pt x="0" y="49"/>
                  </a:lnTo>
                  <a:lnTo>
                    <a:pt x="9" y="45"/>
                  </a:lnTo>
                  <a:lnTo>
                    <a:pt x="9" y="49"/>
                  </a:lnTo>
                  <a:lnTo>
                    <a:pt x="18" y="49"/>
                  </a:lnTo>
                  <a:lnTo>
                    <a:pt x="22" y="45"/>
                  </a:lnTo>
                  <a:lnTo>
                    <a:pt x="36" y="45"/>
                  </a:lnTo>
                  <a:lnTo>
                    <a:pt x="40" y="54"/>
                  </a:lnTo>
                  <a:lnTo>
                    <a:pt x="54" y="58"/>
                  </a:lnTo>
                  <a:lnTo>
                    <a:pt x="67" y="58"/>
                  </a:lnTo>
                  <a:lnTo>
                    <a:pt x="76" y="54"/>
                  </a:lnTo>
                  <a:lnTo>
                    <a:pt x="89" y="49"/>
                  </a:lnTo>
                  <a:lnTo>
                    <a:pt x="94" y="45"/>
                  </a:lnTo>
                  <a:lnTo>
                    <a:pt x="94" y="40"/>
                  </a:lnTo>
                  <a:lnTo>
                    <a:pt x="94" y="36"/>
                  </a:lnTo>
                  <a:lnTo>
                    <a:pt x="94" y="31"/>
                  </a:lnTo>
                  <a:lnTo>
                    <a:pt x="103" y="31"/>
                  </a:lnTo>
                  <a:lnTo>
                    <a:pt x="107" y="22"/>
                  </a:lnTo>
                  <a:lnTo>
                    <a:pt x="107" y="18"/>
                  </a:lnTo>
                  <a:lnTo>
                    <a:pt x="107" y="13"/>
                  </a:lnTo>
                  <a:lnTo>
                    <a:pt x="103" y="13"/>
                  </a:lnTo>
                  <a:lnTo>
                    <a:pt x="98" y="13"/>
                  </a:lnTo>
                  <a:lnTo>
                    <a:pt x="98" y="4"/>
                  </a:lnTo>
                  <a:lnTo>
                    <a:pt x="76" y="0"/>
                  </a:lnTo>
                  <a:lnTo>
                    <a:pt x="67" y="9"/>
                  </a:lnTo>
                  <a:lnTo>
                    <a:pt x="58" y="9"/>
                  </a:lnTo>
                  <a:lnTo>
                    <a:pt x="54" y="13"/>
                  </a:lnTo>
                  <a:lnTo>
                    <a:pt x="45" y="18"/>
                  </a:lnTo>
                  <a:lnTo>
                    <a:pt x="40" y="22"/>
                  </a:lnTo>
                  <a:lnTo>
                    <a:pt x="49" y="27"/>
                  </a:lnTo>
                  <a:lnTo>
                    <a:pt x="45" y="36"/>
                  </a:lnTo>
                  <a:lnTo>
                    <a:pt x="40" y="31"/>
                  </a:lnTo>
                  <a:lnTo>
                    <a:pt x="22" y="36"/>
                  </a:lnTo>
                  <a:lnTo>
                    <a:pt x="0" y="31"/>
                  </a:lnTo>
                  <a:close/>
                </a:path>
              </a:pathLst>
            </a:custGeom>
            <a:solidFill>
              <a:srgbClr val="86BC25"/>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31" name="Freeform 127">
              <a:extLst>
                <a:ext uri="{FF2B5EF4-FFF2-40B4-BE49-F238E27FC236}">
                  <a16:creationId xmlns:a16="http://schemas.microsoft.com/office/drawing/2014/main" id="{711C0546-230B-42A6-9184-AA91ABAE6C29}"/>
                </a:ext>
              </a:extLst>
            </p:cNvPr>
            <p:cNvSpPr>
              <a:spLocks/>
            </p:cNvSpPr>
            <p:nvPr/>
          </p:nvSpPr>
          <p:spPr bwMode="gray">
            <a:xfrm>
              <a:off x="8631554" y="4010999"/>
              <a:ext cx="220067" cy="155677"/>
            </a:xfrm>
            <a:custGeom>
              <a:avLst/>
              <a:gdLst/>
              <a:ahLst/>
              <a:cxnLst>
                <a:cxn ang="0">
                  <a:pos x="0" y="9"/>
                </a:cxn>
                <a:cxn ang="0">
                  <a:pos x="9" y="22"/>
                </a:cxn>
                <a:cxn ang="0">
                  <a:pos x="14" y="22"/>
                </a:cxn>
                <a:cxn ang="0">
                  <a:pos x="18" y="27"/>
                </a:cxn>
                <a:cxn ang="0">
                  <a:pos x="23" y="27"/>
                </a:cxn>
                <a:cxn ang="0">
                  <a:pos x="23" y="36"/>
                </a:cxn>
                <a:cxn ang="0">
                  <a:pos x="27" y="36"/>
                </a:cxn>
                <a:cxn ang="0">
                  <a:pos x="36" y="31"/>
                </a:cxn>
                <a:cxn ang="0">
                  <a:pos x="32" y="40"/>
                </a:cxn>
                <a:cxn ang="0">
                  <a:pos x="40" y="45"/>
                </a:cxn>
                <a:cxn ang="0">
                  <a:pos x="45" y="49"/>
                </a:cxn>
                <a:cxn ang="0">
                  <a:pos x="49" y="49"/>
                </a:cxn>
                <a:cxn ang="0">
                  <a:pos x="49" y="45"/>
                </a:cxn>
                <a:cxn ang="0">
                  <a:pos x="49" y="36"/>
                </a:cxn>
                <a:cxn ang="0">
                  <a:pos x="54" y="36"/>
                </a:cxn>
                <a:cxn ang="0">
                  <a:pos x="58" y="27"/>
                </a:cxn>
                <a:cxn ang="0">
                  <a:pos x="54" y="18"/>
                </a:cxn>
                <a:cxn ang="0">
                  <a:pos x="49" y="18"/>
                </a:cxn>
                <a:cxn ang="0">
                  <a:pos x="49" y="13"/>
                </a:cxn>
                <a:cxn ang="0">
                  <a:pos x="45" y="9"/>
                </a:cxn>
                <a:cxn ang="0">
                  <a:pos x="36" y="9"/>
                </a:cxn>
                <a:cxn ang="0">
                  <a:pos x="27" y="0"/>
                </a:cxn>
                <a:cxn ang="0">
                  <a:pos x="23" y="9"/>
                </a:cxn>
                <a:cxn ang="0">
                  <a:pos x="18" y="9"/>
                </a:cxn>
                <a:cxn ang="0">
                  <a:pos x="9" y="9"/>
                </a:cxn>
                <a:cxn ang="0">
                  <a:pos x="9" y="4"/>
                </a:cxn>
                <a:cxn ang="0">
                  <a:pos x="5" y="4"/>
                </a:cxn>
                <a:cxn ang="0">
                  <a:pos x="0" y="9"/>
                </a:cxn>
              </a:cxnLst>
              <a:rect l="0" t="0" r="r" b="b"/>
              <a:pathLst>
                <a:path w="58" h="49">
                  <a:moveTo>
                    <a:pt x="0" y="9"/>
                  </a:moveTo>
                  <a:lnTo>
                    <a:pt x="9" y="22"/>
                  </a:lnTo>
                  <a:lnTo>
                    <a:pt x="14" y="22"/>
                  </a:lnTo>
                  <a:lnTo>
                    <a:pt x="18" y="27"/>
                  </a:lnTo>
                  <a:lnTo>
                    <a:pt x="23" y="27"/>
                  </a:lnTo>
                  <a:lnTo>
                    <a:pt x="23" y="36"/>
                  </a:lnTo>
                  <a:lnTo>
                    <a:pt x="27" y="36"/>
                  </a:lnTo>
                  <a:lnTo>
                    <a:pt x="36" y="31"/>
                  </a:lnTo>
                  <a:lnTo>
                    <a:pt x="32" y="40"/>
                  </a:lnTo>
                  <a:lnTo>
                    <a:pt x="40" y="45"/>
                  </a:lnTo>
                  <a:lnTo>
                    <a:pt x="45" y="49"/>
                  </a:lnTo>
                  <a:lnTo>
                    <a:pt x="49" y="49"/>
                  </a:lnTo>
                  <a:lnTo>
                    <a:pt x="49" y="45"/>
                  </a:lnTo>
                  <a:lnTo>
                    <a:pt x="49" y="36"/>
                  </a:lnTo>
                  <a:lnTo>
                    <a:pt x="54" y="36"/>
                  </a:lnTo>
                  <a:lnTo>
                    <a:pt x="58" y="27"/>
                  </a:lnTo>
                  <a:lnTo>
                    <a:pt x="54" y="18"/>
                  </a:lnTo>
                  <a:lnTo>
                    <a:pt x="49" y="18"/>
                  </a:lnTo>
                  <a:lnTo>
                    <a:pt x="49" y="13"/>
                  </a:lnTo>
                  <a:lnTo>
                    <a:pt x="45" y="9"/>
                  </a:lnTo>
                  <a:lnTo>
                    <a:pt x="36" y="9"/>
                  </a:lnTo>
                  <a:lnTo>
                    <a:pt x="27" y="0"/>
                  </a:lnTo>
                  <a:lnTo>
                    <a:pt x="23" y="9"/>
                  </a:lnTo>
                  <a:lnTo>
                    <a:pt x="18" y="9"/>
                  </a:lnTo>
                  <a:lnTo>
                    <a:pt x="9" y="9"/>
                  </a:lnTo>
                  <a:lnTo>
                    <a:pt x="9" y="4"/>
                  </a:lnTo>
                  <a:lnTo>
                    <a:pt x="5" y="4"/>
                  </a:lnTo>
                  <a:lnTo>
                    <a:pt x="0" y="9"/>
                  </a:lnTo>
                  <a:close/>
                </a:path>
              </a:pathLst>
            </a:custGeom>
            <a:solidFill>
              <a:srgbClr val="86BC25"/>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32" name="Freeform 128">
              <a:extLst>
                <a:ext uri="{FF2B5EF4-FFF2-40B4-BE49-F238E27FC236}">
                  <a16:creationId xmlns:a16="http://schemas.microsoft.com/office/drawing/2014/main" id="{2F5FB74F-6E46-4D27-B02D-E0BDB81F4756}"/>
                </a:ext>
              </a:extLst>
            </p:cNvPr>
            <p:cNvSpPr>
              <a:spLocks/>
            </p:cNvSpPr>
            <p:nvPr/>
          </p:nvSpPr>
          <p:spPr bwMode="gray">
            <a:xfrm>
              <a:off x="9325173" y="4449503"/>
              <a:ext cx="220067" cy="158938"/>
            </a:xfrm>
            <a:custGeom>
              <a:avLst/>
              <a:gdLst/>
              <a:ahLst/>
              <a:cxnLst>
                <a:cxn ang="0">
                  <a:pos x="32" y="45"/>
                </a:cxn>
                <a:cxn ang="0">
                  <a:pos x="32" y="45"/>
                </a:cxn>
                <a:cxn ang="0">
                  <a:pos x="36" y="45"/>
                </a:cxn>
                <a:cxn ang="0">
                  <a:pos x="45" y="50"/>
                </a:cxn>
                <a:cxn ang="0">
                  <a:pos x="45" y="50"/>
                </a:cxn>
                <a:cxn ang="0">
                  <a:pos x="45" y="50"/>
                </a:cxn>
                <a:cxn ang="0">
                  <a:pos x="45" y="45"/>
                </a:cxn>
                <a:cxn ang="0">
                  <a:pos x="45" y="45"/>
                </a:cxn>
                <a:cxn ang="0">
                  <a:pos x="45" y="41"/>
                </a:cxn>
                <a:cxn ang="0">
                  <a:pos x="50" y="36"/>
                </a:cxn>
                <a:cxn ang="0">
                  <a:pos x="50" y="36"/>
                </a:cxn>
                <a:cxn ang="0">
                  <a:pos x="50" y="36"/>
                </a:cxn>
                <a:cxn ang="0">
                  <a:pos x="50" y="32"/>
                </a:cxn>
                <a:cxn ang="0">
                  <a:pos x="54" y="32"/>
                </a:cxn>
                <a:cxn ang="0">
                  <a:pos x="58" y="27"/>
                </a:cxn>
                <a:cxn ang="0">
                  <a:pos x="54" y="23"/>
                </a:cxn>
                <a:cxn ang="0">
                  <a:pos x="58" y="23"/>
                </a:cxn>
                <a:cxn ang="0">
                  <a:pos x="58" y="23"/>
                </a:cxn>
                <a:cxn ang="0">
                  <a:pos x="50" y="18"/>
                </a:cxn>
                <a:cxn ang="0">
                  <a:pos x="50" y="14"/>
                </a:cxn>
                <a:cxn ang="0">
                  <a:pos x="54" y="9"/>
                </a:cxn>
                <a:cxn ang="0">
                  <a:pos x="54" y="5"/>
                </a:cxn>
                <a:cxn ang="0">
                  <a:pos x="50" y="5"/>
                </a:cxn>
                <a:cxn ang="0">
                  <a:pos x="45" y="5"/>
                </a:cxn>
                <a:cxn ang="0">
                  <a:pos x="45" y="5"/>
                </a:cxn>
                <a:cxn ang="0">
                  <a:pos x="41" y="0"/>
                </a:cxn>
                <a:cxn ang="0">
                  <a:pos x="36" y="0"/>
                </a:cxn>
                <a:cxn ang="0">
                  <a:pos x="32" y="5"/>
                </a:cxn>
                <a:cxn ang="0">
                  <a:pos x="23" y="0"/>
                </a:cxn>
                <a:cxn ang="0">
                  <a:pos x="18" y="0"/>
                </a:cxn>
                <a:cxn ang="0">
                  <a:pos x="18" y="0"/>
                </a:cxn>
                <a:cxn ang="0">
                  <a:pos x="14" y="0"/>
                </a:cxn>
                <a:cxn ang="0">
                  <a:pos x="9" y="5"/>
                </a:cxn>
                <a:cxn ang="0">
                  <a:pos x="5" y="0"/>
                </a:cxn>
                <a:cxn ang="0">
                  <a:pos x="5" y="0"/>
                </a:cxn>
                <a:cxn ang="0">
                  <a:pos x="0" y="9"/>
                </a:cxn>
                <a:cxn ang="0">
                  <a:pos x="5" y="9"/>
                </a:cxn>
                <a:cxn ang="0">
                  <a:pos x="9" y="18"/>
                </a:cxn>
                <a:cxn ang="0">
                  <a:pos x="9" y="23"/>
                </a:cxn>
                <a:cxn ang="0">
                  <a:pos x="23" y="36"/>
                </a:cxn>
                <a:cxn ang="0">
                  <a:pos x="27" y="36"/>
                </a:cxn>
                <a:cxn ang="0">
                  <a:pos x="27" y="36"/>
                </a:cxn>
                <a:cxn ang="0">
                  <a:pos x="32" y="45"/>
                </a:cxn>
                <a:cxn ang="0">
                  <a:pos x="32" y="45"/>
                </a:cxn>
              </a:cxnLst>
              <a:rect l="0" t="0" r="r" b="b"/>
              <a:pathLst>
                <a:path w="58" h="50">
                  <a:moveTo>
                    <a:pt x="32" y="45"/>
                  </a:moveTo>
                  <a:lnTo>
                    <a:pt x="32" y="45"/>
                  </a:lnTo>
                  <a:lnTo>
                    <a:pt x="36" y="45"/>
                  </a:lnTo>
                  <a:lnTo>
                    <a:pt x="45" y="50"/>
                  </a:lnTo>
                  <a:lnTo>
                    <a:pt x="45" y="50"/>
                  </a:lnTo>
                  <a:lnTo>
                    <a:pt x="45" y="50"/>
                  </a:lnTo>
                  <a:lnTo>
                    <a:pt x="45" y="45"/>
                  </a:lnTo>
                  <a:lnTo>
                    <a:pt x="45" y="45"/>
                  </a:lnTo>
                  <a:lnTo>
                    <a:pt x="45" y="41"/>
                  </a:lnTo>
                  <a:lnTo>
                    <a:pt x="50" y="36"/>
                  </a:lnTo>
                  <a:lnTo>
                    <a:pt x="50" y="36"/>
                  </a:lnTo>
                  <a:lnTo>
                    <a:pt x="50" y="36"/>
                  </a:lnTo>
                  <a:lnTo>
                    <a:pt x="50" y="32"/>
                  </a:lnTo>
                  <a:lnTo>
                    <a:pt x="54" y="32"/>
                  </a:lnTo>
                  <a:lnTo>
                    <a:pt x="58" y="27"/>
                  </a:lnTo>
                  <a:lnTo>
                    <a:pt x="54" y="23"/>
                  </a:lnTo>
                  <a:lnTo>
                    <a:pt x="58" y="23"/>
                  </a:lnTo>
                  <a:lnTo>
                    <a:pt x="58" y="23"/>
                  </a:lnTo>
                  <a:lnTo>
                    <a:pt x="50" y="18"/>
                  </a:lnTo>
                  <a:lnTo>
                    <a:pt x="50" y="14"/>
                  </a:lnTo>
                  <a:lnTo>
                    <a:pt x="54" y="9"/>
                  </a:lnTo>
                  <a:lnTo>
                    <a:pt x="54" y="5"/>
                  </a:lnTo>
                  <a:lnTo>
                    <a:pt x="50" y="5"/>
                  </a:lnTo>
                  <a:lnTo>
                    <a:pt x="45" y="5"/>
                  </a:lnTo>
                  <a:lnTo>
                    <a:pt x="45" y="5"/>
                  </a:lnTo>
                  <a:lnTo>
                    <a:pt x="41" y="0"/>
                  </a:lnTo>
                  <a:lnTo>
                    <a:pt x="36" y="0"/>
                  </a:lnTo>
                  <a:lnTo>
                    <a:pt x="32" y="5"/>
                  </a:lnTo>
                  <a:lnTo>
                    <a:pt x="23" y="0"/>
                  </a:lnTo>
                  <a:lnTo>
                    <a:pt x="18" y="0"/>
                  </a:lnTo>
                  <a:lnTo>
                    <a:pt x="18" y="0"/>
                  </a:lnTo>
                  <a:lnTo>
                    <a:pt x="14" y="0"/>
                  </a:lnTo>
                  <a:lnTo>
                    <a:pt x="9" y="5"/>
                  </a:lnTo>
                  <a:lnTo>
                    <a:pt x="5" y="0"/>
                  </a:lnTo>
                  <a:lnTo>
                    <a:pt x="5" y="0"/>
                  </a:lnTo>
                  <a:lnTo>
                    <a:pt x="0" y="9"/>
                  </a:lnTo>
                  <a:lnTo>
                    <a:pt x="5" y="9"/>
                  </a:lnTo>
                  <a:lnTo>
                    <a:pt x="9" y="18"/>
                  </a:lnTo>
                  <a:lnTo>
                    <a:pt x="9" y="23"/>
                  </a:lnTo>
                  <a:lnTo>
                    <a:pt x="23" y="36"/>
                  </a:lnTo>
                  <a:lnTo>
                    <a:pt x="27" y="36"/>
                  </a:lnTo>
                  <a:lnTo>
                    <a:pt x="27" y="36"/>
                  </a:lnTo>
                  <a:lnTo>
                    <a:pt x="32" y="45"/>
                  </a:lnTo>
                  <a:lnTo>
                    <a:pt x="32" y="45"/>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33" name="Freeform 129">
              <a:extLst>
                <a:ext uri="{FF2B5EF4-FFF2-40B4-BE49-F238E27FC236}">
                  <a16:creationId xmlns:a16="http://schemas.microsoft.com/office/drawing/2014/main" id="{96879845-0D17-49F5-A683-BCAC7989FE9D}"/>
                </a:ext>
              </a:extLst>
            </p:cNvPr>
            <p:cNvSpPr>
              <a:spLocks/>
            </p:cNvSpPr>
            <p:nvPr/>
          </p:nvSpPr>
          <p:spPr bwMode="gray">
            <a:xfrm>
              <a:off x="9700917" y="4506557"/>
              <a:ext cx="337436" cy="199691"/>
            </a:xfrm>
            <a:custGeom>
              <a:avLst/>
              <a:gdLst/>
              <a:ahLst/>
              <a:cxnLst>
                <a:cxn ang="0">
                  <a:pos x="4" y="0"/>
                </a:cxn>
                <a:cxn ang="0">
                  <a:pos x="0" y="18"/>
                </a:cxn>
                <a:cxn ang="0">
                  <a:pos x="13" y="27"/>
                </a:cxn>
                <a:cxn ang="0">
                  <a:pos x="13" y="32"/>
                </a:cxn>
                <a:cxn ang="0">
                  <a:pos x="4" y="36"/>
                </a:cxn>
                <a:cxn ang="0">
                  <a:pos x="4" y="45"/>
                </a:cxn>
                <a:cxn ang="0">
                  <a:pos x="13" y="49"/>
                </a:cxn>
                <a:cxn ang="0">
                  <a:pos x="13" y="63"/>
                </a:cxn>
                <a:cxn ang="0">
                  <a:pos x="22" y="63"/>
                </a:cxn>
                <a:cxn ang="0">
                  <a:pos x="31" y="58"/>
                </a:cxn>
                <a:cxn ang="0">
                  <a:pos x="40" y="63"/>
                </a:cxn>
                <a:cxn ang="0">
                  <a:pos x="53" y="63"/>
                </a:cxn>
                <a:cxn ang="0">
                  <a:pos x="53" y="54"/>
                </a:cxn>
                <a:cxn ang="0">
                  <a:pos x="71" y="45"/>
                </a:cxn>
                <a:cxn ang="0">
                  <a:pos x="76" y="49"/>
                </a:cxn>
                <a:cxn ang="0">
                  <a:pos x="85" y="49"/>
                </a:cxn>
                <a:cxn ang="0">
                  <a:pos x="80" y="36"/>
                </a:cxn>
                <a:cxn ang="0">
                  <a:pos x="76" y="36"/>
                </a:cxn>
                <a:cxn ang="0">
                  <a:pos x="80" y="32"/>
                </a:cxn>
                <a:cxn ang="0">
                  <a:pos x="80" y="18"/>
                </a:cxn>
                <a:cxn ang="0">
                  <a:pos x="89" y="18"/>
                </a:cxn>
                <a:cxn ang="0">
                  <a:pos x="89" y="14"/>
                </a:cxn>
                <a:cxn ang="0">
                  <a:pos x="71" y="5"/>
                </a:cxn>
                <a:cxn ang="0">
                  <a:pos x="58" y="9"/>
                </a:cxn>
                <a:cxn ang="0">
                  <a:pos x="49" y="18"/>
                </a:cxn>
                <a:cxn ang="0">
                  <a:pos x="35" y="18"/>
                </a:cxn>
                <a:cxn ang="0">
                  <a:pos x="22" y="14"/>
                </a:cxn>
                <a:cxn ang="0">
                  <a:pos x="9" y="9"/>
                </a:cxn>
                <a:cxn ang="0">
                  <a:pos x="9" y="0"/>
                </a:cxn>
                <a:cxn ang="0">
                  <a:pos x="4" y="0"/>
                </a:cxn>
              </a:cxnLst>
              <a:rect l="0" t="0" r="r" b="b"/>
              <a:pathLst>
                <a:path w="89" h="63">
                  <a:moveTo>
                    <a:pt x="4" y="0"/>
                  </a:moveTo>
                  <a:lnTo>
                    <a:pt x="0" y="18"/>
                  </a:lnTo>
                  <a:lnTo>
                    <a:pt x="13" y="27"/>
                  </a:lnTo>
                  <a:lnTo>
                    <a:pt x="13" y="32"/>
                  </a:lnTo>
                  <a:lnTo>
                    <a:pt x="4" y="36"/>
                  </a:lnTo>
                  <a:lnTo>
                    <a:pt x="4" y="45"/>
                  </a:lnTo>
                  <a:lnTo>
                    <a:pt x="13" y="49"/>
                  </a:lnTo>
                  <a:lnTo>
                    <a:pt x="13" y="63"/>
                  </a:lnTo>
                  <a:lnTo>
                    <a:pt x="22" y="63"/>
                  </a:lnTo>
                  <a:lnTo>
                    <a:pt x="31" y="58"/>
                  </a:lnTo>
                  <a:lnTo>
                    <a:pt x="40" y="63"/>
                  </a:lnTo>
                  <a:lnTo>
                    <a:pt x="53" y="63"/>
                  </a:lnTo>
                  <a:lnTo>
                    <a:pt x="53" y="54"/>
                  </a:lnTo>
                  <a:lnTo>
                    <a:pt x="71" y="45"/>
                  </a:lnTo>
                  <a:lnTo>
                    <a:pt x="76" y="49"/>
                  </a:lnTo>
                  <a:lnTo>
                    <a:pt x="85" y="49"/>
                  </a:lnTo>
                  <a:lnTo>
                    <a:pt x="80" y="36"/>
                  </a:lnTo>
                  <a:lnTo>
                    <a:pt x="76" y="36"/>
                  </a:lnTo>
                  <a:lnTo>
                    <a:pt x="80" y="32"/>
                  </a:lnTo>
                  <a:lnTo>
                    <a:pt x="80" y="18"/>
                  </a:lnTo>
                  <a:lnTo>
                    <a:pt x="89" y="18"/>
                  </a:lnTo>
                  <a:lnTo>
                    <a:pt x="89" y="14"/>
                  </a:lnTo>
                  <a:lnTo>
                    <a:pt x="71" y="5"/>
                  </a:lnTo>
                  <a:lnTo>
                    <a:pt x="58" y="9"/>
                  </a:lnTo>
                  <a:lnTo>
                    <a:pt x="49" y="18"/>
                  </a:lnTo>
                  <a:lnTo>
                    <a:pt x="35" y="18"/>
                  </a:lnTo>
                  <a:lnTo>
                    <a:pt x="22" y="14"/>
                  </a:lnTo>
                  <a:lnTo>
                    <a:pt x="9" y="9"/>
                  </a:lnTo>
                  <a:lnTo>
                    <a:pt x="9" y="0"/>
                  </a:lnTo>
                  <a:lnTo>
                    <a:pt x="4" y="0"/>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34" name="Freeform 130">
              <a:extLst>
                <a:ext uri="{FF2B5EF4-FFF2-40B4-BE49-F238E27FC236}">
                  <a16:creationId xmlns:a16="http://schemas.microsoft.com/office/drawing/2014/main" id="{1A4E0875-E6D4-47F7-B075-0B02C4A70758}"/>
                </a:ext>
              </a:extLst>
            </p:cNvPr>
            <p:cNvSpPr>
              <a:spLocks/>
            </p:cNvSpPr>
            <p:nvPr/>
          </p:nvSpPr>
          <p:spPr bwMode="gray">
            <a:xfrm>
              <a:off x="9749822" y="3655631"/>
              <a:ext cx="507785" cy="383895"/>
            </a:xfrm>
            <a:custGeom>
              <a:avLst/>
              <a:gdLst/>
              <a:ahLst/>
              <a:cxnLst>
                <a:cxn ang="0">
                  <a:pos x="13" y="116"/>
                </a:cxn>
                <a:cxn ang="0">
                  <a:pos x="22" y="103"/>
                </a:cxn>
                <a:cxn ang="0">
                  <a:pos x="45" y="112"/>
                </a:cxn>
                <a:cxn ang="0">
                  <a:pos x="63" y="112"/>
                </a:cxn>
                <a:cxn ang="0">
                  <a:pos x="67" y="116"/>
                </a:cxn>
                <a:cxn ang="0">
                  <a:pos x="76" y="112"/>
                </a:cxn>
                <a:cxn ang="0">
                  <a:pos x="85" y="112"/>
                </a:cxn>
                <a:cxn ang="0">
                  <a:pos x="98" y="116"/>
                </a:cxn>
                <a:cxn ang="0">
                  <a:pos x="107" y="116"/>
                </a:cxn>
                <a:cxn ang="0">
                  <a:pos x="112" y="99"/>
                </a:cxn>
                <a:cxn ang="0">
                  <a:pos x="121" y="94"/>
                </a:cxn>
                <a:cxn ang="0">
                  <a:pos x="121" y="76"/>
                </a:cxn>
                <a:cxn ang="0">
                  <a:pos x="125" y="81"/>
                </a:cxn>
                <a:cxn ang="0">
                  <a:pos x="134" y="72"/>
                </a:cxn>
                <a:cxn ang="0">
                  <a:pos x="125" y="63"/>
                </a:cxn>
                <a:cxn ang="0">
                  <a:pos x="116" y="54"/>
                </a:cxn>
                <a:cxn ang="0">
                  <a:pos x="112" y="45"/>
                </a:cxn>
                <a:cxn ang="0">
                  <a:pos x="112" y="31"/>
                </a:cxn>
                <a:cxn ang="0">
                  <a:pos x="98" y="9"/>
                </a:cxn>
                <a:cxn ang="0">
                  <a:pos x="85" y="5"/>
                </a:cxn>
                <a:cxn ang="0">
                  <a:pos x="76" y="0"/>
                </a:cxn>
                <a:cxn ang="0">
                  <a:pos x="67" y="0"/>
                </a:cxn>
                <a:cxn ang="0">
                  <a:pos x="63" y="9"/>
                </a:cxn>
                <a:cxn ang="0">
                  <a:pos x="45" y="18"/>
                </a:cxn>
                <a:cxn ang="0">
                  <a:pos x="45" y="23"/>
                </a:cxn>
                <a:cxn ang="0">
                  <a:pos x="45" y="27"/>
                </a:cxn>
                <a:cxn ang="0">
                  <a:pos x="40" y="31"/>
                </a:cxn>
                <a:cxn ang="0">
                  <a:pos x="31" y="45"/>
                </a:cxn>
                <a:cxn ang="0">
                  <a:pos x="27" y="49"/>
                </a:cxn>
                <a:cxn ang="0">
                  <a:pos x="13" y="49"/>
                </a:cxn>
                <a:cxn ang="0">
                  <a:pos x="9" y="72"/>
                </a:cxn>
                <a:cxn ang="0">
                  <a:pos x="13" y="90"/>
                </a:cxn>
                <a:cxn ang="0">
                  <a:pos x="5" y="103"/>
                </a:cxn>
              </a:cxnLst>
              <a:rect l="0" t="0" r="r" b="b"/>
              <a:pathLst>
                <a:path w="134" h="121">
                  <a:moveTo>
                    <a:pt x="5" y="112"/>
                  </a:moveTo>
                  <a:lnTo>
                    <a:pt x="13" y="116"/>
                  </a:lnTo>
                  <a:lnTo>
                    <a:pt x="18" y="107"/>
                  </a:lnTo>
                  <a:lnTo>
                    <a:pt x="22" y="103"/>
                  </a:lnTo>
                  <a:lnTo>
                    <a:pt x="36" y="107"/>
                  </a:lnTo>
                  <a:lnTo>
                    <a:pt x="45" y="112"/>
                  </a:lnTo>
                  <a:lnTo>
                    <a:pt x="58" y="107"/>
                  </a:lnTo>
                  <a:lnTo>
                    <a:pt x="63" y="112"/>
                  </a:lnTo>
                  <a:lnTo>
                    <a:pt x="67" y="121"/>
                  </a:lnTo>
                  <a:lnTo>
                    <a:pt x="67" y="116"/>
                  </a:lnTo>
                  <a:lnTo>
                    <a:pt x="76" y="116"/>
                  </a:lnTo>
                  <a:lnTo>
                    <a:pt x="76" y="112"/>
                  </a:lnTo>
                  <a:lnTo>
                    <a:pt x="80" y="116"/>
                  </a:lnTo>
                  <a:lnTo>
                    <a:pt x="85" y="112"/>
                  </a:lnTo>
                  <a:lnTo>
                    <a:pt x="89" y="121"/>
                  </a:lnTo>
                  <a:lnTo>
                    <a:pt x="98" y="116"/>
                  </a:lnTo>
                  <a:lnTo>
                    <a:pt x="107" y="121"/>
                  </a:lnTo>
                  <a:lnTo>
                    <a:pt x="107" y="116"/>
                  </a:lnTo>
                  <a:lnTo>
                    <a:pt x="107" y="112"/>
                  </a:lnTo>
                  <a:lnTo>
                    <a:pt x="112" y="99"/>
                  </a:lnTo>
                  <a:lnTo>
                    <a:pt x="121" y="103"/>
                  </a:lnTo>
                  <a:lnTo>
                    <a:pt x="121" y="94"/>
                  </a:lnTo>
                  <a:lnTo>
                    <a:pt x="116" y="81"/>
                  </a:lnTo>
                  <a:lnTo>
                    <a:pt x="121" y="76"/>
                  </a:lnTo>
                  <a:lnTo>
                    <a:pt x="125" y="81"/>
                  </a:lnTo>
                  <a:lnTo>
                    <a:pt x="125" y="81"/>
                  </a:lnTo>
                  <a:lnTo>
                    <a:pt x="130" y="76"/>
                  </a:lnTo>
                  <a:lnTo>
                    <a:pt x="134" y="72"/>
                  </a:lnTo>
                  <a:lnTo>
                    <a:pt x="130" y="72"/>
                  </a:lnTo>
                  <a:lnTo>
                    <a:pt x="125" y="63"/>
                  </a:lnTo>
                  <a:lnTo>
                    <a:pt x="116" y="67"/>
                  </a:lnTo>
                  <a:lnTo>
                    <a:pt x="116" y="54"/>
                  </a:lnTo>
                  <a:lnTo>
                    <a:pt x="112" y="49"/>
                  </a:lnTo>
                  <a:lnTo>
                    <a:pt x="112" y="45"/>
                  </a:lnTo>
                  <a:lnTo>
                    <a:pt x="112" y="36"/>
                  </a:lnTo>
                  <a:lnTo>
                    <a:pt x="112" y="31"/>
                  </a:lnTo>
                  <a:lnTo>
                    <a:pt x="107" y="18"/>
                  </a:lnTo>
                  <a:lnTo>
                    <a:pt x="98" y="9"/>
                  </a:lnTo>
                  <a:lnTo>
                    <a:pt x="89" y="14"/>
                  </a:lnTo>
                  <a:lnTo>
                    <a:pt x="85" y="5"/>
                  </a:lnTo>
                  <a:lnTo>
                    <a:pt x="76" y="5"/>
                  </a:lnTo>
                  <a:lnTo>
                    <a:pt x="76" y="0"/>
                  </a:lnTo>
                  <a:lnTo>
                    <a:pt x="72" y="0"/>
                  </a:lnTo>
                  <a:lnTo>
                    <a:pt x="67" y="0"/>
                  </a:lnTo>
                  <a:lnTo>
                    <a:pt x="67" y="0"/>
                  </a:lnTo>
                  <a:lnTo>
                    <a:pt x="63" y="9"/>
                  </a:lnTo>
                  <a:lnTo>
                    <a:pt x="58" y="14"/>
                  </a:lnTo>
                  <a:lnTo>
                    <a:pt x="45" y="18"/>
                  </a:lnTo>
                  <a:lnTo>
                    <a:pt x="45" y="23"/>
                  </a:lnTo>
                  <a:lnTo>
                    <a:pt x="45" y="23"/>
                  </a:lnTo>
                  <a:lnTo>
                    <a:pt x="49" y="27"/>
                  </a:lnTo>
                  <a:lnTo>
                    <a:pt x="45" y="27"/>
                  </a:lnTo>
                  <a:lnTo>
                    <a:pt x="45" y="27"/>
                  </a:lnTo>
                  <a:lnTo>
                    <a:pt x="40" y="31"/>
                  </a:lnTo>
                  <a:lnTo>
                    <a:pt x="36" y="40"/>
                  </a:lnTo>
                  <a:lnTo>
                    <a:pt x="31" y="45"/>
                  </a:lnTo>
                  <a:lnTo>
                    <a:pt x="31" y="54"/>
                  </a:lnTo>
                  <a:lnTo>
                    <a:pt x="27" y="49"/>
                  </a:lnTo>
                  <a:lnTo>
                    <a:pt x="22" y="54"/>
                  </a:lnTo>
                  <a:lnTo>
                    <a:pt x="13" y="49"/>
                  </a:lnTo>
                  <a:lnTo>
                    <a:pt x="5" y="58"/>
                  </a:lnTo>
                  <a:lnTo>
                    <a:pt x="9" y="72"/>
                  </a:lnTo>
                  <a:lnTo>
                    <a:pt x="13" y="81"/>
                  </a:lnTo>
                  <a:lnTo>
                    <a:pt x="13" y="90"/>
                  </a:lnTo>
                  <a:lnTo>
                    <a:pt x="0" y="94"/>
                  </a:lnTo>
                  <a:lnTo>
                    <a:pt x="5" y="103"/>
                  </a:lnTo>
                  <a:lnTo>
                    <a:pt x="5" y="112"/>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35" name="Freeform 131">
              <a:extLst>
                <a:ext uri="{FF2B5EF4-FFF2-40B4-BE49-F238E27FC236}">
                  <a16:creationId xmlns:a16="http://schemas.microsoft.com/office/drawing/2014/main" id="{60469817-14B0-4EF9-BD01-2205D452F4B7}"/>
                </a:ext>
              </a:extLst>
            </p:cNvPr>
            <p:cNvSpPr>
              <a:spLocks noEditPoints="1"/>
            </p:cNvSpPr>
            <p:nvPr/>
          </p:nvSpPr>
          <p:spPr bwMode="gray">
            <a:xfrm>
              <a:off x="9207804" y="4366366"/>
              <a:ext cx="321950" cy="254300"/>
            </a:xfrm>
            <a:custGeom>
              <a:avLst/>
              <a:gdLst/>
              <a:ahLst/>
              <a:cxnLst>
                <a:cxn ang="0">
                  <a:pos x="0" y="22"/>
                </a:cxn>
                <a:cxn ang="0">
                  <a:pos x="9" y="35"/>
                </a:cxn>
                <a:cxn ang="0">
                  <a:pos x="22" y="31"/>
                </a:cxn>
                <a:cxn ang="0">
                  <a:pos x="27" y="44"/>
                </a:cxn>
                <a:cxn ang="0">
                  <a:pos x="22" y="53"/>
                </a:cxn>
                <a:cxn ang="0">
                  <a:pos x="36" y="62"/>
                </a:cxn>
                <a:cxn ang="0">
                  <a:pos x="45" y="67"/>
                </a:cxn>
                <a:cxn ang="0">
                  <a:pos x="45" y="62"/>
                </a:cxn>
                <a:cxn ang="0">
                  <a:pos x="54" y="67"/>
                </a:cxn>
                <a:cxn ang="0">
                  <a:pos x="63" y="71"/>
                </a:cxn>
                <a:cxn ang="0">
                  <a:pos x="58" y="62"/>
                </a:cxn>
                <a:cxn ang="0">
                  <a:pos x="54" y="62"/>
                </a:cxn>
                <a:cxn ang="0">
                  <a:pos x="40" y="44"/>
                </a:cxn>
                <a:cxn ang="0">
                  <a:pos x="31" y="35"/>
                </a:cxn>
                <a:cxn ang="0">
                  <a:pos x="36" y="26"/>
                </a:cxn>
                <a:cxn ang="0">
                  <a:pos x="45" y="26"/>
                </a:cxn>
                <a:cxn ang="0">
                  <a:pos x="49" y="26"/>
                </a:cxn>
                <a:cxn ang="0">
                  <a:pos x="63" y="31"/>
                </a:cxn>
                <a:cxn ang="0">
                  <a:pos x="72" y="26"/>
                </a:cxn>
                <a:cxn ang="0">
                  <a:pos x="76" y="31"/>
                </a:cxn>
                <a:cxn ang="0">
                  <a:pos x="81" y="26"/>
                </a:cxn>
                <a:cxn ang="0">
                  <a:pos x="85" y="22"/>
                </a:cxn>
                <a:cxn ang="0">
                  <a:pos x="81" y="22"/>
                </a:cxn>
                <a:cxn ang="0">
                  <a:pos x="81" y="18"/>
                </a:cxn>
                <a:cxn ang="0">
                  <a:pos x="76" y="13"/>
                </a:cxn>
                <a:cxn ang="0">
                  <a:pos x="49" y="13"/>
                </a:cxn>
                <a:cxn ang="0">
                  <a:pos x="45" y="4"/>
                </a:cxn>
                <a:cxn ang="0">
                  <a:pos x="40" y="0"/>
                </a:cxn>
                <a:cxn ang="0">
                  <a:pos x="40" y="4"/>
                </a:cxn>
                <a:cxn ang="0">
                  <a:pos x="36" y="9"/>
                </a:cxn>
                <a:cxn ang="0">
                  <a:pos x="31" y="9"/>
                </a:cxn>
                <a:cxn ang="0">
                  <a:pos x="31" y="13"/>
                </a:cxn>
                <a:cxn ang="0">
                  <a:pos x="27" y="22"/>
                </a:cxn>
                <a:cxn ang="0">
                  <a:pos x="22" y="22"/>
                </a:cxn>
                <a:cxn ang="0">
                  <a:pos x="14" y="22"/>
                </a:cxn>
                <a:cxn ang="0">
                  <a:pos x="5" y="22"/>
                </a:cxn>
                <a:cxn ang="0">
                  <a:pos x="63" y="71"/>
                </a:cxn>
                <a:cxn ang="0">
                  <a:pos x="72" y="80"/>
                </a:cxn>
                <a:cxn ang="0">
                  <a:pos x="76" y="76"/>
                </a:cxn>
                <a:cxn ang="0">
                  <a:pos x="63" y="71"/>
                </a:cxn>
              </a:cxnLst>
              <a:rect l="0" t="0" r="r" b="b"/>
              <a:pathLst>
                <a:path w="85" h="80">
                  <a:moveTo>
                    <a:pt x="5" y="22"/>
                  </a:moveTo>
                  <a:lnTo>
                    <a:pt x="0" y="22"/>
                  </a:lnTo>
                  <a:lnTo>
                    <a:pt x="5" y="35"/>
                  </a:lnTo>
                  <a:lnTo>
                    <a:pt x="9" y="35"/>
                  </a:lnTo>
                  <a:lnTo>
                    <a:pt x="14" y="26"/>
                  </a:lnTo>
                  <a:lnTo>
                    <a:pt x="22" y="31"/>
                  </a:lnTo>
                  <a:lnTo>
                    <a:pt x="18" y="35"/>
                  </a:lnTo>
                  <a:lnTo>
                    <a:pt x="27" y="44"/>
                  </a:lnTo>
                  <a:lnTo>
                    <a:pt x="22" y="44"/>
                  </a:lnTo>
                  <a:lnTo>
                    <a:pt x="22" y="53"/>
                  </a:lnTo>
                  <a:lnTo>
                    <a:pt x="31" y="49"/>
                  </a:lnTo>
                  <a:lnTo>
                    <a:pt x="36" y="62"/>
                  </a:lnTo>
                  <a:lnTo>
                    <a:pt x="45" y="62"/>
                  </a:lnTo>
                  <a:lnTo>
                    <a:pt x="45" y="67"/>
                  </a:lnTo>
                  <a:lnTo>
                    <a:pt x="54" y="67"/>
                  </a:lnTo>
                  <a:lnTo>
                    <a:pt x="45" y="62"/>
                  </a:lnTo>
                  <a:lnTo>
                    <a:pt x="49" y="62"/>
                  </a:lnTo>
                  <a:lnTo>
                    <a:pt x="54" y="67"/>
                  </a:lnTo>
                  <a:lnTo>
                    <a:pt x="54" y="71"/>
                  </a:lnTo>
                  <a:lnTo>
                    <a:pt x="63" y="71"/>
                  </a:lnTo>
                  <a:lnTo>
                    <a:pt x="63" y="71"/>
                  </a:lnTo>
                  <a:lnTo>
                    <a:pt x="58" y="62"/>
                  </a:lnTo>
                  <a:lnTo>
                    <a:pt x="58" y="62"/>
                  </a:lnTo>
                  <a:lnTo>
                    <a:pt x="54" y="62"/>
                  </a:lnTo>
                  <a:lnTo>
                    <a:pt x="40" y="49"/>
                  </a:lnTo>
                  <a:lnTo>
                    <a:pt x="40" y="44"/>
                  </a:lnTo>
                  <a:lnTo>
                    <a:pt x="36" y="35"/>
                  </a:lnTo>
                  <a:lnTo>
                    <a:pt x="31" y="35"/>
                  </a:lnTo>
                  <a:lnTo>
                    <a:pt x="36" y="26"/>
                  </a:lnTo>
                  <a:lnTo>
                    <a:pt x="36" y="26"/>
                  </a:lnTo>
                  <a:lnTo>
                    <a:pt x="40" y="31"/>
                  </a:lnTo>
                  <a:lnTo>
                    <a:pt x="45" y="26"/>
                  </a:lnTo>
                  <a:lnTo>
                    <a:pt x="49" y="26"/>
                  </a:lnTo>
                  <a:lnTo>
                    <a:pt x="49" y="26"/>
                  </a:lnTo>
                  <a:lnTo>
                    <a:pt x="54" y="26"/>
                  </a:lnTo>
                  <a:lnTo>
                    <a:pt x="63" y="31"/>
                  </a:lnTo>
                  <a:lnTo>
                    <a:pt x="67" y="26"/>
                  </a:lnTo>
                  <a:lnTo>
                    <a:pt x="72" y="26"/>
                  </a:lnTo>
                  <a:lnTo>
                    <a:pt x="76" y="31"/>
                  </a:lnTo>
                  <a:lnTo>
                    <a:pt x="76" y="31"/>
                  </a:lnTo>
                  <a:lnTo>
                    <a:pt x="81" y="31"/>
                  </a:lnTo>
                  <a:lnTo>
                    <a:pt x="81" y="26"/>
                  </a:lnTo>
                  <a:lnTo>
                    <a:pt x="85" y="26"/>
                  </a:lnTo>
                  <a:lnTo>
                    <a:pt x="85" y="22"/>
                  </a:lnTo>
                  <a:lnTo>
                    <a:pt x="81" y="22"/>
                  </a:lnTo>
                  <a:lnTo>
                    <a:pt x="81" y="22"/>
                  </a:lnTo>
                  <a:lnTo>
                    <a:pt x="81" y="18"/>
                  </a:lnTo>
                  <a:lnTo>
                    <a:pt x="81" y="18"/>
                  </a:lnTo>
                  <a:lnTo>
                    <a:pt x="81" y="13"/>
                  </a:lnTo>
                  <a:lnTo>
                    <a:pt x="76" y="13"/>
                  </a:lnTo>
                  <a:lnTo>
                    <a:pt x="67" y="18"/>
                  </a:lnTo>
                  <a:lnTo>
                    <a:pt x="49" y="13"/>
                  </a:lnTo>
                  <a:lnTo>
                    <a:pt x="45" y="4"/>
                  </a:lnTo>
                  <a:lnTo>
                    <a:pt x="45" y="4"/>
                  </a:lnTo>
                  <a:lnTo>
                    <a:pt x="45" y="4"/>
                  </a:lnTo>
                  <a:lnTo>
                    <a:pt x="40" y="0"/>
                  </a:lnTo>
                  <a:lnTo>
                    <a:pt x="40" y="4"/>
                  </a:lnTo>
                  <a:lnTo>
                    <a:pt x="40" y="4"/>
                  </a:lnTo>
                  <a:lnTo>
                    <a:pt x="36" y="4"/>
                  </a:lnTo>
                  <a:lnTo>
                    <a:pt x="36" y="9"/>
                  </a:lnTo>
                  <a:lnTo>
                    <a:pt x="31" y="9"/>
                  </a:lnTo>
                  <a:lnTo>
                    <a:pt x="31" y="9"/>
                  </a:lnTo>
                  <a:lnTo>
                    <a:pt x="31" y="13"/>
                  </a:lnTo>
                  <a:lnTo>
                    <a:pt x="31" y="13"/>
                  </a:lnTo>
                  <a:lnTo>
                    <a:pt x="27" y="18"/>
                  </a:lnTo>
                  <a:lnTo>
                    <a:pt x="27" y="22"/>
                  </a:lnTo>
                  <a:lnTo>
                    <a:pt x="27" y="22"/>
                  </a:lnTo>
                  <a:lnTo>
                    <a:pt x="22" y="22"/>
                  </a:lnTo>
                  <a:lnTo>
                    <a:pt x="18" y="18"/>
                  </a:lnTo>
                  <a:lnTo>
                    <a:pt x="14" y="22"/>
                  </a:lnTo>
                  <a:lnTo>
                    <a:pt x="14" y="22"/>
                  </a:lnTo>
                  <a:lnTo>
                    <a:pt x="5" y="22"/>
                  </a:lnTo>
                  <a:lnTo>
                    <a:pt x="5" y="22"/>
                  </a:lnTo>
                  <a:close/>
                  <a:moveTo>
                    <a:pt x="63" y="71"/>
                  </a:moveTo>
                  <a:lnTo>
                    <a:pt x="72" y="80"/>
                  </a:lnTo>
                  <a:lnTo>
                    <a:pt x="72" y="80"/>
                  </a:lnTo>
                  <a:lnTo>
                    <a:pt x="76" y="80"/>
                  </a:lnTo>
                  <a:lnTo>
                    <a:pt x="76" y="76"/>
                  </a:lnTo>
                  <a:lnTo>
                    <a:pt x="67" y="71"/>
                  </a:lnTo>
                  <a:lnTo>
                    <a:pt x="63" y="71"/>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36" name="Freeform 132">
              <a:extLst>
                <a:ext uri="{FF2B5EF4-FFF2-40B4-BE49-F238E27FC236}">
                  <a16:creationId xmlns:a16="http://schemas.microsoft.com/office/drawing/2014/main" id="{377D9ECE-FD0F-4769-AC2A-E93EA6D7243D}"/>
                </a:ext>
              </a:extLst>
            </p:cNvPr>
            <p:cNvSpPr>
              <a:spLocks/>
            </p:cNvSpPr>
            <p:nvPr/>
          </p:nvSpPr>
          <p:spPr bwMode="gray">
            <a:xfrm>
              <a:off x="9139338" y="4068054"/>
              <a:ext cx="356183" cy="167903"/>
            </a:xfrm>
            <a:custGeom>
              <a:avLst/>
              <a:gdLst/>
              <a:ahLst/>
              <a:cxnLst>
                <a:cxn ang="0">
                  <a:pos x="40" y="0"/>
                </a:cxn>
                <a:cxn ang="0">
                  <a:pos x="36" y="0"/>
                </a:cxn>
                <a:cxn ang="0">
                  <a:pos x="32" y="9"/>
                </a:cxn>
                <a:cxn ang="0">
                  <a:pos x="18" y="9"/>
                </a:cxn>
                <a:cxn ang="0">
                  <a:pos x="9" y="18"/>
                </a:cxn>
                <a:cxn ang="0">
                  <a:pos x="5" y="18"/>
                </a:cxn>
                <a:cxn ang="0">
                  <a:pos x="0" y="18"/>
                </a:cxn>
                <a:cxn ang="0">
                  <a:pos x="5" y="27"/>
                </a:cxn>
                <a:cxn ang="0">
                  <a:pos x="9" y="36"/>
                </a:cxn>
                <a:cxn ang="0">
                  <a:pos x="18" y="36"/>
                </a:cxn>
                <a:cxn ang="0">
                  <a:pos x="27" y="44"/>
                </a:cxn>
                <a:cxn ang="0">
                  <a:pos x="27" y="49"/>
                </a:cxn>
                <a:cxn ang="0">
                  <a:pos x="36" y="49"/>
                </a:cxn>
                <a:cxn ang="0">
                  <a:pos x="45" y="40"/>
                </a:cxn>
                <a:cxn ang="0">
                  <a:pos x="67" y="44"/>
                </a:cxn>
                <a:cxn ang="0">
                  <a:pos x="67" y="53"/>
                </a:cxn>
                <a:cxn ang="0">
                  <a:pos x="72" y="49"/>
                </a:cxn>
                <a:cxn ang="0">
                  <a:pos x="81" y="49"/>
                </a:cxn>
                <a:cxn ang="0">
                  <a:pos x="85" y="44"/>
                </a:cxn>
                <a:cxn ang="0">
                  <a:pos x="90" y="36"/>
                </a:cxn>
                <a:cxn ang="0">
                  <a:pos x="94" y="31"/>
                </a:cxn>
                <a:cxn ang="0">
                  <a:pos x="94" y="22"/>
                </a:cxn>
                <a:cxn ang="0">
                  <a:pos x="85" y="22"/>
                </a:cxn>
                <a:cxn ang="0">
                  <a:pos x="81" y="13"/>
                </a:cxn>
                <a:cxn ang="0">
                  <a:pos x="72" y="9"/>
                </a:cxn>
                <a:cxn ang="0">
                  <a:pos x="67" y="18"/>
                </a:cxn>
                <a:cxn ang="0">
                  <a:pos x="58" y="13"/>
                </a:cxn>
                <a:cxn ang="0">
                  <a:pos x="63" y="9"/>
                </a:cxn>
                <a:cxn ang="0">
                  <a:pos x="54" y="9"/>
                </a:cxn>
                <a:cxn ang="0">
                  <a:pos x="49" y="0"/>
                </a:cxn>
                <a:cxn ang="0">
                  <a:pos x="45" y="4"/>
                </a:cxn>
                <a:cxn ang="0">
                  <a:pos x="40" y="0"/>
                </a:cxn>
              </a:cxnLst>
              <a:rect l="0" t="0" r="r" b="b"/>
              <a:pathLst>
                <a:path w="94" h="53">
                  <a:moveTo>
                    <a:pt x="40" y="0"/>
                  </a:moveTo>
                  <a:lnTo>
                    <a:pt x="36" y="0"/>
                  </a:lnTo>
                  <a:lnTo>
                    <a:pt x="32" y="9"/>
                  </a:lnTo>
                  <a:lnTo>
                    <a:pt x="18" y="9"/>
                  </a:lnTo>
                  <a:lnTo>
                    <a:pt x="9" y="18"/>
                  </a:lnTo>
                  <a:lnTo>
                    <a:pt x="5" y="18"/>
                  </a:lnTo>
                  <a:lnTo>
                    <a:pt x="0" y="18"/>
                  </a:lnTo>
                  <a:lnTo>
                    <a:pt x="5" y="27"/>
                  </a:lnTo>
                  <a:lnTo>
                    <a:pt x="9" y="36"/>
                  </a:lnTo>
                  <a:lnTo>
                    <a:pt x="18" y="36"/>
                  </a:lnTo>
                  <a:lnTo>
                    <a:pt x="27" y="44"/>
                  </a:lnTo>
                  <a:lnTo>
                    <a:pt x="27" y="49"/>
                  </a:lnTo>
                  <a:lnTo>
                    <a:pt x="36" y="49"/>
                  </a:lnTo>
                  <a:lnTo>
                    <a:pt x="45" y="40"/>
                  </a:lnTo>
                  <a:lnTo>
                    <a:pt x="67" y="44"/>
                  </a:lnTo>
                  <a:lnTo>
                    <a:pt x="67" y="53"/>
                  </a:lnTo>
                  <a:lnTo>
                    <a:pt x="72" y="49"/>
                  </a:lnTo>
                  <a:lnTo>
                    <a:pt x="81" y="49"/>
                  </a:lnTo>
                  <a:lnTo>
                    <a:pt x="85" y="44"/>
                  </a:lnTo>
                  <a:lnTo>
                    <a:pt x="90" y="36"/>
                  </a:lnTo>
                  <a:lnTo>
                    <a:pt x="94" y="31"/>
                  </a:lnTo>
                  <a:lnTo>
                    <a:pt x="94" y="22"/>
                  </a:lnTo>
                  <a:lnTo>
                    <a:pt x="85" y="22"/>
                  </a:lnTo>
                  <a:lnTo>
                    <a:pt x="81" y="13"/>
                  </a:lnTo>
                  <a:lnTo>
                    <a:pt x="72" y="9"/>
                  </a:lnTo>
                  <a:lnTo>
                    <a:pt x="67" y="18"/>
                  </a:lnTo>
                  <a:lnTo>
                    <a:pt x="58" y="13"/>
                  </a:lnTo>
                  <a:lnTo>
                    <a:pt x="63" y="9"/>
                  </a:lnTo>
                  <a:lnTo>
                    <a:pt x="54" y="9"/>
                  </a:lnTo>
                  <a:lnTo>
                    <a:pt x="49" y="0"/>
                  </a:lnTo>
                  <a:lnTo>
                    <a:pt x="45" y="4"/>
                  </a:lnTo>
                  <a:lnTo>
                    <a:pt x="40" y="0"/>
                  </a:lnTo>
                  <a:close/>
                </a:path>
              </a:pathLst>
            </a:custGeom>
            <a:solidFill>
              <a:schemeClr val="accent1"/>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37" name="Freeform 133">
              <a:extLst>
                <a:ext uri="{FF2B5EF4-FFF2-40B4-BE49-F238E27FC236}">
                  <a16:creationId xmlns:a16="http://schemas.microsoft.com/office/drawing/2014/main" id="{A4037586-6F57-4843-A0C8-CB3CA59A0ACD}"/>
                </a:ext>
              </a:extLst>
            </p:cNvPr>
            <p:cNvSpPr>
              <a:spLocks noEditPoints="1"/>
            </p:cNvSpPr>
            <p:nvPr/>
          </p:nvSpPr>
          <p:spPr bwMode="gray">
            <a:xfrm>
              <a:off x="8123769" y="3074491"/>
              <a:ext cx="1186733" cy="708291"/>
            </a:xfrm>
            <a:custGeom>
              <a:avLst/>
              <a:gdLst/>
              <a:ahLst/>
              <a:cxnLst>
                <a:cxn ang="0">
                  <a:pos x="0" y="9"/>
                </a:cxn>
                <a:cxn ang="0">
                  <a:pos x="5" y="18"/>
                </a:cxn>
                <a:cxn ang="0">
                  <a:pos x="5" y="27"/>
                </a:cxn>
                <a:cxn ang="0">
                  <a:pos x="9" y="31"/>
                </a:cxn>
                <a:cxn ang="0">
                  <a:pos x="9" y="18"/>
                </a:cxn>
                <a:cxn ang="0">
                  <a:pos x="5" y="13"/>
                </a:cxn>
                <a:cxn ang="0">
                  <a:pos x="14" y="0"/>
                </a:cxn>
                <a:cxn ang="0">
                  <a:pos x="0" y="4"/>
                </a:cxn>
                <a:cxn ang="0">
                  <a:pos x="241" y="214"/>
                </a:cxn>
                <a:cxn ang="0">
                  <a:pos x="237" y="206"/>
                </a:cxn>
                <a:cxn ang="0">
                  <a:pos x="237" y="192"/>
                </a:cxn>
                <a:cxn ang="0">
                  <a:pos x="241" y="188"/>
                </a:cxn>
                <a:cxn ang="0">
                  <a:pos x="246" y="183"/>
                </a:cxn>
                <a:cxn ang="0">
                  <a:pos x="250" y="170"/>
                </a:cxn>
                <a:cxn ang="0">
                  <a:pos x="246" y="165"/>
                </a:cxn>
                <a:cxn ang="0">
                  <a:pos x="241" y="156"/>
                </a:cxn>
                <a:cxn ang="0">
                  <a:pos x="246" y="156"/>
                </a:cxn>
                <a:cxn ang="0">
                  <a:pos x="246" y="143"/>
                </a:cxn>
                <a:cxn ang="0">
                  <a:pos x="246" y="134"/>
                </a:cxn>
                <a:cxn ang="0">
                  <a:pos x="237" y="152"/>
                </a:cxn>
                <a:cxn ang="0">
                  <a:pos x="219" y="161"/>
                </a:cxn>
                <a:cxn ang="0">
                  <a:pos x="224" y="165"/>
                </a:cxn>
                <a:cxn ang="0">
                  <a:pos x="219" y="170"/>
                </a:cxn>
                <a:cxn ang="0">
                  <a:pos x="224" y="174"/>
                </a:cxn>
                <a:cxn ang="0">
                  <a:pos x="219" y="183"/>
                </a:cxn>
                <a:cxn ang="0">
                  <a:pos x="224" y="188"/>
                </a:cxn>
                <a:cxn ang="0">
                  <a:pos x="219" y="201"/>
                </a:cxn>
                <a:cxn ang="0">
                  <a:pos x="224" y="206"/>
                </a:cxn>
                <a:cxn ang="0">
                  <a:pos x="224" y="219"/>
                </a:cxn>
                <a:cxn ang="0">
                  <a:pos x="241" y="206"/>
                </a:cxn>
                <a:cxn ang="0">
                  <a:pos x="246" y="210"/>
                </a:cxn>
                <a:cxn ang="0">
                  <a:pos x="246" y="219"/>
                </a:cxn>
                <a:cxn ang="0">
                  <a:pos x="246" y="210"/>
                </a:cxn>
                <a:cxn ang="0">
                  <a:pos x="246" y="201"/>
                </a:cxn>
                <a:cxn ang="0">
                  <a:pos x="250" y="214"/>
                </a:cxn>
                <a:cxn ang="0">
                  <a:pos x="259" y="223"/>
                </a:cxn>
                <a:cxn ang="0">
                  <a:pos x="264" y="219"/>
                </a:cxn>
                <a:cxn ang="0">
                  <a:pos x="264" y="214"/>
                </a:cxn>
                <a:cxn ang="0">
                  <a:pos x="250" y="214"/>
                </a:cxn>
                <a:cxn ang="0">
                  <a:pos x="264" y="192"/>
                </a:cxn>
                <a:cxn ang="0">
                  <a:pos x="255" y="192"/>
                </a:cxn>
                <a:cxn ang="0">
                  <a:pos x="255" y="206"/>
                </a:cxn>
                <a:cxn ang="0">
                  <a:pos x="264" y="210"/>
                </a:cxn>
                <a:cxn ang="0">
                  <a:pos x="273" y="210"/>
                </a:cxn>
                <a:cxn ang="0">
                  <a:pos x="273" y="201"/>
                </a:cxn>
                <a:cxn ang="0">
                  <a:pos x="273" y="197"/>
                </a:cxn>
                <a:cxn ang="0">
                  <a:pos x="273" y="183"/>
                </a:cxn>
                <a:cxn ang="0">
                  <a:pos x="264" y="183"/>
                </a:cxn>
                <a:cxn ang="0">
                  <a:pos x="304" y="210"/>
                </a:cxn>
                <a:cxn ang="0">
                  <a:pos x="313" y="206"/>
                </a:cxn>
              </a:cxnLst>
              <a:rect l="0" t="0" r="r" b="b"/>
              <a:pathLst>
                <a:path w="313" h="223">
                  <a:moveTo>
                    <a:pt x="0" y="4"/>
                  </a:moveTo>
                  <a:lnTo>
                    <a:pt x="0" y="9"/>
                  </a:lnTo>
                  <a:lnTo>
                    <a:pt x="5" y="13"/>
                  </a:lnTo>
                  <a:lnTo>
                    <a:pt x="5" y="18"/>
                  </a:lnTo>
                  <a:lnTo>
                    <a:pt x="9" y="22"/>
                  </a:lnTo>
                  <a:lnTo>
                    <a:pt x="5" y="27"/>
                  </a:lnTo>
                  <a:lnTo>
                    <a:pt x="9" y="31"/>
                  </a:lnTo>
                  <a:lnTo>
                    <a:pt x="9" y="31"/>
                  </a:lnTo>
                  <a:lnTo>
                    <a:pt x="5" y="27"/>
                  </a:lnTo>
                  <a:lnTo>
                    <a:pt x="9" y="18"/>
                  </a:lnTo>
                  <a:lnTo>
                    <a:pt x="5" y="13"/>
                  </a:lnTo>
                  <a:lnTo>
                    <a:pt x="5" y="13"/>
                  </a:lnTo>
                  <a:lnTo>
                    <a:pt x="5" y="4"/>
                  </a:lnTo>
                  <a:lnTo>
                    <a:pt x="14" y="0"/>
                  </a:lnTo>
                  <a:lnTo>
                    <a:pt x="9" y="0"/>
                  </a:lnTo>
                  <a:lnTo>
                    <a:pt x="0" y="4"/>
                  </a:lnTo>
                  <a:close/>
                  <a:moveTo>
                    <a:pt x="224" y="219"/>
                  </a:moveTo>
                  <a:lnTo>
                    <a:pt x="241" y="214"/>
                  </a:lnTo>
                  <a:lnTo>
                    <a:pt x="237" y="210"/>
                  </a:lnTo>
                  <a:lnTo>
                    <a:pt x="237" y="206"/>
                  </a:lnTo>
                  <a:lnTo>
                    <a:pt x="241" y="197"/>
                  </a:lnTo>
                  <a:lnTo>
                    <a:pt x="237" y="192"/>
                  </a:lnTo>
                  <a:lnTo>
                    <a:pt x="241" y="192"/>
                  </a:lnTo>
                  <a:lnTo>
                    <a:pt x="241" y="188"/>
                  </a:lnTo>
                  <a:lnTo>
                    <a:pt x="241" y="179"/>
                  </a:lnTo>
                  <a:lnTo>
                    <a:pt x="246" y="183"/>
                  </a:lnTo>
                  <a:lnTo>
                    <a:pt x="250" y="174"/>
                  </a:lnTo>
                  <a:lnTo>
                    <a:pt x="250" y="170"/>
                  </a:lnTo>
                  <a:lnTo>
                    <a:pt x="246" y="170"/>
                  </a:lnTo>
                  <a:lnTo>
                    <a:pt x="246" y="165"/>
                  </a:lnTo>
                  <a:lnTo>
                    <a:pt x="241" y="156"/>
                  </a:lnTo>
                  <a:lnTo>
                    <a:pt x="241" y="156"/>
                  </a:lnTo>
                  <a:lnTo>
                    <a:pt x="241" y="152"/>
                  </a:lnTo>
                  <a:lnTo>
                    <a:pt x="246" y="156"/>
                  </a:lnTo>
                  <a:lnTo>
                    <a:pt x="250" y="147"/>
                  </a:lnTo>
                  <a:lnTo>
                    <a:pt x="246" y="143"/>
                  </a:lnTo>
                  <a:lnTo>
                    <a:pt x="246" y="139"/>
                  </a:lnTo>
                  <a:lnTo>
                    <a:pt x="246" y="134"/>
                  </a:lnTo>
                  <a:lnTo>
                    <a:pt x="241" y="134"/>
                  </a:lnTo>
                  <a:lnTo>
                    <a:pt x="237" y="152"/>
                  </a:lnTo>
                  <a:lnTo>
                    <a:pt x="224" y="156"/>
                  </a:lnTo>
                  <a:lnTo>
                    <a:pt x="219" y="161"/>
                  </a:lnTo>
                  <a:lnTo>
                    <a:pt x="219" y="165"/>
                  </a:lnTo>
                  <a:lnTo>
                    <a:pt x="224" y="165"/>
                  </a:lnTo>
                  <a:lnTo>
                    <a:pt x="224" y="170"/>
                  </a:lnTo>
                  <a:lnTo>
                    <a:pt x="219" y="170"/>
                  </a:lnTo>
                  <a:lnTo>
                    <a:pt x="219" y="174"/>
                  </a:lnTo>
                  <a:lnTo>
                    <a:pt x="224" y="174"/>
                  </a:lnTo>
                  <a:lnTo>
                    <a:pt x="219" y="179"/>
                  </a:lnTo>
                  <a:lnTo>
                    <a:pt x="219" y="183"/>
                  </a:lnTo>
                  <a:lnTo>
                    <a:pt x="219" y="183"/>
                  </a:lnTo>
                  <a:lnTo>
                    <a:pt x="224" y="188"/>
                  </a:lnTo>
                  <a:lnTo>
                    <a:pt x="219" y="192"/>
                  </a:lnTo>
                  <a:lnTo>
                    <a:pt x="219" y="201"/>
                  </a:lnTo>
                  <a:lnTo>
                    <a:pt x="224" y="197"/>
                  </a:lnTo>
                  <a:lnTo>
                    <a:pt x="224" y="206"/>
                  </a:lnTo>
                  <a:lnTo>
                    <a:pt x="224" y="214"/>
                  </a:lnTo>
                  <a:lnTo>
                    <a:pt x="224" y="219"/>
                  </a:lnTo>
                  <a:close/>
                  <a:moveTo>
                    <a:pt x="241" y="197"/>
                  </a:moveTo>
                  <a:lnTo>
                    <a:pt x="241" y="206"/>
                  </a:lnTo>
                  <a:lnTo>
                    <a:pt x="241" y="210"/>
                  </a:lnTo>
                  <a:lnTo>
                    <a:pt x="246" y="210"/>
                  </a:lnTo>
                  <a:lnTo>
                    <a:pt x="246" y="219"/>
                  </a:lnTo>
                  <a:lnTo>
                    <a:pt x="246" y="219"/>
                  </a:lnTo>
                  <a:lnTo>
                    <a:pt x="250" y="210"/>
                  </a:lnTo>
                  <a:lnTo>
                    <a:pt x="246" y="210"/>
                  </a:lnTo>
                  <a:lnTo>
                    <a:pt x="246" y="206"/>
                  </a:lnTo>
                  <a:lnTo>
                    <a:pt x="246" y="201"/>
                  </a:lnTo>
                  <a:lnTo>
                    <a:pt x="241" y="197"/>
                  </a:lnTo>
                  <a:close/>
                  <a:moveTo>
                    <a:pt x="250" y="214"/>
                  </a:moveTo>
                  <a:lnTo>
                    <a:pt x="250" y="219"/>
                  </a:lnTo>
                  <a:lnTo>
                    <a:pt x="259" y="223"/>
                  </a:lnTo>
                  <a:lnTo>
                    <a:pt x="264" y="219"/>
                  </a:lnTo>
                  <a:lnTo>
                    <a:pt x="264" y="219"/>
                  </a:lnTo>
                  <a:lnTo>
                    <a:pt x="268" y="219"/>
                  </a:lnTo>
                  <a:lnTo>
                    <a:pt x="264" y="214"/>
                  </a:lnTo>
                  <a:lnTo>
                    <a:pt x="259" y="214"/>
                  </a:lnTo>
                  <a:lnTo>
                    <a:pt x="250" y="214"/>
                  </a:lnTo>
                  <a:close/>
                  <a:moveTo>
                    <a:pt x="264" y="183"/>
                  </a:moveTo>
                  <a:lnTo>
                    <a:pt x="264" y="192"/>
                  </a:lnTo>
                  <a:lnTo>
                    <a:pt x="259" y="183"/>
                  </a:lnTo>
                  <a:lnTo>
                    <a:pt x="255" y="192"/>
                  </a:lnTo>
                  <a:lnTo>
                    <a:pt x="250" y="192"/>
                  </a:lnTo>
                  <a:lnTo>
                    <a:pt x="255" y="206"/>
                  </a:lnTo>
                  <a:lnTo>
                    <a:pt x="259" y="206"/>
                  </a:lnTo>
                  <a:lnTo>
                    <a:pt x="264" y="210"/>
                  </a:lnTo>
                  <a:lnTo>
                    <a:pt x="273" y="214"/>
                  </a:lnTo>
                  <a:lnTo>
                    <a:pt x="273" y="210"/>
                  </a:lnTo>
                  <a:lnTo>
                    <a:pt x="268" y="206"/>
                  </a:lnTo>
                  <a:lnTo>
                    <a:pt x="273" y="201"/>
                  </a:lnTo>
                  <a:lnTo>
                    <a:pt x="268" y="197"/>
                  </a:lnTo>
                  <a:lnTo>
                    <a:pt x="273" y="197"/>
                  </a:lnTo>
                  <a:lnTo>
                    <a:pt x="273" y="192"/>
                  </a:lnTo>
                  <a:lnTo>
                    <a:pt x="273" y="183"/>
                  </a:lnTo>
                  <a:lnTo>
                    <a:pt x="268" y="179"/>
                  </a:lnTo>
                  <a:lnTo>
                    <a:pt x="264" y="183"/>
                  </a:lnTo>
                  <a:close/>
                  <a:moveTo>
                    <a:pt x="308" y="206"/>
                  </a:moveTo>
                  <a:lnTo>
                    <a:pt x="304" y="210"/>
                  </a:lnTo>
                  <a:lnTo>
                    <a:pt x="313" y="210"/>
                  </a:lnTo>
                  <a:lnTo>
                    <a:pt x="313" y="206"/>
                  </a:lnTo>
                  <a:lnTo>
                    <a:pt x="308" y="206"/>
                  </a:lnTo>
                  <a:close/>
                </a:path>
              </a:pathLst>
            </a:custGeom>
            <a:solidFill>
              <a:srgbClr val="86BC25"/>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38" name="Freeform 134">
              <a:extLst>
                <a:ext uri="{FF2B5EF4-FFF2-40B4-BE49-F238E27FC236}">
                  <a16:creationId xmlns:a16="http://schemas.microsoft.com/office/drawing/2014/main" id="{1CA92541-8D99-4C06-9E8C-29EF0F35C6BC}"/>
                </a:ext>
              </a:extLst>
            </p:cNvPr>
            <p:cNvSpPr>
              <a:spLocks noEditPoints="1"/>
            </p:cNvSpPr>
            <p:nvPr/>
          </p:nvSpPr>
          <p:spPr bwMode="gray">
            <a:xfrm>
              <a:off x="9666684" y="3344276"/>
              <a:ext cx="371669" cy="197245"/>
            </a:xfrm>
            <a:custGeom>
              <a:avLst/>
              <a:gdLst/>
              <a:ahLst/>
              <a:cxnLst>
                <a:cxn ang="0">
                  <a:pos x="4" y="31"/>
                </a:cxn>
                <a:cxn ang="0">
                  <a:pos x="0" y="36"/>
                </a:cxn>
                <a:cxn ang="0">
                  <a:pos x="4" y="40"/>
                </a:cxn>
                <a:cxn ang="0">
                  <a:pos x="0" y="45"/>
                </a:cxn>
                <a:cxn ang="0">
                  <a:pos x="4" y="49"/>
                </a:cxn>
                <a:cxn ang="0">
                  <a:pos x="9" y="40"/>
                </a:cxn>
                <a:cxn ang="0">
                  <a:pos x="13" y="40"/>
                </a:cxn>
                <a:cxn ang="0">
                  <a:pos x="22" y="31"/>
                </a:cxn>
                <a:cxn ang="0">
                  <a:pos x="22" y="27"/>
                </a:cxn>
                <a:cxn ang="0">
                  <a:pos x="18" y="27"/>
                </a:cxn>
                <a:cxn ang="0">
                  <a:pos x="13" y="27"/>
                </a:cxn>
                <a:cxn ang="0">
                  <a:pos x="22" y="22"/>
                </a:cxn>
                <a:cxn ang="0">
                  <a:pos x="13" y="18"/>
                </a:cxn>
                <a:cxn ang="0">
                  <a:pos x="9" y="22"/>
                </a:cxn>
                <a:cxn ang="0">
                  <a:pos x="13" y="27"/>
                </a:cxn>
                <a:cxn ang="0">
                  <a:pos x="13" y="27"/>
                </a:cxn>
                <a:cxn ang="0">
                  <a:pos x="4" y="31"/>
                </a:cxn>
                <a:cxn ang="0">
                  <a:pos x="40" y="54"/>
                </a:cxn>
                <a:cxn ang="0">
                  <a:pos x="53" y="49"/>
                </a:cxn>
                <a:cxn ang="0">
                  <a:pos x="62" y="54"/>
                </a:cxn>
                <a:cxn ang="0">
                  <a:pos x="71" y="58"/>
                </a:cxn>
                <a:cxn ang="0">
                  <a:pos x="76" y="58"/>
                </a:cxn>
                <a:cxn ang="0">
                  <a:pos x="85" y="62"/>
                </a:cxn>
                <a:cxn ang="0">
                  <a:pos x="94" y="58"/>
                </a:cxn>
                <a:cxn ang="0">
                  <a:pos x="98" y="54"/>
                </a:cxn>
                <a:cxn ang="0">
                  <a:pos x="89" y="45"/>
                </a:cxn>
                <a:cxn ang="0">
                  <a:pos x="85" y="36"/>
                </a:cxn>
                <a:cxn ang="0">
                  <a:pos x="85" y="31"/>
                </a:cxn>
                <a:cxn ang="0">
                  <a:pos x="85" y="22"/>
                </a:cxn>
                <a:cxn ang="0">
                  <a:pos x="94" y="18"/>
                </a:cxn>
                <a:cxn ang="0">
                  <a:pos x="98" y="9"/>
                </a:cxn>
                <a:cxn ang="0">
                  <a:pos x="94" y="0"/>
                </a:cxn>
                <a:cxn ang="0">
                  <a:pos x="89" y="4"/>
                </a:cxn>
                <a:cxn ang="0">
                  <a:pos x="71" y="0"/>
                </a:cxn>
                <a:cxn ang="0">
                  <a:pos x="40" y="9"/>
                </a:cxn>
                <a:cxn ang="0">
                  <a:pos x="27" y="18"/>
                </a:cxn>
                <a:cxn ang="0">
                  <a:pos x="27" y="31"/>
                </a:cxn>
                <a:cxn ang="0">
                  <a:pos x="35" y="40"/>
                </a:cxn>
                <a:cxn ang="0">
                  <a:pos x="40" y="36"/>
                </a:cxn>
                <a:cxn ang="0">
                  <a:pos x="40" y="54"/>
                </a:cxn>
              </a:cxnLst>
              <a:rect l="0" t="0" r="r" b="b"/>
              <a:pathLst>
                <a:path w="98" h="62">
                  <a:moveTo>
                    <a:pt x="4" y="31"/>
                  </a:moveTo>
                  <a:lnTo>
                    <a:pt x="0" y="36"/>
                  </a:lnTo>
                  <a:lnTo>
                    <a:pt x="4" y="40"/>
                  </a:lnTo>
                  <a:lnTo>
                    <a:pt x="0" y="45"/>
                  </a:lnTo>
                  <a:lnTo>
                    <a:pt x="4" y="49"/>
                  </a:lnTo>
                  <a:lnTo>
                    <a:pt x="9" y="40"/>
                  </a:lnTo>
                  <a:lnTo>
                    <a:pt x="13" y="40"/>
                  </a:lnTo>
                  <a:lnTo>
                    <a:pt x="22" y="31"/>
                  </a:lnTo>
                  <a:lnTo>
                    <a:pt x="22" y="27"/>
                  </a:lnTo>
                  <a:lnTo>
                    <a:pt x="18" y="27"/>
                  </a:lnTo>
                  <a:lnTo>
                    <a:pt x="13" y="27"/>
                  </a:lnTo>
                  <a:lnTo>
                    <a:pt x="22" y="22"/>
                  </a:lnTo>
                  <a:lnTo>
                    <a:pt x="13" y="18"/>
                  </a:lnTo>
                  <a:lnTo>
                    <a:pt x="9" y="22"/>
                  </a:lnTo>
                  <a:lnTo>
                    <a:pt x="13" y="27"/>
                  </a:lnTo>
                  <a:lnTo>
                    <a:pt x="13" y="27"/>
                  </a:lnTo>
                  <a:lnTo>
                    <a:pt x="4" y="31"/>
                  </a:lnTo>
                  <a:close/>
                  <a:moveTo>
                    <a:pt x="40" y="54"/>
                  </a:moveTo>
                  <a:lnTo>
                    <a:pt x="53" y="49"/>
                  </a:lnTo>
                  <a:lnTo>
                    <a:pt x="62" y="54"/>
                  </a:lnTo>
                  <a:lnTo>
                    <a:pt x="71" y="58"/>
                  </a:lnTo>
                  <a:lnTo>
                    <a:pt x="76" y="58"/>
                  </a:lnTo>
                  <a:lnTo>
                    <a:pt x="85" y="62"/>
                  </a:lnTo>
                  <a:lnTo>
                    <a:pt x="94" y="58"/>
                  </a:lnTo>
                  <a:lnTo>
                    <a:pt x="98" y="54"/>
                  </a:lnTo>
                  <a:lnTo>
                    <a:pt x="89" y="45"/>
                  </a:lnTo>
                  <a:lnTo>
                    <a:pt x="85" y="36"/>
                  </a:lnTo>
                  <a:lnTo>
                    <a:pt x="85" y="31"/>
                  </a:lnTo>
                  <a:lnTo>
                    <a:pt x="85" y="22"/>
                  </a:lnTo>
                  <a:lnTo>
                    <a:pt x="94" y="18"/>
                  </a:lnTo>
                  <a:lnTo>
                    <a:pt x="98" y="9"/>
                  </a:lnTo>
                  <a:lnTo>
                    <a:pt x="94" y="0"/>
                  </a:lnTo>
                  <a:lnTo>
                    <a:pt x="89" y="4"/>
                  </a:lnTo>
                  <a:lnTo>
                    <a:pt x="71" y="0"/>
                  </a:lnTo>
                  <a:lnTo>
                    <a:pt x="40" y="9"/>
                  </a:lnTo>
                  <a:lnTo>
                    <a:pt x="27" y="18"/>
                  </a:lnTo>
                  <a:lnTo>
                    <a:pt x="27" y="31"/>
                  </a:lnTo>
                  <a:lnTo>
                    <a:pt x="35" y="40"/>
                  </a:lnTo>
                  <a:lnTo>
                    <a:pt x="40" y="36"/>
                  </a:lnTo>
                  <a:lnTo>
                    <a:pt x="40" y="54"/>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39" name="Freeform 135">
              <a:extLst>
                <a:ext uri="{FF2B5EF4-FFF2-40B4-BE49-F238E27FC236}">
                  <a16:creationId xmlns:a16="http://schemas.microsoft.com/office/drawing/2014/main" id="{784BC0C5-D205-491A-9462-7C38D1286678}"/>
                </a:ext>
              </a:extLst>
            </p:cNvPr>
            <p:cNvSpPr>
              <a:spLocks noEditPoints="1"/>
            </p:cNvSpPr>
            <p:nvPr/>
          </p:nvSpPr>
          <p:spPr bwMode="gray">
            <a:xfrm>
              <a:off x="8245213" y="4039526"/>
              <a:ext cx="776756" cy="651236"/>
            </a:xfrm>
            <a:custGeom>
              <a:avLst/>
              <a:gdLst/>
              <a:ahLst/>
              <a:cxnLst>
                <a:cxn ang="0">
                  <a:pos x="49" y="174"/>
                </a:cxn>
                <a:cxn ang="0">
                  <a:pos x="67" y="183"/>
                </a:cxn>
                <a:cxn ang="0">
                  <a:pos x="89" y="183"/>
                </a:cxn>
                <a:cxn ang="0">
                  <a:pos x="107" y="188"/>
                </a:cxn>
                <a:cxn ang="0">
                  <a:pos x="116" y="174"/>
                </a:cxn>
                <a:cxn ang="0">
                  <a:pos x="129" y="174"/>
                </a:cxn>
                <a:cxn ang="0">
                  <a:pos x="142" y="170"/>
                </a:cxn>
                <a:cxn ang="0">
                  <a:pos x="165" y="170"/>
                </a:cxn>
                <a:cxn ang="0">
                  <a:pos x="178" y="161"/>
                </a:cxn>
                <a:cxn ang="0">
                  <a:pos x="165" y="156"/>
                </a:cxn>
                <a:cxn ang="0">
                  <a:pos x="160" y="129"/>
                </a:cxn>
                <a:cxn ang="0">
                  <a:pos x="169" y="116"/>
                </a:cxn>
                <a:cxn ang="0">
                  <a:pos x="160" y="103"/>
                </a:cxn>
                <a:cxn ang="0">
                  <a:pos x="156" y="103"/>
                </a:cxn>
                <a:cxn ang="0">
                  <a:pos x="165" y="85"/>
                </a:cxn>
                <a:cxn ang="0">
                  <a:pos x="178" y="80"/>
                </a:cxn>
                <a:cxn ang="0">
                  <a:pos x="183" y="53"/>
                </a:cxn>
                <a:cxn ang="0">
                  <a:pos x="174" y="45"/>
                </a:cxn>
                <a:cxn ang="0">
                  <a:pos x="160" y="40"/>
                </a:cxn>
                <a:cxn ang="0">
                  <a:pos x="151" y="40"/>
                </a:cxn>
                <a:cxn ang="0">
                  <a:pos x="142" y="36"/>
                </a:cxn>
                <a:cxn ang="0">
                  <a:pos x="138" y="22"/>
                </a:cxn>
                <a:cxn ang="0">
                  <a:pos x="125" y="27"/>
                </a:cxn>
                <a:cxn ang="0">
                  <a:pos x="120" y="18"/>
                </a:cxn>
                <a:cxn ang="0">
                  <a:pos x="111" y="13"/>
                </a:cxn>
                <a:cxn ang="0">
                  <a:pos x="93" y="4"/>
                </a:cxn>
                <a:cxn ang="0">
                  <a:pos x="93" y="22"/>
                </a:cxn>
                <a:cxn ang="0">
                  <a:pos x="93" y="27"/>
                </a:cxn>
                <a:cxn ang="0">
                  <a:pos x="80" y="31"/>
                </a:cxn>
                <a:cxn ang="0">
                  <a:pos x="67" y="36"/>
                </a:cxn>
                <a:cxn ang="0">
                  <a:pos x="67" y="40"/>
                </a:cxn>
                <a:cxn ang="0">
                  <a:pos x="49" y="45"/>
                </a:cxn>
                <a:cxn ang="0">
                  <a:pos x="40" y="36"/>
                </a:cxn>
                <a:cxn ang="0">
                  <a:pos x="44" y="45"/>
                </a:cxn>
                <a:cxn ang="0">
                  <a:pos x="49" y="58"/>
                </a:cxn>
                <a:cxn ang="0">
                  <a:pos x="35" y="58"/>
                </a:cxn>
                <a:cxn ang="0">
                  <a:pos x="22" y="53"/>
                </a:cxn>
                <a:cxn ang="0">
                  <a:pos x="17" y="58"/>
                </a:cxn>
                <a:cxn ang="0">
                  <a:pos x="8" y="58"/>
                </a:cxn>
                <a:cxn ang="0">
                  <a:pos x="0" y="62"/>
                </a:cxn>
                <a:cxn ang="0">
                  <a:pos x="4" y="62"/>
                </a:cxn>
                <a:cxn ang="0">
                  <a:pos x="0" y="67"/>
                </a:cxn>
                <a:cxn ang="0">
                  <a:pos x="4" y="76"/>
                </a:cxn>
                <a:cxn ang="0">
                  <a:pos x="22" y="80"/>
                </a:cxn>
                <a:cxn ang="0">
                  <a:pos x="26" y="80"/>
                </a:cxn>
                <a:cxn ang="0">
                  <a:pos x="35" y="89"/>
                </a:cxn>
                <a:cxn ang="0">
                  <a:pos x="40" y="98"/>
                </a:cxn>
                <a:cxn ang="0">
                  <a:pos x="53" y="112"/>
                </a:cxn>
                <a:cxn ang="0">
                  <a:pos x="49" y="116"/>
                </a:cxn>
                <a:cxn ang="0">
                  <a:pos x="58" y="129"/>
                </a:cxn>
                <a:cxn ang="0">
                  <a:pos x="49" y="129"/>
                </a:cxn>
                <a:cxn ang="0">
                  <a:pos x="53" y="138"/>
                </a:cxn>
                <a:cxn ang="0">
                  <a:pos x="49" y="147"/>
                </a:cxn>
                <a:cxn ang="0">
                  <a:pos x="44" y="165"/>
                </a:cxn>
                <a:cxn ang="0">
                  <a:pos x="192" y="192"/>
                </a:cxn>
                <a:cxn ang="0">
                  <a:pos x="192" y="205"/>
                </a:cxn>
                <a:cxn ang="0">
                  <a:pos x="205" y="188"/>
                </a:cxn>
                <a:cxn ang="0">
                  <a:pos x="196" y="174"/>
                </a:cxn>
                <a:cxn ang="0">
                  <a:pos x="192" y="183"/>
                </a:cxn>
              </a:cxnLst>
              <a:rect l="0" t="0" r="r" b="b"/>
              <a:pathLst>
                <a:path w="205" h="205">
                  <a:moveTo>
                    <a:pt x="44" y="165"/>
                  </a:moveTo>
                  <a:lnTo>
                    <a:pt x="49" y="174"/>
                  </a:lnTo>
                  <a:lnTo>
                    <a:pt x="62" y="183"/>
                  </a:lnTo>
                  <a:lnTo>
                    <a:pt x="67" y="183"/>
                  </a:lnTo>
                  <a:lnTo>
                    <a:pt x="80" y="183"/>
                  </a:lnTo>
                  <a:lnTo>
                    <a:pt x="89" y="183"/>
                  </a:lnTo>
                  <a:lnTo>
                    <a:pt x="98" y="188"/>
                  </a:lnTo>
                  <a:lnTo>
                    <a:pt x="107" y="188"/>
                  </a:lnTo>
                  <a:lnTo>
                    <a:pt x="116" y="188"/>
                  </a:lnTo>
                  <a:lnTo>
                    <a:pt x="116" y="174"/>
                  </a:lnTo>
                  <a:lnTo>
                    <a:pt x="120" y="170"/>
                  </a:lnTo>
                  <a:lnTo>
                    <a:pt x="129" y="174"/>
                  </a:lnTo>
                  <a:lnTo>
                    <a:pt x="134" y="170"/>
                  </a:lnTo>
                  <a:lnTo>
                    <a:pt x="142" y="170"/>
                  </a:lnTo>
                  <a:lnTo>
                    <a:pt x="151" y="174"/>
                  </a:lnTo>
                  <a:lnTo>
                    <a:pt x="165" y="170"/>
                  </a:lnTo>
                  <a:lnTo>
                    <a:pt x="169" y="165"/>
                  </a:lnTo>
                  <a:lnTo>
                    <a:pt x="178" y="161"/>
                  </a:lnTo>
                  <a:lnTo>
                    <a:pt x="174" y="156"/>
                  </a:lnTo>
                  <a:lnTo>
                    <a:pt x="165" y="156"/>
                  </a:lnTo>
                  <a:lnTo>
                    <a:pt x="156" y="143"/>
                  </a:lnTo>
                  <a:lnTo>
                    <a:pt x="160" y="129"/>
                  </a:lnTo>
                  <a:lnTo>
                    <a:pt x="165" y="129"/>
                  </a:lnTo>
                  <a:lnTo>
                    <a:pt x="169" y="116"/>
                  </a:lnTo>
                  <a:lnTo>
                    <a:pt x="165" y="107"/>
                  </a:lnTo>
                  <a:lnTo>
                    <a:pt x="160" y="103"/>
                  </a:lnTo>
                  <a:lnTo>
                    <a:pt x="156" y="112"/>
                  </a:lnTo>
                  <a:lnTo>
                    <a:pt x="156" y="103"/>
                  </a:lnTo>
                  <a:lnTo>
                    <a:pt x="165" y="89"/>
                  </a:lnTo>
                  <a:lnTo>
                    <a:pt x="165" y="85"/>
                  </a:lnTo>
                  <a:lnTo>
                    <a:pt x="174" y="85"/>
                  </a:lnTo>
                  <a:lnTo>
                    <a:pt x="178" y="80"/>
                  </a:lnTo>
                  <a:lnTo>
                    <a:pt x="178" y="67"/>
                  </a:lnTo>
                  <a:lnTo>
                    <a:pt x="183" y="53"/>
                  </a:lnTo>
                  <a:lnTo>
                    <a:pt x="178" y="45"/>
                  </a:lnTo>
                  <a:lnTo>
                    <a:pt x="174" y="45"/>
                  </a:lnTo>
                  <a:lnTo>
                    <a:pt x="160" y="49"/>
                  </a:lnTo>
                  <a:lnTo>
                    <a:pt x="160" y="40"/>
                  </a:lnTo>
                  <a:lnTo>
                    <a:pt x="156" y="40"/>
                  </a:lnTo>
                  <a:lnTo>
                    <a:pt x="151" y="40"/>
                  </a:lnTo>
                  <a:lnTo>
                    <a:pt x="147" y="40"/>
                  </a:lnTo>
                  <a:lnTo>
                    <a:pt x="142" y="36"/>
                  </a:lnTo>
                  <a:lnTo>
                    <a:pt x="134" y="31"/>
                  </a:lnTo>
                  <a:lnTo>
                    <a:pt x="138" y="22"/>
                  </a:lnTo>
                  <a:lnTo>
                    <a:pt x="129" y="27"/>
                  </a:lnTo>
                  <a:lnTo>
                    <a:pt x="125" y="27"/>
                  </a:lnTo>
                  <a:lnTo>
                    <a:pt x="125" y="18"/>
                  </a:lnTo>
                  <a:lnTo>
                    <a:pt x="120" y="18"/>
                  </a:lnTo>
                  <a:lnTo>
                    <a:pt x="116" y="13"/>
                  </a:lnTo>
                  <a:lnTo>
                    <a:pt x="111" y="13"/>
                  </a:lnTo>
                  <a:lnTo>
                    <a:pt x="102" y="0"/>
                  </a:lnTo>
                  <a:lnTo>
                    <a:pt x="93" y="4"/>
                  </a:lnTo>
                  <a:lnTo>
                    <a:pt x="93" y="13"/>
                  </a:lnTo>
                  <a:lnTo>
                    <a:pt x="93" y="22"/>
                  </a:lnTo>
                  <a:lnTo>
                    <a:pt x="93" y="27"/>
                  </a:lnTo>
                  <a:lnTo>
                    <a:pt x="93" y="27"/>
                  </a:lnTo>
                  <a:lnTo>
                    <a:pt x="84" y="27"/>
                  </a:lnTo>
                  <a:lnTo>
                    <a:pt x="80" y="31"/>
                  </a:lnTo>
                  <a:lnTo>
                    <a:pt x="75" y="31"/>
                  </a:lnTo>
                  <a:lnTo>
                    <a:pt x="67" y="36"/>
                  </a:lnTo>
                  <a:lnTo>
                    <a:pt x="71" y="40"/>
                  </a:lnTo>
                  <a:lnTo>
                    <a:pt x="67" y="40"/>
                  </a:lnTo>
                  <a:lnTo>
                    <a:pt x="53" y="40"/>
                  </a:lnTo>
                  <a:lnTo>
                    <a:pt x="49" y="45"/>
                  </a:lnTo>
                  <a:lnTo>
                    <a:pt x="49" y="36"/>
                  </a:lnTo>
                  <a:lnTo>
                    <a:pt x="40" y="36"/>
                  </a:lnTo>
                  <a:lnTo>
                    <a:pt x="40" y="40"/>
                  </a:lnTo>
                  <a:lnTo>
                    <a:pt x="44" y="45"/>
                  </a:lnTo>
                  <a:lnTo>
                    <a:pt x="44" y="53"/>
                  </a:lnTo>
                  <a:lnTo>
                    <a:pt x="49" y="58"/>
                  </a:lnTo>
                  <a:lnTo>
                    <a:pt x="40" y="58"/>
                  </a:lnTo>
                  <a:lnTo>
                    <a:pt x="35" y="58"/>
                  </a:lnTo>
                  <a:lnTo>
                    <a:pt x="31" y="62"/>
                  </a:lnTo>
                  <a:lnTo>
                    <a:pt x="22" y="53"/>
                  </a:lnTo>
                  <a:lnTo>
                    <a:pt x="17" y="53"/>
                  </a:lnTo>
                  <a:lnTo>
                    <a:pt x="17" y="58"/>
                  </a:lnTo>
                  <a:lnTo>
                    <a:pt x="13" y="58"/>
                  </a:lnTo>
                  <a:lnTo>
                    <a:pt x="8" y="58"/>
                  </a:lnTo>
                  <a:lnTo>
                    <a:pt x="4" y="58"/>
                  </a:lnTo>
                  <a:lnTo>
                    <a:pt x="0" y="62"/>
                  </a:lnTo>
                  <a:lnTo>
                    <a:pt x="0" y="67"/>
                  </a:lnTo>
                  <a:lnTo>
                    <a:pt x="4" y="62"/>
                  </a:lnTo>
                  <a:lnTo>
                    <a:pt x="8" y="67"/>
                  </a:lnTo>
                  <a:lnTo>
                    <a:pt x="0" y="67"/>
                  </a:lnTo>
                  <a:lnTo>
                    <a:pt x="0" y="71"/>
                  </a:lnTo>
                  <a:lnTo>
                    <a:pt x="4" y="76"/>
                  </a:lnTo>
                  <a:lnTo>
                    <a:pt x="8" y="71"/>
                  </a:lnTo>
                  <a:lnTo>
                    <a:pt x="22" y="80"/>
                  </a:lnTo>
                  <a:lnTo>
                    <a:pt x="22" y="85"/>
                  </a:lnTo>
                  <a:lnTo>
                    <a:pt x="26" y="80"/>
                  </a:lnTo>
                  <a:lnTo>
                    <a:pt x="35" y="85"/>
                  </a:lnTo>
                  <a:lnTo>
                    <a:pt x="35" y="89"/>
                  </a:lnTo>
                  <a:lnTo>
                    <a:pt x="40" y="89"/>
                  </a:lnTo>
                  <a:lnTo>
                    <a:pt x="40" y="98"/>
                  </a:lnTo>
                  <a:lnTo>
                    <a:pt x="44" y="107"/>
                  </a:lnTo>
                  <a:lnTo>
                    <a:pt x="53" y="112"/>
                  </a:lnTo>
                  <a:lnTo>
                    <a:pt x="49" y="116"/>
                  </a:lnTo>
                  <a:lnTo>
                    <a:pt x="49" y="116"/>
                  </a:lnTo>
                  <a:lnTo>
                    <a:pt x="49" y="121"/>
                  </a:lnTo>
                  <a:lnTo>
                    <a:pt x="58" y="129"/>
                  </a:lnTo>
                  <a:lnTo>
                    <a:pt x="58" y="129"/>
                  </a:lnTo>
                  <a:lnTo>
                    <a:pt x="49" y="129"/>
                  </a:lnTo>
                  <a:lnTo>
                    <a:pt x="49" y="143"/>
                  </a:lnTo>
                  <a:lnTo>
                    <a:pt x="53" y="138"/>
                  </a:lnTo>
                  <a:lnTo>
                    <a:pt x="53" y="143"/>
                  </a:lnTo>
                  <a:lnTo>
                    <a:pt x="49" y="147"/>
                  </a:lnTo>
                  <a:lnTo>
                    <a:pt x="44" y="165"/>
                  </a:lnTo>
                  <a:lnTo>
                    <a:pt x="44" y="165"/>
                  </a:lnTo>
                  <a:close/>
                  <a:moveTo>
                    <a:pt x="192" y="183"/>
                  </a:moveTo>
                  <a:lnTo>
                    <a:pt x="192" y="192"/>
                  </a:lnTo>
                  <a:lnTo>
                    <a:pt x="187" y="196"/>
                  </a:lnTo>
                  <a:lnTo>
                    <a:pt x="192" y="205"/>
                  </a:lnTo>
                  <a:lnTo>
                    <a:pt x="201" y="205"/>
                  </a:lnTo>
                  <a:lnTo>
                    <a:pt x="205" y="188"/>
                  </a:lnTo>
                  <a:lnTo>
                    <a:pt x="201" y="174"/>
                  </a:lnTo>
                  <a:lnTo>
                    <a:pt x="196" y="174"/>
                  </a:lnTo>
                  <a:lnTo>
                    <a:pt x="196" y="183"/>
                  </a:lnTo>
                  <a:lnTo>
                    <a:pt x="192" y="183"/>
                  </a:lnTo>
                  <a:close/>
                </a:path>
              </a:pathLst>
            </a:custGeom>
            <a:solidFill>
              <a:schemeClr val="accent1"/>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40" name="Freeform 136">
              <a:extLst>
                <a:ext uri="{FF2B5EF4-FFF2-40B4-BE49-F238E27FC236}">
                  <a16:creationId xmlns:a16="http://schemas.microsoft.com/office/drawing/2014/main" id="{637D4D73-56DC-4318-8540-D114D15404EA}"/>
                </a:ext>
              </a:extLst>
            </p:cNvPr>
            <p:cNvSpPr>
              <a:spLocks noEditPoints="1"/>
            </p:cNvSpPr>
            <p:nvPr/>
          </p:nvSpPr>
          <p:spPr bwMode="gray">
            <a:xfrm>
              <a:off x="8817388" y="3754254"/>
              <a:ext cx="473552" cy="555874"/>
            </a:xfrm>
            <a:custGeom>
              <a:avLst/>
              <a:gdLst/>
              <a:ahLst/>
              <a:cxnLst>
                <a:cxn ang="0">
                  <a:pos x="9" y="108"/>
                </a:cxn>
                <a:cxn ang="0">
                  <a:pos x="0" y="94"/>
                </a:cxn>
                <a:cxn ang="0">
                  <a:pos x="0" y="81"/>
                </a:cxn>
                <a:cxn ang="0">
                  <a:pos x="9" y="72"/>
                </a:cxn>
                <a:cxn ang="0">
                  <a:pos x="14" y="54"/>
                </a:cxn>
                <a:cxn ang="0">
                  <a:pos x="18" y="45"/>
                </a:cxn>
                <a:cxn ang="0">
                  <a:pos x="14" y="36"/>
                </a:cxn>
                <a:cxn ang="0">
                  <a:pos x="18" y="36"/>
                </a:cxn>
                <a:cxn ang="0">
                  <a:pos x="27" y="32"/>
                </a:cxn>
                <a:cxn ang="0">
                  <a:pos x="32" y="36"/>
                </a:cxn>
                <a:cxn ang="0">
                  <a:pos x="36" y="32"/>
                </a:cxn>
                <a:cxn ang="0">
                  <a:pos x="41" y="27"/>
                </a:cxn>
                <a:cxn ang="0">
                  <a:pos x="50" y="27"/>
                </a:cxn>
                <a:cxn ang="0">
                  <a:pos x="45" y="18"/>
                </a:cxn>
                <a:cxn ang="0">
                  <a:pos x="45" y="14"/>
                </a:cxn>
                <a:cxn ang="0">
                  <a:pos x="58" y="0"/>
                </a:cxn>
                <a:cxn ang="0">
                  <a:pos x="58" y="14"/>
                </a:cxn>
                <a:cxn ang="0">
                  <a:pos x="67" y="14"/>
                </a:cxn>
                <a:cxn ang="0">
                  <a:pos x="72" y="9"/>
                </a:cxn>
                <a:cxn ang="0">
                  <a:pos x="67" y="18"/>
                </a:cxn>
                <a:cxn ang="0">
                  <a:pos x="63" y="23"/>
                </a:cxn>
                <a:cxn ang="0">
                  <a:pos x="72" y="27"/>
                </a:cxn>
                <a:cxn ang="0">
                  <a:pos x="76" y="23"/>
                </a:cxn>
                <a:cxn ang="0">
                  <a:pos x="90" y="14"/>
                </a:cxn>
                <a:cxn ang="0">
                  <a:pos x="94" y="18"/>
                </a:cxn>
                <a:cxn ang="0">
                  <a:pos x="108" y="23"/>
                </a:cxn>
                <a:cxn ang="0">
                  <a:pos x="112" y="27"/>
                </a:cxn>
                <a:cxn ang="0">
                  <a:pos x="112" y="50"/>
                </a:cxn>
                <a:cxn ang="0">
                  <a:pos x="121" y="72"/>
                </a:cxn>
                <a:cxn ang="0">
                  <a:pos x="125" y="90"/>
                </a:cxn>
                <a:cxn ang="0">
                  <a:pos x="121" y="99"/>
                </a:cxn>
                <a:cxn ang="0">
                  <a:pos x="103" y="108"/>
                </a:cxn>
                <a:cxn ang="0">
                  <a:pos x="90" y="117"/>
                </a:cxn>
                <a:cxn ang="0">
                  <a:pos x="90" y="126"/>
                </a:cxn>
                <a:cxn ang="0">
                  <a:pos x="103" y="135"/>
                </a:cxn>
                <a:cxn ang="0">
                  <a:pos x="112" y="148"/>
                </a:cxn>
                <a:cxn ang="0">
                  <a:pos x="99" y="157"/>
                </a:cxn>
                <a:cxn ang="0">
                  <a:pos x="103" y="166"/>
                </a:cxn>
                <a:cxn ang="0">
                  <a:pos x="94" y="170"/>
                </a:cxn>
                <a:cxn ang="0">
                  <a:pos x="54" y="170"/>
                </a:cxn>
                <a:cxn ang="0">
                  <a:pos x="36" y="170"/>
                </a:cxn>
                <a:cxn ang="0">
                  <a:pos x="27" y="170"/>
                </a:cxn>
                <a:cxn ang="0">
                  <a:pos x="32" y="143"/>
                </a:cxn>
                <a:cxn ang="0">
                  <a:pos x="23" y="135"/>
                </a:cxn>
                <a:cxn ang="0">
                  <a:pos x="9" y="130"/>
                </a:cxn>
                <a:cxn ang="0">
                  <a:pos x="5" y="121"/>
                </a:cxn>
                <a:cxn ang="0">
                  <a:pos x="103" y="9"/>
                </a:cxn>
                <a:cxn ang="0">
                  <a:pos x="108" y="18"/>
                </a:cxn>
                <a:cxn ang="0">
                  <a:pos x="103" y="9"/>
                </a:cxn>
              </a:cxnLst>
              <a:rect l="0" t="0" r="r" b="b"/>
              <a:pathLst>
                <a:path w="125" h="175">
                  <a:moveTo>
                    <a:pt x="5" y="117"/>
                  </a:moveTo>
                  <a:lnTo>
                    <a:pt x="9" y="108"/>
                  </a:lnTo>
                  <a:lnTo>
                    <a:pt x="5" y="99"/>
                  </a:lnTo>
                  <a:lnTo>
                    <a:pt x="0" y="94"/>
                  </a:lnTo>
                  <a:lnTo>
                    <a:pt x="5" y="85"/>
                  </a:lnTo>
                  <a:lnTo>
                    <a:pt x="0" y="81"/>
                  </a:lnTo>
                  <a:lnTo>
                    <a:pt x="0" y="76"/>
                  </a:lnTo>
                  <a:lnTo>
                    <a:pt x="9" y="72"/>
                  </a:lnTo>
                  <a:lnTo>
                    <a:pt x="14" y="72"/>
                  </a:lnTo>
                  <a:lnTo>
                    <a:pt x="14" y="54"/>
                  </a:lnTo>
                  <a:lnTo>
                    <a:pt x="14" y="54"/>
                  </a:lnTo>
                  <a:lnTo>
                    <a:pt x="18" y="45"/>
                  </a:lnTo>
                  <a:lnTo>
                    <a:pt x="14" y="45"/>
                  </a:lnTo>
                  <a:lnTo>
                    <a:pt x="14" y="36"/>
                  </a:lnTo>
                  <a:lnTo>
                    <a:pt x="18" y="36"/>
                  </a:lnTo>
                  <a:lnTo>
                    <a:pt x="18" y="36"/>
                  </a:lnTo>
                  <a:lnTo>
                    <a:pt x="18" y="32"/>
                  </a:lnTo>
                  <a:lnTo>
                    <a:pt x="27" y="32"/>
                  </a:lnTo>
                  <a:lnTo>
                    <a:pt x="32" y="32"/>
                  </a:lnTo>
                  <a:lnTo>
                    <a:pt x="32" y="36"/>
                  </a:lnTo>
                  <a:lnTo>
                    <a:pt x="36" y="36"/>
                  </a:lnTo>
                  <a:lnTo>
                    <a:pt x="36" y="32"/>
                  </a:lnTo>
                  <a:lnTo>
                    <a:pt x="36" y="32"/>
                  </a:lnTo>
                  <a:lnTo>
                    <a:pt x="41" y="27"/>
                  </a:lnTo>
                  <a:lnTo>
                    <a:pt x="45" y="27"/>
                  </a:lnTo>
                  <a:lnTo>
                    <a:pt x="50" y="27"/>
                  </a:lnTo>
                  <a:lnTo>
                    <a:pt x="45" y="23"/>
                  </a:lnTo>
                  <a:lnTo>
                    <a:pt x="45" y="18"/>
                  </a:lnTo>
                  <a:lnTo>
                    <a:pt x="41" y="14"/>
                  </a:lnTo>
                  <a:lnTo>
                    <a:pt x="45" y="14"/>
                  </a:lnTo>
                  <a:lnTo>
                    <a:pt x="41" y="5"/>
                  </a:lnTo>
                  <a:lnTo>
                    <a:pt x="58" y="0"/>
                  </a:lnTo>
                  <a:lnTo>
                    <a:pt x="58" y="9"/>
                  </a:lnTo>
                  <a:lnTo>
                    <a:pt x="58" y="14"/>
                  </a:lnTo>
                  <a:lnTo>
                    <a:pt x="63" y="18"/>
                  </a:lnTo>
                  <a:lnTo>
                    <a:pt x="67" y="14"/>
                  </a:lnTo>
                  <a:lnTo>
                    <a:pt x="67" y="9"/>
                  </a:lnTo>
                  <a:lnTo>
                    <a:pt x="72" y="9"/>
                  </a:lnTo>
                  <a:lnTo>
                    <a:pt x="72" y="14"/>
                  </a:lnTo>
                  <a:lnTo>
                    <a:pt x="67" y="18"/>
                  </a:lnTo>
                  <a:lnTo>
                    <a:pt x="67" y="18"/>
                  </a:lnTo>
                  <a:lnTo>
                    <a:pt x="63" y="23"/>
                  </a:lnTo>
                  <a:lnTo>
                    <a:pt x="63" y="27"/>
                  </a:lnTo>
                  <a:lnTo>
                    <a:pt x="72" y="27"/>
                  </a:lnTo>
                  <a:lnTo>
                    <a:pt x="76" y="27"/>
                  </a:lnTo>
                  <a:lnTo>
                    <a:pt x="76" y="23"/>
                  </a:lnTo>
                  <a:lnTo>
                    <a:pt x="85" y="23"/>
                  </a:lnTo>
                  <a:lnTo>
                    <a:pt x="90" y="14"/>
                  </a:lnTo>
                  <a:lnTo>
                    <a:pt x="94" y="14"/>
                  </a:lnTo>
                  <a:lnTo>
                    <a:pt x="94" y="18"/>
                  </a:lnTo>
                  <a:lnTo>
                    <a:pt x="99" y="18"/>
                  </a:lnTo>
                  <a:lnTo>
                    <a:pt x="108" y="23"/>
                  </a:lnTo>
                  <a:lnTo>
                    <a:pt x="108" y="27"/>
                  </a:lnTo>
                  <a:lnTo>
                    <a:pt x="112" y="27"/>
                  </a:lnTo>
                  <a:lnTo>
                    <a:pt x="112" y="36"/>
                  </a:lnTo>
                  <a:lnTo>
                    <a:pt x="112" y="50"/>
                  </a:lnTo>
                  <a:lnTo>
                    <a:pt x="121" y="59"/>
                  </a:lnTo>
                  <a:lnTo>
                    <a:pt x="121" y="72"/>
                  </a:lnTo>
                  <a:lnTo>
                    <a:pt x="121" y="85"/>
                  </a:lnTo>
                  <a:lnTo>
                    <a:pt x="125" y="90"/>
                  </a:lnTo>
                  <a:lnTo>
                    <a:pt x="125" y="99"/>
                  </a:lnTo>
                  <a:lnTo>
                    <a:pt x="121" y="99"/>
                  </a:lnTo>
                  <a:lnTo>
                    <a:pt x="117" y="108"/>
                  </a:lnTo>
                  <a:lnTo>
                    <a:pt x="103" y="108"/>
                  </a:lnTo>
                  <a:lnTo>
                    <a:pt x="94" y="117"/>
                  </a:lnTo>
                  <a:lnTo>
                    <a:pt x="90" y="117"/>
                  </a:lnTo>
                  <a:lnTo>
                    <a:pt x="85" y="117"/>
                  </a:lnTo>
                  <a:lnTo>
                    <a:pt x="90" y="126"/>
                  </a:lnTo>
                  <a:lnTo>
                    <a:pt x="94" y="135"/>
                  </a:lnTo>
                  <a:lnTo>
                    <a:pt x="103" y="135"/>
                  </a:lnTo>
                  <a:lnTo>
                    <a:pt x="112" y="143"/>
                  </a:lnTo>
                  <a:lnTo>
                    <a:pt x="112" y="148"/>
                  </a:lnTo>
                  <a:lnTo>
                    <a:pt x="108" y="152"/>
                  </a:lnTo>
                  <a:lnTo>
                    <a:pt x="99" y="157"/>
                  </a:lnTo>
                  <a:lnTo>
                    <a:pt x="94" y="161"/>
                  </a:lnTo>
                  <a:lnTo>
                    <a:pt x="103" y="166"/>
                  </a:lnTo>
                  <a:lnTo>
                    <a:pt x="99" y="175"/>
                  </a:lnTo>
                  <a:lnTo>
                    <a:pt x="94" y="170"/>
                  </a:lnTo>
                  <a:lnTo>
                    <a:pt x="76" y="175"/>
                  </a:lnTo>
                  <a:lnTo>
                    <a:pt x="54" y="170"/>
                  </a:lnTo>
                  <a:lnTo>
                    <a:pt x="45" y="170"/>
                  </a:lnTo>
                  <a:lnTo>
                    <a:pt x="36" y="170"/>
                  </a:lnTo>
                  <a:lnTo>
                    <a:pt x="27" y="175"/>
                  </a:lnTo>
                  <a:lnTo>
                    <a:pt x="27" y="170"/>
                  </a:lnTo>
                  <a:lnTo>
                    <a:pt x="27" y="157"/>
                  </a:lnTo>
                  <a:lnTo>
                    <a:pt x="32" y="143"/>
                  </a:lnTo>
                  <a:lnTo>
                    <a:pt x="27" y="135"/>
                  </a:lnTo>
                  <a:lnTo>
                    <a:pt x="23" y="135"/>
                  </a:lnTo>
                  <a:lnTo>
                    <a:pt x="9" y="139"/>
                  </a:lnTo>
                  <a:lnTo>
                    <a:pt x="9" y="130"/>
                  </a:lnTo>
                  <a:lnTo>
                    <a:pt x="9" y="126"/>
                  </a:lnTo>
                  <a:lnTo>
                    <a:pt x="5" y="121"/>
                  </a:lnTo>
                  <a:lnTo>
                    <a:pt x="5" y="117"/>
                  </a:lnTo>
                  <a:close/>
                  <a:moveTo>
                    <a:pt x="103" y="9"/>
                  </a:moveTo>
                  <a:lnTo>
                    <a:pt x="99" y="18"/>
                  </a:lnTo>
                  <a:lnTo>
                    <a:pt x="108" y="18"/>
                  </a:lnTo>
                  <a:lnTo>
                    <a:pt x="108" y="14"/>
                  </a:lnTo>
                  <a:lnTo>
                    <a:pt x="103" y="9"/>
                  </a:lnTo>
                  <a:close/>
                </a:path>
              </a:pathLst>
            </a:custGeom>
            <a:solidFill>
              <a:schemeClr val="accent1"/>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41" name="Freeform 137">
              <a:extLst>
                <a:ext uri="{FF2B5EF4-FFF2-40B4-BE49-F238E27FC236}">
                  <a16:creationId xmlns:a16="http://schemas.microsoft.com/office/drawing/2014/main" id="{82CCE5A7-4D1E-43A3-8640-5262F11CD60B}"/>
                </a:ext>
              </a:extLst>
            </p:cNvPr>
            <p:cNvSpPr>
              <a:spLocks noEditPoints="1"/>
            </p:cNvSpPr>
            <p:nvPr/>
          </p:nvSpPr>
          <p:spPr bwMode="gray">
            <a:xfrm>
              <a:off x="9579473" y="4690762"/>
              <a:ext cx="443395" cy="400197"/>
            </a:xfrm>
            <a:custGeom>
              <a:avLst/>
              <a:gdLst/>
              <a:ahLst/>
              <a:cxnLst>
                <a:cxn ang="0">
                  <a:pos x="9" y="45"/>
                </a:cxn>
                <a:cxn ang="0">
                  <a:pos x="14" y="63"/>
                </a:cxn>
                <a:cxn ang="0">
                  <a:pos x="41" y="63"/>
                </a:cxn>
                <a:cxn ang="0">
                  <a:pos x="41" y="72"/>
                </a:cxn>
                <a:cxn ang="0">
                  <a:pos x="14" y="67"/>
                </a:cxn>
                <a:cxn ang="0">
                  <a:pos x="23" y="94"/>
                </a:cxn>
                <a:cxn ang="0">
                  <a:pos x="36" y="94"/>
                </a:cxn>
                <a:cxn ang="0">
                  <a:pos x="41" y="99"/>
                </a:cxn>
                <a:cxn ang="0">
                  <a:pos x="41" y="81"/>
                </a:cxn>
                <a:cxn ang="0">
                  <a:pos x="50" y="81"/>
                </a:cxn>
                <a:cxn ang="0">
                  <a:pos x="54" y="76"/>
                </a:cxn>
                <a:cxn ang="0">
                  <a:pos x="45" y="59"/>
                </a:cxn>
                <a:cxn ang="0">
                  <a:pos x="36" y="50"/>
                </a:cxn>
                <a:cxn ang="0">
                  <a:pos x="36" y="27"/>
                </a:cxn>
                <a:cxn ang="0">
                  <a:pos x="45" y="32"/>
                </a:cxn>
                <a:cxn ang="0">
                  <a:pos x="58" y="27"/>
                </a:cxn>
                <a:cxn ang="0">
                  <a:pos x="72" y="9"/>
                </a:cxn>
                <a:cxn ang="0">
                  <a:pos x="72" y="5"/>
                </a:cxn>
                <a:cxn ang="0">
                  <a:pos x="45" y="5"/>
                </a:cxn>
                <a:cxn ang="0">
                  <a:pos x="27" y="14"/>
                </a:cxn>
                <a:cxn ang="0">
                  <a:pos x="5" y="41"/>
                </a:cxn>
                <a:cxn ang="0">
                  <a:pos x="54" y="59"/>
                </a:cxn>
                <a:cxn ang="0">
                  <a:pos x="67" y="72"/>
                </a:cxn>
                <a:cxn ang="0">
                  <a:pos x="58" y="54"/>
                </a:cxn>
                <a:cxn ang="0">
                  <a:pos x="41" y="50"/>
                </a:cxn>
                <a:cxn ang="0">
                  <a:pos x="50" y="112"/>
                </a:cxn>
                <a:cxn ang="0">
                  <a:pos x="63" y="126"/>
                </a:cxn>
                <a:cxn ang="0">
                  <a:pos x="81" y="117"/>
                </a:cxn>
                <a:cxn ang="0">
                  <a:pos x="63" y="112"/>
                </a:cxn>
                <a:cxn ang="0">
                  <a:pos x="58" y="90"/>
                </a:cxn>
                <a:cxn ang="0">
                  <a:pos x="58" y="90"/>
                </a:cxn>
                <a:cxn ang="0">
                  <a:pos x="72" y="85"/>
                </a:cxn>
                <a:cxn ang="0">
                  <a:pos x="76" y="81"/>
                </a:cxn>
                <a:cxn ang="0">
                  <a:pos x="81" y="90"/>
                </a:cxn>
                <a:cxn ang="0">
                  <a:pos x="81" y="90"/>
                </a:cxn>
                <a:cxn ang="0">
                  <a:pos x="85" y="45"/>
                </a:cxn>
                <a:cxn ang="0">
                  <a:pos x="90" y="45"/>
                </a:cxn>
                <a:cxn ang="0">
                  <a:pos x="81" y="76"/>
                </a:cxn>
                <a:cxn ang="0">
                  <a:pos x="81" y="76"/>
                </a:cxn>
                <a:cxn ang="0">
                  <a:pos x="85" y="63"/>
                </a:cxn>
                <a:cxn ang="0">
                  <a:pos x="112" y="99"/>
                </a:cxn>
                <a:cxn ang="0">
                  <a:pos x="112" y="108"/>
                </a:cxn>
                <a:cxn ang="0">
                  <a:pos x="112" y="99"/>
                </a:cxn>
              </a:cxnLst>
              <a:rect l="0" t="0" r="r" b="b"/>
              <a:pathLst>
                <a:path w="117" h="126">
                  <a:moveTo>
                    <a:pt x="0" y="41"/>
                  </a:moveTo>
                  <a:lnTo>
                    <a:pt x="5" y="45"/>
                  </a:lnTo>
                  <a:lnTo>
                    <a:pt x="9" y="45"/>
                  </a:lnTo>
                  <a:lnTo>
                    <a:pt x="14" y="50"/>
                  </a:lnTo>
                  <a:lnTo>
                    <a:pt x="9" y="50"/>
                  </a:lnTo>
                  <a:lnTo>
                    <a:pt x="14" y="63"/>
                  </a:lnTo>
                  <a:lnTo>
                    <a:pt x="18" y="59"/>
                  </a:lnTo>
                  <a:lnTo>
                    <a:pt x="36" y="59"/>
                  </a:lnTo>
                  <a:lnTo>
                    <a:pt x="41" y="63"/>
                  </a:lnTo>
                  <a:lnTo>
                    <a:pt x="41" y="67"/>
                  </a:lnTo>
                  <a:lnTo>
                    <a:pt x="45" y="72"/>
                  </a:lnTo>
                  <a:lnTo>
                    <a:pt x="41" y="72"/>
                  </a:lnTo>
                  <a:lnTo>
                    <a:pt x="27" y="63"/>
                  </a:lnTo>
                  <a:lnTo>
                    <a:pt x="23" y="63"/>
                  </a:lnTo>
                  <a:lnTo>
                    <a:pt x="14" y="67"/>
                  </a:lnTo>
                  <a:lnTo>
                    <a:pt x="18" y="76"/>
                  </a:lnTo>
                  <a:lnTo>
                    <a:pt x="23" y="85"/>
                  </a:lnTo>
                  <a:lnTo>
                    <a:pt x="23" y="94"/>
                  </a:lnTo>
                  <a:lnTo>
                    <a:pt x="27" y="85"/>
                  </a:lnTo>
                  <a:lnTo>
                    <a:pt x="32" y="99"/>
                  </a:lnTo>
                  <a:lnTo>
                    <a:pt x="36" y="94"/>
                  </a:lnTo>
                  <a:lnTo>
                    <a:pt x="36" y="90"/>
                  </a:lnTo>
                  <a:lnTo>
                    <a:pt x="41" y="94"/>
                  </a:lnTo>
                  <a:lnTo>
                    <a:pt x="41" y="99"/>
                  </a:lnTo>
                  <a:lnTo>
                    <a:pt x="45" y="94"/>
                  </a:lnTo>
                  <a:lnTo>
                    <a:pt x="45" y="90"/>
                  </a:lnTo>
                  <a:lnTo>
                    <a:pt x="41" y="81"/>
                  </a:lnTo>
                  <a:lnTo>
                    <a:pt x="41" y="76"/>
                  </a:lnTo>
                  <a:lnTo>
                    <a:pt x="45" y="81"/>
                  </a:lnTo>
                  <a:lnTo>
                    <a:pt x="50" y="81"/>
                  </a:lnTo>
                  <a:lnTo>
                    <a:pt x="45" y="76"/>
                  </a:lnTo>
                  <a:lnTo>
                    <a:pt x="50" y="72"/>
                  </a:lnTo>
                  <a:lnTo>
                    <a:pt x="54" y="76"/>
                  </a:lnTo>
                  <a:lnTo>
                    <a:pt x="58" y="72"/>
                  </a:lnTo>
                  <a:lnTo>
                    <a:pt x="54" y="63"/>
                  </a:lnTo>
                  <a:lnTo>
                    <a:pt x="45" y="59"/>
                  </a:lnTo>
                  <a:lnTo>
                    <a:pt x="41" y="54"/>
                  </a:lnTo>
                  <a:lnTo>
                    <a:pt x="32" y="50"/>
                  </a:lnTo>
                  <a:lnTo>
                    <a:pt x="36" y="50"/>
                  </a:lnTo>
                  <a:lnTo>
                    <a:pt x="41" y="45"/>
                  </a:lnTo>
                  <a:lnTo>
                    <a:pt x="45" y="45"/>
                  </a:lnTo>
                  <a:lnTo>
                    <a:pt x="36" y="27"/>
                  </a:lnTo>
                  <a:lnTo>
                    <a:pt x="36" y="18"/>
                  </a:lnTo>
                  <a:lnTo>
                    <a:pt x="41" y="27"/>
                  </a:lnTo>
                  <a:lnTo>
                    <a:pt x="45" y="32"/>
                  </a:lnTo>
                  <a:lnTo>
                    <a:pt x="54" y="32"/>
                  </a:lnTo>
                  <a:lnTo>
                    <a:pt x="54" y="23"/>
                  </a:lnTo>
                  <a:lnTo>
                    <a:pt x="58" y="27"/>
                  </a:lnTo>
                  <a:lnTo>
                    <a:pt x="50" y="18"/>
                  </a:lnTo>
                  <a:lnTo>
                    <a:pt x="58" y="9"/>
                  </a:lnTo>
                  <a:lnTo>
                    <a:pt x="72" y="9"/>
                  </a:lnTo>
                  <a:lnTo>
                    <a:pt x="85" y="9"/>
                  </a:lnTo>
                  <a:lnTo>
                    <a:pt x="85" y="5"/>
                  </a:lnTo>
                  <a:lnTo>
                    <a:pt x="72" y="5"/>
                  </a:lnTo>
                  <a:lnTo>
                    <a:pt x="63" y="0"/>
                  </a:lnTo>
                  <a:lnTo>
                    <a:pt x="54" y="5"/>
                  </a:lnTo>
                  <a:lnTo>
                    <a:pt x="45" y="5"/>
                  </a:lnTo>
                  <a:lnTo>
                    <a:pt x="36" y="9"/>
                  </a:lnTo>
                  <a:lnTo>
                    <a:pt x="32" y="9"/>
                  </a:lnTo>
                  <a:lnTo>
                    <a:pt x="27" y="14"/>
                  </a:lnTo>
                  <a:lnTo>
                    <a:pt x="18" y="18"/>
                  </a:lnTo>
                  <a:lnTo>
                    <a:pt x="5" y="32"/>
                  </a:lnTo>
                  <a:lnTo>
                    <a:pt x="5" y="41"/>
                  </a:lnTo>
                  <a:lnTo>
                    <a:pt x="0" y="41"/>
                  </a:lnTo>
                  <a:close/>
                  <a:moveTo>
                    <a:pt x="41" y="50"/>
                  </a:moveTo>
                  <a:lnTo>
                    <a:pt x="54" y="59"/>
                  </a:lnTo>
                  <a:lnTo>
                    <a:pt x="58" y="67"/>
                  </a:lnTo>
                  <a:lnTo>
                    <a:pt x="67" y="72"/>
                  </a:lnTo>
                  <a:lnTo>
                    <a:pt x="67" y="72"/>
                  </a:lnTo>
                  <a:lnTo>
                    <a:pt x="58" y="63"/>
                  </a:lnTo>
                  <a:lnTo>
                    <a:pt x="58" y="59"/>
                  </a:lnTo>
                  <a:lnTo>
                    <a:pt x="58" y="54"/>
                  </a:lnTo>
                  <a:lnTo>
                    <a:pt x="50" y="54"/>
                  </a:lnTo>
                  <a:lnTo>
                    <a:pt x="45" y="50"/>
                  </a:lnTo>
                  <a:lnTo>
                    <a:pt x="41" y="50"/>
                  </a:lnTo>
                  <a:close/>
                  <a:moveTo>
                    <a:pt x="58" y="108"/>
                  </a:moveTo>
                  <a:lnTo>
                    <a:pt x="54" y="108"/>
                  </a:lnTo>
                  <a:lnTo>
                    <a:pt x="50" y="112"/>
                  </a:lnTo>
                  <a:lnTo>
                    <a:pt x="50" y="117"/>
                  </a:lnTo>
                  <a:lnTo>
                    <a:pt x="63" y="117"/>
                  </a:lnTo>
                  <a:lnTo>
                    <a:pt x="63" y="126"/>
                  </a:lnTo>
                  <a:lnTo>
                    <a:pt x="90" y="121"/>
                  </a:lnTo>
                  <a:lnTo>
                    <a:pt x="90" y="112"/>
                  </a:lnTo>
                  <a:lnTo>
                    <a:pt x="81" y="117"/>
                  </a:lnTo>
                  <a:lnTo>
                    <a:pt x="81" y="112"/>
                  </a:lnTo>
                  <a:lnTo>
                    <a:pt x="67" y="112"/>
                  </a:lnTo>
                  <a:lnTo>
                    <a:pt x="63" y="112"/>
                  </a:lnTo>
                  <a:lnTo>
                    <a:pt x="58" y="108"/>
                  </a:lnTo>
                  <a:close/>
                  <a:moveTo>
                    <a:pt x="58" y="90"/>
                  </a:moveTo>
                  <a:lnTo>
                    <a:pt x="58" y="90"/>
                  </a:lnTo>
                  <a:lnTo>
                    <a:pt x="58" y="94"/>
                  </a:lnTo>
                  <a:lnTo>
                    <a:pt x="63" y="90"/>
                  </a:lnTo>
                  <a:lnTo>
                    <a:pt x="58" y="90"/>
                  </a:lnTo>
                  <a:close/>
                  <a:moveTo>
                    <a:pt x="72" y="81"/>
                  </a:moveTo>
                  <a:lnTo>
                    <a:pt x="72" y="85"/>
                  </a:lnTo>
                  <a:lnTo>
                    <a:pt x="72" y="85"/>
                  </a:lnTo>
                  <a:lnTo>
                    <a:pt x="76" y="85"/>
                  </a:lnTo>
                  <a:lnTo>
                    <a:pt x="76" y="85"/>
                  </a:lnTo>
                  <a:lnTo>
                    <a:pt x="76" y="81"/>
                  </a:lnTo>
                  <a:lnTo>
                    <a:pt x="72" y="85"/>
                  </a:lnTo>
                  <a:lnTo>
                    <a:pt x="72" y="81"/>
                  </a:lnTo>
                  <a:close/>
                  <a:moveTo>
                    <a:pt x="81" y="90"/>
                  </a:moveTo>
                  <a:lnTo>
                    <a:pt x="81" y="90"/>
                  </a:lnTo>
                  <a:lnTo>
                    <a:pt x="85" y="85"/>
                  </a:lnTo>
                  <a:lnTo>
                    <a:pt x="81" y="90"/>
                  </a:lnTo>
                  <a:close/>
                  <a:moveTo>
                    <a:pt x="81" y="41"/>
                  </a:moveTo>
                  <a:lnTo>
                    <a:pt x="81" y="41"/>
                  </a:lnTo>
                  <a:lnTo>
                    <a:pt x="85" y="45"/>
                  </a:lnTo>
                  <a:lnTo>
                    <a:pt x="90" y="45"/>
                  </a:lnTo>
                  <a:lnTo>
                    <a:pt x="90" y="50"/>
                  </a:lnTo>
                  <a:lnTo>
                    <a:pt x="90" y="45"/>
                  </a:lnTo>
                  <a:lnTo>
                    <a:pt x="90" y="41"/>
                  </a:lnTo>
                  <a:lnTo>
                    <a:pt x="81" y="41"/>
                  </a:lnTo>
                  <a:close/>
                  <a:moveTo>
                    <a:pt x="81" y="76"/>
                  </a:moveTo>
                  <a:lnTo>
                    <a:pt x="85" y="76"/>
                  </a:lnTo>
                  <a:lnTo>
                    <a:pt x="90" y="76"/>
                  </a:lnTo>
                  <a:lnTo>
                    <a:pt x="81" y="76"/>
                  </a:lnTo>
                  <a:close/>
                  <a:moveTo>
                    <a:pt x="85" y="54"/>
                  </a:moveTo>
                  <a:lnTo>
                    <a:pt x="81" y="59"/>
                  </a:lnTo>
                  <a:lnTo>
                    <a:pt x="85" y="63"/>
                  </a:lnTo>
                  <a:lnTo>
                    <a:pt x="85" y="59"/>
                  </a:lnTo>
                  <a:lnTo>
                    <a:pt x="85" y="54"/>
                  </a:lnTo>
                  <a:close/>
                  <a:moveTo>
                    <a:pt x="112" y="99"/>
                  </a:moveTo>
                  <a:lnTo>
                    <a:pt x="108" y="103"/>
                  </a:lnTo>
                  <a:lnTo>
                    <a:pt x="108" y="112"/>
                  </a:lnTo>
                  <a:lnTo>
                    <a:pt x="112" y="108"/>
                  </a:lnTo>
                  <a:lnTo>
                    <a:pt x="117" y="108"/>
                  </a:lnTo>
                  <a:lnTo>
                    <a:pt x="117" y="99"/>
                  </a:lnTo>
                  <a:lnTo>
                    <a:pt x="112" y="99"/>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42" name="Freeform 138">
              <a:extLst>
                <a:ext uri="{FF2B5EF4-FFF2-40B4-BE49-F238E27FC236}">
                  <a16:creationId xmlns:a16="http://schemas.microsoft.com/office/drawing/2014/main" id="{EE39E28C-FD35-4417-A2C3-FC0B0CE17617}"/>
                </a:ext>
              </a:extLst>
            </p:cNvPr>
            <p:cNvSpPr>
              <a:spLocks/>
            </p:cNvSpPr>
            <p:nvPr/>
          </p:nvSpPr>
          <p:spPr bwMode="gray">
            <a:xfrm>
              <a:off x="9359405" y="4223731"/>
              <a:ext cx="374929" cy="199691"/>
            </a:xfrm>
            <a:custGeom>
              <a:avLst/>
              <a:gdLst/>
              <a:ahLst/>
              <a:cxnLst>
                <a:cxn ang="0">
                  <a:pos x="0" y="40"/>
                </a:cxn>
                <a:cxn ang="0">
                  <a:pos x="5" y="36"/>
                </a:cxn>
                <a:cxn ang="0">
                  <a:pos x="5" y="31"/>
                </a:cxn>
                <a:cxn ang="0">
                  <a:pos x="5" y="27"/>
                </a:cxn>
                <a:cxn ang="0">
                  <a:pos x="5" y="22"/>
                </a:cxn>
                <a:cxn ang="0">
                  <a:pos x="14" y="22"/>
                </a:cxn>
                <a:cxn ang="0">
                  <a:pos x="18" y="13"/>
                </a:cxn>
                <a:cxn ang="0">
                  <a:pos x="18" y="9"/>
                </a:cxn>
                <a:cxn ang="0">
                  <a:pos x="23" y="13"/>
                </a:cxn>
                <a:cxn ang="0">
                  <a:pos x="41" y="13"/>
                </a:cxn>
                <a:cxn ang="0">
                  <a:pos x="45" y="9"/>
                </a:cxn>
                <a:cxn ang="0">
                  <a:pos x="54" y="9"/>
                </a:cxn>
                <a:cxn ang="0">
                  <a:pos x="63" y="0"/>
                </a:cxn>
                <a:cxn ang="0">
                  <a:pos x="72" y="4"/>
                </a:cxn>
                <a:cxn ang="0">
                  <a:pos x="76" y="0"/>
                </a:cxn>
                <a:cxn ang="0">
                  <a:pos x="81" y="4"/>
                </a:cxn>
                <a:cxn ang="0">
                  <a:pos x="90" y="4"/>
                </a:cxn>
                <a:cxn ang="0">
                  <a:pos x="99" y="18"/>
                </a:cxn>
                <a:cxn ang="0">
                  <a:pos x="99" y="22"/>
                </a:cxn>
                <a:cxn ang="0">
                  <a:pos x="85" y="27"/>
                </a:cxn>
                <a:cxn ang="0">
                  <a:pos x="76" y="45"/>
                </a:cxn>
                <a:cxn ang="0">
                  <a:pos x="76" y="49"/>
                </a:cxn>
                <a:cxn ang="0">
                  <a:pos x="67" y="54"/>
                </a:cxn>
                <a:cxn ang="0">
                  <a:pos x="63" y="54"/>
                </a:cxn>
                <a:cxn ang="0">
                  <a:pos x="49" y="54"/>
                </a:cxn>
                <a:cxn ang="0">
                  <a:pos x="36" y="58"/>
                </a:cxn>
                <a:cxn ang="0">
                  <a:pos x="27" y="63"/>
                </a:cxn>
                <a:cxn ang="0">
                  <a:pos x="9" y="58"/>
                </a:cxn>
                <a:cxn ang="0">
                  <a:pos x="5" y="49"/>
                </a:cxn>
                <a:cxn ang="0">
                  <a:pos x="5" y="49"/>
                </a:cxn>
                <a:cxn ang="0">
                  <a:pos x="0" y="40"/>
                </a:cxn>
              </a:cxnLst>
              <a:rect l="0" t="0" r="r" b="b"/>
              <a:pathLst>
                <a:path w="99" h="63">
                  <a:moveTo>
                    <a:pt x="0" y="40"/>
                  </a:moveTo>
                  <a:lnTo>
                    <a:pt x="5" y="36"/>
                  </a:lnTo>
                  <a:lnTo>
                    <a:pt x="5" y="31"/>
                  </a:lnTo>
                  <a:lnTo>
                    <a:pt x="5" y="27"/>
                  </a:lnTo>
                  <a:lnTo>
                    <a:pt x="5" y="22"/>
                  </a:lnTo>
                  <a:lnTo>
                    <a:pt x="14" y="22"/>
                  </a:lnTo>
                  <a:lnTo>
                    <a:pt x="18" y="13"/>
                  </a:lnTo>
                  <a:lnTo>
                    <a:pt x="18" y="9"/>
                  </a:lnTo>
                  <a:lnTo>
                    <a:pt x="23" y="13"/>
                  </a:lnTo>
                  <a:lnTo>
                    <a:pt x="41" y="13"/>
                  </a:lnTo>
                  <a:lnTo>
                    <a:pt x="45" y="9"/>
                  </a:lnTo>
                  <a:lnTo>
                    <a:pt x="54" y="9"/>
                  </a:lnTo>
                  <a:lnTo>
                    <a:pt x="63" y="0"/>
                  </a:lnTo>
                  <a:lnTo>
                    <a:pt x="72" y="4"/>
                  </a:lnTo>
                  <a:lnTo>
                    <a:pt x="76" y="0"/>
                  </a:lnTo>
                  <a:lnTo>
                    <a:pt x="81" y="4"/>
                  </a:lnTo>
                  <a:lnTo>
                    <a:pt x="90" y="4"/>
                  </a:lnTo>
                  <a:lnTo>
                    <a:pt x="99" y="18"/>
                  </a:lnTo>
                  <a:lnTo>
                    <a:pt x="99" y="22"/>
                  </a:lnTo>
                  <a:lnTo>
                    <a:pt x="85" y="27"/>
                  </a:lnTo>
                  <a:lnTo>
                    <a:pt x="76" y="45"/>
                  </a:lnTo>
                  <a:lnTo>
                    <a:pt x="76" y="49"/>
                  </a:lnTo>
                  <a:lnTo>
                    <a:pt x="67" y="54"/>
                  </a:lnTo>
                  <a:lnTo>
                    <a:pt x="63" y="54"/>
                  </a:lnTo>
                  <a:lnTo>
                    <a:pt x="49" y="54"/>
                  </a:lnTo>
                  <a:lnTo>
                    <a:pt x="36" y="58"/>
                  </a:lnTo>
                  <a:lnTo>
                    <a:pt x="27" y="63"/>
                  </a:lnTo>
                  <a:lnTo>
                    <a:pt x="9" y="58"/>
                  </a:lnTo>
                  <a:lnTo>
                    <a:pt x="5" y="49"/>
                  </a:lnTo>
                  <a:lnTo>
                    <a:pt x="5" y="49"/>
                  </a:lnTo>
                  <a:lnTo>
                    <a:pt x="0" y="40"/>
                  </a:lnTo>
                  <a:close/>
                </a:path>
              </a:pathLst>
            </a:custGeom>
            <a:solidFill>
              <a:schemeClr val="accent1"/>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43" name="Freeform 139">
              <a:extLst>
                <a:ext uri="{FF2B5EF4-FFF2-40B4-BE49-F238E27FC236}">
                  <a16:creationId xmlns:a16="http://schemas.microsoft.com/office/drawing/2014/main" id="{3674583A-A584-4986-B893-1A56407C9693}"/>
                </a:ext>
              </a:extLst>
            </p:cNvPr>
            <p:cNvSpPr>
              <a:spLocks/>
            </p:cNvSpPr>
            <p:nvPr/>
          </p:nvSpPr>
          <p:spPr bwMode="gray">
            <a:xfrm>
              <a:off x="7937934" y="3712685"/>
              <a:ext cx="220067" cy="311354"/>
            </a:xfrm>
            <a:custGeom>
              <a:avLst/>
              <a:gdLst/>
              <a:ahLst/>
              <a:cxnLst>
                <a:cxn ang="0">
                  <a:pos x="45" y="5"/>
                </a:cxn>
                <a:cxn ang="0">
                  <a:pos x="45" y="0"/>
                </a:cxn>
                <a:cxn ang="0">
                  <a:pos x="40" y="0"/>
                </a:cxn>
                <a:cxn ang="0">
                  <a:pos x="40" y="0"/>
                </a:cxn>
                <a:cxn ang="0">
                  <a:pos x="36" y="9"/>
                </a:cxn>
                <a:cxn ang="0">
                  <a:pos x="36" y="0"/>
                </a:cxn>
                <a:cxn ang="0">
                  <a:pos x="27" y="5"/>
                </a:cxn>
                <a:cxn ang="0">
                  <a:pos x="27" y="13"/>
                </a:cxn>
                <a:cxn ang="0">
                  <a:pos x="22" y="18"/>
                </a:cxn>
                <a:cxn ang="0">
                  <a:pos x="27" y="22"/>
                </a:cxn>
                <a:cxn ang="0">
                  <a:pos x="27" y="22"/>
                </a:cxn>
                <a:cxn ang="0">
                  <a:pos x="22" y="27"/>
                </a:cxn>
                <a:cxn ang="0">
                  <a:pos x="22" y="27"/>
                </a:cxn>
                <a:cxn ang="0">
                  <a:pos x="18" y="27"/>
                </a:cxn>
                <a:cxn ang="0">
                  <a:pos x="5" y="27"/>
                </a:cxn>
                <a:cxn ang="0">
                  <a:pos x="0" y="36"/>
                </a:cxn>
                <a:cxn ang="0">
                  <a:pos x="9" y="36"/>
                </a:cxn>
                <a:cxn ang="0">
                  <a:pos x="5" y="45"/>
                </a:cxn>
                <a:cxn ang="0">
                  <a:pos x="0" y="45"/>
                </a:cxn>
                <a:cxn ang="0">
                  <a:pos x="0" y="54"/>
                </a:cxn>
                <a:cxn ang="0">
                  <a:pos x="9" y="58"/>
                </a:cxn>
                <a:cxn ang="0">
                  <a:pos x="14" y="54"/>
                </a:cxn>
                <a:cxn ang="0">
                  <a:pos x="18" y="54"/>
                </a:cxn>
                <a:cxn ang="0">
                  <a:pos x="14" y="63"/>
                </a:cxn>
                <a:cxn ang="0">
                  <a:pos x="14" y="63"/>
                </a:cxn>
                <a:cxn ang="0">
                  <a:pos x="9" y="72"/>
                </a:cxn>
                <a:cxn ang="0">
                  <a:pos x="18" y="67"/>
                </a:cxn>
                <a:cxn ang="0">
                  <a:pos x="18" y="72"/>
                </a:cxn>
                <a:cxn ang="0">
                  <a:pos x="9" y="76"/>
                </a:cxn>
                <a:cxn ang="0">
                  <a:pos x="9" y="81"/>
                </a:cxn>
                <a:cxn ang="0">
                  <a:pos x="0" y="81"/>
                </a:cxn>
                <a:cxn ang="0">
                  <a:pos x="0" y="89"/>
                </a:cxn>
                <a:cxn ang="0">
                  <a:pos x="9" y="89"/>
                </a:cxn>
                <a:cxn ang="0">
                  <a:pos x="0" y="94"/>
                </a:cxn>
                <a:cxn ang="0">
                  <a:pos x="9" y="98"/>
                </a:cxn>
                <a:cxn ang="0">
                  <a:pos x="27" y="89"/>
                </a:cxn>
                <a:cxn ang="0">
                  <a:pos x="40" y="85"/>
                </a:cxn>
                <a:cxn ang="0">
                  <a:pos x="49" y="85"/>
                </a:cxn>
                <a:cxn ang="0">
                  <a:pos x="54" y="81"/>
                </a:cxn>
                <a:cxn ang="0">
                  <a:pos x="58" y="72"/>
                </a:cxn>
                <a:cxn ang="0">
                  <a:pos x="58" y="54"/>
                </a:cxn>
                <a:cxn ang="0">
                  <a:pos x="58" y="49"/>
                </a:cxn>
                <a:cxn ang="0">
                  <a:pos x="58" y="49"/>
                </a:cxn>
                <a:cxn ang="0">
                  <a:pos x="54" y="31"/>
                </a:cxn>
                <a:cxn ang="0">
                  <a:pos x="49" y="31"/>
                </a:cxn>
                <a:cxn ang="0">
                  <a:pos x="40" y="27"/>
                </a:cxn>
                <a:cxn ang="0">
                  <a:pos x="40" y="36"/>
                </a:cxn>
                <a:cxn ang="0">
                  <a:pos x="27" y="31"/>
                </a:cxn>
                <a:cxn ang="0">
                  <a:pos x="27" y="27"/>
                </a:cxn>
                <a:cxn ang="0">
                  <a:pos x="31" y="18"/>
                </a:cxn>
                <a:cxn ang="0">
                  <a:pos x="36" y="18"/>
                </a:cxn>
                <a:cxn ang="0">
                  <a:pos x="40" y="13"/>
                </a:cxn>
                <a:cxn ang="0">
                  <a:pos x="45" y="5"/>
                </a:cxn>
              </a:cxnLst>
              <a:rect l="0" t="0" r="r" b="b"/>
              <a:pathLst>
                <a:path w="58" h="98">
                  <a:moveTo>
                    <a:pt x="45" y="5"/>
                  </a:moveTo>
                  <a:lnTo>
                    <a:pt x="45" y="0"/>
                  </a:lnTo>
                  <a:lnTo>
                    <a:pt x="40" y="0"/>
                  </a:lnTo>
                  <a:lnTo>
                    <a:pt x="40" y="0"/>
                  </a:lnTo>
                  <a:lnTo>
                    <a:pt x="36" y="9"/>
                  </a:lnTo>
                  <a:lnTo>
                    <a:pt x="36" y="0"/>
                  </a:lnTo>
                  <a:lnTo>
                    <a:pt x="27" y="5"/>
                  </a:lnTo>
                  <a:lnTo>
                    <a:pt x="27" y="13"/>
                  </a:lnTo>
                  <a:lnTo>
                    <a:pt x="22" y="18"/>
                  </a:lnTo>
                  <a:lnTo>
                    <a:pt x="27" y="22"/>
                  </a:lnTo>
                  <a:lnTo>
                    <a:pt x="27" y="22"/>
                  </a:lnTo>
                  <a:lnTo>
                    <a:pt x="22" y="27"/>
                  </a:lnTo>
                  <a:lnTo>
                    <a:pt x="22" y="27"/>
                  </a:lnTo>
                  <a:lnTo>
                    <a:pt x="18" y="27"/>
                  </a:lnTo>
                  <a:lnTo>
                    <a:pt x="5" y="27"/>
                  </a:lnTo>
                  <a:lnTo>
                    <a:pt x="0" y="36"/>
                  </a:lnTo>
                  <a:lnTo>
                    <a:pt x="9" y="36"/>
                  </a:lnTo>
                  <a:lnTo>
                    <a:pt x="5" y="45"/>
                  </a:lnTo>
                  <a:lnTo>
                    <a:pt x="0" y="45"/>
                  </a:lnTo>
                  <a:lnTo>
                    <a:pt x="0" y="54"/>
                  </a:lnTo>
                  <a:lnTo>
                    <a:pt x="9" y="58"/>
                  </a:lnTo>
                  <a:lnTo>
                    <a:pt x="14" y="54"/>
                  </a:lnTo>
                  <a:lnTo>
                    <a:pt x="18" y="54"/>
                  </a:lnTo>
                  <a:lnTo>
                    <a:pt x="14" y="63"/>
                  </a:lnTo>
                  <a:lnTo>
                    <a:pt x="14" y="63"/>
                  </a:lnTo>
                  <a:lnTo>
                    <a:pt x="9" y="72"/>
                  </a:lnTo>
                  <a:lnTo>
                    <a:pt x="18" y="67"/>
                  </a:lnTo>
                  <a:lnTo>
                    <a:pt x="18" y="72"/>
                  </a:lnTo>
                  <a:lnTo>
                    <a:pt x="9" y="76"/>
                  </a:lnTo>
                  <a:lnTo>
                    <a:pt x="9" y="81"/>
                  </a:lnTo>
                  <a:lnTo>
                    <a:pt x="0" y="81"/>
                  </a:lnTo>
                  <a:lnTo>
                    <a:pt x="0" y="89"/>
                  </a:lnTo>
                  <a:lnTo>
                    <a:pt x="9" y="89"/>
                  </a:lnTo>
                  <a:lnTo>
                    <a:pt x="0" y="94"/>
                  </a:lnTo>
                  <a:lnTo>
                    <a:pt x="9" y="98"/>
                  </a:lnTo>
                  <a:lnTo>
                    <a:pt x="27" y="89"/>
                  </a:lnTo>
                  <a:lnTo>
                    <a:pt x="40" y="85"/>
                  </a:lnTo>
                  <a:lnTo>
                    <a:pt x="49" y="85"/>
                  </a:lnTo>
                  <a:lnTo>
                    <a:pt x="54" y="81"/>
                  </a:lnTo>
                  <a:lnTo>
                    <a:pt x="58" y="72"/>
                  </a:lnTo>
                  <a:lnTo>
                    <a:pt x="58" y="54"/>
                  </a:lnTo>
                  <a:lnTo>
                    <a:pt x="58" y="49"/>
                  </a:lnTo>
                  <a:lnTo>
                    <a:pt x="58" y="49"/>
                  </a:lnTo>
                  <a:lnTo>
                    <a:pt x="54" y="31"/>
                  </a:lnTo>
                  <a:lnTo>
                    <a:pt x="49" y="31"/>
                  </a:lnTo>
                  <a:lnTo>
                    <a:pt x="40" y="27"/>
                  </a:lnTo>
                  <a:lnTo>
                    <a:pt x="40" y="36"/>
                  </a:lnTo>
                  <a:lnTo>
                    <a:pt x="27" y="31"/>
                  </a:lnTo>
                  <a:lnTo>
                    <a:pt x="27" y="27"/>
                  </a:lnTo>
                  <a:lnTo>
                    <a:pt x="31" y="18"/>
                  </a:lnTo>
                  <a:lnTo>
                    <a:pt x="36" y="18"/>
                  </a:lnTo>
                  <a:lnTo>
                    <a:pt x="40" y="13"/>
                  </a:lnTo>
                  <a:lnTo>
                    <a:pt x="45" y="5"/>
                  </a:lnTo>
                  <a:close/>
                </a:path>
              </a:pathLst>
            </a:custGeom>
            <a:solidFill>
              <a:schemeClr val="accent1"/>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44" name="Freeform 140">
              <a:extLst>
                <a:ext uri="{FF2B5EF4-FFF2-40B4-BE49-F238E27FC236}">
                  <a16:creationId xmlns:a16="http://schemas.microsoft.com/office/drawing/2014/main" id="{78EEF3D9-E57C-4EDE-B15F-3DAA6F8F78BE}"/>
                </a:ext>
              </a:extLst>
            </p:cNvPr>
            <p:cNvSpPr>
              <a:spLocks noEditPoints="1"/>
            </p:cNvSpPr>
            <p:nvPr/>
          </p:nvSpPr>
          <p:spPr bwMode="gray">
            <a:xfrm>
              <a:off x="8836134" y="4337839"/>
              <a:ext cx="659387" cy="651236"/>
            </a:xfrm>
            <a:custGeom>
              <a:avLst/>
              <a:gdLst/>
              <a:ahLst/>
              <a:cxnLst>
                <a:cxn ang="0">
                  <a:pos x="27" y="62"/>
                </a:cxn>
                <a:cxn ang="0">
                  <a:pos x="36" y="49"/>
                </a:cxn>
                <a:cxn ang="0">
                  <a:pos x="53" y="62"/>
                </a:cxn>
                <a:cxn ang="0">
                  <a:pos x="62" y="94"/>
                </a:cxn>
                <a:cxn ang="0">
                  <a:pos x="94" y="120"/>
                </a:cxn>
                <a:cxn ang="0">
                  <a:pos x="112" y="129"/>
                </a:cxn>
                <a:cxn ang="0">
                  <a:pos x="120" y="138"/>
                </a:cxn>
                <a:cxn ang="0">
                  <a:pos x="138" y="161"/>
                </a:cxn>
                <a:cxn ang="0">
                  <a:pos x="134" y="170"/>
                </a:cxn>
                <a:cxn ang="0">
                  <a:pos x="134" y="183"/>
                </a:cxn>
                <a:cxn ang="0">
                  <a:pos x="147" y="170"/>
                </a:cxn>
                <a:cxn ang="0">
                  <a:pos x="152" y="161"/>
                </a:cxn>
                <a:cxn ang="0">
                  <a:pos x="143" y="143"/>
                </a:cxn>
                <a:cxn ang="0">
                  <a:pos x="156" y="134"/>
                </a:cxn>
                <a:cxn ang="0">
                  <a:pos x="165" y="143"/>
                </a:cxn>
                <a:cxn ang="0">
                  <a:pos x="174" y="138"/>
                </a:cxn>
                <a:cxn ang="0">
                  <a:pos x="147" y="111"/>
                </a:cxn>
                <a:cxn ang="0">
                  <a:pos x="138" y="102"/>
                </a:cxn>
                <a:cxn ang="0">
                  <a:pos x="120" y="98"/>
                </a:cxn>
                <a:cxn ang="0">
                  <a:pos x="103" y="80"/>
                </a:cxn>
                <a:cxn ang="0">
                  <a:pos x="85" y="58"/>
                </a:cxn>
                <a:cxn ang="0">
                  <a:pos x="85" y="44"/>
                </a:cxn>
                <a:cxn ang="0">
                  <a:pos x="80" y="31"/>
                </a:cxn>
                <a:cxn ang="0">
                  <a:pos x="94" y="22"/>
                </a:cxn>
                <a:cxn ang="0">
                  <a:pos x="103" y="27"/>
                </a:cxn>
                <a:cxn ang="0">
                  <a:pos x="107" y="31"/>
                </a:cxn>
                <a:cxn ang="0">
                  <a:pos x="103" y="18"/>
                </a:cxn>
                <a:cxn ang="0">
                  <a:pos x="103" y="13"/>
                </a:cxn>
                <a:cxn ang="0">
                  <a:pos x="85" y="0"/>
                </a:cxn>
                <a:cxn ang="0">
                  <a:pos x="67" y="4"/>
                </a:cxn>
                <a:cxn ang="0">
                  <a:pos x="53" y="13"/>
                </a:cxn>
                <a:cxn ang="0">
                  <a:pos x="40" y="9"/>
                </a:cxn>
                <a:cxn ang="0">
                  <a:pos x="36" y="22"/>
                </a:cxn>
                <a:cxn ang="0">
                  <a:pos x="27" y="13"/>
                </a:cxn>
                <a:cxn ang="0">
                  <a:pos x="18" y="22"/>
                </a:cxn>
                <a:cxn ang="0">
                  <a:pos x="9" y="35"/>
                </a:cxn>
                <a:cxn ang="0">
                  <a:pos x="0" y="49"/>
                </a:cxn>
                <a:cxn ang="0">
                  <a:pos x="18" y="62"/>
                </a:cxn>
                <a:cxn ang="0">
                  <a:pos x="40" y="116"/>
                </a:cxn>
                <a:cxn ang="0">
                  <a:pos x="27" y="125"/>
                </a:cxn>
                <a:cxn ang="0">
                  <a:pos x="31" y="129"/>
                </a:cxn>
                <a:cxn ang="0">
                  <a:pos x="36" y="143"/>
                </a:cxn>
                <a:cxn ang="0">
                  <a:pos x="31" y="147"/>
                </a:cxn>
                <a:cxn ang="0">
                  <a:pos x="36" y="161"/>
                </a:cxn>
                <a:cxn ang="0">
                  <a:pos x="45" y="156"/>
                </a:cxn>
                <a:cxn ang="0">
                  <a:pos x="49" y="143"/>
                </a:cxn>
                <a:cxn ang="0">
                  <a:pos x="49" y="129"/>
                </a:cxn>
                <a:cxn ang="0">
                  <a:pos x="40" y="116"/>
                </a:cxn>
                <a:cxn ang="0">
                  <a:pos x="120" y="174"/>
                </a:cxn>
                <a:cxn ang="0">
                  <a:pos x="98" y="170"/>
                </a:cxn>
                <a:cxn ang="0">
                  <a:pos x="85" y="178"/>
                </a:cxn>
                <a:cxn ang="0">
                  <a:pos x="89" y="187"/>
                </a:cxn>
                <a:cxn ang="0">
                  <a:pos x="103" y="196"/>
                </a:cxn>
                <a:cxn ang="0">
                  <a:pos x="116" y="201"/>
                </a:cxn>
                <a:cxn ang="0">
                  <a:pos x="125" y="201"/>
                </a:cxn>
                <a:cxn ang="0">
                  <a:pos x="129" y="178"/>
                </a:cxn>
                <a:cxn ang="0">
                  <a:pos x="125" y="174"/>
                </a:cxn>
              </a:cxnLst>
              <a:rect l="0" t="0" r="r" b="b"/>
              <a:pathLst>
                <a:path w="174" h="205">
                  <a:moveTo>
                    <a:pt x="22" y="67"/>
                  </a:moveTo>
                  <a:lnTo>
                    <a:pt x="27" y="62"/>
                  </a:lnTo>
                  <a:lnTo>
                    <a:pt x="31" y="58"/>
                  </a:lnTo>
                  <a:lnTo>
                    <a:pt x="36" y="49"/>
                  </a:lnTo>
                  <a:lnTo>
                    <a:pt x="49" y="58"/>
                  </a:lnTo>
                  <a:lnTo>
                    <a:pt x="53" y="62"/>
                  </a:lnTo>
                  <a:lnTo>
                    <a:pt x="58" y="80"/>
                  </a:lnTo>
                  <a:lnTo>
                    <a:pt x="62" y="94"/>
                  </a:lnTo>
                  <a:lnTo>
                    <a:pt x="85" y="111"/>
                  </a:lnTo>
                  <a:lnTo>
                    <a:pt x="94" y="120"/>
                  </a:lnTo>
                  <a:lnTo>
                    <a:pt x="103" y="116"/>
                  </a:lnTo>
                  <a:lnTo>
                    <a:pt x="112" y="129"/>
                  </a:lnTo>
                  <a:lnTo>
                    <a:pt x="120" y="129"/>
                  </a:lnTo>
                  <a:lnTo>
                    <a:pt x="120" y="138"/>
                  </a:lnTo>
                  <a:lnTo>
                    <a:pt x="129" y="143"/>
                  </a:lnTo>
                  <a:lnTo>
                    <a:pt x="138" y="161"/>
                  </a:lnTo>
                  <a:lnTo>
                    <a:pt x="134" y="165"/>
                  </a:lnTo>
                  <a:lnTo>
                    <a:pt x="134" y="170"/>
                  </a:lnTo>
                  <a:lnTo>
                    <a:pt x="129" y="174"/>
                  </a:lnTo>
                  <a:lnTo>
                    <a:pt x="134" y="183"/>
                  </a:lnTo>
                  <a:lnTo>
                    <a:pt x="138" y="178"/>
                  </a:lnTo>
                  <a:lnTo>
                    <a:pt x="147" y="170"/>
                  </a:lnTo>
                  <a:lnTo>
                    <a:pt x="147" y="165"/>
                  </a:lnTo>
                  <a:lnTo>
                    <a:pt x="152" y="161"/>
                  </a:lnTo>
                  <a:lnTo>
                    <a:pt x="156" y="152"/>
                  </a:lnTo>
                  <a:lnTo>
                    <a:pt x="143" y="143"/>
                  </a:lnTo>
                  <a:lnTo>
                    <a:pt x="152" y="134"/>
                  </a:lnTo>
                  <a:lnTo>
                    <a:pt x="156" y="134"/>
                  </a:lnTo>
                  <a:lnTo>
                    <a:pt x="165" y="134"/>
                  </a:lnTo>
                  <a:lnTo>
                    <a:pt x="165" y="143"/>
                  </a:lnTo>
                  <a:lnTo>
                    <a:pt x="170" y="147"/>
                  </a:lnTo>
                  <a:lnTo>
                    <a:pt x="174" y="138"/>
                  </a:lnTo>
                  <a:lnTo>
                    <a:pt x="165" y="125"/>
                  </a:lnTo>
                  <a:lnTo>
                    <a:pt x="147" y="111"/>
                  </a:lnTo>
                  <a:lnTo>
                    <a:pt x="138" y="111"/>
                  </a:lnTo>
                  <a:lnTo>
                    <a:pt x="138" y="102"/>
                  </a:lnTo>
                  <a:lnTo>
                    <a:pt x="138" y="98"/>
                  </a:lnTo>
                  <a:lnTo>
                    <a:pt x="120" y="98"/>
                  </a:lnTo>
                  <a:lnTo>
                    <a:pt x="112" y="89"/>
                  </a:lnTo>
                  <a:lnTo>
                    <a:pt x="103" y="80"/>
                  </a:lnTo>
                  <a:lnTo>
                    <a:pt x="98" y="71"/>
                  </a:lnTo>
                  <a:lnTo>
                    <a:pt x="85" y="58"/>
                  </a:lnTo>
                  <a:lnTo>
                    <a:pt x="80" y="49"/>
                  </a:lnTo>
                  <a:lnTo>
                    <a:pt x="85" y="44"/>
                  </a:lnTo>
                  <a:lnTo>
                    <a:pt x="80" y="35"/>
                  </a:lnTo>
                  <a:lnTo>
                    <a:pt x="80" y="31"/>
                  </a:lnTo>
                  <a:lnTo>
                    <a:pt x="85" y="27"/>
                  </a:lnTo>
                  <a:lnTo>
                    <a:pt x="94" y="22"/>
                  </a:lnTo>
                  <a:lnTo>
                    <a:pt x="98" y="27"/>
                  </a:lnTo>
                  <a:lnTo>
                    <a:pt x="103" y="27"/>
                  </a:lnTo>
                  <a:lnTo>
                    <a:pt x="103" y="31"/>
                  </a:lnTo>
                  <a:lnTo>
                    <a:pt x="107" y="31"/>
                  </a:lnTo>
                  <a:lnTo>
                    <a:pt x="103" y="22"/>
                  </a:lnTo>
                  <a:lnTo>
                    <a:pt x="103" y="18"/>
                  </a:lnTo>
                  <a:lnTo>
                    <a:pt x="98" y="13"/>
                  </a:lnTo>
                  <a:lnTo>
                    <a:pt x="103" y="13"/>
                  </a:lnTo>
                  <a:lnTo>
                    <a:pt x="89" y="9"/>
                  </a:lnTo>
                  <a:lnTo>
                    <a:pt x="85" y="0"/>
                  </a:lnTo>
                  <a:lnTo>
                    <a:pt x="71" y="0"/>
                  </a:lnTo>
                  <a:lnTo>
                    <a:pt x="67" y="4"/>
                  </a:lnTo>
                  <a:lnTo>
                    <a:pt x="58" y="4"/>
                  </a:lnTo>
                  <a:lnTo>
                    <a:pt x="53" y="13"/>
                  </a:lnTo>
                  <a:lnTo>
                    <a:pt x="45" y="13"/>
                  </a:lnTo>
                  <a:lnTo>
                    <a:pt x="40" y="9"/>
                  </a:lnTo>
                  <a:lnTo>
                    <a:pt x="40" y="18"/>
                  </a:lnTo>
                  <a:lnTo>
                    <a:pt x="36" y="22"/>
                  </a:lnTo>
                  <a:lnTo>
                    <a:pt x="31" y="13"/>
                  </a:lnTo>
                  <a:lnTo>
                    <a:pt x="27" y="13"/>
                  </a:lnTo>
                  <a:lnTo>
                    <a:pt x="27" y="22"/>
                  </a:lnTo>
                  <a:lnTo>
                    <a:pt x="18" y="22"/>
                  </a:lnTo>
                  <a:lnTo>
                    <a:pt x="13" y="22"/>
                  </a:lnTo>
                  <a:lnTo>
                    <a:pt x="9" y="35"/>
                  </a:lnTo>
                  <a:lnTo>
                    <a:pt x="4" y="35"/>
                  </a:lnTo>
                  <a:lnTo>
                    <a:pt x="0" y="49"/>
                  </a:lnTo>
                  <a:lnTo>
                    <a:pt x="9" y="62"/>
                  </a:lnTo>
                  <a:lnTo>
                    <a:pt x="18" y="62"/>
                  </a:lnTo>
                  <a:lnTo>
                    <a:pt x="22" y="67"/>
                  </a:lnTo>
                  <a:close/>
                  <a:moveTo>
                    <a:pt x="40" y="116"/>
                  </a:moveTo>
                  <a:lnTo>
                    <a:pt x="36" y="125"/>
                  </a:lnTo>
                  <a:lnTo>
                    <a:pt x="27" y="125"/>
                  </a:lnTo>
                  <a:lnTo>
                    <a:pt x="27" y="129"/>
                  </a:lnTo>
                  <a:lnTo>
                    <a:pt x="31" y="129"/>
                  </a:lnTo>
                  <a:lnTo>
                    <a:pt x="31" y="143"/>
                  </a:lnTo>
                  <a:lnTo>
                    <a:pt x="36" y="143"/>
                  </a:lnTo>
                  <a:lnTo>
                    <a:pt x="36" y="147"/>
                  </a:lnTo>
                  <a:lnTo>
                    <a:pt x="31" y="147"/>
                  </a:lnTo>
                  <a:lnTo>
                    <a:pt x="31" y="156"/>
                  </a:lnTo>
                  <a:lnTo>
                    <a:pt x="36" y="161"/>
                  </a:lnTo>
                  <a:lnTo>
                    <a:pt x="40" y="161"/>
                  </a:lnTo>
                  <a:lnTo>
                    <a:pt x="45" y="156"/>
                  </a:lnTo>
                  <a:lnTo>
                    <a:pt x="45" y="156"/>
                  </a:lnTo>
                  <a:lnTo>
                    <a:pt x="49" y="143"/>
                  </a:lnTo>
                  <a:lnTo>
                    <a:pt x="45" y="134"/>
                  </a:lnTo>
                  <a:lnTo>
                    <a:pt x="49" y="129"/>
                  </a:lnTo>
                  <a:lnTo>
                    <a:pt x="49" y="120"/>
                  </a:lnTo>
                  <a:lnTo>
                    <a:pt x="40" y="116"/>
                  </a:lnTo>
                  <a:close/>
                  <a:moveTo>
                    <a:pt x="125" y="174"/>
                  </a:moveTo>
                  <a:lnTo>
                    <a:pt x="120" y="174"/>
                  </a:lnTo>
                  <a:lnTo>
                    <a:pt x="107" y="174"/>
                  </a:lnTo>
                  <a:lnTo>
                    <a:pt x="98" y="170"/>
                  </a:lnTo>
                  <a:lnTo>
                    <a:pt x="89" y="174"/>
                  </a:lnTo>
                  <a:lnTo>
                    <a:pt x="85" y="178"/>
                  </a:lnTo>
                  <a:lnTo>
                    <a:pt x="85" y="187"/>
                  </a:lnTo>
                  <a:lnTo>
                    <a:pt x="89" y="187"/>
                  </a:lnTo>
                  <a:lnTo>
                    <a:pt x="94" y="187"/>
                  </a:lnTo>
                  <a:lnTo>
                    <a:pt x="103" y="196"/>
                  </a:lnTo>
                  <a:lnTo>
                    <a:pt x="112" y="196"/>
                  </a:lnTo>
                  <a:lnTo>
                    <a:pt x="116" y="201"/>
                  </a:lnTo>
                  <a:lnTo>
                    <a:pt x="125" y="205"/>
                  </a:lnTo>
                  <a:lnTo>
                    <a:pt x="125" y="201"/>
                  </a:lnTo>
                  <a:lnTo>
                    <a:pt x="125" y="187"/>
                  </a:lnTo>
                  <a:lnTo>
                    <a:pt x="129" y="178"/>
                  </a:lnTo>
                  <a:lnTo>
                    <a:pt x="129" y="174"/>
                  </a:lnTo>
                  <a:lnTo>
                    <a:pt x="125" y="174"/>
                  </a:lnTo>
                  <a:close/>
                </a:path>
              </a:pathLst>
            </a:custGeom>
            <a:solidFill>
              <a:schemeClr val="accent1"/>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45" name="Freeform 141">
              <a:extLst>
                <a:ext uri="{FF2B5EF4-FFF2-40B4-BE49-F238E27FC236}">
                  <a16:creationId xmlns:a16="http://schemas.microsoft.com/office/drawing/2014/main" id="{09F6BB27-D51C-4038-B459-4666F5B73B6C}"/>
                </a:ext>
              </a:extLst>
            </p:cNvPr>
            <p:cNvSpPr>
              <a:spLocks/>
            </p:cNvSpPr>
            <p:nvPr/>
          </p:nvSpPr>
          <p:spPr bwMode="gray">
            <a:xfrm>
              <a:off x="9613705" y="3499953"/>
              <a:ext cx="409162" cy="212732"/>
            </a:xfrm>
            <a:custGeom>
              <a:avLst/>
              <a:gdLst/>
              <a:ahLst/>
              <a:cxnLst>
                <a:cxn ang="0">
                  <a:pos x="5" y="49"/>
                </a:cxn>
                <a:cxn ang="0">
                  <a:pos x="9" y="49"/>
                </a:cxn>
                <a:cxn ang="0">
                  <a:pos x="18" y="45"/>
                </a:cxn>
                <a:cxn ang="0">
                  <a:pos x="23" y="49"/>
                </a:cxn>
                <a:cxn ang="0">
                  <a:pos x="32" y="45"/>
                </a:cxn>
                <a:cxn ang="0">
                  <a:pos x="49" y="49"/>
                </a:cxn>
                <a:cxn ang="0">
                  <a:pos x="58" y="45"/>
                </a:cxn>
                <a:cxn ang="0">
                  <a:pos x="63" y="49"/>
                </a:cxn>
                <a:cxn ang="0">
                  <a:pos x="67" y="54"/>
                </a:cxn>
                <a:cxn ang="0">
                  <a:pos x="81" y="67"/>
                </a:cxn>
                <a:cxn ang="0">
                  <a:pos x="94" y="63"/>
                </a:cxn>
                <a:cxn ang="0">
                  <a:pos x="99" y="58"/>
                </a:cxn>
                <a:cxn ang="0">
                  <a:pos x="103" y="49"/>
                </a:cxn>
                <a:cxn ang="0">
                  <a:pos x="103" y="49"/>
                </a:cxn>
                <a:cxn ang="0">
                  <a:pos x="103" y="40"/>
                </a:cxn>
                <a:cxn ang="0">
                  <a:pos x="103" y="22"/>
                </a:cxn>
                <a:cxn ang="0">
                  <a:pos x="108" y="18"/>
                </a:cxn>
                <a:cxn ang="0">
                  <a:pos x="103" y="13"/>
                </a:cxn>
                <a:cxn ang="0">
                  <a:pos x="99" y="13"/>
                </a:cxn>
                <a:cxn ang="0">
                  <a:pos x="90" y="9"/>
                </a:cxn>
                <a:cxn ang="0">
                  <a:pos x="85" y="9"/>
                </a:cxn>
                <a:cxn ang="0">
                  <a:pos x="76" y="5"/>
                </a:cxn>
                <a:cxn ang="0">
                  <a:pos x="67" y="0"/>
                </a:cxn>
                <a:cxn ang="0">
                  <a:pos x="54" y="5"/>
                </a:cxn>
                <a:cxn ang="0">
                  <a:pos x="54" y="18"/>
                </a:cxn>
                <a:cxn ang="0">
                  <a:pos x="49" y="22"/>
                </a:cxn>
                <a:cxn ang="0">
                  <a:pos x="41" y="27"/>
                </a:cxn>
                <a:cxn ang="0">
                  <a:pos x="32" y="22"/>
                </a:cxn>
                <a:cxn ang="0">
                  <a:pos x="32" y="18"/>
                </a:cxn>
                <a:cxn ang="0">
                  <a:pos x="27" y="9"/>
                </a:cxn>
                <a:cxn ang="0">
                  <a:pos x="23" y="5"/>
                </a:cxn>
                <a:cxn ang="0">
                  <a:pos x="14" y="9"/>
                </a:cxn>
                <a:cxn ang="0">
                  <a:pos x="9" y="13"/>
                </a:cxn>
                <a:cxn ang="0">
                  <a:pos x="9" y="22"/>
                </a:cxn>
                <a:cxn ang="0">
                  <a:pos x="0" y="31"/>
                </a:cxn>
                <a:cxn ang="0">
                  <a:pos x="5" y="49"/>
                </a:cxn>
              </a:cxnLst>
              <a:rect l="0" t="0" r="r" b="b"/>
              <a:pathLst>
                <a:path w="108" h="67">
                  <a:moveTo>
                    <a:pt x="5" y="49"/>
                  </a:moveTo>
                  <a:lnTo>
                    <a:pt x="9" y="49"/>
                  </a:lnTo>
                  <a:lnTo>
                    <a:pt x="18" y="45"/>
                  </a:lnTo>
                  <a:lnTo>
                    <a:pt x="23" y="49"/>
                  </a:lnTo>
                  <a:lnTo>
                    <a:pt x="32" y="45"/>
                  </a:lnTo>
                  <a:lnTo>
                    <a:pt x="49" y="49"/>
                  </a:lnTo>
                  <a:lnTo>
                    <a:pt x="58" y="45"/>
                  </a:lnTo>
                  <a:lnTo>
                    <a:pt x="63" y="49"/>
                  </a:lnTo>
                  <a:lnTo>
                    <a:pt x="67" y="54"/>
                  </a:lnTo>
                  <a:lnTo>
                    <a:pt x="81" y="67"/>
                  </a:lnTo>
                  <a:lnTo>
                    <a:pt x="94" y="63"/>
                  </a:lnTo>
                  <a:lnTo>
                    <a:pt x="99" y="58"/>
                  </a:lnTo>
                  <a:lnTo>
                    <a:pt x="103" y="49"/>
                  </a:lnTo>
                  <a:lnTo>
                    <a:pt x="103" y="49"/>
                  </a:lnTo>
                  <a:lnTo>
                    <a:pt x="103" y="40"/>
                  </a:lnTo>
                  <a:lnTo>
                    <a:pt x="103" y="22"/>
                  </a:lnTo>
                  <a:lnTo>
                    <a:pt x="108" y="18"/>
                  </a:lnTo>
                  <a:lnTo>
                    <a:pt x="103" y="13"/>
                  </a:lnTo>
                  <a:lnTo>
                    <a:pt x="99" y="13"/>
                  </a:lnTo>
                  <a:lnTo>
                    <a:pt x="90" y="9"/>
                  </a:lnTo>
                  <a:lnTo>
                    <a:pt x="85" y="9"/>
                  </a:lnTo>
                  <a:lnTo>
                    <a:pt x="76" y="5"/>
                  </a:lnTo>
                  <a:lnTo>
                    <a:pt x="67" y="0"/>
                  </a:lnTo>
                  <a:lnTo>
                    <a:pt x="54" y="5"/>
                  </a:lnTo>
                  <a:lnTo>
                    <a:pt x="54" y="18"/>
                  </a:lnTo>
                  <a:lnTo>
                    <a:pt x="49" y="22"/>
                  </a:lnTo>
                  <a:lnTo>
                    <a:pt x="41" y="27"/>
                  </a:lnTo>
                  <a:lnTo>
                    <a:pt x="32" y="22"/>
                  </a:lnTo>
                  <a:lnTo>
                    <a:pt x="32" y="18"/>
                  </a:lnTo>
                  <a:lnTo>
                    <a:pt x="27" y="9"/>
                  </a:lnTo>
                  <a:lnTo>
                    <a:pt x="23" y="5"/>
                  </a:lnTo>
                  <a:lnTo>
                    <a:pt x="14" y="9"/>
                  </a:lnTo>
                  <a:lnTo>
                    <a:pt x="9" y="13"/>
                  </a:lnTo>
                  <a:lnTo>
                    <a:pt x="9" y="22"/>
                  </a:lnTo>
                  <a:lnTo>
                    <a:pt x="0" y="31"/>
                  </a:lnTo>
                  <a:lnTo>
                    <a:pt x="5" y="49"/>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46" name="Freeform 142">
              <a:extLst>
                <a:ext uri="{FF2B5EF4-FFF2-40B4-BE49-F238E27FC236}">
                  <a16:creationId xmlns:a16="http://schemas.microsoft.com/office/drawing/2014/main" id="{4EAB81E4-EED7-4316-8428-8EC9EBEB61EA}"/>
                </a:ext>
              </a:extLst>
            </p:cNvPr>
            <p:cNvSpPr>
              <a:spLocks/>
            </p:cNvSpPr>
            <p:nvPr/>
          </p:nvSpPr>
          <p:spPr bwMode="gray">
            <a:xfrm>
              <a:off x="9613706" y="3642590"/>
              <a:ext cx="321950" cy="197245"/>
            </a:xfrm>
            <a:custGeom>
              <a:avLst/>
              <a:gdLst/>
              <a:ahLst/>
              <a:cxnLst>
                <a:cxn ang="0">
                  <a:pos x="5" y="4"/>
                </a:cxn>
                <a:cxn ang="0">
                  <a:pos x="0" y="4"/>
                </a:cxn>
                <a:cxn ang="0">
                  <a:pos x="5" y="18"/>
                </a:cxn>
                <a:cxn ang="0">
                  <a:pos x="5" y="22"/>
                </a:cxn>
                <a:cxn ang="0">
                  <a:pos x="9" y="22"/>
                </a:cxn>
                <a:cxn ang="0">
                  <a:pos x="9" y="27"/>
                </a:cxn>
                <a:cxn ang="0">
                  <a:pos x="23" y="31"/>
                </a:cxn>
                <a:cxn ang="0">
                  <a:pos x="32" y="31"/>
                </a:cxn>
                <a:cxn ang="0">
                  <a:pos x="32" y="35"/>
                </a:cxn>
                <a:cxn ang="0">
                  <a:pos x="32" y="49"/>
                </a:cxn>
                <a:cxn ang="0">
                  <a:pos x="41" y="58"/>
                </a:cxn>
                <a:cxn ang="0">
                  <a:pos x="41" y="62"/>
                </a:cxn>
                <a:cxn ang="0">
                  <a:pos x="49" y="53"/>
                </a:cxn>
                <a:cxn ang="0">
                  <a:pos x="58" y="58"/>
                </a:cxn>
                <a:cxn ang="0">
                  <a:pos x="63" y="53"/>
                </a:cxn>
                <a:cxn ang="0">
                  <a:pos x="67" y="58"/>
                </a:cxn>
                <a:cxn ang="0">
                  <a:pos x="67" y="49"/>
                </a:cxn>
                <a:cxn ang="0">
                  <a:pos x="72" y="44"/>
                </a:cxn>
                <a:cxn ang="0">
                  <a:pos x="76" y="35"/>
                </a:cxn>
                <a:cxn ang="0">
                  <a:pos x="81" y="31"/>
                </a:cxn>
                <a:cxn ang="0">
                  <a:pos x="81" y="31"/>
                </a:cxn>
                <a:cxn ang="0">
                  <a:pos x="85" y="31"/>
                </a:cxn>
                <a:cxn ang="0">
                  <a:pos x="81" y="27"/>
                </a:cxn>
                <a:cxn ang="0">
                  <a:pos x="81" y="27"/>
                </a:cxn>
                <a:cxn ang="0">
                  <a:pos x="81" y="22"/>
                </a:cxn>
                <a:cxn ang="0">
                  <a:pos x="67" y="9"/>
                </a:cxn>
                <a:cxn ang="0">
                  <a:pos x="63" y="4"/>
                </a:cxn>
                <a:cxn ang="0">
                  <a:pos x="58" y="0"/>
                </a:cxn>
                <a:cxn ang="0">
                  <a:pos x="49" y="4"/>
                </a:cxn>
                <a:cxn ang="0">
                  <a:pos x="32" y="0"/>
                </a:cxn>
                <a:cxn ang="0">
                  <a:pos x="23" y="4"/>
                </a:cxn>
                <a:cxn ang="0">
                  <a:pos x="18" y="0"/>
                </a:cxn>
                <a:cxn ang="0">
                  <a:pos x="9" y="4"/>
                </a:cxn>
                <a:cxn ang="0">
                  <a:pos x="5" y="4"/>
                </a:cxn>
              </a:cxnLst>
              <a:rect l="0" t="0" r="r" b="b"/>
              <a:pathLst>
                <a:path w="85" h="62">
                  <a:moveTo>
                    <a:pt x="5" y="4"/>
                  </a:moveTo>
                  <a:lnTo>
                    <a:pt x="0" y="4"/>
                  </a:lnTo>
                  <a:lnTo>
                    <a:pt x="5" y="18"/>
                  </a:lnTo>
                  <a:lnTo>
                    <a:pt x="5" y="22"/>
                  </a:lnTo>
                  <a:lnTo>
                    <a:pt x="9" y="22"/>
                  </a:lnTo>
                  <a:lnTo>
                    <a:pt x="9" y="27"/>
                  </a:lnTo>
                  <a:lnTo>
                    <a:pt x="23" y="31"/>
                  </a:lnTo>
                  <a:lnTo>
                    <a:pt x="32" y="31"/>
                  </a:lnTo>
                  <a:lnTo>
                    <a:pt x="32" y="35"/>
                  </a:lnTo>
                  <a:lnTo>
                    <a:pt x="32" y="49"/>
                  </a:lnTo>
                  <a:lnTo>
                    <a:pt x="41" y="58"/>
                  </a:lnTo>
                  <a:lnTo>
                    <a:pt x="41" y="62"/>
                  </a:lnTo>
                  <a:lnTo>
                    <a:pt x="49" y="53"/>
                  </a:lnTo>
                  <a:lnTo>
                    <a:pt x="58" y="58"/>
                  </a:lnTo>
                  <a:lnTo>
                    <a:pt x="63" y="53"/>
                  </a:lnTo>
                  <a:lnTo>
                    <a:pt x="67" y="58"/>
                  </a:lnTo>
                  <a:lnTo>
                    <a:pt x="67" y="49"/>
                  </a:lnTo>
                  <a:lnTo>
                    <a:pt x="72" y="44"/>
                  </a:lnTo>
                  <a:lnTo>
                    <a:pt x="76" y="35"/>
                  </a:lnTo>
                  <a:lnTo>
                    <a:pt x="81" y="31"/>
                  </a:lnTo>
                  <a:lnTo>
                    <a:pt x="81" y="31"/>
                  </a:lnTo>
                  <a:lnTo>
                    <a:pt x="85" y="31"/>
                  </a:lnTo>
                  <a:lnTo>
                    <a:pt x="81" y="27"/>
                  </a:lnTo>
                  <a:lnTo>
                    <a:pt x="81" y="27"/>
                  </a:lnTo>
                  <a:lnTo>
                    <a:pt x="81" y="22"/>
                  </a:lnTo>
                  <a:lnTo>
                    <a:pt x="67" y="9"/>
                  </a:lnTo>
                  <a:lnTo>
                    <a:pt x="63" y="4"/>
                  </a:lnTo>
                  <a:lnTo>
                    <a:pt x="58" y="0"/>
                  </a:lnTo>
                  <a:lnTo>
                    <a:pt x="49" y="4"/>
                  </a:lnTo>
                  <a:lnTo>
                    <a:pt x="32" y="0"/>
                  </a:lnTo>
                  <a:lnTo>
                    <a:pt x="23" y="4"/>
                  </a:lnTo>
                  <a:lnTo>
                    <a:pt x="18" y="0"/>
                  </a:lnTo>
                  <a:lnTo>
                    <a:pt x="9" y="4"/>
                  </a:lnTo>
                  <a:lnTo>
                    <a:pt x="5" y="4"/>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47" name="Freeform 143">
              <a:extLst>
                <a:ext uri="{FF2B5EF4-FFF2-40B4-BE49-F238E27FC236}">
                  <a16:creationId xmlns:a16="http://schemas.microsoft.com/office/drawing/2014/main" id="{58E174CC-E1F1-450B-AD30-8F909AA41F05}"/>
                </a:ext>
              </a:extLst>
            </p:cNvPr>
            <p:cNvSpPr>
              <a:spLocks/>
            </p:cNvSpPr>
            <p:nvPr/>
          </p:nvSpPr>
          <p:spPr bwMode="gray">
            <a:xfrm>
              <a:off x="8817388" y="4125108"/>
              <a:ext cx="34233" cy="41569"/>
            </a:xfrm>
            <a:custGeom>
              <a:avLst/>
              <a:gdLst/>
              <a:ahLst/>
              <a:cxnLst>
                <a:cxn ang="0">
                  <a:pos x="0" y="13"/>
                </a:cxn>
                <a:cxn ang="0">
                  <a:pos x="0" y="9"/>
                </a:cxn>
                <a:cxn ang="0">
                  <a:pos x="0" y="0"/>
                </a:cxn>
                <a:cxn ang="0">
                  <a:pos x="5" y="0"/>
                </a:cxn>
                <a:cxn ang="0">
                  <a:pos x="5" y="4"/>
                </a:cxn>
                <a:cxn ang="0">
                  <a:pos x="9" y="9"/>
                </a:cxn>
                <a:cxn ang="0">
                  <a:pos x="9" y="13"/>
                </a:cxn>
                <a:cxn ang="0">
                  <a:pos x="5" y="13"/>
                </a:cxn>
                <a:cxn ang="0">
                  <a:pos x="0" y="13"/>
                </a:cxn>
              </a:cxnLst>
              <a:rect l="0" t="0" r="r" b="b"/>
              <a:pathLst>
                <a:path w="9" h="13">
                  <a:moveTo>
                    <a:pt x="0" y="13"/>
                  </a:moveTo>
                  <a:lnTo>
                    <a:pt x="0" y="9"/>
                  </a:lnTo>
                  <a:lnTo>
                    <a:pt x="0" y="0"/>
                  </a:lnTo>
                  <a:lnTo>
                    <a:pt x="5" y="0"/>
                  </a:lnTo>
                  <a:lnTo>
                    <a:pt x="5" y="4"/>
                  </a:lnTo>
                  <a:lnTo>
                    <a:pt x="9" y="9"/>
                  </a:lnTo>
                  <a:lnTo>
                    <a:pt x="9" y="13"/>
                  </a:lnTo>
                  <a:lnTo>
                    <a:pt x="5" y="13"/>
                  </a:lnTo>
                  <a:lnTo>
                    <a:pt x="0" y="13"/>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48" name="Freeform 144">
              <a:extLst>
                <a:ext uri="{FF2B5EF4-FFF2-40B4-BE49-F238E27FC236}">
                  <a16:creationId xmlns:a16="http://schemas.microsoft.com/office/drawing/2014/main" id="{F64E1530-AC1F-42B2-809B-7FFB0F2A41D4}"/>
                </a:ext>
              </a:extLst>
            </p:cNvPr>
            <p:cNvSpPr>
              <a:spLocks/>
            </p:cNvSpPr>
            <p:nvPr/>
          </p:nvSpPr>
          <p:spPr bwMode="gray">
            <a:xfrm>
              <a:off x="9935656" y="4252258"/>
              <a:ext cx="170349" cy="184204"/>
            </a:xfrm>
            <a:custGeom>
              <a:avLst/>
              <a:gdLst/>
              <a:ahLst/>
              <a:cxnLst>
                <a:cxn ang="0">
                  <a:pos x="0" y="0"/>
                </a:cxn>
                <a:cxn ang="0">
                  <a:pos x="14" y="18"/>
                </a:cxn>
                <a:cxn ang="0">
                  <a:pos x="18" y="27"/>
                </a:cxn>
                <a:cxn ang="0">
                  <a:pos x="23" y="40"/>
                </a:cxn>
                <a:cxn ang="0">
                  <a:pos x="18" y="58"/>
                </a:cxn>
                <a:cxn ang="0">
                  <a:pos x="27" y="58"/>
                </a:cxn>
                <a:cxn ang="0">
                  <a:pos x="31" y="54"/>
                </a:cxn>
                <a:cxn ang="0">
                  <a:pos x="31" y="49"/>
                </a:cxn>
                <a:cxn ang="0">
                  <a:pos x="31" y="40"/>
                </a:cxn>
                <a:cxn ang="0">
                  <a:pos x="36" y="45"/>
                </a:cxn>
                <a:cxn ang="0">
                  <a:pos x="36" y="40"/>
                </a:cxn>
                <a:cxn ang="0">
                  <a:pos x="40" y="40"/>
                </a:cxn>
                <a:cxn ang="0">
                  <a:pos x="45" y="40"/>
                </a:cxn>
                <a:cxn ang="0">
                  <a:pos x="45" y="31"/>
                </a:cxn>
                <a:cxn ang="0">
                  <a:pos x="40" y="22"/>
                </a:cxn>
                <a:cxn ang="0">
                  <a:pos x="40" y="13"/>
                </a:cxn>
                <a:cxn ang="0">
                  <a:pos x="27" y="4"/>
                </a:cxn>
                <a:cxn ang="0">
                  <a:pos x="23" y="4"/>
                </a:cxn>
                <a:cxn ang="0">
                  <a:pos x="18" y="0"/>
                </a:cxn>
                <a:cxn ang="0">
                  <a:pos x="14" y="4"/>
                </a:cxn>
                <a:cxn ang="0">
                  <a:pos x="14" y="0"/>
                </a:cxn>
                <a:cxn ang="0">
                  <a:pos x="0" y="0"/>
                </a:cxn>
              </a:cxnLst>
              <a:rect l="0" t="0" r="r" b="b"/>
              <a:pathLst>
                <a:path w="45" h="58">
                  <a:moveTo>
                    <a:pt x="0" y="0"/>
                  </a:moveTo>
                  <a:lnTo>
                    <a:pt x="14" y="18"/>
                  </a:lnTo>
                  <a:lnTo>
                    <a:pt x="18" y="27"/>
                  </a:lnTo>
                  <a:lnTo>
                    <a:pt x="23" y="40"/>
                  </a:lnTo>
                  <a:lnTo>
                    <a:pt x="18" y="58"/>
                  </a:lnTo>
                  <a:lnTo>
                    <a:pt x="27" y="58"/>
                  </a:lnTo>
                  <a:lnTo>
                    <a:pt x="31" y="54"/>
                  </a:lnTo>
                  <a:lnTo>
                    <a:pt x="31" y="49"/>
                  </a:lnTo>
                  <a:lnTo>
                    <a:pt x="31" y="40"/>
                  </a:lnTo>
                  <a:lnTo>
                    <a:pt x="36" y="45"/>
                  </a:lnTo>
                  <a:lnTo>
                    <a:pt x="36" y="40"/>
                  </a:lnTo>
                  <a:lnTo>
                    <a:pt x="40" y="40"/>
                  </a:lnTo>
                  <a:lnTo>
                    <a:pt x="45" y="40"/>
                  </a:lnTo>
                  <a:lnTo>
                    <a:pt x="45" y="31"/>
                  </a:lnTo>
                  <a:lnTo>
                    <a:pt x="40" y="22"/>
                  </a:lnTo>
                  <a:lnTo>
                    <a:pt x="40" y="13"/>
                  </a:lnTo>
                  <a:lnTo>
                    <a:pt x="27" y="4"/>
                  </a:lnTo>
                  <a:lnTo>
                    <a:pt x="23" y="4"/>
                  </a:lnTo>
                  <a:lnTo>
                    <a:pt x="18" y="0"/>
                  </a:lnTo>
                  <a:lnTo>
                    <a:pt x="14" y="4"/>
                  </a:lnTo>
                  <a:lnTo>
                    <a:pt x="14" y="0"/>
                  </a:lnTo>
                  <a:lnTo>
                    <a:pt x="0" y="0"/>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84" name="Freeform 145">
              <a:extLst>
                <a:ext uri="{FF2B5EF4-FFF2-40B4-BE49-F238E27FC236}">
                  <a16:creationId xmlns:a16="http://schemas.microsoft.com/office/drawing/2014/main" id="{FF915BED-1D2F-428E-9DAD-F851075363B3}"/>
                </a:ext>
              </a:extLst>
            </p:cNvPr>
            <p:cNvSpPr>
              <a:spLocks/>
            </p:cNvSpPr>
            <p:nvPr/>
          </p:nvSpPr>
          <p:spPr bwMode="gray">
            <a:xfrm>
              <a:off x="9242036" y="3754254"/>
              <a:ext cx="557504" cy="440950"/>
            </a:xfrm>
            <a:custGeom>
              <a:avLst/>
              <a:gdLst/>
              <a:ahLst/>
              <a:cxnLst>
                <a:cxn ang="0">
                  <a:pos x="13" y="99"/>
                </a:cxn>
                <a:cxn ang="0">
                  <a:pos x="13" y="90"/>
                </a:cxn>
                <a:cxn ang="0">
                  <a:pos x="9" y="85"/>
                </a:cxn>
                <a:cxn ang="0">
                  <a:pos x="9" y="72"/>
                </a:cxn>
                <a:cxn ang="0">
                  <a:pos x="9" y="59"/>
                </a:cxn>
                <a:cxn ang="0">
                  <a:pos x="0" y="50"/>
                </a:cxn>
                <a:cxn ang="0">
                  <a:pos x="0" y="36"/>
                </a:cxn>
                <a:cxn ang="0">
                  <a:pos x="0" y="27"/>
                </a:cxn>
                <a:cxn ang="0">
                  <a:pos x="5" y="27"/>
                </a:cxn>
                <a:cxn ang="0">
                  <a:pos x="9" y="36"/>
                </a:cxn>
                <a:cxn ang="0">
                  <a:pos x="9" y="27"/>
                </a:cxn>
                <a:cxn ang="0">
                  <a:pos x="13" y="23"/>
                </a:cxn>
                <a:cxn ang="0">
                  <a:pos x="22" y="14"/>
                </a:cxn>
                <a:cxn ang="0">
                  <a:pos x="36" y="14"/>
                </a:cxn>
                <a:cxn ang="0">
                  <a:pos x="40" y="5"/>
                </a:cxn>
                <a:cxn ang="0">
                  <a:pos x="49" y="0"/>
                </a:cxn>
                <a:cxn ang="0">
                  <a:pos x="58" y="0"/>
                </a:cxn>
                <a:cxn ang="0">
                  <a:pos x="72" y="0"/>
                </a:cxn>
                <a:cxn ang="0">
                  <a:pos x="72" y="5"/>
                </a:cxn>
                <a:cxn ang="0">
                  <a:pos x="63" y="5"/>
                </a:cxn>
                <a:cxn ang="0">
                  <a:pos x="67" y="9"/>
                </a:cxn>
                <a:cxn ang="0">
                  <a:pos x="76" y="5"/>
                </a:cxn>
                <a:cxn ang="0">
                  <a:pos x="76" y="14"/>
                </a:cxn>
                <a:cxn ang="0">
                  <a:pos x="80" y="9"/>
                </a:cxn>
                <a:cxn ang="0">
                  <a:pos x="89" y="9"/>
                </a:cxn>
                <a:cxn ang="0">
                  <a:pos x="107" y="14"/>
                </a:cxn>
                <a:cxn ang="0">
                  <a:pos x="130" y="14"/>
                </a:cxn>
                <a:cxn ang="0">
                  <a:pos x="139" y="23"/>
                </a:cxn>
                <a:cxn ang="0">
                  <a:pos x="139" y="27"/>
                </a:cxn>
                <a:cxn ang="0">
                  <a:pos x="143" y="41"/>
                </a:cxn>
                <a:cxn ang="0">
                  <a:pos x="147" y="50"/>
                </a:cxn>
                <a:cxn ang="0">
                  <a:pos x="147" y="59"/>
                </a:cxn>
                <a:cxn ang="0">
                  <a:pos x="134" y="63"/>
                </a:cxn>
                <a:cxn ang="0">
                  <a:pos x="139" y="72"/>
                </a:cxn>
                <a:cxn ang="0">
                  <a:pos x="139" y="81"/>
                </a:cxn>
                <a:cxn ang="0">
                  <a:pos x="139" y="85"/>
                </a:cxn>
                <a:cxn ang="0">
                  <a:pos x="143" y="99"/>
                </a:cxn>
                <a:cxn ang="0">
                  <a:pos x="143" y="108"/>
                </a:cxn>
                <a:cxn ang="0">
                  <a:pos x="147" y="112"/>
                </a:cxn>
                <a:cxn ang="0">
                  <a:pos x="143" y="117"/>
                </a:cxn>
                <a:cxn ang="0">
                  <a:pos x="134" y="121"/>
                </a:cxn>
                <a:cxn ang="0">
                  <a:pos x="125" y="135"/>
                </a:cxn>
                <a:cxn ang="0">
                  <a:pos x="130" y="139"/>
                </a:cxn>
                <a:cxn ang="0">
                  <a:pos x="125" y="139"/>
                </a:cxn>
                <a:cxn ang="0">
                  <a:pos x="112" y="130"/>
                </a:cxn>
                <a:cxn ang="0">
                  <a:pos x="98" y="135"/>
                </a:cxn>
                <a:cxn ang="0">
                  <a:pos x="94" y="130"/>
                </a:cxn>
                <a:cxn ang="0">
                  <a:pos x="89" y="139"/>
                </a:cxn>
                <a:cxn ang="0">
                  <a:pos x="80" y="130"/>
                </a:cxn>
                <a:cxn ang="0">
                  <a:pos x="72" y="135"/>
                </a:cxn>
                <a:cxn ang="0">
                  <a:pos x="67" y="130"/>
                </a:cxn>
                <a:cxn ang="0">
                  <a:pos x="67" y="121"/>
                </a:cxn>
                <a:cxn ang="0">
                  <a:pos x="58" y="121"/>
                </a:cxn>
                <a:cxn ang="0">
                  <a:pos x="54" y="112"/>
                </a:cxn>
                <a:cxn ang="0">
                  <a:pos x="45" y="108"/>
                </a:cxn>
                <a:cxn ang="0">
                  <a:pos x="40" y="117"/>
                </a:cxn>
                <a:cxn ang="0">
                  <a:pos x="31" y="112"/>
                </a:cxn>
                <a:cxn ang="0">
                  <a:pos x="36" y="108"/>
                </a:cxn>
                <a:cxn ang="0">
                  <a:pos x="27" y="108"/>
                </a:cxn>
                <a:cxn ang="0">
                  <a:pos x="22" y="99"/>
                </a:cxn>
                <a:cxn ang="0">
                  <a:pos x="18" y="103"/>
                </a:cxn>
                <a:cxn ang="0">
                  <a:pos x="13" y="99"/>
                </a:cxn>
              </a:cxnLst>
              <a:rect l="0" t="0" r="r" b="b"/>
              <a:pathLst>
                <a:path w="147" h="139">
                  <a:moveTo>
                    <a:pt x="13" y="99"/>
                  </a:moveTo>
                  <a:lnTo>
                    <a:pt x="13" y="90"/>
                  </a:lnTo>
                  <a:lnTo>
                    <a:pt x="9" y="85"/>
                  </a:lnTo>
                  <a:lnTo>
                    <a:pt x="9" y="72"/>
                  </a:lnTo>
                  <a:lnTo>
                    <a:pt x="9" y="59"/>
                  </a:lnTo>
                  <a:lnTo>
                    <a:pt x="0" y="50"/>
                  </a:lnTo>
                  <a:lnTo>
                    <a:pt x="0" y="36"/>
                  </a:lnTo>
                  <a:lnTo>
                    <a:pt x="0" y="27"/>
                  </a:lnTo>
                  <a:lnTo>
                    <a:pt x="5" y="27"/>
                  </a:lnTo>
                  <a:lnTo>
                    <a:pt x="9" y="36"/>
                  </a:lnTo>
                  <a:lnTo>
                    <a:pt x="9" y="27"/>
                  </a:lnTo>
                  <a:lnTo>
                    <a:pt x="13" y="23"/>
                  </a:lnTo>
                  <a:lnTo>
                    <a:pt x="22" y="14"/>
                  </a:lnTo>
                  <a:lnTo>
                    <a:pt x="36" y="14"/>
                  </a:lnTo>
                  <a:lnTo>
                    <a:pt x="40" y="5"/>
                  </a:lnTo>
                  <a:lnTo>
                    <a:pt x="49" y="0"/>
                  </a:lnTo>
                  <a:lnTo>
                    <a:pt x="58" y="0"/>
                  </a:lnTo>
                  <a:lnTo>
                    <a:pt x="72" y="0"/>
                  </a:lnTo>
                  <a:lnTo>
                    <a:pt x="72" y="5"/>
                  </a:lnTo>
                  <a:lnTo>
                    <a:pt x="63" y="5"/>
                  </a:lnTo>
                  <a:lnTo>
                    <a:pt x="67" y="9"/>
                  </a:lnTo>
                  <a:lnTo>
                    <a:pt x="76" y="5"/>
                  </a:lnTo>
                  <a:lnTo>
                    <a:pt x="76" y="14"/>
                  </a:lnTo>
                  <a:lnTo>
                    <a:pt x="80" y="9"/>
                  </a:lnTo>
                  <a:lnTo>
                    <a:pt x="89" y="9"/>
                  </a:lnTo>
                  <a:lnTo>
                    <a:pt x="107" y="14"/>
                  </a:lnTo>
                  <a:lnTo>
                    <a:pt x="130" y="14"/>
                  </a:lnTo>
                  <a:lnTo>
                    <a:pt x="139" y="23"/>
                  </a:lnTo>
                  <a:lnTo>
                    <a:pt x="139" y="27"/>
                  </a:lnTo>
                  <a:lnTo>
                    <a:pt x="143" y="41"/>
                  </a:lnTo>
                  <a:lnTo>
                    <a:pt x="147" y="50"/>
                  </a:lnTo>
                  <a:lnTo>
                    <a:pt x="147" y="59"/>
                  </a:lnTo>
                  <a:lnTo>
                    <a:pt x="134" y="63"/>
                  </a:lnTo>
                  <a:lnTo>
                    <a:pt x="139" y="72"/>
                  </a:lnTo>
                  <a:lnTo>
                    <a:pt x="139" y="81"/>
                  </a:lnTo>
                  <a:lnTo>
                    <a:pt x="139" y="85"/>
                  </a:lnTo>
                  <a:lnTo>
                    <a:pt x="143" y="99"/>
                  </a:lnTo>
                  <a:lnTo>
                    <a:pt x="143" y="108"/>
                  </a:lnTo>
                  <a:lnTo>
                    <a:pt x="147" y="112"/>
                  </a:lnTo>
                  <a:lnTo>
                    <a:pt x="143" y="117"/>
                  </a:lnTo>
                  <a:lnTo>
                    <a:pt x="134" y="121"/>
                  </a:lnTo>
                  <a:lnTo>
                    <a:pt x="125" y="135"/>
                  </a:lnTo>
                  <a:lnTo>
                    <a:pt x="130" y="139"/>
                  </a:lnTo>
                  <a:lnTo>
                    <a:pt x="125" y="139"/>
                  </a:lnTo>
                  <a:lnTo>
                    <a:pt x="112" y="130"/>
                  </a:lnTo>
                  <a:lnTo>
                    <a:pt x="98" y="135"/>
                  </a:lnTo>
                  <a:lnTo>
                    <a:pt x="94" y="130"/>
                  </a:lnTo>
                  <a:lnTo>
                    <a:pt x="89" y="139"/>
                  </a:lnTo>
                  <a:lnTo>
                    <a:pt x="80" y="130"/>
                  </a:lnTo>
                  <a:lnTo>
                    <a:pt x="72" y="135"/>
                  </a:lnTo>
                  <a:lnTo>
                    <a:pt x="67" y="130"/>
                  </a:lnTo>
                  <a:lnTo>
                    <a:pt x="67" y="121"/>
                  </a:lnTo>
                  <a:lnTo>
                    <a:pt x="58" y="121"/>
                  </a:lnTo>
                  <a:lnTo>
                    <a:pt x="54" y="112"/>
                  </a:lnTo>
                  <a:lnTo>
                    <a:pt x="45" y="108"/>
                  </a:lnTo>
                  <a:lnTo>
                    <a:pt x="40" y="117"/>
                  </a:lnTo>
                  <a:lnTo>
                    <a:pt x="31" y="112"/>
                  </a:lnTo>
                  <a:lnTo>
                    <a:pt x="36" y="108"/>
                  </a:lnTo>
                  <a:lnTo>
                    <a:pt x="27" y="108"/>
                  </a:lnTo>
                  <a:lnTo>
                    <a:pt x="22" y="99"/>
                  </a:lnTo>
                  <a:lnTo>
                    <a:pt x="18" y="103"/>
                  </a:lnTo>
                  <a:lnTo>
                    <a:pt x="13" y="99"/>
                  </a:lnTo>
                  <a:close/>
                </a:path>
              </a:pathLst>
            </a:custGeom>
            <a:solidFill>
              <a:srgbClr val="86BC25"/>
            </a:solidFill>
            <a:ln w="9525" cap="rnd">
              <a:solidFill>
                <a:sysClr val="window" lastClr="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85" name="Freeform 146">
              <a:extLst>
                <a:ext uri="{FF2B5EF4-FFF2-40B4-BE49-F238E27FC236}">
                  <a16:creationId xmlns:a16="http://schemas.microsoft.com/office/drawing/2014/main" id="{8387C1A5-F952-45B5-88A4-482842738AF5}"/>
                </a:ext>
              </a:extLst>
            </p:cNvPr>
            <p:cNvSpPr>
              <a:spLocks noEditPoints="1"/>
            </p:cNvSpPr>
            <p:nvPr/>
          </p:nvSpPr>
          <p:spPr bwMode="gray">
            <a:xfrm>
              <a:off x="7566265" y="4649194"/>
              <a:ext cx="610483" cy="568100"/>
            </a:xfrm>
            <a:custGeom>
              <a:avLst/>
              <a:gdLst/>
              <a:ahLst/>
              <a:cxnLst>
                <a:cxn ang="0">
                  <a:pos x="0" y="174"/>
                </a:cxn>
                <a:cxn ang="0">
                  <a:pos x="0" y="179"/>
                </a:cxn>
                <a:cxn ang="0">
                  <a:pos x="9" y="179"/>
                </a:cxn>
                <a:cxn ang="0">
                  <a:pos x="9" y="174"/>
                </a:cxn>
                <a:cxn ang="0">
                  <a:pos x="0" y="174"/>
                </a:cxn>
                <a:cxn ang="0">
                  <a:pos x="120" y="4"/>
                </a:cxn>
                <a:cxn ang="0">
                  <a:pos x="120" y="13"/>
                </a:cxn>
                <a:cxn ang="0">
                  <a:pos x="120" y="27"/>
                </a:cxn>
                <a:cxn ang="0">
                  <a:pos x="120" y="31"/>
                </a:cxn>
                <a:cxn ang="0">
                  <a:pos x="120" y="31"/>
                </a:cxn>
                <a:cxn ang="0">
                  <a:pos x="120" y="40"/>
                </a:cxn>
                <a:cxn ang="0">
                  <a:pos x="116" y="54"/>
                </a:cxn>
                <a:cxn ang="0">
                  <a:pos x="112" y="58"/>
                </a:cxn>
                <a:cxn ang="0">
                  <a:pos x="112" y="67"/>
                </a:cxn>
                <a:cxn ang="0">
                  <a:pos x="116" y="72"/>
                </a:cxn>
                <a:cxn ang="0">
                  <a:pos x="116" y="72"/>
                </a:cxn>
                <a:cxn ang="0">
                  <a:pos x="116" y="76"/>
                </a:cxn>
                <a:cxn ang="0">
                  <a:pos x="120" y="80"/>
                </a:cxn>
                <a:cxn ang="0">
                  <a:pos x="120" y="89"/>
                </a:cxn>
                <a:cxn ang="0">
                  <a:pos x="120" y="98"/>
                </a:cxn>
                <a:cxn ang="0">
                  <a:pos x="120" y="98"/>
                </a:cxn>
                <a:cxn ang="0">
                  <a:pos x="125" y="94"/>
                </a:cxn>
                <a:cxn ang="0">
                  <a:pos x="134" y="98"/>
                </a:cxn>
                <a:cxn ang="0">
                  <a:pos x="138" y="98"/>
                </a:cxn>
                <a:cxn ang="0">
                  <a:pos x="143" y="94"/>
                </a:cxn>
                <a:cxn ang="0">
                  <a:pos x="143" y="85"/>
                </a:cxn>
                <a:cxn ang="0">
                  <a:pos x="147" y="85"/>
                </a:cxn>
                <a:cxn ang="0">
                  <a:pos x="143" y="76"/>
                </a:cxn>
                <a:cxn ang="0">
                  <a:pos x="147" y="67"/>
                </a:cxn>
                <a:cxn ang="0">
                  <a:pos x="138" y="54"/>
                </a:cxn>
                <a:cxn ang="0">
                  <a:pos x="147" y="49"/>
                </a:cxn>
                <a:cxn ang="0">
                  <a:pos x="147" y="40"/>
                </a:cxn>
                <a:cxn ang="0">
                  <a:pos x="147" y="36"/>
                </a:cxn>
                <a:cxn ang="0">
                  <a:pos x="152" y="22"/>
                </a:cxn>
                <a:cxn ang="0">
                  <a:pos x="161" y="13"/>
                </a:cxn>
                <a:cxn ang="0">
                  <a:pos x="152" y="9"/>
                </a:cxn>
                <a:cxn ang="0">
                  <a:pos x="134" y="9"/>
                </a:cxn>
                <a:cxn ang="0">
                  <a:pos x="129" y="0"/>
                </a:cxn>
                <a:cxn ang="0">
                  <a:pos x="120" y="4"/>
                </a:cxn>
              </a:cxnLst>
              <a:rect l="0" t="0" r="r" b="b"/>
              <a:pathLst>
                <a:path w="161" h="179">
                  <a:moveTo>
                    <a:pt x="0" y="174"/>
                  </a:moveTo>
                  <a:lnTo>
                    <a:pt x="0" y="179"/>
                  </a:lnTo>
                  <a:lnTo>
                    <a:pt x="9" y="179"/>
                  </a:lnTo>
                  <a:lnTo>
                    <a:pt x="9" y="174"/>
                  </a:lnTo>
                  <a:lnTo>
                    <a:pt x="0" y="174"/>
                  </a:lnTo>
                  <a:close/>
                  <a:moveTo>
                    <a:pt x="120" y="4"/>
                  </a:moveTo>
                  <a:lnTo>
                    <a:pt x="120" y="13"/>
                  </a:lnTo>
                  <a:lnTo>
                    <a:pt x="120" y="27"/>
                  </a:lnTo>
                  <a:lnTo>
                    <a:pt x="120" y="31"/>
                  </a:lnTo>
                  <a:lnTo>
                    <a:pt x="120" y="31"/>
                  </a:lnTo>
                  <a:lnTo>
                    <a:pt x="120" y="40"/>
                  </a:lnTo>
                  <a:lnTo>
                    <a:pt x="116" y="54"/>
                  </a:lnTo>
                  <a:lnTo>
                    <a:pt x="112" y="58"/>
                  </a:lnTo>
                  <a:lnTo>
                    <a:pt x="112" y="67"/>
                  </a:lnTo>
                  <a:lnTo>
                    <a:pt x="116" y="72"/>
                  </a:lnTo>
                  <a:lnTo>
                    <a:pt x="116" y="72"/>
                  </a:lnTo>
                  <a:lnTo>
                    <a:pt x="116" y="76"/>
                  </a:lnTo>
                  <a:lnTo>
                    <a:pt x="120" y="80"/>
                  </a:lnTo>
                  <a:lnTo>
                    <a:pt x="120" y="89"/>
                  </a:lnTo>
                  <a:lnTo>
                    <a:pt x="120" y="98"/>
                  </a:lnTo>
                  <a:lnTo>
                    <a:pt x="120" y="98"/>
                  </a:lnTo>
                  <a:lnTo>
                    <a:pt x="125" y="94"/>
                  </a:lnTo>
                  <a:lnTo>
                    <a:pt x="134" y="98"/>
                  </a:lnTo>
                  <a:lnTo>
                    <a:pt x="138" y="98"/>
                  </a:lnTo>
                  <a:lnTo>
                    <a:pt x="143" y="94"/>
                  </a:lnTo>
                  <a:lnTo>
                    <a:pt x="143" y="85"/>
                  </a:lnTo>
                  <a:lnTo>
                    <a:pt x="147" y="85"/>
                  </a:lnTo>
                  <a:lnTo>
                    <a:pt x="143" y="76"/>
                  </a:lnTo>
                  <a:lnTo>
                    <a:pt x="147" y="67"/>
                  </a:lnTo>
                  <a:lnTo>
                    <a:pt x="138" y="54"/>
                  </a:lnTo>
                  <a:lnTo>
                    <a:pt x="147" y="49"/>
                  </a:lnTo>
                  <a:lnTo>
                    <a:pt x="147" y="40"/>
                  </a:lnTo>
                  <a:lnTo>
                    <a:pt x="147" y="36"/>
                  </a:lnTo>
                  <a:lnTo>
                    <a:pt x="152" y="22"/>
                  </a:lnTo>
                  <a:lnTo>
                    <a:pt x="161" y="13"/>
                  </a:lnTo>
                  <a:lnTo>
                    <a:pt x="152" y="9"/>
                  </a:lnTo>
                  <a:lnTo>
                    <a:pt x="134" y="9"/>
                  </a:lnTo>
                  <a:lnTo>
                    <a:pt x="129" y="0"/>
                  </a:lnTo>
                  <a:lnTo>
                    <a:pt x="120" y="4"/>
                  </a:lnTo>
                  <a:close/>
                </a:path>
              </a:pathLst>
            </a:custGeom>
            <a:solidFill>
              <a:srgbClr val="86BC25"/>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86" name="Freeform 147">
              <a:extLst>
                <a:ext uri="{FF2B5EF4-FFF2-40B4-BE49-F238E27FC236}">
                  <a16:creationId xmlns:a16="http://schemas.microsoft.com/office/drawing/2014/main" id="{0985866D-1E92-49F2-BB76-BFA6E085CCEA}"/>
                </a:ext>
              </a:extLst>
            </p:cNvPr>
            <p:cNvSpPr>
              <a:spLocks/>
            </p:cNvSpPr>
            <p:nvPr/>
          </p:nvSpPr>
          <p:spPr bwMode="gray">
            <a:xfrm>
              <a:off x="9393639" y="4166676"/>
              <a:ext cx="321950" cy="98623"/>
            </a:xfrm>
            <a:custGeom>
              <a:avLst/>
              <a:gdLst/>
              <a:ahLst/>
              <a:cxnLst>
                <a:cxn ang="0">
                  <a:pos x="0" y="22"/>
                </a:cxn>
                <a:cxn ang="0">
                  <a:pos x="5" y="18"/>
                </a:cxn>
                <a:cxn ang="0">
                  <a:pos x="14" y="18"/>
                </a:cxn>
                <a:cxn ang="0">
                  <a:pos x="18" y="13"/>
                </a:cxn>
                <a:cxn ang="0">
                  <a:pos x="23" y="5"/>
                </a:cxn>
                <a:cxn ang="0">
                  <a:pos x="27" y="0"/>
                </a:cxn>
                <a:cxn ang="0">
                  <a:pos x="32" y="5"/>
                </a:cxn>
                <a:cxn ang="0">
                  <a:pos x="40" y="0"/>
                </a:cxn>
                <a:cxn ang="0">
                  <a:pos x="49" y="9"/>
                </a:cxn>
                <a:cxn ang="0">
                  <a:pos x="54" y="0"/>
                </a:cxn>
                <a:cxn ang="0">
                  <a:pos x="58" y="5"/>
                </a:cxn>
                <a:cxn ang="0">
                  <a:pos x="72" y="0"/>
                </a:cxn>
                <a:cxn ang="0">
                  <a:pos x="85" y="9"/>
                </a:cxn>
                <a:cxn ang="0">
                  <a:pos x="81" y="22"/>
                </a:cxn>
                <a:cxn ang="0">
                  <a:pos x="72" y="22"/>
                </a:cxn>
                <a:cxn ang="0">
                  <a:pos x="67" y="18"/>
                </a:cxn>
                <a:cxn ang="0">
                  <a:pos x="63" y="22"/>
                </a:cxn>
                <a:cxn ang="0">
                  <a:pos x="54" y="18"/>
                </a:cxn>
                <a:cxn ang="0">
                  <a:pos x="45" y="27"/>
                </a:cxn>
                <a:cxn ang="0">
                  <a:pos x="36" y="27"/>
                </a:cxn>
                <a:cxn ang="0">
                  <a:pos x="32" y="31"/>
                </a:cxn>
                <a:cxn ang="0">
                  <a:pos x="14" y="31"/>
                </a:cxn>
                <a:cxn ang="0">
                  <a:pos x="9" y="27"/>
                </a:cxn>
                <a:cxn ang="0">
                  <a:pos x="9" y="22"/>
                </a:cxn>
                <a:cxn ang="0">
                  <a:pos x="5" y="22"/>
                </a:cxn>
                <a:cxn ang="0">
                  <a:pos x="0" y="22"/>
                </a:cxn>
              </a:cxnLst>
              <a:rect l="0" t="0" r="r" b="b"/>
              <a:pathLst>
                <a:path w="85" h="31">
                  <a:moveTo>
                    <a:pt x="0" y="22"/>
                  </a:moveTo>
                  <a:lnTo>
                    <a:pt x="5" y="18"/>
                  </a:lnTo>
                  <a:lnTo>
                    <a:pt x="14" y="18"/>
                  </a:lnTo>
                  <a:lnTo>
                    <a:pt x="18" y="13"/>
                  </a:lnTo>
                  <a:lnTo>
                    <a:pt x="23" y="5"/>
                  </a:lnTo>
                  <a:lnTo>
                    <a:pt x="27" y="0"/>
                  </a:lnTo>
                  <a:lnTo>
                    <a:pt x="32" y="5"/>
                  </a:lnTo>
                  <a:lnTo>
                    <a:pt x="40" y="0"/>
                  </a:lnTo>
                  <a:lnTo>
                    <a:pt x="49" y="9"/>
                  </a:lnTo>
                  <a:lnTo>
                    <a:pt x="54" y="0"/>
                  </a:lnTo>
                  <a:lnTo>
                    <a:pt x="58" y="5"/>
                  </a:lnTo>
                  <a:lnTo>
                    <a:pt x="72" y="0"/>
                  </a:lnTo>
                  <a:lnTo>
                    <a:pt x="85" y="9"/>
                  </a:lnTo>
                  <a:lnTo>
                    <a:pt x="81" y="22"/>
                  </a:lnTo>
                  <a:lnTo>
                    <a:pt x="72" y="22"/>
                  </a:lnTo>
                  <a:lnTo>
                    <a:pt x="67" y="18"/>
                  </a:lnTo>
                  <a:lnTo>
                    <a:pt x="63" y="22"/>
                  </a:lnTo>
                  <a:lnTo>
                    <a:pt x="54" y="18"/>
                  </a:lnTo>
                  <a:lnTo>
                    <a:pt x="45" y="27"/>
                  </a:lnTo>
                  <a:lnTo>
                    <a:pt x="36" y="27"/>
                  </a:lnTo>
                  <a:lnTo>
                    <a:pt x="32" y="31"/>
                  </a:lnTo>
                  <a:lnTo>
                    <a:pt x="14" y="31"/>
                  </a:lnTo>
                  <a:lnTo>
                    <a:pt x="9" y="27"/>
                  </a:lnTo>
                  <a:lnTo>
                    <a:pt x="9" y="22"/>
                  </a:lnTo>
                  <a:lnTo>
                    <a:pt x="5" y="22"/>
                  </a:lnTo>
                  <a:lnTo>
                    <a:pt x="0" y="22"/>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88" name="Freeform 148">
              <a:extLst>
                <a:ext uri="{FF2B5EF4-FFF2-40B4-BE49-F238E27FC236}">
                  <a16:creationId xmlns:a16="http://schemas.microsoft.com/office/drawing/2014/main" id="{8970A69C-94B4-49D4-8C12-9DB216F5545C}"/>
                </a:ext>
              </a:extLst>
            </p:cNvPr>
            <p:cNvSpPr>
              <a:spLocks/>
            </p:cNvSpPr>
            <p:nvPr/>
          </p:nvSpPr>
          <p:spPr bwMode="gray">
            <a:xfrm>
              <a:off x="9207804" y="4350880"/>
              <a:ext cx="170349" cy="85582"/>
            </a:xfrm>
            <a:custGeom>
              <a:avLst/>
              <a:gdLst/>
              <a:ahLst/>
              <a:cxnLst>
                <a:cxn ang="0">
                  <a:pos x="5" y="27"/>
                </a:cxn>
                <a:cxn ang="0">
                  <a:pos x="5" y="27"/>
                </a:cxn>
                <a:cxn ang="0">
                  <a:pos x="5" y="27"/>
                </a:cxn>
                <a:cxn ang="0">
                  <a:pos x="14" y="27"/>
                </a:cxn>
                <a:cxn ang="0">
                  <a:pos x="14" y="27"/>
                </a:cxn>
                <a:cxn ang="0">
                  <a:pos x="18" y="23"/>
                </a:cxn>
                <a:cxn ang="0">
                  <a:pos x="22" y="27"/>
                </a:cxn>
                <a:cxn ang="0">
                  <a:pos x="27" y="27"/>
                </a:cxn>
                <a:cxn ang="0">
                  <a:pos x="27" y="27"/>
                </a:cxn>
                <a:cxn ang="0">
                  <a:pos x="27" y="23"/>
                </a:cxn>
                <a:cxn ang="0">
                  <a:pos x="31" y="18"/>
                </a:cxn>
                <a:cxn ang="0">
                  <a:pos x="31" y="18"/>
                </a:cxn>
                <a:cxn ang="0">
                  <a:pos x="31" y="14"/>
                </a:cxn>
                <a:cxn ang="0">
                  <a:pos x="31" y="14"/>
                </a:cxn>
                <a:cxn ang="0">
                  <a:pos x="36" y="14"/>
                </a:cxn>
                <a:cxn ang="0">
                  <a:pos x="36" y="9"/>
                </a:cxn>
                <a:cxn ang="0">
                  <a:pos x="40" y="9"/>
                </a:cxn>
                <a:cxn ang="0">
                  <a:pos x="40" y="9"/>
                </a:cxn>
                <a:cxn ang="0">
                  <a:pos x="40" y="5"/>
                </a:cxn>
                <a:cxn ang="0">
                  <a:pos x="45" y="9"/>
                </a:cxn>
                <a:cxn ang="0">
                  <a:pos x="45" y="9"/>
                </a:cxn>
                <a:cxn ang="0">
                  <a:pos x="40" y="0"/>
                </a:cxn>
                <a:cxn ang="0">
                  <a:pos x="27" y="5"/>
                </a:cxn>
                <a:cxn ang="0">
                  <a:pos x="18" y="9"/>
                </a:cxn>
                <a:cxn ang="0">
                  <a:pos x="5" y="9"/>
                </a:cxn>
                <a:cxn ang="0">
                  <a:pos x="0" y="9"/>
                </a:cxn>
                <a:cxn ang="0">
                  <a:pos x="5" y="14"/>
                </a:cxn>
                <a:cxn ang="0">
                  <a:pos x="5" y="18"/>
                </a:cxn>
                <a:cxn ang="0">
                  <a:pos x="9" y="27"/>
                </a:cxn>
                <a:cxn ang="0">
                  <a:pos x="5" y="27"/>
                </a:cxn>
              </a:cxnLst>
              <a:rect l="0" t="0" r="r" b="b"/>
              <a:pathLst>
                <a:path w="45" h="27">
                  <a:moveTo>
                    <a:pt x="5" y="27"/>
                  </a:moveTo>
                  <a:lnTo>
                    <a:pt x="5" y="27"/>
                  </a:lnTo>
                  <a:lnTo>
                    <a:pt x="5" y="27"/>
                  </a:lnTo>
                  <a:lnTo>
                    <a:pt x="14" y="27"/>
                  </a:lnTo>
                  <a:lnTo>
                    <a:pt x="14" y="27"/>
                  </a:lnTo>
                  <a:lnTo>
                    <a:pt x="18" y="23"/>
                  </a:lnTo>
                  <a:lnTo>
                    <a:pt x="22" y="27"/>
                  </a:lnTo>
                  <a:lnTo>
                    <a:pt x="27" y="27"/>
                  </a:lnTo>
                  <a:lnTo>
                    <a:pt x="27" y="27"/>
                  </a:lnTo>
                  <a:lnTo>
                    <a:pt x="27" y="23"/>
                  </a:lnTo>
                  <a:lnTo>
                    <a:pt x="31" y="18"/>
                  </a:lnTo>
                  <a:lnTo>
                    <a:pt x="31" y="18"/>
                  </a:lnTo>
                  <a:lnTo>
                    <a:pt x="31" y="14"/>
                  </a:lnTo>
                  <a:lnTo>
                    <a:pt x="31" y="14"/>
                  </a:lnTo>
                  <a:lnTo>
                    <a:pt x="36" y="14"/>
                  </a:lnTo>
                  <a:lnTo>
                    <a:pt x="36" y="9"/>
                  </a:lnTo>
                  <a:lnTo>
                    <a:pt x="40" y="9"/>
                  </a:lnTo>
                  <a:lnTo>
                    <a:pt x="40" y="9"/>
                  </a:lnTo>
                  <a:lnTo>
                    <a:pt x="40" y="5"/>
                  </a:lnTo>
                  <a:lnTo>
                    <a:pt x="45" y="9"/>
                  </a:lnTo>
                  <a:lnTo>
                    <a:pt x="45" y="9"/>
                  </a:lnTo>
                  <a:lnTo>
                    <a:pt x="40" y="0"/>
                  </a:lnTo>
                  <a:lnTo>
                    <a:pt x="27" y="5"/>
                  </a:lnTo>
                  <a:lnTo>
                    <a:pt x="18" y="9"/>
                  </a:lnTo>
                  <a:lnTo>
                    <a:pt x="5" y="9"/>
                  </a:lnTo>
                  <a:lnTo>
                    <a:pt x="0" y="9"/>
                  </a:lnTo>
                  <a:lnTo>
                    <a:pt x="5" y="14"/>
                  </a:lnTo>
                  <a:lnTo>
                    <a:pt x="5" y="18"/>
                  </a:lnTo>
                  <a:lnTo>
                    <a:pt x="9" y="27"/>
                  </a:lnTo>
                  <a:lnTo>
                    <a:pt x="5" y="27"/>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89" name="Freeform 149">
              <a:extLst>
                <a:ext uri="{FF2B5EF4-FFF2-40B4-BE49-F238E27FC236}">
                  <a16:creationId xmlns:a16="http://schemas.microsoft.com/office/drawing/2014/main" id="{0FE1A6E4-A9BB-4D64-90F1-479A55211A1C}"/>
                </a:ext>
              </a:extLst>
            </p:cNvPr>
            <p:cNvSpPr>
              <a:spLocks/>
            </p:cNvSpPr>
            <p:nvPr/>
          </p:nvSpPr>
          <p:spPr bwMode="gray">
            <a:xfrm>
              <a:off x="8836134" y="4293826"/>
              <a:ext cx="220067" cy="114109"/>
            </a:xfrm>
            <a:custGeom>
              <a:avLst/>
              <a:gdLst/>
              <a:ahLst/>
              <a:cxnLst>
                <a:cxn ang="0">
                  <a:pos x="13" y="36"/>
                </a:cxn>
                <a:cxn ang="0">
                  <a:pos x="9" y="27"/>
                </a:cxn>
                <a:cxn ang="0">
                  <a:pos x="4" y="23"/>
                </a:cxn>
                <a:cxn ang="0">
                  <a:pos x="0" y="32"/>
                </a:cxn>
                <a:cxn ang="0">
                  <a:pos x="0" y="23"/>
                </a:cxn>
                <a:cxn ang="0">
                  <a:pos x="9" y="9"/>
                </a:cxn>
                <a:cxn ang="0">
                  <a:pos x="9" y="5"/>
                </a:cxn>
                <a:cxn ang="0">
                  <a:pos x="18" y="5"/>
                </a:cxn>
                <a:cxn ang="0">
                  <a:pos x="22" y="0"/>
                </a:cxn>
                <a:cxn ang="0">
                  <a:pos x="22" y="5"/>
                </a:cxn>
                <a:cxn ang="0">
                  <a:pos x="31" y="0"/>
                </a:cxn>
                <a:cxn ang="0">
                  <a:pos x="40" y="0"/>
                </a:cxn>
                <a:cxn ang="0">
                  <a:pos x="49" y="0"/>
                </a:cxn>
                <a:cxn ang="0">
                  <a:pos x="49" y="14"/>
                </a:cxn>
                <a:cxn ang="0">
                  <a:pos x="49" y="18"/>
                </a:cxn>
                <a:cxn ang="0">
                  <a:pos x="58" y="14"/>
                </a:cxn>
                <a:cxn ang="0">
                  <a:pos x="58" y="18"/>
                </a:cxn>
                <a:cxn ang="0">
                  <a:pos x="53" y="27"/>
                </a:cxn>
                <a:cxn ang="0">
                  <a:pos x="45" y="27"/>
                </a:cxn>
                <a:cxn ang="0">
                  <a:pos x="40" y="23"/>
                </a:cxn>
                <a:cxn ang="0">
                  <a:pos x="40" y="32"/>
                </a:cxn>
                <a:cxn ang="0">
                  <a:pos x="36" y="36"/>
                </a:cxn>
                <a:cxn ang="0">
                  <a:pos x="31" y="27"/>
                </a:cxn>
                <a:cxn ang="0">
                  <a:pos x="27" y="27"/>
                </a:cxn>
                <a:cxn ang="0">
                  <a:pos x="27" y="36"/>
                </a:cxn>
                <a:cxn ang="0">
                  <a:pos x="18" y="36"/>
                </a:cxn>
                <a:cxn ang="0">
                  <a:pos x="13" y="36"/>
                </a:cxn>
              </a:cxnLst>
              <a:rect l="0" t="0" r="r" b="b"/>
              <a:pathLst>
                <a:path w="58" h="36">
                  <a:moveTo>
                    <a:pt x="13" y="36"/>
                  </a:moveTo>
                  <a:lnTo>
                    <a:pt x="9" y="27"/>
                  </a:lnTo>
                  <a:lnTo>
                    <a:pt x="4" y="23"/>
                  </a:lnTo>
                  <a:lnTo>
                    <a:pt x="0" y="32"/>
                  </a:lnTo>
                  <a:lnTo>
                    <a:pt x="0" y="23"/>
                  </a:lnTo>
                  <a:lnTo>
                    <a:pt x="9" y="9"/>
                  </a:lnTo>
                  <a:lnTo>
                    <a:pt x="9" y="5"/>
                  </a:lnTo>
                  <a:lnTo>
                    <a:pt x="18" y="5"/>
                  </a:lnTo>
                  <a:lnTo>
                    <a:pt x="22" y="0"/>
                  </a:lnTo>
                  <a:lnTo>
                    <a:pt x="22" y="5"/>
                  </a:lnTo>
                  <a:lnTo>
                    <a:pt x="31" y="0"/>
                  </a:lnTo>
                  <a:lnTo>
                    <a:pt x="40" y="0"/>
                  </a:lnTo>
                  <a:lnTo>
                    <a:pt x="49" y="0"/>
                  </a:lnTo>
                  <a:lnTo>
                    <a:pt x="49" y="14"/>
                  </a:lnTo>
                  <a:lnTo>
                    <a:pt x="49" y="18"/>
                  </a:lnTo>
                  <a:lnTo>
                    <a:pt x="58" y="14"/>
                  </a:lnTo>
                  <a:lnTo>
                    <a:pt x="58" y="18"/>
                  </a:lnTo>
                  <a:lnTo>
                    <a:pt x="53" y="27"/>
                  </a:lnTo>
                  <a:lnTo>
                    <a:pt x="45" y="27"/>
                  </a:lnTo>
                  <a:lnTo>
                    <a:pt x="40" y="23"/>
                  </a:lnTo>
                  <a:lnTo>
                    <a:pt x="40" y="32"/>
                  </a:lnTo>
                  <a:lnTo>
                    <a:pt x="36" y="36"/>
                  </a:lnTo>
                  <a:lnTo>
                    <a:pt x="31" y="27"/>
                  </a:lnTo>
                  <a:lnTo>
                    <a:pt x="27" y="27"/>
                  </a:lnTo>
                  <a:lnTo>
                    <a:pt x="27" y="36"/>
                  </a:lnTo>
                  <a:lnTo>
                    <a:pt x="18" y="36"/>
                  </a:lnTo>
                  <a:lnTo>
                    <a:pt x="13" y="36"/>
                  </a:lnTo>
                  <a:close/>
                </a:path>
              </a:pathLst>
            </a:custGeom>
            <a:solidFill>
              <a:srgbClr val="86BC25"/>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90" name="Freeform 150">
              <a:extLst>
                <a:ext uri="{FF2B5EF4-FFF2-40B4-BE49-F238E27FC236}">
                  <a16:creationId xmlns:a16="http://schemas.microsoft.com/office/drawing/2014/main" id="{74169E67-109E-4774-8DC3-ECFB73DEA7D1}"/>
                </a:ext>
              </a:extLst>
            </p:cNvPr>
            <p:cNvSpPr>
              <a:spLocks noEditPoints="1"/>
            </p:cNvSpPr>
            <p:nvPr/>
          </p:nvSpPr>
          <p:spPr bwMode="gray">
            <a:xfrm>
              <a:off x="9901423" y="4649194"/>
              <a:ext cx="1035131" cy="396936"/>
            </a:xfrm>
            <a:custGeom>
              <a:avLst/>
              <a:gdLst/>
              <a:ahLst/>
              <a:cxnLst>
                <a:cxn ang="0">
                  <a:pos x="0" y="18"/>
                </a:cxn>
                <a:cxn ang="0">
                  <a:pos x="18" y="0"/>
                </a:cxn>
                <a:cxn ang="0">
                  <a:pos x="32" y="4"/>
                </a:cxn>
                <a:cxn ang="0">
                  <a:pos x="45" y="18"/>
                </a:cxn>
                <a:cxn ang="0">
                  <a:pos x="32" y="22"/>
                </a:cxn>
                <a:cxn ang="0">
                  <a:pos x="14" y="31"/>
                </a:cxn>
                <a:cxn ang="0">
                  <a:pos x="0" y="40"/>
                </a:cxn>
                <a:cxn ang="0">
                  <a:pos x="9" y="27"/>
                </a:cxn>
                <a:cxn ang="0">
                  <a:pos x="63" y="112"/>
                </a:cxn>
                <a:cxn ang="0">
                  <a:pos x="85" y="107"/>
                </a:cxn>
                <a:cxn ang="0">
                  <a:pos x="99" y="116"/>
                </a:cxn>
                <a:cxn ang="0">
                  <a:pos x="121" y="107"/>
                </a:cxn>
                <a:cxn ang="0">
                  <a:pos x="139" y="112"/>
                </a:cxn>
                <a:cxn ang="0">
                  <a:pos x="148" y="107"/>
                </a:cxn>
                <a:cxn ang="0">
                  <a:pos x="143" y="116"/>
                </a:cxn>
                <a:cxn ang="0">
                  <a:pos x="139" y="125"/>
                </a:cxn>
                <a:cxn ang="0">
                  <a:pos x="157" y="116"/>
                </a:cxn>
                <a:cxn ang="0">
                  <a:pos x="179" y="103"/>
                </a:cxn>
                <a:cxn ang="0">
                  <a:pos x="210" y="103"/>
                </a:cxn>
                <a:cxn ang="0">
                  <a:pos x="241" y="103"/>
                </a:cxn>
                <a:cxn ang="0">
                  <a:pos x="264" y="103"/>
                </a:cxn>
                <a:cxn ang="0">
                  <a:pos x="273" y="94"/>
                </a:cxn>
                <a:cxn ang="0">
                  <a:pos x="259" y="63"/>
                </a:cxn>
                <a:cxn ang="0">
                  <a:pos x="264" y="45"/>
                </a:cxn>
                <a:cxn ang="0">
                  <a:pos x="250" y="22"/>
                </a:cxn>
                <a:cxn ang="0">
                  <a:pos x="219" y="13"/>
                </a:cxn>
                <a:cxn ang="0">
                  <a:pos x="206" y="22"/>
                </a:cxn>
                <a:cxn ang="0">
                  <a:pos x="183" y="22"/>
                </a:cxn>
                <a:cxn ang="0">
                  <a:pos x="148" y="18"/>
                </a:cxn>
                <a:cxn ang="0">
                  <a:pos x="134" y="9"/>
                </a:cxn>
                <a:cxn ang="0">
                  <a:pos x="130" y="0"/>
                </a:cxn>
                <a:cxn ang="0">
                  <a:pos x="103" y="0"/>
                </a:cxn>
                <a:cxn ang="0">
                  <a:pos x="76" y="18"/>
                </a:cxn>
                <a:cxn ang="0">
                  <a:pos x="54" y="18"/>
                </a:cxn>
                <a:cxn ang="0">
                  <a:pos x="45" y="22"/>
                </a:cxn>
                <a:cxn ang="0">
                  <a:pos x="40" y="27"/>
                </a:cxn>
                <a:cxn ang="0">
                  <a:pos x="36" y="31"/>
                </a:cxn>
                <a:cxn ang="0">
                  <a:pos x="23" y="40"/>
                </a:cxn>
                <a:cxn ang="0">
                  <a:pos x="9" y="36"/>
                </a:cxn>
                <a:cxn ang="0">
                  <a:pos x="0" y="49"/>
                </a:cxn>
                <a:cxn ang="0">
                  <a:pos x="9" y="54"/>
                </a:cxn>
                <a:cxn ang="0">
                  <a:pos x="14" y="72"/>
                </a:cxn>
                <a:cxn ang="0">
                  <a:pos x="5" y="67"/>
                </a:cxn>
                <a:cxn ang="0">
                  <a:pos x="9" y="76"/>
                </a:cxn>
                <a:cxn ang="0">
                  <a:pos x="14" y="85"/>
                </a:cxn>
                <a:cxn ang="0">
                  <a:pos x="23" y="94"/>
                </a:cxn>
                <a:cxn ang="0">
                  <a:pos x="27" y="98"/>
                </a:cxn>
                <a:cxn ang="0">
                  <a:pos x="23" y="107"/>
                </a:cxn>
                <a:cxn ang="0">
                  <a:pos x="32" y="107"/>
                </a:cxn>
                <a:cxn ang="0">
                  <a:pos x="45" y="103"/>
                </a:cxn>
                <a:cxn ang="0">
                  <a:pos x="54" y="116"/>
                </a:cxn>
              </a:cxnLst>
              <a:rect l="0" t="0" r="r" b="b"/>
              <a:pathLst>
                <a:path w="273" h="125">
                  <a:moveTo>
                    <a:pt x="0" y="22"/>
                  </a:moveTo>
                  <a:lnTo>
                    <a:pt x="0" y="18"/>
                  </a:lnTo>
                  <a:lnTo>
                    <a:pt x="0" y="9"/>
                  </a:lnTo>
                  <a:lnTo>
                    <a:pt x="18" y="0"/>
                  </a:lnTo>
                  <a:lnTo>
                    <a:pt x="23" y="4"/>
                  </a:lnTo>
                  <a:lnTo>
                    <a:pt x="32" y="4"/>
                  </a:lnTo>
                  <a:lnTo>
                    <a:pt x="32" y="13"/>
                  </a:lnTo>
                  <a:lnTo>
                    <a:pt x="45" y="18"/>
                  </a:lnTo>
                  <a:lnTo>
                    <a:pt x="36" y="22"/>
                  </a:lnTo>
                  <a:lnTo>
                    <a:pt x="32" y="22"/>
                  </a:lnTo>
                  <a:lnTo>
                    <a:pt x="18" y="22"/>
                  </a:lnTo>
                  <a:lnTo>
                    <a:pt x="14" y="31"/>
                  </a:lnTo>
                  <a:lnTo>
                    <a:pt x="9" y="31"/>
                  </a:lnTo>
                  <a:lnTo>
                    <a:pt x="0" y="40"/>
                  </a:lnTo>
                  <a:lnTo>
                    <a:pt x="0" y="36"/>
                  </a:lnTo>
                  <a:lnTo>
                    <a:pt x="9" y="27"/>
                  </a:lnTo>
                  <a:lnTo>
                    <a:pt x="0" y="22"/>
                  </a:lnTo>
                  <a:close/>
                  <a:moveTo>
                    <a:pt x="63" y="112"/>
                  </a:moveTo>
                  <a:lnTo>
                    <a:pt x="67" y="103"/>
                  </a:lnTo>
                  <a:lnTo>
                    <a:pt x="85" y="107"/>
                  </a:lnTo>
                  <a:lnTo>
                    <a:pt x="90" y="116"/>
                  </a:lnTo>
                  <a:lnTo>
                    <a:pt x="99" y="116"/>
                  </a:lnTo>
                  <a:lnTo>
                    <a:pt x="116" y="112"/>
                  </a:lnTo>
                  <a:lnTo>
                    <a:pt x="121" y="107"/>
                  </a:lnTo>
                  <a:lnTo>
                    <a:pt x="125" y="107"/>
                  </a:lnTo>
                  <a:lnTo>
                    <a:pt x="139" y="112"/>
                  </a:lnTo>
                  <a:lnTo>
                    <a:pt x="143" y="103"/>
                  </a:lnTo>
                  <a:lnTo>
                    <a:pt x="148" y="107"/>
                  </a:lnTo>
                  <a:lnTo>
                    <a:pt x="143" y="112"/>
                  </a:lnTo>
                  <a:lnTo>
                    <a:pt x="143" y="116"/>
                  </a:lnTo>
                  <a:lnTo>
                    <a:pt x="139" y="121"/>
                  </a:lnTo>
                  <a:lnTo>
                    <a:pt x="139" y="125"/>
                  </a:lnTo>
                  <a:lnTo>
                    <a:pt x="148" y="125"/>
                  </a:lnTo>
                  <a:lnTo>
                    <a:pt x="157" y="116"/>
                  </a:lnTo>
                  <a:lnTo>
                    <a:pt x="157" y="107"/>
                  </a:lnTo>
                  <a:lnTo>
                    <a:pt x="179" y="103"/>
                  </a:lnTo>
                  <a:lnTo>
                    <a:pt x="197" y="107"/>
                  </a:lnTo>
                  <a:lnTo>
                    <a:pt x="210" y="103"/>
                  </a:lnTo>
                  <a:lnTo>
                    <a:pt x="233" y="98"/>
                  </a:lnTo>
                  <a:lnTo>
                    <a:pt x="241" y="103"/>
                  </a:lnTo>
                  <a:lnTo>
                    <a:pt x="246" y="98"/>
                  </a:lnTo>
                  <a:lnTo>
                    <a:pt x="264" y="103"/>
                  </a:lnTo>
                  <a:lnTo>
                    <a:pt x="273" y="98"/>
                  </a:lnTo>
                  <a:lnTo>
                    <a:pt x="273" y="94"/>
                  </a:lnTo>
                  <a:lnTo>
                    <a:pt x="264" y="89"/>
                  </a:lnTo>
                  <a:lnTo>
                    <a:pt x="259" y="63"/>
                  </a:lnTo>
                  <a:lnTo>
                    <a:pt x="268" y="54"/>
                  </a:lnTo>
                  <a:lnTo>
                    <a:pt x="264" y="45"/>
                  </a:lnTo>
                  <a:lnTo>
                    <a:pt x="255" y="40"/>
                  </a:lnTo>
                  <a:lnTo>
                    <a:pt x="250" y="22"/>
                  </a:lnTo>
                  <a:lnTo>
                    <a:pt x="241" y="18"/>
                  </a:lnTo>
                  <a:lnTo>
                    <a:pt x="219" y="13"/>
                  </a:lnTo>
                  <a:lnTo>
                    <a:pt x="210" y="18"/>
                  </a:lnTo>
                  <a:lnTo>
                    <a:pt x="206" y="22"/>
                  </a:lnTo>
                  <a:lnTo>
                    <a:pt x="192" y="18"/>
                  </a:lnTo>
                  <a:lnTo>
                    <a:pt x="183" y="22"/>
                  </a:lnTo>
                  <a:lnTo>
                    <a:pt x="170" y="22"/>
                  </a:lnTo>
                  <a:lnTo>
                    <a:pt x="148" y="18"/>
                  </a:lnTo>
                  <a:lnTo>
                    <a:pt x="143" y="9"/>
                  </a:lnTo>
                  <a:lnTo>
                    <a:pt x="134" y="9"/>
                  </a:lnTo>
                  <a:lnTo>
                    <a:pt x="134" y="0"/>
                  </a:lnTo>
                  <a:lnTo>
                    <a:pt x="130" y="0"/>
                  </a:lnTo>
                  <a:lnTo>
                    <a:pt x="125" y="4"/>
                  </a:lnTo>
                  <a:lnTo>
                    <a:pt x="103" y="0"/>
                  </a:lnTo>
                  <a:lnTo>
                    <a:pt x="76" y="13"/>
                  </a:lnTo>
                  <a:lnTo>
                    <a:pt x="76" y="18"/>
                  </a:lnTo>
                  <a:lnTo>
                    <a:pt x="63" y="18"/>
                  </a:lnTo>
                  <a:lnTo>
                    <a:pt x="54" y="18"/>
                  </a:lnTo>
                  <a:lnTo>
                    <a:pt x="45" y="18"/>
                  </a:lnTo>
                  <a:lnTo>
                    <a:pt x="45" y="22"/>
                  </a:lnTo>
                  <a:lnTo>
                    <a:pt x="45" y="27"/>
                  </a:lnTo>
                  <a:lnTo>
                    <a:pt x="40" y="27"/>
                  </a:lnTo>
                  <a:lnTo>
                    <a:pt x="45" y="31"/>
                  </a:lnTo>
                  <a:lnTo>
                    <a:pt x="36" y="31"/>
                  </a:lnTo>
                  <a:lnTo>
                    <a:pt x="27" y="31"/>
                  </a:lnTo>
                  <a:lnTo>
                    <a:pt x="23" y="40"/>
                  </a:lnTo>
                  <a:lnTo>
                    <a:pt x="14" y="36"/>
                  </a:lnTo>
                  <a:lnTo>
                    <a:pt x="9" y="36"/>
                  </a:lnTo>
                  <a:lnTo>
                    <a:pt x="0" y="40"/>
                  </a:lnTo>
                  <a:lnTo>
                    <a:pt x="0" y="49"/>
                  </a:lnTo>
                  <a:lnTo>
                    <a:pt x="14" y="49"/>
                  </a:lnTo>
                  <a:lnTo>
                    <a:pt x="9" y="54"/>
                  </a:lnTo>
                  <a:lnTo>
                    <a:pt x="14" y="67"/>
                  </a:lnTo>
                  <a:lnTo>
                    <a:pt x="14" y="72"/>
                  </a:lnTo>
                  <a:lnTo>
                    <a:pt x="9" y="72"/>
                  </a:lnTo>
                  <a:lnTo>
                    <a:pt x="5" y="67"/>
                  </a:lnTo>
                  <a:lnTo>
                    <a:pt x="5" y="76"/>
                  </a:lnTo>
                  <a:lnTo>
                    <a:pt x="9" y="76"/>
                  </a:lnTo>
                  <a:lnTo>
                    <a:pt x="14" y="80"/>
                  </a:lnTo>
                  <a:lnTo>
                    <a:pt x="14" y="85"/>
                  </a:lnTo>
                  <a:lnTo>
                    <a:pt x="14" y="94"/>
                  </a:lnTo>
                  <a:lnTo>
                    <a:pt x="23" y="94"/>
                  </a:lnTo>
                  <a:lnTo>
                    <a:pt x="14" y="98"/>
                  </a:lnTo>
                  <a:lnTo>
                    <a:pt x="27" y="98"/>
                  </a:lnTo>
                  <a:lnTo>
                    <a:pt x="27" y="103"/>
                  </a:lnTo>
                  <a:lnTo>
                    <a:pt x="23" y="107"/>
                  </a:lnTo>
                  <a:lnTo>
                    <a:pt x="27" y="103"/>
                  </a:lnTo>
                  <a:lnTo>
                    <a:pt x="32" y="107"/>
                  </a:lnTo>
                  <a:lnTo>
                    <a:pt x="36" y="98"/>
                  </a:lnTo>
                  <a:lnTo>
                    <a:pt x="45" y="103"/>
                  </a:lnTo>
                  <a:lnTo>
                    <a:pt x="49" y="112"/>
                  </a:lnTo>
                  <a:lnTo>
                    <a:pt x="54" y="116"/>
                  </a:lnTo>
                  <a:lnTo>
                    <a:pt x="63" y="112"/>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91" name="Freeform 151">
              <a:extLst>
                <a:ext uri="{FF2B5EF4-FFF2-40B4-BE49-F238E27FC236}">
                  <a16:creationId xmlns:a16="http://schemas.microsoft.com/office/drawing/2014/main" id="{A948888A-CEE7-42B8-A51A-AAA98CCBEEA6}"/>
                </a:ext>
              </a:extLst>
            </p:cNvPr>
            <p:cNvSpPr>
              <a:spLocks/>
            </p:cNvSpPr>
            <p:nvPr/>
          </p:nvSpPr>
          <p:spPr bwMode="gray">
            <a:xfrm>
              <a:off x="9613706" y="4636968"/>
              <a:ext cx="136116" cy="110849"/>
            </a:xfrm>
            <a:custGeom>
              <a:avLst/>
              <a:gdLst/>
              <a:ahLst/>
              <a:cxnLst>
                <a:cxn ang="0">
                  <a:pos x="9" y="35"/>
                </a:cxn>
                <a:cxn ang="0">
                  <a:pos x="0" y="31"/>
                </a:cxn>
                <a:cxn ang="0">
                  <a:pos x="0" y="8"/>
                </a:cxn>
                <a:cxn ang="0">
                  <a:pos x="9" y="4"/>
                </a:cxn>
                <a:cxn ang="0">
                  <a:pos x="9" y="4"/>
                </a:cxn>
                <a:cxn ang="0">
                  <a:pos x="23" y="0"/>
                </a:cxn>
                <a:cxn ang="0">
                  <a:pos x="27" y="4"/>
                </a:cxn>
                <a:cxn ang="0">
                  <a:pos x="36" y="8"/>
                </a:cxn>
                <a:cxn ang="0">
                  <a:pos x="36" y="22"/>
                </a:cxn>
                <a:cxn ang="0">
                  <a:pos x="27" y="26"/>
                </a:cxn>
                <a:cxn ang="0">
                  <a:pos x="23" y="26"/>
                </a:cxn>
                <a:cxn ang="0">
                  <a:pos x="18" y="31"/>
                </a:cxn>
                <a:cxn ang="0">
                  <a:pos x="9" y="35"/>
                </a:cxn>
              </a:cxnLst>
              <a:rect l="0" t="0" r="r" b="b"/>
              <a:pathLst>
                <a:path w="36" h="35">
                  <a:moveTo>
                    <a:pt x="9" y="35"/>
                  </a:moveTo>
                  <a:lnTo>
                    <a:pt x="0" y="31"/>
                  </a:lnTo>
                  <a:lnTo>
                    <a:pt x="0" y="8"/>
                  </a:lnTo>
                  <a:lnTo>
                    <a:pt x="9" y="4"/>
                  </a:lnTo>
                  <a:lnTo>
                    <a:pt x="9" y="4"/>
                  </a:lnTo>
                  <a:lnTo>
                    <a:pt x="23" y="0"/>
                  </a:lnTo>
                  <a:lnTo>
                    <a:pt x="27" y="4"/>
                  </a:lnTo>
                  <a:lnTo>
                    <a:pt x="36" y="8"/>
                  </a:lnTo>
                  <a:lnTo>
                    <a:pt x="36" y="22"/>
                  </a:lnTo>
                  <a:lnTo>
                    <a:pt x="27" y="26"/>
                  </a:lnTo>
                  <a:lnTo>
                    <a:pt x="23" y="26"/>
                  </a:lnTo>
                  <a:lnTo>
                    <a:pt x="18" y="31"/>
                  </a:lnTo>
                  <a:lnTo>
                    <a:pt x="9" y="35"/>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92" name="Freeform 152">
              <a:extLst>
                <a:ext uri="{FF2B5EF4-FFF2-40B4-BE49-F238E27FC236}">
                  <a16:creationId xmlns:a16="http://schemas.microsoft.com/office/drawing/2014/main" id="{55943967-79D9-4594-8658-70D0B5875060}"/>
                </a:ext>
              </a:extLst>
            </p:cNvPr>
            <p:cNvSpPr>
              <a:spLocks noEditPoints="1"/>
            </p:cNvSpPr>
            <p:nvPr/>
          </p:nvSpPr>
          <p:spPr bwMode="gray">
            <a:xfrm>
              <a:off x="8040632" y="3274180"/>
              <a:ext cx="557504" cy="863968"/>
            </a:xfrm>
            <a:custGeom>
              <a:avLst/>
              <a:gdLst/>
              <a:ahLst/>
              <a:cxnLst>
                <a:cxn ang="0">
                  <a:pos x="22" y="71"/>
                </a:cxn>
                <a:cxn ang="0">
                  <a:pos x="31" y="53"/>
                </a:cxn>
                <a:cxn ang="0">
                  <a:pos x="18" y="80"/>
                </a:cxn>
                <a:cxn ang="0">
                  <a:pos x="13" y="165"/>
                </a:cxn>
                <a:cxn ang="0">
                  <a:pos x="4" y="156"/>
                </a:cxn>
                <a:cxn ang="0">
                  <a:pos x="22" y="143"/>
                </a:cxn>
                <a:cxn ang="0">
                  <a:pos x="36" y="156"/>
                </a:cxn>
                <a:cxn ang="0">
                  <a:pos x="36" y="89"/>
                </a:cxn>
                <a:cxn ang="0">
                  <a:pos x="27" y="80"/>
                </a:cxn>
                <a:cxn ang="0">
                  <a:pos x="31" y="93"/>
                </a:cxn>
                <a:cxn ang="0">
                  <a:pos x="76" y="49"/>
                </a:cxn>
                <a:cxn ang="0">
                  <a:pos x="45" y="62"/>
                </a:cxn>
                <a:cxn ang="0">
                  <a:pos x="36" y="98"/>
                </a:cxn>
                <a:cxn ang="0">
                  <a:pos x="27" y="107"/>
                </a:cxn>
                <a:cxn ang="0">
                  <a:pos x="36" y="111"/>
                </a:cxn>
                <a:cxn ang="0">
                  <a:pos x="36" y="120"/>
                </a:cxn>
                <a:cxn ang="0">
                  <a:pos x="40" y="138"/>
                </a:cxn>
                <a:cxn ang="0">
                  <a:pos x="45" y="125"/>
                </a:cxn>
                <a:cxn ang="0">
                  <a:pos x="54" y="143"/>
                </a:cxn>
                <a:cxn ang="0">
                  <a:pos x="58" y="156"/>
                </a:cxn>
                <a:cxn ang="0">
                  <a:pos x="71" y="151"/>
                </a:cxn>
                <a:cxn ang="0">
                  <a:pos x="76" y="174"/>
                </a:cxn>
                <a:cxn ang="0">
                  <a:pos x="76" y="183"/>
                </a:cxn>
                <a:cxn ang="0">
                  <a:pos x="54" y="187"/>
                </a:cxn>
                <a:cxn ang="0">
                  <a:pos x="67" y="196"/>
                </a:cxn>
                <a:cxn ang="0">
                  <a:pos x="45" y="223"/>
                </a:cxn>
                <a:cxn ang="0">
                  <a:pos x="67" y="232"/>
                </a:cxn>
                <a:cxn ang="0">
                  <a:pos x="76" y="236"/>
                </a:cxn>
                <a:cxn ang="0">
                  <a:pos x="49" y="254"/>
                </a:cxn>
                <a:cxn ang="0">
                  <a:pos x="40" y="268"/>
                </a:cxn>
                <a:cxn ang="0">
                  <a:pos x="58" y="259"/>
                </a:cxn>
                <a:cxn ang="0">
                  <a:pos x="89" y="254"/>
                </a:cxn>
                <a:cxn ang="0">
                  <a:pos x="98" y="254"/>
                </a:cxn>
                <a:cxn ang="0">
                  <a:pos x="121" y="250"/>
                </a:cxn>
                <a:cxn ang="0">
                  <a:pos x="143" y="232"/>
                </a:cxn>
                <a:cxn ang="0">
                  <a:pos x="143" y="223"/>
                </a:cxn>
                <a:cxn ang="0">
                  <a:pos x="129" y="201"/>
                </a:cxn>
                <a:cxn ang="0">
                  <a:pos x="121" y="183"/>
                </a:cxn>
                <a:cxn ang="0">
                  <a:pos x="103" y="151"/>
                </a:cxn>
                <a:cxn ang="0">
                  <a:pos x="85" y="125"/>
                </a:cxn>
                <a:cxn ang="0">
                  <a:pos x="89" y="111"/>
                </a:cxn>
                <a:cxn ang="0">
                  <a:pos x="98" y="80"/>
                </a:cxn>
                <a:cxn ang="0">
                  <a:pos x="62" y="80"/>
                </a:cxn>
                <a:cxn ang="0">
                  <a:pos x="67" y="71"/>
                </a:cxn>
                <a:cxn ang="0">
                  <a:pos x="76" y="44"/>
                </a:cxn>
                <a:cxn ang="0">
                  <a:pos x="76" y="40"/>
                </a:cxn>
                <a:cxn ang="0">
                  <a:pos x="107" y="13"/>
                </a:cxn>
                <a:cxn ang="0">
                  <a:pos x="103" y="17"/>
                </a:cxn>
              </a:cxnLst>
              <a:rect l="0" t="0" r="r" b="b"/>
              <a:pathLst>
                <a:path w="147" h="272">
                  <a:moveTo>
                    <a:pt x="13" y="98"/>
                  </a:moveTo>
                  <a:lnTo>
                    <a:pt x="18" y="93"/>
                  </a:lnTo>
                  <a:lnTo>
                    <a:pt x="22" y="76"/>
                  </a:lnTo>
                  <a:lnTo>
                    <a:pt x="22" y="71"/>
                  </a:lnTo>
                  <a:lnTo>
                    <a:pt x="27" y="67"/>
                  </a:lnTo>
                  <a:lnTo>
                    <a:pt x="27" y="67"/>
                  </a:lnTo>
                  <a:lnTo>
                    <a:pt x="31" y="58"/>
                  </a:lnTo>
                  <a:lnTo>
                    <a:pt x="31" y="53"/>
                  </a:lnTo>
                  <a:lnTo>
                    <a:pt x="22" y="58"/>
                  </a:lnTo>
                  <a:lnTo>
                    <a:pt x="18" y="76"/>
                  </a:lnTo>
                  <a:lnTo>
                    <a:pt x="13" y="76"/>
                  </a:lnTo>
                  <a:lnTo>
                    <a:pt x="18" y="80"/>
                  </a:lnTo>
                  <a:lnTo>
                    <a:pt x="13" y="98"/>
                  </a:lnTo>
                  <a:close/>
                  <a:moveTo>
                    <a:pt x="27" y="169"/>
                  </a:moveTo>
                  <a:lnTo>
                    <a:pt x="22" y="169"/>
                  </a:lnTo>
                  <a:lnTo>
                    <a:pt x="13" y="165"/>
                  </a:lnTo>
                  <a:lnTo>
                    <a:pt x="13" y="174"/>
                  </a:lnTo>
                  <a:lnTo>
                    <a:pt x="0" y="169"/>
                  </a:lnTo>
                  <a:lnTo>
                    <a:pt x="0" y="165"/>
                  </a:lnTo>
                  <a:lnTo>
                    <a:pt x="4" y="156"/>
                  </a:lnTo>
                  <a:lnTo>
                    <a:pt x="9" y="156"/>
                  </a:lnTo>
                  <a:lnTo>
                    <a:pt x="13" y="151"/>
                  </a:lnTo>
                  <a:lnTo>
                    <a:pt x="18" y="143"/>
                  </a:lnTo>
                  <a:lnTo>
                    <a:pt x="22" y="143"/>
                  </a:lnTo>
                  <a:lnTo>
                    <a:pt x="31" y="143"/>
                  </a:lnTo>
                  <a:lnTo>
                    <a:pt x="36" y="151"/>
                  </a:lnTo>
                  <a:lnTo>
                    <a:pt x="31" y="156"/>
                  </a:lnTo>
                  <a:lnTo>
                    <a:pt x="36" y="156"/>
                  </a:lnTo>
                  <a:lnTo>
                    <a:pt x="40" y="160"/>
                  </a:lnTo>
                  <a:lnTo>
                    <a:pt x="36" y="165"/>
                  </a:lnTo>
                  <a:lnTo>
                    <a:pt x="27" y="169"/>
                  </a:lnTo>
                  <a:close/>
                  <a:moveTo>
                    <a:pt x="36" y="89"/>
                  </a:moveTo>
                  <a:lnTo>
                    <a:pt x="31" y="84"/>
                  </a:lnTo>
                  <a:lnTo>
                    <a:pt x="31" y="80"/>
                  </a:lnTo>
                  <a:lnTo>
                    <a:pt x="27" y="76"/>
                  </a:lnTo>
                  <a:lnTo>
                    <a:pt x="27" y="80"/>
                  </a:lnTo>
                  <a:lnTo>
                    <a:pt x="22" y="89"/>
                  </a:lnTo>
                  <a:lnTo>
                    <a:pt x="27" y="89"/>
                  </a:lnTo>
                  <a:lnTo>
                    <a:pt x="27" y="93"/>
                  </a:lnTo>
                  <a:lnTo>
                    <a:pt x="31" y="93"/>
                  </a:lnTo>
                  <a:lnTo>
                    <a:pt x="36" y="89"/>
                  </a:lnTo>
                  <a:close/>
                  <a:moveTo>
                    <a:pt x="62" y="71"/>
                  </a:moveTo>
                  <a:lnTo>
                    <a:pt x="76" y="58"/>
                  </a:lnTo>
                  <a:lnTo>
                    <a:pt x="76" y="49"/>
                  </a:lnTo>
                  <a:lnTo>
                    <a:pt x="58" y="53"/>
                  </a:lnTo>
                  <a:lnTo>
                    <a:pt x="49" y="49"/>
                  </a:lnTo>
                  <a:lnTo>
                    <a:pt x="45" y="62"/>
                  </a:lnTo>
                  <a:lnTo>
                    <a:pt x="45" y="62"/>
                  </a:lnTo>
                  <a:lnTo>
                    <a:pt x="40" y="67"/>
                  </a:lnTo>
                  <a:lnTo>
                    <a:pt x="36" y="71"/>
                  </a:lnTo>
                  <a:lnTo>
                    <a:pt x="36" y="84"/>
                  </a:lnTo>
                  <a:lnTo>
                    <a:pt x="36" y="98"/>
                  </a:lnTo>
                  <a:lnTo>
                    <a:pt x="36" y="102"/>
                  </a:lnTo>
                  <a:lnTo>
                    <a:pt x="36" y="107"/>
                  </a:lnTo>
                  <a:lnTo>
                    <a:pt x="31" y="107"/>
                  </a:lnTo>
                  <a:lnTo>
                    <a:pt x="27" y="107"/>
                  </a:lnTo>
                  <a:lnTo>
                    <a:pt x="31" y="111"/>
                  </a:lnTo>
                  <a:lnTo>
                    <a:pt x="27" y="111"/>
                  </a:lnTo>
                  <a:lnTo>
                    <a:pt x="27" y="116"/>
                  </a:lnTo>
                  <a:lnTo>
                    <a:pt x="36" y="111"/>
                  </a:lnTo>
                  <a:lnTo>
                    <a:pt x="45" y="102"/>
                  </a:lnTo>
                  <a:lnTo>
                    <a:pt x="49" y="102"/>
                  </a:lnTo>
                  <a:lnTo>
                    <a:pt x="36" y="120"/>
                  </a:lnTo>
                  <a:lnTo>
                    <a:pt x="36" y="120"/>
                  </a:lnTo>
                  <a:lnTo>
                    <a:pt x="31" y="125"/>
                  </a:lnTo>
                  <a:lnTo>
                    <a:pt x="36" y="125"/>
                  </a:lnTo>
                  <a:lnTo>
                    <a:pt x="40" y="134"/>
                  </a:lnTo>
                  <a:lnTo>
                    <a:pt x="40" y="138"/>
                  </a:lnTo>
                  <a:lnTo>
                    <a:pt x="45" y="138"/>
                  </a:lnTo>
                  <a:lnTo>
                    <a:pt x="45" y="134"/>
                  </a:lnTo>
                  <a:lnTo>
                    <a:pt x="49" y="134"/>
                  </a:lnTo>
                  <a:lnTo>
                    <a:pt x="45" y="125"/>
                  </a:lnTo>
                  <a:lnTo>
                    <a:pt x="49" y="125"/>
                  </a:lnTo>
                  <a:lnTo>
                    <a:pt x="49" y="134"/>
                  </a:lnTo>
                  <a:lnTo>
                    <a:pt x="54" y="134"/>
                  </a:lnTo>
                  <a:lnTo>
                    <a:pt x="54" y="143"/>
                  </a:lnTo>
                  <a:lnTo>
                    <a:pt x="49" y="151"/>
                  </a:lnTo>
                  <a:lnTo>
                    <a:pt x="54" y="160"/>
                  </a:lnTo>
                  <a:lnTo>
                    <a:pt x="54" y="156"/>
                  </a:lnTo>
                  <a:lnTo>
                    <a:pt x="58" y="156"/>
                  </a:lnTo>
                  <a:lnTo>
                    <a:pt x="62" y="156"/>
                  </a:lnTo>
                  <a:lnTo>
                    <a:pt x="58" y="151"/>
                  </a:lnTo>
                  <a:lnTo>
                    <a:pt x="67" y="156"/>
                  </a:lnTo>
                  <a:lnTo>
                    <a:pt x="71" y="151"/>
                  </a:lnTo>
                  <a:lnTo>
                    <a:pt x="80" y="151"/>
                  </a:lnTo>
                  <a:lnTo>
                    <a:pt x="76" y="156"/>
                  </a:lnTo>
                  <a:lnTo>
                    <a:pt x="71" y="160"/>
                  </a:lnTo>
                  <a:lnTo>
                    <a:pt x="76" y="174"/>
                  </a:lnTo>
                  <a:lnTo>
                    <a:pt x="80" y="169"/>
                  </a:lnTo>
                  <a:lnTo>
                    <a:pt x="85" y="169"/>
                  </a:lnTo>
                  <a:lnTo>
                    <a:pt x="76" y="174"/>
                  </a:lnTo>
                  <a:lnTo>
                    <a:pt x="76" y="183"/>
                  </a:lnTo>
                  <a:lnTo>
                    <a:pt x="80" y="187"/>
                  </a:lnTo>
                  <a:lnTo>
                    <a:pt x="62" y="187"/>
                  </a:lnTo>
                  <a:lnTo>
                    <a:pt x="58" y="187"/>
                  </a:lnTo>
                  <a:lnTo>
                    <a:pt x="54" y="187"/>
                  </a:lnTo>
                  <a:lnTo>
                    <a:pt x="58" y="192"/>
                  </a:lnTo>
                  <a:lnTo>
                    <a:pt x="54" y="201"/>
                  </a:lnTo>
                  <a:lnTo>
                    <a:pt x="62" y="196"/>
                  </a:lnTo>
                  <a:lnTo>
                    <a:pt x="67" y="196"/>
                  </a:lnTo>
                  <a:lnTo>
                    <a:pt x="67" y="205"/>
                  </a:lnTo>
                  <a:lnTo>
                    <a:pt x="67" y="210"/>
                  </a:lnTo>
                  <a:lnTo>
                    <a:pt x="62" y="219"/>
                  </a:lnTo>
                  <a:lnTo>
                    <a:pt x="45" y="223"/>
                  </a:lnTo>
                  <a:lnTo>
                    <a:pt x="49" y="232"/>
                  </a:lnTo>
                  <a:lnTo>
                    <a:pt x="58" y="223"/>
                  </a:lnTo>
                  <a:lnTo>
                    <a:pt x="62" y="232"/>
                  </a:lnTo>
                  <a:lnTo>
                    <a:pt x="67" y="232"/>
                  </a:lnTo>
                  <a:lnTo>
                    <a:pt x="71" y="232"/>
                  </a:lnTo>
                  <a:lnTo>
                    <a:pt x="76" y="227"/>
                  </a:lnTo>
                  <a:lnTo>
                    <a:pt x="80" y="227"/>
                  </a:lnTo>
                  <a:lnTo>
                    <a:pt x="76" y="236"/>
                  </a:lnTo>
                  <a:lnTo>
                    <a:pt x="62" y="241"/>
                  </a:lnTo>
                  <a:lnTo>
                    <a:pt x="58" y="245"/>
                  </a:lnTo>
                  <a:lnTo>
                    <a:pt x="54" y="250"/>
                  </a:lnTo>
                  <a:lnTo>
                    <a:pt x="49" y="254"/>
                  </a:lnTo>
                  <a:lnTo>
                    <a:pt x="45" y="259"/>
                  </a:lnTo>
                  <a:lnTo>
                    <a:pt x="40" y="263"/>
                  </a:lnTo>
                  <a:lnTo>
                    <a:pt x="36" y="268"/>
                  </a:lnTo>
                  <a:lnTo>
                    <a:pt x="40" y="268"/>
                  </a:lnTo>
                  <a:lnTo>
                    <a:pt x="45" y="268"/>
                  </a:lnTo>
                  <a:lnTo>
                    <a:pt x="45" y="272"/>
                  </a:lnTo>
                  <a:lnTo>
                    <a:pt x="49" y="263"/>
                  </a:lnTo>
                  <a:lnTo>
                    <a:pt x="58" y="259"/>
                  </a:lnTo>
                  <a:lnTo>
                    <a:pt x="71" y="263"/>
                  </a:lnTo>
                  <a:lnTo>
                    <a:pt x="71" y="254"/>
                  </a:lnTo>
                  <a:lnTo>
                    <a:pt x="85" y="250"/>
                  </a:lnTo>
                  <a:lnTo>
                    <a:pt x="89" y="254"/>
                  </a:lnTo>
                  <a:lnTo>
                    <a:pt x="89" y="259"/>
                  </a:lnTo>
                  <a:lnTo>
                    <a:pt x="94" y="254"/>
                  </a:lnTo>
                  <a:lnTo>
                    <a:pt x="98" y="254"/>
                  </a:lnTo>
                  <a:lnTo>
                    <a:pt x="98" y="254"/>
                  </a:lnTo>
                  <a:lnTo>
                    <a:pt x="103" y="254"/>
                  </a:lnTo>
                  <a:lnTo>
                    <a:pt x="103" y="250"/>
                  </a:lnTo>
                  <a:lnTo>
                    <a:pt x="112" y="254"/>
                  </a:lnTo>
                  <a:lnTo>
                    <a:pt x="121" y="250"/>
                  </a:lnTo>
                  <a:lnTo>
                    <a:pt x="125" y="250"/>
                  </a:lnTo>
                  <a:lnTo>
                    <a:pt x="138" y="250"/>
                  </a:lnTo>
                  <a:lnTo>
                    <a:pt x="143" y="241"/>
                  </a:lnTo>
                  <a:lnTo>
                    <a:pt x="143" y="232"/>
                  </a:lnTo>
                  <a:lnTo>
                    <a:pt x="134" y="232"/>
                  </a:lnTo>
                  <a:lnTo>
                    <a:pt x="129" y="232"/>
                  </a:lnTo>
                  <a:lnTo>
                    <a:pt x="138" y="223"/>
                  </a:lnTo>
                  <a:lnTo>
                    <a:pt x="143" y="223"/>
                  </a:lnTo>
                  <a:lnTo>
                    <a:pt x="147" y="214"/>
                  </a:lnTo>
                  <a:lnTo>
                    <a:pt x="147" y="205"/>
                  </a:lnTo>
                  <a:lnTo>
                    <a:pt x="143" y="201"/>
                  </a:lnTo>
                  <a:lnTo>
                    <a:pt x="129" y="201"/>
                  </a:lnTo>
                  <a:lnTo>
                    <a:pt x="125" y="205"/>
                  </a:lnTo>
                  <a:lnTo>
                    <a:pt x="121" y="201"/>
                  </a:lnTo>
                  <a:lnTo>
                    <a:pt x="125" y="192"/>
                  </a:lnTo>
                  <a:lnTo>
                    <a:pt x="121" y="183"/>
                  </a:lnTo>
                  <a:lnTo>
                    <a:pt x="121" y="178"/>
                  </a:lnTo>
                  <a:lnTo>
                    <a:pt x="112" y="160"/>
                  </a:lnTo>
                  <a:lnTo>
                    <a:pt x="107" y="160"/>
                  </a:lnTo>
                  <a:lnTo>
                    <a:pt x="103" y="151"/>
                  </a:lnTo>
                  <a:lnTo>
                    <a:pt x="103" y="147"/>
                  </a:lnTo>
                  <a:lnTo>
                    <a:pt x="98" y="134"/>
                  </a:lnTo>
                  <a:lnTo>
                    <a:pt x="94" y="129"/>
                  </a:lnTo>
                  <a:lnTo>
                    <a:pt x="85" y="125"/>
                  </a:lnTo>
                  <a:lnTo>
                    <a:pt x="76" y="125"/>
                  </a:lnTo>
                  <a:lnTo>
                    <a:pt x="80" y="116"/>
                  </a:lnTo>
                  <a:lnTo>
                    <a:pt x="85" y="120"/>
                  </a:lnTo>
                  <a:lnTo>
                    <a:pt x="89" y="111"/>
                  </a:lnTo>
                  <a:lnTo>
                    <a:pt x="85" y="116"/>
                  </a:lnTo>
                  <a:lnTo>
                    <a:pt x="85" y="107"/>
                  </a:lnTo>
                  <a:lnTo>
                    <a:pt x="85" y="98"/>
                  </a:lnTo>
                  <a:lnTo>
                    <a:pt x="98" y="80"/>
                  </a:lnTo>
                  <a:lnTo>
                    <a:pt x="98" y="76"/>
                  </a:lnTo>
                  <a:lnTo>
                    <a:pt x="89" y="80"/>
                  </a:lnTo>
                  <a:lnTo>
                    <a:pt x="71" y="76"/>
                  </a:lnTo>
                  <a:lnTo>
                    <a:pt x="62" y="80"/>
                  </a:lnTo>
                  <a:lnTo>
                    <a:pt x="58" y="84"/>
                  </a:lnTo>
                  <a:lnTo>
                    <a:pt x="58" y="84"/>
                  </a:lnTo>
                  <a:lnTo>
                    <a:pt x="62" y="76"/>
                  </a:lnTo>
                  <a:lnTo>
                    <a:pt x="67" y="71"/>
                  </a:lnTo>
                  <a:lnTo>
                    <a:pt x="62" y="71"/>
                  </a:lnTo>
                  <a:close/>
                  <a:moveTo>
                    <a:pt x="71" y="35"/>
                  </a:moveTo>
                  <a:lnTo>
                    <a:pt x="71" y="44"/>
                  </a:lnTo>
                  <a:lnTo>
                    <a:pt x="76" y="44"/>
                  </a:lnTo>
                  <a:lnTo>
                    <a:pt x="76" y="40"/>
                  </a:lnTo>
                  <a:lnTo>
                    <a:pt x="80" y="44"/>
                  </a:lnTo>
                  <a:lnTo>
                    <a:pt x="80" y="40"/>
                  </a:lnTo>
                  <a:lnTo>
                    <a:pt x="76" y="40"/>
                  </a:lnTo>
                  <a:lnTo>
                    <a:pt x="80" y="31"/>
                  </a:lnTo>
                  <a:lnTo>
                    <a:pt x="71" y="35"/>
                  </a:lnTo>
                  <a:close/>
                  <a:moveTo>
                    <a:pt x="103" y="17"/>
                  </a:moveTo>
                  <a:lnTo>
                    <a:pt x="107" y="13"/>
                  </a:lnTo>
                  <a:lnTo>
                    <a:pt x="103" y="0"/>
                  </a:lnTo>
                  <a:lnTo>
                    <a:pt x="98" y="8"/>
                  </a:lnTo>
                  <a:lnTo>
                    <a:pt x="103" y="8"/>
                  </a:lnTo>
                  <a:lnTo>
                    <a:pt x="103" y="17"/>
                  </a:lnTo>
                  <a:close/>
                </a:path>
              </a:pathLst>
            </a:custGeom>
            <a:solidFill>
              <a:schemeClr val="accent1"/>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93" name="Freeform 153">
              <a:extLst>
                <a:ext uri="{FF2B5EF4-FFF2-40B4-BE49-F238E27FC236}">
                  <a16:creationId xmlns:a16="http://schemas.microsoft.com/office/drawing/2014/main" id="{98AFA5BD-9ABA-4764-950F-0A6A399B537E}"/>
                </a:ext>
              </a:extLst>
            </p:cNvPr>
            <p:cNvSpPr>
              <a:spLocks/>
            </p:cNvSpPr>
            <p:nvPr/>
          </p:nvSpPr>
          <p:spPr bwMode="gray">
            <a:xfrm>
              <a:off x="9496336" y="4395709"/>
              <a:ext cx="254300" cy="266526"/>
            </a:xfrm>
            <a:custGeom>
              <a:avLst/>
              <a:gdLst/>
              <a:ahLst/>
              <a:cxnLst>
                <a:cxn ang="0">
                  <a:pos x="0" y="67"/>
                </a:cxn>
                <a:cxn ang="0">
                  <a:pos x="0" y="67"/>
                </a:cxn>
                <a:cxn ang="0">
                  <a:pos x="0" y="67"/>
                </a:cxn>
                <a:cxn ang="0">
                  <a:pos x="0" y="62"/>
                </a:cxn>
                <a:cxn ang="0">
                  <a:pos x="0" y="62"/>
                </a:cxn>
                <a:cxn ang="0">
                  <a:pos x="0" y="58"/>
                </a:cxn>
                <a:cxn ang="0">
                  <a:pos x="5" y="53"/>
                </a:cxn>
                <a:cxn ang="0">
                  <a:pos x="5" y="53"/>
                </a:cxn>
                <a:cxn ang="0">
                  <a:pos x="5" y="53"/>
                </a:cxn>
                <a:cxn ang="0">
                  <a:pos x="5" y="49"/>
                </a:cxn>
                <a:cxn ang="0">
                  <a:pos x="9" y="49"/>
                </a:cxn>
                <a:cxn ang="0">
                  <a:pos x="13" y="44"/>
                </a:cxn>
                <a:cxn ang="0">
                  <a:pos x="9" y="40"/>
                </a:cxn>
                <a:cxn ang="0">
                  <a:pos x="13" y="40"/>
                </a:cxn>
                <a:cxn ang="0">
                  <a:pos x="13" y="40"/>
                </a:cxn>
                <a:cxn ang="0">
                  <a:pos x="5" y="35"/>
                </a:cxn>
                <a:cxn ang="0">
                  <a:pos x="5" y="31"/>
                </a:cxn>
                <a:cxn ang="0">
                  <a:pos x="9" y="26"/>
                </a:cxn>
                <a:cxn ang="0">
                  <a:pos x="9" y="22"/>
                </a:cxn>
                <a:cxn ang="0">
                  <a:pos x="5" y="22"/>
                </a:cxn>
                <a:cxn ang="0">
                  <a:pos x="5" y="17"/>
                </a:cxn>
                <a:cxn ang="0">
                  <a:pos x="9" y="17"/>
                </a:cxn>
                <a:cxn ang="0">
                  <a:pos x="9" y="13"/>
                </a:cxn>
                <a:cxn ang="0">
                  <a:pos x="5" y="13"/>
                </a:cxn>
                <a:cxn ang="0">
                  <a:pos x="5" y="13"/>
                </a:cxn>
                <a:cxn ang="0">
                  <a:pos x="5" y="9"/>
                </a:cxn>
                <a:cxn ang="0">
                  <a:pos x="5" y="9"/>
                </a:cxn>
                <a:cxn ang="0">
                  <a:pos x="5" y="4"/>
                </a:cxn>
                <a:cxn ang="0">
                  <a:pos x="0" y="4"/>
                </a:cxn>
                <a:cxn ang="0">
                  <a:pos x="13" y="0"/>
                </a:cxn>
                <a:cxn ang="0">
                  <a:pos x="27" y="0"/>
                </a:cxn>
                <a:cxn ang="0">
                  <a:pos x="31" y="9"/>
                </a:cxn>
                <a:cxn ang="0">
                  <a:pos x="31" y="17"/>
                </a:cxn>
                <a:cxn ang="0">
                  <a:pos x="40" y="26"/>
                </a:cxn>
                <a:cxn ang="0">
                  <a:pos x="49" y="31"/>
                </a:cxn>
                <a:cxn ang="0">
                  <a:pos x="54" y="31"/>
                </a:cxn>
                <a:cxn ang="0">
                  <a:pos x="54" y="35"/>
                </a:cxn>
                <a:cxn ang="0">
                  <a:pos x="58" y="35"/>
                </a:cxn>
                <a:cxn ang="0">
                  <a:pos x="54" y="53"/>
                </a:cxn>
                <a:cxn ang="0">
                  <a:pos x="67" y="62"/>
                </a:cxn>
                <a:cxn ang="0">
                  <a:pos x="67" y="67"/>
                </a:cxn>
                <a:cxn ang="0">
                  <a:pos x="58" y="71"/>
                </a:cxn>
                <a:cxn ang="0">
                  <a:pos x="58" y="80"/>
                </a:cxn>
                <a:cxn ang="0">
                  <a:pos x="54" y="76"/>
                </a:cxn>
                <a:cxn ang="0">
                  <a:pos x="40" y="80"/>
                </a:cxn>
                <a:cxn ang="0">
                  <a:pos x="40" y="80"/>
                </a:cxn>
                <a:cxn ang="0">
                  <a:pos x="31" y="84"/>
                </a:cxn>
                <a:cxn ang="0">
                  <a:pos x="27" y="84"/>
                </a:cxn>
                <a:cxn ang="0">
                  <a:pos x="27" y="76"/>
                </a:cxn>
                <a:cxn ang="0">
                  <a:pos x="18" y="71"/>
                </a:cxn>
                <a:cxn ang="0">
                  <a:pos x="13" y="84"/>
                </a:cxn>
                <a:cxn ang="0">
                  <a:pos x="9" y="84"/>
                </a:cxn>
                <a:cxn ang="0">
                  <a:pos x="0" y="71"/>
                </a:cxn>
                <a:cxn ang="0">
                  <a:pos x="0" y="71"/>
                </a:cxn>
                <a:cxn ang="0">
                  <a:pos x="0" y="67"/>
                </a:cxn>
              </a:cxnLst>
              <a:rect l="0" t="0" r="r" b="b"/>
              <a:pathLst>
                <a:path w="67" h="84">
                  <a:moveTo>
                    <a:pt x="0" y="67"/>
                  </a:moveTo>
                  <a:lnTo>
                    <a:pt x="0" y="67"/>
                  </a:lnTo>
                  <a:lnTo>
                    <a:pt x="0" y="67"/>
                  </a:lnTo>
                  <a:lnTo>
                    <a:pt x="0" y="62"/>
                  </a:lnTo>
                  <a:lnTo>
                    <a:pt x="0" y="62"/>
                  </a:lnTo>
                  <a:lnTo>
                    <a:pt x="0" y="58"/>
                  </a:lnTo>
                  <a:lnTo>
                    <a:pt x="5" y="53"/>
                  </a:lnTo>
                  <a:lnTo>
                    <a:pt x="5" y="53"/>
                  </a:lnTo>
                  <a:lnTo>
                    <a:pt x="5" y="53"/>
                  </a:lnTo>
                  <a:lnTo>
                    <a:pt x="5" y="49"/>
                  </a:lnTo>
                  <a:lnTo>
                    <a:pt x="9" y="49"/>
                  </a:lnTo>
                  <a:lnTo>
                    <a:pt x="13" y="44"/>
                  </a:lnTo>
                  <a:lnTo>
                    <a:pt x="9" y="40"/>
                  </a:lnTo>
                  <a:lnTo>
                    <a:pt x="13" y="40"/>
                  </a:lnTo>
                  <a:lnTo>
                    <a:pt x="13" y="40"/>
                  </a:lnTo>
                  <a:lnTo>
                    <a:pt x="5" y="35"/>
                  </a:lnTo>
                  <a:lnTo>
                    <a:pt x="5" y="31"/>
                  </a:lnTo>
                  <a:lnTo>
                    <a:pt x="9" y="26"/>
                  </a:lnTo>
                  <a:lnTo>
                    <a:pt x="9" y="22"/>
                  </a:lnTo>
                  <a:lnTo>
                    <a:pt x="5" y="22"/>
                  </a:lnTo>
                  <a:lnTo>
                    <a:pt x="5" y="17"/>
                  </a:lnTo>
                  <a:lnTo>
                    <a:pt x="9" y="17"/>
                  </a:lnTo>
                  <a:lnTo>
                    <a:pt x="9" y="13"/>
                  </a:lnTo>
                  <a:lnTo>
                    <a:pt x="5" y="13"/>
                  </a:lnTo>
                  <a:lnTo>
                    <a:pt x="5" y="13"/>
                  </a:lnTo>
                  <a:lnTo>
                    <a:pt x="5" y="9"/>
                  </a:lnTo>
                  <a:lnTo>
                    <a:pt x="5" y="9"/>
                  </a:lnTo>
                  <a:lnTo>
                    <a:pt x="5" y="4"/>
                  </a:lnTo>
                  <a:lnTo>
                    <a:pt x="0" y="4"/>
                  </a:lnTo>
                  <a:lnTo>
                    <a:pt x="13" y="0"/>
                  </a:lnTo>
                  <a:lnTo>
                    <a:pt x="27" y="0"/>
                  </a:lnTo>
                  <a:lnTo>
                    <a:pt x="31" y="9"/>
                  </a:lnTo>
                  <a:lnTo>
                    <a:pt x="31" y="17"/>
                  </a:lnTo>
                  <a:lnTo>
                    <a:pt x="40" y="26"/>
                  </a:lnTo>
                  <a:lnTo>
                    <a:pt x="49" y="31"/>
                  </a:lnTo>
                  <a:lnTo>
                    <a:pt x="54" y="31"/>
                  </a:lnTo>
                  <a:lnTo>
                    <a:pt x="54" y="35"/>
                  </a:lnTo>
                  <a:lnTo>
                    <a:pt x="58" y="35"/>
                  </a:lnTo>
                  <a:lnTo>
                    <a:pt x="54" y="53"/>
                  </a:lnTo>
                  <a:lnTo>
                    <a:pt x="67" y="62"/>
                  </a:lnTo>
                  <a:lnTo>
                    <a:pt x="67" y="67"/>
                  </a:lnTo>
                  <a:lnTo>
                    <a:pt x="58" y="71"/>
                  </a:lnTo>
                  <a:lnTo>
                    <a:pt x="58" y="80"/>
                  </a:lnTo>
                  <a:lnTo>
                    <a:pt x="54" y="76"/>
                  </a:lnTo>
                  <a:lnTo>
                    <a:pt x="40" y="80"/>
                  </a:lnTo>
                  <a:lnTo>
                    <a:pt x="40" y="80"/>
                  </a:lnTo>
                  <a:lnTo>
                    <a:pt x="31" y="84"/>
                  </a:lnTo>
                  <a:lnTo>
                    <a:pt x="27" y="84"/>
                  </a:lnTo>
                  <a:lnTo>
                    <a:pt x="27" y="76"/>
                  </a:lnTo>
                  <a:lnTo>
                    <a:pt x="18" y="71"/>
                  </a:lnTo>
                  <a:lnTo>
                    <a:pt x="13" y="84"/>
                  </a:lnTo>
                  <a:lnTo>
                    <a:pt x="9" y="84"/>
                  </a:lnTo>
                  <a:lnTo>
                    <a:pt x="0" y="71"/>
                  </a:lnTo>
                  <a:lnTo>
                    <a:pt x="0" y="71"/>
                  </a:lnTo>
                  <a:lnTo>
                    <a:pt x="0" y="67"/>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94" name="Freeform 154">
              <a:extLst>
                <a:ext uri="{FF2B5EF4-FFF2-40B4-BE49-F238E27FC236}">
                  <a16:creationId xmlns:a16="http://schemas.microsoft.com/office/drawing/2014/main" id="{E347D158-800F-4E6A-B61F-950399902421}"/>
                </a:ext>
              </a:extLst>
            </p:cNvPr>
            <p:cNvSpPr>
              <a:spLocks/>
            </p:cNvSpPr>
            <p:nvPr/>
          </p:nvSpPr>
          <p:spPr bwMode="gray">
            <a:xfrm>
              <a:off x="9496336" y="4620666"/>
              <a:ext cx="48904" cy="41569"/>
            </a:xfrm>
            <a:custGeom>
              <a:avLst/>
              <a:gdLst/>
              <a:ahLst/>
              <a:cxnLst>
                <a:cxn ang="0">
                  <a:pos x="0" y="0"/>
                </a:cxn>
                <a:cxn ang="0">
                  <a:pos x="0" y="0"/>
                </a:cxn>
                <a:cxn ang="0">
                  <a:pos x="9" y="13"/>
                </a:cxn>
                <a:cxn ang="0">
                  <a:pos x="13" y="13"/>
                </a:cxn>
              </a:cxnLst>
              <a:rect l="0" t="0" r="r" b="b"/>
              <a:pathLst>
                <a:path w="13" h="13">
                  <a:moveTo>
                    <a:pt x="0" y="0"/>
                  </a:moveTo>
                  <a:lnTo>
                    <a:pt x="0" y="0"/>
                  </a:lnTo>
                  <a:lnTo>
                    <a:pt x="9" y="13"/>
                  </a:lnTo>
                  <a:lnTo>
                    <a:pt x="13" y="13"/>
                  </a:lnTo>
                </a:path>
              </a:pathLst>
            </a:custGeom>
            <a:solidFill>
              <a:srgbClr val="BBBCBC"/>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95" name="Freeform 155">
              <a:extLst>
                <a:ext uri="{FF2B5EF4-FFF2-40B4-BE49-F238E27FC236}">
                  <a16:creationId xmlns:a16="http://schemas.microsoft.com/office/drawing/2014/main" id="{AEAE184E-94FB-4B6E-A876-04D2165D5F03}"/>
                </a:ext>
              </a:extLst>
            </p:cNvPr>
            <p:cNvSpPr>
              <a:spLocks noEditPoints="1"/>
            </p:cNvSpPr>
            <p:nvPr/>
          </p:nvSpPr>
          <p:spPr bwMode="gray">
            <a:xfrm>
              <a:off x="7566265" y="4550571"/>
              <a:ext cx="1201404" cy="921022"/>
            </a:xfrm>
            <a:custGeom>
              <a:avLst/>
              <a:gdLst/>
              <a:ahLst/>
              <a:cxnLst>
                <a:cxn ang="0">
                  <a:pos x="4" y="290"/>
                </a:cxn>
                <a:cxn ang="0">
                  <a:pos x="13" y="277"/>
                </a:cxn>
                <a:cxn ang="0">
                  <a:pos x="22" y="286"/>
                </a:cxn>
                <a:cxn ang="0">
                  <a:pos x="27" y="290"/>
                </a:cxn>
                <a:cxn ang="0">
                  <a:pos x="27" y="286"/>
                </a:cxn>
                <a:cxn ang="0">
                  <a:pos x="143" y="125"/>
                </a:cxn>
                <a:cxn ang="0">
                  <a:pos x="156" y="138"/>
                </a:cxn>
                <a:cxn ang="0">
                  <a:pos x="170" y="147"/>
                </a:cxn>
                <a:cxn ang="0">
                  <a:pos x="179" y="143"/>
                </a:cxn>
                <a:cxn ang="0">
                  <a:pos x="196" y="138"/>
                </a:cxn>
                <a:cxn ang="0">
                  <a:pos x="205" y="138"/>
                </a:cxn>
                <a:cxn ang="0">
                  <a:pos x="219" y="134"/>
                </a:cxn>
                <a:cxn ang="0">
                  <a:pos x="228" y="125"/>
                </a:cxn>
                <a:cxn ang="0">
                  <a:pos x="241" y="111"/>
                </a:cxn>
                <a:cxn ang="0">
                  <a:pos x="250" y="98"/>
                </a:cxn>
                <a:cxn ang="0">
                  <a:pos x="241" y="89"/>
                </a:cxn>
                <a:cxn ang="0">
                  <a:pos x="263" y="53"/>
                </a:cxn>
                <a:cxn ang="0">
                  <a:pos x="295" y="35"/>
                </a:cxn>
                <a:cxn ang="0">
                  <a:pos x="295" y="31"/>
                </a:cxn>
                <a:cxn ang="0">
                  <a:pos x="295" y="27"/>
                </a:cxn>
                <a:cxn ang="0">
                  <a:pos x="277" y="27"/>
                </a:cxn>
                <a:cxn ang="0">
                  <a:pos x="259" y="22"/>
                </a:cxn>
                <a:cxn ang="0">
                  <a:pos x="241" y="22"/>
                </a:cxn>
                <a:cxn ang="0">
                  <a:pos x="223" y="4"/>
                </a:cxn>
                <a:cxn ang="0">
                  <a:pos x="214" y="4"/>
                </a:cxn>
                <a:cxn ang="0">
                  <a:pos x="201" y="4"/>
                </a:cxn>
                <a:cxn ang="0">
                  <a:pos x="179" y="4"/>
                </a:cxn>
                <a:cxn ang="0">
                  <a:pos x="170" y="0"/>
                </a:cxn>
                <a:cxn ang="0">
                  <a:pos x="152" y="4"/>
                </a:cxn>
                <a:cxn ang="0">
                  <a:pos x="143" y="0"/>
                </a:cxn>
                <a:cxn ang="0">
                  <a:pos x="125" y="0"/>
                </a:cxn>
                <a:cxn ang="0">
                  <a:pos x="116" y="4"/>
                </a:cxn>
                <a:cxn ang="0">
                  <a:pos x="112" y="18"/>
                </a:cxn>
                <a:cxn ang="0">
                  <a:pos x="116" y="22"/>
                </a:cxn>
                <a:cxn ang="0">
                  <a:pos x="116" y="31"/>
                </a:cxn>
                <a:cxn ang="0">
                  <a:pos x="129" y="31"/>
                </a:cxn>
                <a:cxn ang="0">
                  <a:pos x="152" y="40"/>
                </a:cxn>
                <a:cxn ang="0">
                  <a:pos x="152" y="53"/>
                </a:cxn>
                <a:cxn ang="0">
                  <a:pos x="147" y="71"/>
                </a:cxn>
                <a:cxn ang="0">
                  <a:pos x="138" y="85"/>
                </a:cxn>
                <a:cxn ang="0">
                  <a:pos x="143" y="107"/>
                </a:cxn>
                <a:cxn ang="0">
                  <a:pos x="143" y="116"/>
                </a:cxn>
                <a:cxn ang="0">
                  <a:pos x="268" y="94"/>
                </a:cxn>
                <a:cxn ang="0">
                  <a:pos x="268" y="103"/>
                </a:cxn>
                <a:cxn ang="0">
                  <a:pos x="272" y="103"/>
                </a:cxn>
                <a:cxn ang="0">
                  <a:pos x="272" y="94"/>
                </a:cxn>
                <a:cxn ang="0">
                  <a:pos x="286" y="85"/>
                </a:cxn>
                <a:cxn ang="0">
                  <a:pos x="290" y="89"/>
                </a:cxn>
                <a:cxn ang="0">
                  <a:pos x="304" y="85"/>
                </a:cxn>
                <a:cxn ang="0">
                  <a:pos x="299" y="76"/>
                </a:cxn>
                <a:cxn ang="0">
                  <a:pos x="290" y="80"/>
                </a:cxn>
                <a:cxn ang="0">
                  <a:pos x="308" y="71"/>
                </a:cxn>
                <a:cxn ang="0">
                  <a:pos x="317" y="80"/>
                </a:cxn>
                <a:cxn ang="0">
                  <a:pos x="308" y="71"/>
                </a:cxn>
              </a:cxnLst>
              <a:rect l="0" t="0" r="r" b="b"/>
              <a:pathLst>
                <a:path w="317" h="290">
                  <a:moveTo>
                    <a:pt x="0" y="281"/>
                  </a:moveTo>
                  <a:lnTo>
                    <a:pt x="4" y="290"/>
                  </a:lnTo>
                  <a:lnTo>
                    <a:pt x="13" y="286"/>
                  </a:lnTo>
                  <a:lnTo>
                    <a:pt x="13" y="277"/>
                  </a:lnTo>
                  <a:lnTo>
                    <a:pt x="0" y="281"/>
                  </a:lnTo>
                  <a:close/>
                  <a:moveTo>
                    <a:pt x="22" y="286"/>
                  </a:moveTo>
                  <a:lnTo>
                    <a:pt x="18" y="290"/>
                  </a:lnTo>
                  <a:lnTo>
                    <a:pt x="27" y="290"/>
                  </a:lnTo>
                  <a:lnTo>
                    <a:pt x="27" y="286"/>
                  </a:lnTo>
                  <a:lnTo>
                    <a:pt x="27" y="286"/>
                  </a:lnTo>
                  <a:lnTo>
                    <a:pt x="22" y="286"/>
                  </a:lnTo>
                  <a:close/>
                  <a:moveTo>
                    <a:pt x="143" y="125"/>
                  </a:moveTo>
                  <a:lnTo>
                    <a:pt x="156" y="134"/>
                  </a:lnTo>
                  <a:lnTo>
                    <a:pt x="156" y="138"/>
                  </a:lnTo>
                  <a:lnTo>
                    <a:pt x="156" y="143"/>
                  </a:lnTo>
                  <a:lnTo>
                    <a:pt x="170" y="147"/>
                  </a:lnTo>
                  <a:lnTo>
                    <a:pt x="174" y="138"/>
                  </a:lnTo>
                  <a:lnTo>
                    <a:pt x="179" y="143"/>
                  </a:lnTo>
                  <a:lnTo>
                    <a:pt x="187" y="134"/>
                  </a:lnTo>
                  <a:lnTo>
                    <a:pt x="196" y="138"/>
                  </a:lnTo>
                  <a:lnTo>
                    <a:pt x="205" y="134"/>
                  </a:lnTo>
                  <a:lnTo>
                    <a:pt x="205" y="138"/>
                  </a:lnTo>
                  <a:lnTo>
                    <a:pt x="214" y="134"/>
                  </a:lnTo>
                  <a:lnTo>
                    <a:pt x="219" y="134"/>
                  </a:lnTo>
                  <a:lnTo>
                    <a:pt x="223" y="129"/>
                  </a:lnTo>
                  <a:lnTo>
                    <a:pt x="228" y="125"/>
                  </a:lnTo>
                  <a:lnTo>
                    <a:pt x="237" y="125"/>
                  </a:lnTo>
                  <a:lnTo>
                    <a:pt x="241" y="111"/>
                  </a:lnTo>
                  <a:lnTo>
                    <a:pt x="246" y="103"/>
                  </a:lnTo>
                  <a:lnTo>
                    <a:pt x="250" y="98"/>
                  </a:lnTo>
                  <a:lnTo>
                    <a:pt x="246" y="98"/>
                  </a:lnTo>
                  <a:lnTo>
                    <a:pt x="241" y="89"/>
                  </a:lnTo>
                  <a:lnTo>
                    <a:pt x="241" y="85"/>
                  </a:lnTo>
                  <a:lnTo>
                    <a:pt x="263" y="53"/>
                  </a:lnTo>
                  <a:lnTo>
                    <a:pt x="281" y="49"/>
                  </a:lnTo>
                  <a:lnTo>
                    <a:pt x="295" y="35"/>
                  </a:lnTo>
                  <a:lnTo>
                    <a:pt x="295" y="31"/>
                  </a:lnTo>
                  <a:lnTo>
                    <a:pt x="295" y="31"/>
                  </a:lnTo>
                  <a:lnTo>
                    <a:pt x="299" y="27"/>
                  </a:lnTo>
                  <a:lnTo>
                    <a:pt x="295" y="27"/>
                  </a:lnTo>
                  <a:lnTo>
                    <a:pt x="286" y="27"/>
                  </a:lnTo>
                  <a:lnTo>
                    <a:pt x="277" y="27"/>
                  </a:lnTo>
                  <a:lnTo>
                    <a:pt x="268" y="22"/>
                  </a:lnTo>
                  <a:lnTo>
                    <a:pt x="259" y="22"/>
                  </a:lnTo>
                  <a:lnTo>
                    <a:pt x="246" y="22"/>
                  </a:lnTo>
                  <a:lnTo>
                    <a:pt x="241" y="22"/>
                  </a:lnTo>
                  <a:lnTo>
                    <a:pt x="228" y="13"/>
                  </a:lnTo>
                  <a:lnTo>
                    <a:pt x="223" y="4"/>
                  </a:lnTo>
                  <a:lnTo>
                    <a:pt x="214" y="9"/>
                  </a:lnTo>
                  <a:lnTo>
                    <a:pt x="214" y="4"/>
                  </a:lnTo>
                  <a:lnTo>
                    <a:pt x="205" y="4"/>
                  </a:lnTo>
                  <a:lnTo>
                    <a:pt x="201" y="4"/>
                  </a:lnTo>
                  <a:lnTo>
                    <a:pt x="192" y="4"/>
                  </a:lnTo>
                  <a:lnTo>
                    <a:pt x="179" y="4"/>
                  </a:lnTo>
                  <a:lnTo>
                    <a:pt x="170" y="4"/>
                  </a:lnTo>
                  <a:lnTo>
                    <a:pt x="170" y="0"/>
                  </a:lnTo>
                  <a:lnTo>
                    <a:pt x="161" y="0"/>
                  </a:lnTo>
                  <a:lnTo>
                    <a:pt x="152" y="4"/>
                  </a:lnTo>
                  <a:lnTo>
                    <a:pt x="147" y="0"/>
                  </a:lnTo>
                  <a:lnTo>
                    <a:pt x="143" y="0"/>
                  </a:lnTo>
                  <a:lnTo>
                    <a:pt x="134" y="0"/>
                  </a:lnTo>
                  <a:lnTo>
                    <a:pt x="125" y="0"/>
                  </a:lnTo>
                  <a:lnTo>
                    <a:pt x="129" y="4"/>
                  </a:lnTo>
                  <a:lnTo>
                    <a:pt x="116" y="4"/>
                  </a:lnTo>
                  <a:lnTo>
                    <a:pt x="112" y="9"/>
                  </a:lnTo>
                  <a:lnTo>
                    <a:pt x="112" y="18"/>
                  </a:lnTo>
                  <a:lnTo>
                    <a:pt x="116" y="18"/>
                  </a:lnTo>
                  <a:lnTo>
                    <a:pt x="116" y="22"/>
                  </a:lnTo>
                  <a:lnTo>
                    <a:pt x="120" y="27"/>
                  </a:lnTo>
                  <a:lnTo>
                    <a:pt x="116" y="31"/>
                  </a:lnTo>
                  <a:lnTo>
                    <a:pt x="120" y="35"/>
                  </a:lnTo>
                  <a:lnTo>
                    <a:pt x="129" y="31"/>
                  </a:lnTo>
                  <a:lnTo>
                    <a:pt x="134" y="40"/>
                  </a:lnTo>
                  <a:lnTo>
                    <a:pt x="152" y="40"/>
                  </a:lnTo>
                  <a:lnTo>
                    <a:pt x="161" y="44"/>
                  </a:lnTo>
                  <a:lnTo>
                    <a:pt x="152" y="53"/>
                  </a:lnTo>
                  <a:lnTo>
                    <a:pt x="147" y="67"/>
                  </a:lnTo>
                  <a:lnTo>
                    <a:pt x="147" y="71"/>
                  </a:lnTo>
                  <a:lnTo>
                    <a:pt x="147" y="80"/>
                  </a:lnTo>
                  <a:lnTo>
                    <a:pt x="138" y="85"/>
                  </a:lnTo>
                  <a:lnTo>
                    <a:pt x="147" y="98"/>
                  </a:lnTo>
                  <a:lnTo>
                    <a:pt x="143" y="107"/>
                  </a:lnTo>
                  <a:lnTo>
                    <a:pt x="147" y="116"/>
                  </a:lnTo>
                  <a:lnTo>
                    <a:pt x="143" y="116"/>
                  </a:lnTo>
                  <a:lnTo>
                    <a:pt x="143" y="125"/>
                  </a:lnTo>
                  <a:close/>
                  <a:moveTo>
                    <a:pt x="268" y="94"/>
                  </a:moveTo>
                  <a:lnTo>
                    <a:pt x="263" y="98"/>
                  </a:lnTo>
                  <a:lnTo>
                    <a:pt x="268" y="103"/>
                  </a:lnTo>
                  <a:lnTo>
                    <a:pt x="268" y="103"/>
                  </a:lnTo>
                  <a:lnTo>
                    <a:pt x="272" y="103"/>
                  </a:lnTo>
                  <a:lnTo>
                    <a:pt x="268" y="98"/>
                  </a:lnTo>
                  <a:lnTo>
                    <a:pt x="272" y="94"/>
                  </a:lnTo>
                  <a:lnTo>
                    <a:pt x="268" y="94"/>
                  </a:lnTo>
                  <a:close/>
                  <a:moveTo>
                    <a:pt x="286" y="85"/>
                  </a:moveTo>
                  <a:lnTo>
                    <a:pt x="286" y="85"/>
                  </a:lnTo>
                  <a:lnTo>
                    <a:pt x="290" y="89"/>
                  </a:lnTo>
                  <a:lnTo>
                    <a:pt x="299" y="89"/>
                  </a:lnTo>
                  <a:lnTo>
                    <a:pt x="304" y="85"/>
                  </a:lnTo>
                  <a:lnTo>
                    <a:pt x="304" y="80"/>
                  </a:lnTo>
                  <a:lnTo>
                    <a:pt x="299" y="76"/>
                  </a:lnTo>
                  <a:lnTo>
                    <a:pt x="299" y="76"/>
                  </a:lnTo>
                  <a:lnTo>
                    <a:pt x="290" y="80"/>
                  </a:lnTo>
                  <a:lnTo>
                    <a:pt x="286" y="85"/>
                  </a:lnTo>
                  <a:close/>
                  <a:moveTo>
                    <a:pt x="308" y="71"/>
                  </a:moveTo>
                  <a:lnTo>
                    <a:pt x="308" y="80"/>
                  </a:lnTo>
                  <a:lnTo>
                    <a:pt x="317" y="80"/>
                  </a:lnTo>
                  <a:lnTo>
                    <a:pt x="313" y="71"/>
                  </a:lnTo>
                  <a:lnTo>
                    <a:pt x="308" y="71"/>
                  </a:lnTo>
                  <a:close/>
                </a:path>
              </a:pathLst>
            </a:custGeom>
            <a:solidFill>
              <a:schemeClr val="accent1"/>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96" name="Freeform 156">
              <a:extLst>
                <a:ext uri="{FF2B5EF4-FFF2-40B4-BE49-F238E27FC236}">
                  <a16:creationId xmlns:a16="http://schemas.microsoft.com/office/drawing/2014/main" id="{D26E69E2-6A70-434D-AC24-A7016994673D}"/>
                </a:ext>
              </a:extLst>
            </p:cNvPr>
            <p:cNvSpPr>
              <a:spLocks/>
            </p:cNvSpPr>
            <p:nvPr/>
          </p:nvSpPr>
          <p:spPr bwMode="gray">
            <a:xfrm>
              <a:off x="9700917" y="3970246"/>
              <a:ext cx="962591" cy="536312"/>
            </a:xfrm>
            <a:custGeom>
              <a:avLst/>
              <a:gdLst/>
              <a:ahLst/>
              <a:cxnLst>
                <a:cxn ang="0">
                  <a:pos x="4" y="71"/>
                </a:cxn>
                <a:cxn ang="0">
                  <a:pos x="4" y="67"/>
                </a:cxn>
                <a:cxn ang="0">
                  <a:pos x="22" y="49"/>
                </a:cxn>
                <a:cxn ang="0">
                  <a:pos x="22" y="40"/>
                </a:cxn>
                <a:cxn ang="0">
                  <a:pos x="18" y="17"/>
                </a:cxn>
                <a:cxn ang="0">
                  <a:pos x="26" y="17"/>
                </a:cxn>
                <a:cxn ang="0">
                  <a:pos x="35" y="4"/>
                </a:cxn>
                <a:cxn ang="0">
                  <a:pos x="58" y="13"/>
                </a:cxn>
                <a:cxn ang="0">
                  <a:pos x="76" y="13"/>
                </a:cxn>
                <a:cxn ang="0">
                  <a:pos x="80" y="17"/>
                </a:cxn>
                <a:cxn ang="0">
                  <a:pos x="89" y="13"/>
                </a:cxn>
                <a:cxn ang="0">
                  <a:pos x="98" y="13"/>
                </a:cxn>
                <a:cxn ang="0">
                  <a:pos x="111" y="17"/>
                </a:cxn>
                <a:cxn ang="0">
                  <a:pos x="120" y="17"/>
                </a:cxn>
                <a:cxn ang="0">
                  <a:pos x="125" y="0"/>
                </a:cxn>
                <a:cxn ang="0">
                  <a:pos x="138" y="4"/>
                </a:cxn>
                <a:cxn ang="0">
                  <a:pos x="147" y="4"/>
                </a:cxn>
                <a:cxn ang="0">
                  <a:pos x="165" y="0"/>
                </a:cxn>
                <a:cxn ang="0">
                  <a:pos x="174" y="8"/>
                </a:cxn>
                <a:cxn ang="0">
                  <a:pos x="187" y="22"/>
                </a:cxn>
                <a:cxn ang="0">
                  <a:pos x="192" y="44"/>
                </a:cxn>
                <a:cxn ang="0">
                  <a:pos x="205" y="49"/>
                </a:cxn>
                <a:cxn ang="0">
                  <a:pos x="219" y="44"/>
                </a:cxn>
                <a:cxn ang="0">
                  <a:pos x="223" y="53"/>
                </a:cxn>
                <a:cxn ang="0">
                  <a:pos x="232" y="58"/>
                </a:cxn>
                <a:cxn ang="0">
                  <a:pos x="241" y="58"/>
                </a:cxn>
                <a:cxn ang="0">
                  <a:pos x="250" y="71"/>
                </a:cxn>
                <a:cxn ang="0">
                  <a:pos x="250" y="80"/>
                </a:cxn>
                <a:cxn ang="0">
                  <a:pos x="250" y="93"/>
                </a:cxn>
                <a:cxn ang="0">
                  <a:pos x="232" y="111"/>
                </a:cxn>
                <a:cxn ang="0">
                  <a:pos x="205" y="120"/>
                </a:cxn>
                <a:cxn ang="0">
                  <a:pos x="192" y="125"/>
                </a:cxn>
                <a:cxn ang="0">
                  <a:pos x="183" y="125"/>
                </a:cxn>
                <a:cxn ang="0">
                  <a:pos x="192" y="147"/>
                </a:cxn>
                <a:cxn ang="0">
                  <a:pos x="201" y="156"/>
                </a:cxn>
                <a:cxn ang="0">
                  <a:pos x="192" y="156"/>
                </a:cxn>
                <a:cxn ang="0">
                  <a:pos x="178" y="160"/>
                </a:cxn>
                <a:cxn ang="0">
                  <a:pos x="156" y="165"/>
                </a:cxn>
                <a:cxn ang="0">
                  <a:pos x="160" y="151"/>
                </a:cxn>
                <a:cxn ang="0">
                  <a:pos x="147" y="147"/>
                </a:cxn>
                <a:cxn ang="0">
                  <a:pos x="165" y="138"/>
                </a:cxn>
                <a:cxn ang="0">
                  <a:pos x="156" y="129"/>
                </a:cxn>
                <a:cxn ang="0">
                  <a:pos x="138" y="129"/>
                </a:cxn>
                <a:cxn ang="0">
                  <a:pos x="138" y="120"/>
                </a:cxn>
                <a:cxn ang="0">
                  <a:pos x="116" y="129"/>
                </a:cxn>
                <a:cxn ang="0">
                  <a:pos x="111" y="129"/>
                </a:cxn>
                <a:cxn ang="0">
                  <a:pos x="111" y="143"/>
                </a:cxn>
                <a:cxn ang="0">
                  <a:pos x="102" y="151"/>
                </a:cxn>
                <a:cxn ang="0">
                  <a:pos x="89" y="156"/>
                </a:cxn>
                <a:cxn ang="0">
                  <a:pos x="80" y="147"/>
                </a:cxn>
                <a:cxn ang="0">
                  <a:pos x="93" y="143"/>
                </a:cxn>
                <a:cxn ang="0">
                  <a:pos x="93" y="129"/>
                </a:cxn>
                <a:cxn ang="0">
                  <a:pos x="98" y="129"/>
                </a:cxn>
                <a:cxn ang="0">
                  <a:pos x="107" y="129"/>
                </a:cxn>
                <a:cxn ang="0">
                  <a:pos x="102" y="111"/>
                </a:cxn>
                <a:cxn ang="0">
                  <a:pos x="89" y="93"/>
                </a:cxn>
                <a:cxn ang="0">
                  <a:pos x="80" y="89"/>
                </a:cxn>
                <a:cxn ang="0">
                  <a:pos x="76" y="89"/>
                </a:cxn>
                <a:cxn ang="0">
                  <a:pos x="40" y="98"/>
                </a:cxn>
                <a:cxn ang="0">
                  <a:pos x="9" y="98"/>
                </a:cxn>
              </a:cxnLst>
              <a:rect l="0" t="0" r="r" b="b"/>
              <a:pathLst>
                <a:path w="254" h="169">
                  <a:moveTo>
                    <a:pt x="0" y="84"/>
                  </a:moveTo>
                  <a:lnTo>
                    <a:pt x="4" y="71"/>
                  </a:lnTo>
                  <a:lnTo>
                    <a:pt x="9" y="71"/>
                  </a:lnTo>
                  <a:lnTo>
                    <a:pt x="4" y="67"/>
                  </a:lnTo>
                  <a:lnTo>
                    <a:pt x="13" y="53"/>
                  </a:lnTo>
                  <a:lnTo>
                    <a:pt x="22" y="49"/>
                  </a:lnTo>
                  <a:lnTo>
                    <a:pt x="26" y="44"/>
                  </a:lnTo>
                  <a:lnTo>
                    <a:pt x="22" y="40"/>
                  </a:lnTo>
                  <a:lnTo>
                    <a:pt x="22" y="31"/>
                  </a:lnTo>
                  <a:lnTo>
                    <a:pt x="18" y="17"/>
                  </a:lnTo>
                  <a:lnTo>
                    <a:pt x="18" y="13"/>
                  </a:lnTo>
                  <a:lnTo>
                    <a:pt x="26" y="17"/>
                  </a:lnTo>
                  <a:lnTo>
                    <a:pt x="31" y="8"/>
                  </a:lnTo>
                  <a:lnTo>
                    <a:pt x="35" y="4"/>
                  </a:lnTo>
                  <a:lnTo>
                    <a:pt x="49" y="8"/>
                  </a:lnTo>
                  <a:lnTo>
                    <a:pt x="58" y="13"/>
                  </a:lnTo>
                  <a:lnTo>
                    <a:pt x="71" y="8"/>
                  </a:lnTo>
                  <a:lnTo>
                    <a:pt x="76" y="13"/>
                  </a:lnTo>
                  <a:lnTo>
                    <a:pt x="80" y="22"/>
                  </a:lnTo>
                  <a:lnTo>
                    <a:pt x="80" y="17"/>
                  </a:lnTo>
                  <a:lnTo>
                    <a:pt x="89" y="17"/>
                  </a:lnTo>
                  <a:lnTo>
                    <a:pt x="89" y="13"/>
                  </a:lnTo>
                  <a:lnTo>
                    <a:pt x="93" y="17"/>
                  </a:lnTo>
                  <a:lnTo>
                    <a:pt x="98" y="13"/>
                  </a:lnTo>
                  <a:lnTo>
                    <a:pt x="102" y="22"/>
                  </a:lnTo>
                  <a:lnTo>
                    <a:pt x="111" y="17"/>
                  </a:lnTo>
                  <a:lnTo>
                    <a:pt x="120" y="22"/>
                  </a:lnTo>
                  <a:lnTo>
                    <a:pt x="120" y="17"/>
                  </a:lnTo>
                  <a:lnTo>
                    <a:pt x="120" y="13"/>
                  </a:lnTo>
                  <a:lnTo>
                    <a:pt x="125" y="0"/>
                  </a:lnTo>
                  <a:lnTo>
                    <a:pt x="134" y="4"/>
                  </a:lnTo>
                  <a:lnTo>
                    <a:pt x="138" y="4"/>
                  </a:lnTo>
                  <a:lnTo>
                    <a:pt x="143" y="0"/>
                  </a:lnTo>
                  <a:lnTo>
                    <a:pt x="147" y="4"/>
                  </a:lnTo>
                  <a:lnTo>
                    <a:pt x="156" y="0"/>
                  </a:lnTo>
                  <a:lnTo>
                    <a:pt x="165" y="0"/>
                  </a:lnTo>
                  <a:lnTo>
                    <a:pt x="169" y="8"/>
                  </a:lnTo>
                  <a:lnTo>
                    <a:pt x="174" y="8"/>
                  </a:lnTo>
                  <a:lnTo>
                    <a:pt x="169" y="17"/>
                  </a:lnTo>
                  <a:lnTo>
                    <a:pt x="187" y="22"/>
                  </a:lnTo>
                  <a:lnTo>
                    <a:pt x="187" y="31"/>
                  </a:lnTo>
                  <a:lnTo>
                    <a:pt x="192" y="44"/>
                  </a:lnTo>
                  <a:lnTo>
                    <a:pt x="201" y="44"/>
                  </a:lnTo>
                  <a:lnTo>
                    <a:pt x="205" y="49"/>
                  </a:lnTo>
                  <a:lnTo>
                    <a:pt x="210" y="44"/>
                  </a:lnTo>
                  <a:lnTo>
                    <a:pt x="219" y="44"/>
                  </a:lnTo>
                  <a:lnTo>
                    <a:pt x="223" y="49"/>
                  </a:lnTo>
                  <a:lnTo>
                    <a:pt x="223" y="53"/>
                  </a:lnTo>
                  <a:lnTo>
                    <a:pt x="232" y="53"/>
                  </a:lnTo>
                  <a:lnTo>
                    <a:pt x="232" y="58"/>
                  </a:lnTo>
                  <a:lnTo>
                    <a:pt x="236" y="53"/>
                  </a:lnTo>
                  <a:lnTo>
                    <a:pt x="241" y="58"/>
                  </a:lnTo>
                  <a:lnTo>
                    <a:pt x="254" y="67"/>
                  </a:lnTo>
                  <a:lnTo>
                    <a:pt x="250" y="71"/>
                  </a:lnTo>
                  <a:lnTo>
                    <a:pt x="254" y="75"/>
                  </a:lnTo>
                  <a:lnTo>
                    <a:pt x="250" y="80"/>
                  </a:lnTo>
                  <a:lnTo>
                    <a:pt x="254" y="84"/>
                  </a:lnTo>
                  <a:lnTo>
                    <a:pt x="250" y="93"/>
                  </a:lnTo>
                  <a:lnTo>
                    <a:pt x="241" y="98"/>
                  </a:lnTo>
                  <a:lnTo>
                    <a:pt x="232" y="111"/>
                  </a:lnTo>
                  <a:lnTo>
                    <a:pt x="223" y="111"/>
                  </a:lnTo>
                  <a:lnTo>
                    <a:pt x="205" y="120"/>
                  </a:lnTo>
                  <a:lnTo>
                    <a:pt x="196" y="125"/>
                  </a:lnTo>
                  <a:lnTo>
                    <a:pt x="192" y="125"/>
                  </a:lnTo>
                  <a:lnTo>
                    <a:pt x="187" y="129"/>
                  </a:lnTo>
                  <a:lnTo>
                    <a:pt x="183" y="125"/>
                  </a:lnTo>
                  <a:lnTo>
                    <a:pt x="174" y="134"/>
                  </a:lnTo>
                  <a:lnTo>
                    <a:pt x="192" y="147"/>
                  </a:lnTo>
                  <a:lnTo>
                    <a:pt x="205" y="147"/>
                  </a:lnTo>
                  <a:lnTo>
                    <a:pt x="201" y="156"/>
                  </a:lnTo>
                  <a:lnTo>
                    <a:pt x="196" y="156"/>
                  </a:lnTo>
                  <a:lnTo>
                    <a:pt x="192" y="156"/>
                  </a:lnTo>
                  <a:lnTo>
                    <a:pt x="183" y="160"/>
                  </a:lnTo>
                  <a:lnTo>
                    <a:pt x="178" y="160"/>
                  </a:lnTo>
                  <a:lnTo>
                    <a:pt x="169" y="169"/>
                  </a:lnTo>
                  <a:lnTo>
                    <a:pt x="156" y="165"/>
                  </a:lnTo>
                  <a:lnTo>
                    <a:pt x="160" y="160"/>
                  </a:lnTo>
                  <a:lnTo>
                    <a:pt x="160" y="151"/>
                  </a:lnTo>
                  <a:lnTo>
                    <a:pt x="156" y="151"/>
                  </a:lnTo>
                  <a:lnTo>
                    <a:pt x="147" y="147"/>
                  </a:lnTo>
                  <a:lnTo>
                    <a:pt x="156" y="138"/>
                  </a:lnTo>
                  <a:lnTo>
                    <a:pt x="165" y="138"/>
                  </a:lnTo>
                  <a:lnTo>
                    <a:pt x="160" y="134"/>
                  </a:lnTo>
                  <a:lnTo>
                    <a:pt x="156" y="129"/>
                  </a:lnTo>
                  <a:lnTo>
                    <a:pt x="134" y="134"/>
                  </a:lnTo>
                  <a:lnTo>
                    <a:pt x="138" y="129"/>
                  </a:lnTo>
                  <a:lnTo>
                    <a:pt x="129" y="125"/>
                  </a:lnTo>
                  <a:lnTo>
                    <a:pt x="138" y="120"/>
                  </a:lnTo>
                  <a:lnTo>
                    <a:pt x="125" y="125"/>
                  </a:lnTo>
                  <a:lnTo>
                    <a:pt x="116" y="129"/>
                  </a:lnTo>
                  <a:lnTo>
                    <a:pt x="111" y="125"/>
                  </a:lnTo>
                  <a:lnTo>
                    <a:pt x="111" y="129"/>
                  </a:lnTo>
                  <a:lnTo>
                    <a:pt x="116" y="134"/>
                  </a:lnTo>
                  <a:lnTo>
                    <a:pt x="111" y="143"/>
                  </a:lnTo>
                  <a:lnTo>
                    <a:pt x="102" y="147"/>
                  </a:lnTo>
                  <a:lnTo>
                    <a:pt x="102" y="151"/>
                  </a:lnTo>
                  <a:lnTo>
                    <a:pt x="98" y="151"/>
                  </a:lnTo>
                  <a:lnTo>
                    <a:pt x="89" y="156"/>
                  </a:lnTo>
                  <a:lnTo>
                    <a:pt x="85" y="151"/>
                  </a:lnTo>
                  <a:lnTo>
                    <a:pt x="80" y="147"/>
                  </a:lnTo>
                  <a:lnTo>
                    <a:pt x="89" y="147"/>
                  </a:lnTo>
                  <a:lnTo>
                    <a:pt x="93" y="143"/>
                  </a:lnTo>
                  <a:lnTo>
                    <a:pt x="93" y="138"/>
                  </a:lnTo>
                  <a:lnTo>
                    <a:pt x="93" y="129"/>
                  </a:lnTo>
                  <a:lnTo>
                    <a:pt x="98" y="134"/>
                  </a:lnTo>
                  <a:lnTo>
                    <a:pt x="98" y="129"/>
                  </a:lnTo>
                  <a:lnTo>
                    <a:pt x="102" y="129"/>
                  </a:lnTo>
                  <a:lnTo>
                    <a:pt x="107" y="129"/>
                  </a:lnTo>
                  <a:lnTo>
                    <a:pt x="107" y="120"/>
                  </a:lnTo>
                  <a:lnTo>
                    <a:pt x="102" y="111"/>
                  </a:lnTo>
                  <a:lnTo>
                    <a:pt x="102" y="102"/>
                  </a:lnTo>
                  <a:lnTo>
                    <a:pt x="89" y="93"/>
                  </a:lnTo>
                  <a:lnTo>
                    <a:pt x="85" y="93"/>
                  </a:lnTo>
                  <a:lnTo>
                    <a:pt x="80" y="89"/>
                  </a:lnTo>
                  <a:lnTo>
                    <a:pt x="76" y="93"/>
                  </a:lnTo>
                  <a:lnTo>
                    <a:pt x="76" y="89"/>
                  </a:lnTo>
                  <a:lnTo>
                    <a:pt x="62" y="89"/>
                  </a:lnTo>
                  <a:lnTo>
                    <a:pt x="40" y="98"/>
                  </a:lnTo>
                  <a:lnTo>
                    <a:pt x="13" y="93"/>
                  </a:lnTo>
                  <a:lnTo>
                    <a:pt x="9" y="98"/>
                  </a:lnTo>
                  <a:lnTo>
                    <a:pt x="0" y="84"/>
                  </a:lnTo>
                  <a:close/>
                </a:path>
              </a:pathLst>
            </a:custGeom>
            <a:solidFill>
              <a:srgbClr val="D0D0CE"/>
            </a:solidFill>
            <a:ln w="9525" cap="rnd">
              <a:solidFill>
                <a:srgbClr val="FFFFFF"/>
              </a:solidFill>
              <a:prstDash val="solid"/>
              <a:round/>
              <a:headEnd/>
              <a:tailEnd/>
            </a:ln>
          </p:spPr>
          <p:txBody>
            <a:bodyPr wrap="square" lIns="101901" tIns="50950" rIns="101901" bIns="5095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1019175"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Arial"/>
                <a:ea typeface="+mn-ea"/>
                <a:cs typeface="+mn-cs"/>
              </a:endParaRPr>
            </a:p>
          </p:txBody>
        </p:sp>
        <p:sp>
          <p:nvSpPr>
            <p:cNvPr id="197" name="Freeform 25">
              <a:extLst>
                <a:ext uri="{FF2B5EF4-FFF2-40B4-BE49-F238E27FC236}">
                  <a16:creationId xmlns:a16="http://schemas.microsoft.com/office/drawing/2014/main" id="{AB3B8EF9-1E93-40AD-9362-CD34F51DDF45}"/>
                </a:ext>
              </a:extLst>
            </p:cNvPr>
            <p:cNvSpPr>
              <a:spLocks noChangeAspect="1"/>
            </p:cNvSpPr>
            <p:nvPr/>
          </p:nvSpPr>
          <p:spPr bwMode="gray">
            <a:xfrm>
              <a:off x="10210289" y="5041325"/>
              <a:ext cx="206444" cy="90077"/>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solidFill>
              <a:srgbClr val="D0D0CE"/>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99" name="Gruppieren 320">
            <a:extLst>
              <a:ext uri="{FF2B5EF4-FFF2-40B4-BE49-F238E27FC236}">
                <a16:creationId xmlns:a16="http://schemas.microsoft.com/office/drawing/2014/main" id="{9B86CC95-67F1-4687-9C7D-B35EA70A0813}"/>
              </a:ext>
            </a:extLst>
          </p:cNvPr>
          <p:cNvGrpSpPr/>
          <p:nvPr/>
        </p:nvGrpSpPr>
        <p:grpSpPr>
          <a:xfrm>
            <a:off x="1138075" y="4424546"/>
            <a:ext cx="3304876" cy="758952"/>
            <a:chOff x="1404284" y="4726111"/>
            <a:chExt cx="3304876" cy="758952"/>
          </a:xfrm>
        </p:grpSpPr>
        <p:grpSp>
          <p:nvGrpSpPr>
            <p:cNvPr id="200" name="Graphic 4">
              <a:extLst>
                <a:ext uri="{FF2B5EF4-FFF2-40B4-BE49-F238E27FC236}">
                  <a16:creationId xmlns:a16="http://schemas.microsoft.com/office/drawing/2014/main" id="{72C4D5F2-B90B-4578-9B09-C5193D263584}"/>
                </a:ext>
              </a:extLst>
            </p:cNvPr>
            <p:cNvGrpSpPr>
              <a:grpSpLocks noChangeAspect="1"/>
            </p:cNvGrpSpPr>
            <p:nvPr/>
          </p:nvGrpSpPr>
          <p:grpSpPr>
            <a:xfrm>
              <a:off x="1404284" y="4726111"/>
              <a:ext cx="758330" cy="758952"/>
              <a:chOff x="6753524" y="4308712"/>
              <a:chExt cx="361674" cy="361971"/>
            </a:xfrm>
            <a:solidFill>
              <a:srgbClr val="006429"/>
            </a:solidFill>
          </p:grpSpPr>
          <p:sp>
            <p:nvSpPr>
              <p:cNvPr id="202" name="Graphic 4">
                <a:extLst>
                  <a:ext uri="{FF2B5EF4-FFF2-40B4-BE49-F238E27FC236}">
                    <a16:creationId xmlns:a16="http://schemas.microsoft.com/office/drawing/2014/main" id="{377E97D3-7F77-4E55-A41A-CF153E1A36B6}"/>
                  </a:ext>
                </a:extLst>
              </p:cNvPr>
              <p:cNvSpPr/>
              <p:nvPr/>
            </p:nvSpPr>
            <p:spPr>
              <a:xfrm>
                <a:off x="6753524" y="4308712"/>
                <a:ext cx="361674" cy="361971"/>
              </a:xfrm>
              <a:custGeom>
                <a:avLst/>
                <a:gdLst>
                  <a:gd name="connsiteX0" fmla="*/ 180835 w 361674"/>
                  <a:gd name="connsiteY0" fmla="*/ 0 h 361971"/>
                  <a:gd name="connsiteX1" fmla="*/ 0 w 361674"/>
                  <a:gd name="connsiteY1" fmla="*/ 180667 h 361971"/>
                  <a:gd name="connsiteX2" fmla="*/ 180835 w 361674"/>
                  <a:gd name="connsiteY2" fmla="*/ 361972 h 361971"/>
                  <a:gd name="connsiteX3" fmla="*/ 361670 w 361674"/>
                  <a:gd name="connsiteY3" fmla="*/ 181305 h 361971"/>
                  <a:gd name="connsiteX4" fmla="*/ 361670 w 361674"/>
                  <a:gd name="connsiteY4" fmla="*/ 181305 h 361971"/>
                  <a:gd name="connsiteX5" fmla="*/ 180835 w 361674"/>
                  <a:gd name="connsiteY5" fmla="*/ 0 h 361971"/>
                  <a:gd name="connsiteX6" fmla="*/ 180835 w 361674"/>
                  <a:gd name="connsiteY6" fmla="*/ 0 h 361971"/>
                  <a:gd name="connsiteX7" fmla="*/ 180835 w 361674"/>
                  <a:gd name="connsiteY7" fmla="*/ 349204 h 361971"/>
                  <a:gd name="connsiteX8" fmla="*/ 12780 w 361674"/>
                  <a:gd name="connsiteY8" fmla="*/ 181305 h 361971"/>
                  <a:gd name="connsiteX9" fmla="*/ 180835 w 361674"/>
                  <a:gd name="connsiteY9" fmla="*/ 12768 h 361971"/>
                  <a:gd name="connsiteX10" fmla="*/ 348890 w 361674"/>
                  <a:gd name="connsiteY10" fmla="*/ 180667 h 361971"/>
                  <a:gd name="connsiteX11" fmla="*/ 348890 w 361674"/>
                  <a:gd name="connsiteY11" fmla="*/ 180667 h 361971"/>
                  <a:gd name="connsiteX12" fmla="*/ 180835 w 361674"/>
                  <a:gd name="connsiteY12" fmla="*/ 349204 h 361971"/>
                  <a:gd name="connsiteX13" fmla="*/ 180835 w 361674"/>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674" h="361971">
                    <a:moveTo>
                      <a:pt x="180835" y="0"/>
                    </a:moveTo>
                    <a:cubicBezTo>
                      <a:pt x="80513" y="0"/>
                      <a:pt x="0" y="81077"/>
                      <a:pt x="0" y="180667"/>
                    </a:cubicBezTo>
                    <a:cubicBezTo>
                      <a:pt x="0" y="280257"/>
                      <a:pt x="81152" y="361972"/>
                      <a:pt x="180835" y="361972"/>
                    </a:cubicBezTo>
                    <a:cubicBezTo>
                      <a:pt x="281157" y="361972"/>
                      <a:pt x="361670" y="280895"/>
                      <a:pt x="361670" y="181305"/>
                    </a:cubicBezTo>
                    <a:cubicBezTo>
                      <a:pt x="361670" y="181305"/>
                      <a:pt x="361670" y="181305"/>
                      <a:pt x="361670" y="181305"/>
                    </a:cubicBezTo>
                    <a:cubicBezTo>
                      <a:pt x="362309" y="81077"/>
                      <a:pt x="281157" y="0"/>
                      <a:pt x="180835" y="0"/>
                    </a:cubicBezTo>
                    <a:cubicBezTo>
                      <a:pt x="181474" y="0"/>
                      <a:pt x="181474" y="0"/>
                      <a:pt x="180835" y="0"/>
                    </a:cubicBezTo>
                    <a:close/>
                    <a:moveTo>
                      <a:pt x="180835" y="349204"/>
                    </a:moveTo>
                    <a:cubicBezTo>
                      <a:pt x="87542" y="349204"/>
                      <a:pt x="12780" y="273873"/>
                      <a:pt x="12780" y="181305"/>
                    </a:cubicBezTo>
                    <a:cubicBezTo>
                      <a:pt x="12780" y="88099"/>
                      <a:pt x="88181" y="12768"/>
                      <a:pt x="180835" y="12768"/>
                    </a:cubicBezTo>
                    <a:cubicBezTo>
                      <a:pt x="274128" y="12768"/>
                      <a:pt x="348890" y="88099"/>
                      <a:pt x="348890" y="180667"/>
                    </a:cubicBezTo>
                    <a:lnTo>
                      <a:pt x="348890" y="180667"/>
                    </a:lnTo>
                    <a:cubicBezTo>
                      <a:pt x="349529" y="273873"/>
                      <a:pt x="274128" y="349204"/>
                      <a:pt x="180835" y="349204"/>
                    </a:cubicBezTo>
                    <a:lnTo>
                      <a:pt x="180835" y="349204"/>
                    </a:ln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03" name="Graphic 4">
                <a:extLst>
                  <a:ext uri="{FF2B5EF4-FFF2-40B4-BE49-F238E27FC236}">
                    <a16:creationId xmlns:a16="http://schemas.microsoft.com/office/drawing/2014/main" id="{2DE69191-08BC-4412-B5E3-3B641124B803}"/>
                  </a:ext>
                </a:extLst>
              </p:cNvPr>
              <p:cNvSpPr/>
              <p:nvPr/>
            </p:nvSpPr>
            <p:spPr>
              <a:xfrm>
                <a:off x="6837232" y="4384043"/>
                <a:ext cx="194893" cy="210033"/>
              </a:xfrm>
              <a:custGeom>
                <a:avLst/>
                <a:gdLst>
                  <a:gd name="connsiteX0" fmla="*/ 188503 w 194893"/>
                  <a:gd name="connsiteY0" fmla="*/ 15322 h 210033"/>
                  <a:gd name="connsiteX1" fmla="*/ 149525 w 194893"/>
                  <a:gd name="connsiteY1" fmla="*/ 15322 h 210033"/>
                  <a:gd name="connsiteX2" fmla="*/ 149525 w 194893"/>
                  <a:gd name="connsiteY2" fmla="*/ 6384 h 210033"/>
                  <a:gd name="connsiteX3" fmla="*/ 143135 w 194893"/>
                  <a:gd name="connsiteY3" fmla="*/ 0 h 210033"/>
                  <a:gd name="connsiteX4" fmla="*/ 136745 w 194893"/>
                  <a:gd name="connsiteY4" fmla="*/ 6384 h 210033"/>
                  <a:gd name="connsiteX5" fmla="*/ 136745 w 194893"/>
                  <a:gd name="connsiteY5" fmla="*/ 15322 h 210033"/>
                  <a:gd name="connsiteX6" fmla="*/ 58148 w 194893"/>
                  <a:gd name="connsiteY6" fmla="*/ 15322 h 210033"/>
                  <a:gd name="connsiteX7" fmla="*/ 58148 w 194893"/>
                  <a:gd name="connsiteY7" fmla="*/ 6384 h 210033"/>
                  <a:gd name="connsiteX8" fmla="*/ 51758 w 194893"/>
                  <a:gd name="connsiteY8" fmla="*/ 0 h 210033"/>
                  <a:gd name="connsiteX9" fmla="*/ 45368 w 194893"/>
                  <a:gd name="connsiteY9" fmla="*/ 6384 h 210033"/>
                  <a:gd name="connsiteX10" fmla="*/ 45368 w 194893"/>
                  <a:gd name="connsiteY10" fmla="*/ 15322 h 210033"/>
                  <a:gd name="connsiteX11" fmla="*/ 6390 w 194893"/>
                  <a:gd name="connsiteY11" fmla="*/ 15322 h 210033"/>
                  <a:gd name="connsiteX12" fmla="*/ 0 w 194893"/>
                  <a:gd name="connsiteY12" fmla="*/ 21706 h 210033"/>
                  <a:gd name="connsiteX13" fmla="*/ 0 w 194893"/>
                  <a:gd name="connsiteY13" fmla="*/ 203649 h 210033"/>
                  <a:gd name="connsiteX14" fmla="*/ 6390 w 194893"/>
                  <a:gd name="connsiteY14" fmla="*/ 210033 h 210033"/>
                  <a:gd name="connsiteX15" fmla="*/ 188503 w 194893"/>
                  <a:gd name="connsiteY15" fmla="*/ 210033 h 210033"/>
                  <a:gd name="connsiteX16" fmla="*/ 194893 w 194893"/>
                  <a:gd name="connsiteY16" fmla="*/ 203649 h 210033"/>
                  <a:gd name="connsiteX17" fmla="*/ 194893 w 194893"/>
                  <a:gd name="connsiteY17" fmla="*/ 21706 h 210033"/>
                  <a:gd name="connsiteX18" fmla="*/ 188503 w 194893"/>
                  <a:gd name="connsiteY18" fmla="*/ 15322 h 210033"/>
                  <a:gd name="connsiteX19" fmla="*/ 188503 w 194893"/>
                  <a:gd name="connsiteY19" fmla="*/ 15322 h 210033"/>
                  <a:gd name="connsiteX20" fmla="*/ 182113 w 194893"/>
                  <a:gd name="connsiteY20" fmla="*/ 197903 h 210033"/>
                  <a:gd name="connsiteX21" fmla="*/ 12780 w 194893"/>
                  <a:gd name="connsiteY21" fmla="*/ 197903 h 210033"/>
                  <a:gd name="connsiteX22" fmla="*/ 12780 w 194893"/>
                  <a:gd name="connsiteY22" fmla="*/ 28728 h 210033"/>
                  <a:gd name="connsiteX23" fmla="*/ 45368 w 194893"/>
                  <a:gd name="connsiteY23" fmla="*/ 28728 h 210033"/>
                  <a:gd name="connsiteX24" fmla="*/ 45368 w 194893"/>
                  <a:gd name="connsiteY24" fmla="*/ 37666 h 210033"/>
                  <a:gd name="connsiteX25" fmla="*/ 51758 w 194893"/>
                  <a:gd name="connsiteY25" fmla="*/ 44050 h 210033"/>
                  <a:gd name="connsiteX26" fmla="*/ 58148 w 194893"/>
                  <a:gd name="connsiteY26" fmla="*/ 37666 h 210033"/>
                  <a:gd name="connsiteX27" fmla="*/ 58148 w 194893"/>
                  <a:gd name="connsiteY27" fmla="*/ 28728 h 210033"/>
                  <a:gd name="connsiteX28" fmla="*/ 136745 w 194893"/>
                  <a:gd name="connsiteY28" fmla="*/ 28728 h 210033"/>
                  <a:gd name="connsiteX29" fmla="*/ 136745 w 194893"/>
                  <a:gd name="connsiteY29" fmla="*/ 37666 h 210033"/>
                  <a:gd name="connsiteX30" fmla="*/ 143135 w 194893"/>
                  <a:gd name="connsiteY30" fmla="*/ 44050 h 210033"/>
                  <a:gd name="connsiteX31" fmla="*/ 149525 w 194893"/>
                  <a:gd name="connsiteY31" fmla="*/ 37666 h 210033"/>
                  <a:gd name="connsiteX32" fmla="*/ 149525 w 194893"/>
                  <a:gd name="connsiteY32" fmla="*/ 28728 h 210033"/>
                  <a:gd name="connsiteX33" fmla="*/ 182113 w 194893"/>
                  <a:gd name="connsiteY33" fmla="*/ 28728 h 210033"/>
                  <a:gd name="connsiteX34" fmla="*/ 182113 w 194893"/>
                  <a:gd name="connsiteY34" fmla="*/ 197903 h 210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4893" h="210033">
                    <a:moveTo>
                      <a:pt x="188503" y="15322"/>
                    </a:moveTo>
                    <a:lnTo>
                      <a:pt x="149525" y="15322"/>
                    </a:lnTo>
                    <a:lnTo>
                      <a:pt x="149525" y="6384"/>
                    </a:lnTo>
                    <a:cubicBezTo>
                      <a:pt x="149525" y="2554"/>
                      <a:pt x="146969" y="0"/>
                      <a:pt x="143135" y="0"/>
                    </a:cubicBezTo>
                    <a:cubicBezTo>
                      <a:pt x="139301" y="0"/>
                      <a:pt x="136745" y="2554"/>
                      <a:pt x="136745" y="6384"/>
                    </a:cubicBezTo>
                    <a:lnTo>
                      <a:pt x="136745" y="15322"/>
                    </a:lnTo>
                    <a:lnTo>
                      <a:pt x="58148" y="15322"/>
                    </a:lnTo>
                    <a:lnTo>
                      <a:pt x="58148" y="6384"/>
                    </a:lnTo>
                    <a:cubicBezTo>
                      <a:pt x="58148" y="2554"/>
                      <a:pt x="55592" y="0"/>
                      <a:pt x="51758" y="0"/>
                    </a:cubicBezTo>
                    <a:cubicBezTo>
                      <a:pt x="47925" y="0"/>
                      <a:pt x="45368" y="2554"/>
                      <a:pt x="45368" y="6384"/>
                    </a:cubicBezTo>
                    <a:lnTo>
                      <a:pt x="45368" y="15322"/>
                    </a:lnTo>
                    <a:lnTo>
                      <a:pt x="6390" y="15322"/>
                    </a:lnTo>
                    <a:cubicBezTo>
                      <a:pt x="2556" y="15322"/>
                      <a:pt x="0" y="17875"/>
                      <a:pt x="0" y="21706"/>
                    </a:cubicBezTo>
                    <a:lnTo>
                      <a:pt x="0" y="203649"/>
                    </a:lnTo>
                    <a:cubicBezTo>
                      <a:pt x="0" y="207479"/>
                      <a:pt x="2556" y="210033"/>
                      <a:pt x="6390" y="210033"/>
                    </a:cubicBezTo>
                    <a:lnTo>
                      <a:pt x="188503" y="210033"/>
                    </a:lnTo>
                    <a:cubicBezTo>
                      <a:pt x="192337" y="210033"/>
                      <a:pt x="194893" y="207479"/>
                      <a:pt x="194893" y="203649"/>
                    </a:cubicBezTo>
                    <a:lnTo>
                      <a:pt x="194893" y="21706"/>
                    </a:lnTo>
                    <a:cubicBezTo>
                      <a:pt x="194893" y="18514"/>
                      <a:pt x="192337" y="15322"/>
                      <a:pt x="188503" y="15322"/>
                    </a:cubicBezTo>
                    <a:cubicBezTo>
                      <a:pt x="188503" y="15322"/>
                      <a:pt x="188503" y="15322"/>
                      <a:pt x="188503" y="15322"/>
                    </a:cubicBezTo>
                    <a:close/>
                    <a:moveTo>
                      <a:pt x="182113" y="197903"/>
                    </a:moveTo>
                    <a:lnTo>
                      <a:pt x="12780" y="197903"/>
                    </a:lnTo>
                    <a:lnTo>
                      <a:pt x="12780" y="28728"/>
                    </a:lnTo>
                    <a:lnTo>
                      <a:pt x="45368" y="28728"/>
                    </a:lnTo>
                    <a:lnTo>
                      <a:pt x="45368" y="37666"/>
                    </a:lnTo>
                    <a:cubicBezTo>
                      <a:pt x="45368" y="41496"/>
                      <a:pt x="47925" y="44050"/>
                      <a:pt x="51758" y="44050"/>
                    </a:cubicBezTo>
                    <a:cubicBezTo>
                      <a:pt x="55592" y="44050"/>
                      <a:pt x="58148" y="41496"/>
                      <a:pt x="58148" y="37666"/>
                    </a:cubicBezTo>
                    <a:lnTo>
                      <a:pt x="58148" y="28728"/>
                    </a:lnTo>
                    <a:lnTo>
                      <a:pt x="136745" y="28728"/>
                    </a:lnTo>
                    <a:lnTo>
                      <a:pt x="136745" y="37666"/>
                    </a:lnTo>
                    <a:cubicBezTo>
                      <a:pt x="136745" y="41496"/>
                      <a:pt x="139301" y="44050"/>
                      <a:pt x="143135" y="44050"/>
                    </a:cubicBezTo>
                    <a:cubicBezTo>
                      <a:pt x="146969" y="44050"/>
                      <a:pt x="149525" y="41496"/>
                      <a:pt x="149525" y="37666"/>
                    </a:cubicBezTo>
                    <a:lnTo>
                      <a:pt x="149525" y="28728"/>
                    </a:lnTo>
                    <a:lnTo>
                      <a:pt x="182113" y="28728"/>
                    </a:lnTo>
                    <a:lnTo>
                      <a:pt x="182113" y="197903"/>
                    </a:ln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04" name="Graphic 4">
                <a:extLst>
                  <a:ext uri="{FF2B5EF4-FFF2-40B4-BE49-F238E27FC236}">
                    <a16:creationId xmlns:a16="http://schemas.microsoft.com/office/drawing/2014/main" id="{DF0D6C87-8AB8-40FD-81BE-602F99578D25}"/>
                  </a:ext>
                </a:extLst>
              </p:cNvPr>
              <p:cNvSpPr/>
              <p:nvPr/>
            </p:nvSpPr>
            <p:spPr>
              <a:xfrm>
                <a:off x="6865348" y="4448521"/>
                <a:ext cx="15336" cy="15321"/>
              </a:xfrm>
              <a:custGeom>
                <a:avLst/>
                <a:gdLst>
                  <a:gd name="connsiteX0" fmla="*/ 7668 w 15336"/>
                  <a:gd name="connsiteY0" fmla="*/ 0 h 15321"/>
                  <a:gd name="connsiteX1" fmla="*/ 0 w 15336"/>
                  <a:gd name="connsiteY1" fmla="*/ 7661 h 15321"/>
                  <a:gd name="connsiteX2" fmla="*/ 7668 w 15336"/>
                  <a:gd name="connsiteY2" fmla="*/ 15321 h 15321"/>
                  <a:gd name="connsiteX3" fmla="*/ 15336 w 15336"/>
                  <a:gd name="connsiteY3" fmla="*/ 7661 h 15321"/>
                  <a:gd name="connsiteX4" fmla="*/ 15336 w 15336"/>
                  <a:gd name="connsiteY4" fmla="*/ 7661 h 15321"/>
                  <a:gd name="connsiteX5" fmla="*/ 7668 w 15336"/>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0"/>
                    </a:moveTo>
                    <a:cubicBezTo>
                      <a:pt x="3195" y="0"/>
                      <a:pt x="0" y="3192"/>
                      <a:pt x="0" y="7661"/>
                    </a:cubicBezTo>
                    <a:cubicBezTo>
                      <a:pt x="0" y="12129"/>
                      <a:pt x="3195" y="15321"/>
                      <a:pt x="7668" y="15321"/>
                    </a:cubicBezTo>
                    <a:cubicBezTo>
                      <a:pt x="12141" y="15321"/>
                      <a:pt x="15336" y="12129"/>
                      <a:pt x="15336" y="7661"/>
                    </a:cubicBezTo>
                    <a:lnTo>
                      <a:pt x="15336" y="7661"/>
                    </a:lnTo>
                    <a:cubicBezTo>
                      <a:pt x="15336" y="3830"/>
                      <a:pt x="12141"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05" name="Graphic 4">
                <a:extLst>
                  <a:ext uri="{FF2B5EF4-FFF2-40B4-BE49-F238E27FC236}">
                    <a16:creationId xmlns:a16="http://schemas.microsoft.com/office/drawing/2014/main" id="{5E2EB997-4DC0-44F5-BD20-43EEABB87988}"/>
                  </a:ext>
                </a:extLst>
              </p:cNvPr>
              <p:cNvSpPr/>
              <p:nvPr/>
            </p:nvSpPr>
            <p:spPr>
              <a:xfrm>
                <a:off x="6896019" y="4448521"/>
                <a:ext cx="15405" cy="15321"/>
              </a:xfrm>
              <a:custGeom>
                <a:avLst/>
                <a:gdLst>
                  <a:gd name="connsiteX0" fmla="*/ 7668 w 15405"/>
                  <a:gd name="connsiteY0" fmla="*/ 0 h 15321"/>
                  <a:gd name="connsiteX1" fmla="*/ 0 w 15405"/>
                  <a:gd name="connsiteY1" fmla="*/ 7661 h 15321"/>
                  <a:gd name="connsiteX2" fmla="*/ 7668 w 15405"/>
                  <a:gd name="connsiteY2" fmla="*/ 15321 h 15321"/>
                  <a:gd name="connsiteX3" fmla="*/ 15336 w 15405"/>
                  <a:gd name="connsiteY3" fmla="*/ 7661 h 15321"/>
                  <a:gd name="connsiteX4" fmla="*/ 15336 w 15405"/>
                  <a:gd name="connsiteY4" fmla="*/ 7661 h 15321"/>
                  <a:gd name="connsiteX5" fmla="*/ 7668 w 1540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5" h="15321">
                    <a:moveTo>
                      <a:pt x="7668" y="0"/>
                    </a:moveTo>
                    <a:cubicBezTo>
                      <a:pt x="3195" y="0"/>
                      <a:pt x="0" y="3192"/>
                      <a:pt x="0" y="7661"/>
                    </a:cubicBezTo>
                    <a:cubicBezTo>
                      <a:pt x="0" y="12129"/>
                      <a:pt x="3195" y="15321"/>
                      <a:pt x="7668" y="15321"/>
                    </a:cubicBezTo>
                    <a:cubicBezTo>
                      <a:pt x="12141" y="15321"/>
                      <a:pt x="15336" y="12129"/>
                      <a:pt x="15336" y="7661"/>
                    </a:cubicBezTo>
                    <a:lnTo>
                      <a:pt x="15336" y="7661"/>
                    </a:lnTo>
                    <a:cubicBezTo>
                      <a:pt x="15975" y="3830"/>
                      <a:pt x="12141"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06" name="Graphic 4">
                <a:extLst>
                  <a:ext uri="{FF2B5EF4-FFF2-40B4-BE49-F238E27FC236}">
                    <a16:creationId xmlns:a16="http://schemas.microsoft.com/office/drawing/2014/main" id="{A92CDCF2-DACD-4899-BD38-751ABC6F1219}"/>
                  </a:ext>
                </a:extLst>
              </p:cNvPr>
              <p:cNvSpPr/>
              <p:nvPr/>
            </p:nvSpPr>
            <p:spPr>
              <a:xfrm>
                <a:off x="6926691" y="4448521"/>
                <a:ext cx="15405" cy="15321"/>
              </a:xfrm>
              <a:custGeom>
                <a:avLst/>
                <a:gdLst>
                  <a:gd name="connsiteX0" fmla="*/ 7668 w 15405"/>
                  <a:gd name="connsiteY0" fmla="*/ 0 h 15321"/>
                  <a:gd name="connsiteX1" fmla="*/ 0 w 15405"/>
                  <a:gd name="connsiteY1" fmla="*/ 7661 h 15321"/>
                  <a:gd name="connsiteX2" fmla="*/ 7668 w 15405"/>
                  <a:gd name="connsiteY2" fmla="*/ 15321 h 15321"/>
                  <a:gd name="connsiteX3" fmla="*/ 15336 w 15405"/>
                  <a:gd name="connsiteY3" fmla="*/ 7661 h 15321"/>
                  <a:gd name="connsiteX4" fmla="*/ 15336 w 15405"/>
                  <a:gd name="connsiteY4" fmla="*/ 7661 h 15321"/>
                  <a:gd name="connsiteX5" fmla="*/ 7668 w 1540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5" h="15321">
                    <a:moveTo>
                      <a:pt x="7668" y="0"/>
                    </a:moveTo>
                    <a:cubicBezTo>
                      <a:pt x="3195" y="0"/>
                      <a:pt x="0" y="3192"/>
                      <a:pt x="0" y="7661"/>
                    </a:cubicBezTo>
                    <a:cubicBezTo>
                      <a:pt x="0" y="12129"/>
                      <a:pt x="3195" y="15321"/>
                      <a:pt x="7668" y="15321"/>
                    </a:cubicBezTo>
                    <a:cubicBezTo>
                      <a:pt x="12141" y="15321"/>
                      <a:pt x="15336" y="12129"/>
                      <a:pt x="15336" y="7661"/>
                    </a:cubicBezTo>
                    <a:lnTo>
                      <a:pt x="15336" y="7661"/>
                    </a:lnTo>
                    <a:cubicBezTo>
                      <a:pt x="15975" y="3830"/>
                      <a:pt x="12141"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07" name="Graphic 4">
                <a:extLst>
                  <a:ext uri="{FF2B5EF4-FFF2-40B4-BE49-F238E27FC236}">
                    <a16:creationId xmlns:a16="http://schemas.microsoft.com/office/drawing/2014/main" id="{490C076B-229C-4629-AA4C-A6863568DE21}"/>
                  </a:ext>
                </a:extLst>
              </p:cNvPr>
              <p:cNvSpPr/>
              <p:nvPr/>
            </p:nvSpPr>
            <p:spPr>
              <a:xfrm>
                <a:off x="6958002" y="4448521"/>
                <a:ext cx="15336" cy="15321"/>
              </a:xfrm>
              <a:custGeom>
                <a:avLst/>
                <a:gdLst>
                  <a:gd name="connsiteX0" fmla="*/ 7668 w 15336"/>
                  <a:gd name="connsiteY0" fmla="*/ 0 h 15321"/>
                  <a:gd name="connsiteX1" fmla="*/ 0 w 15336"/>
                  <a:gd name="connsiteY1" fmla="*/ 7661 h 15321"/>
                  <a:gd name="connsiteX2" fmla="*/ 7668 w 15336"/>
                  <a:gd name="connsiteY2" fmla="*/ 15321 h 15321"/>
                  <a:gd name="connsiteX3" fmla="*/ 15336 w 15336"/>
                  <a:gd name="connsiteY3" fmla="*/ 7661 h 15321"/>
                  <a:gd name="connsiteX4" fmla="*/ 15336 w 15336"/>
                  <a:gd name="connsiteY4" fmla="*/ 7661 h 15321"/>
                  <a:gd name="connsiteX5" fmla="*/ 7668 w 15336"/>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0"/>
                    </a:moveTo>
                    <a:cubicBezTo>
                      <a:pt x="3195" y="0"/>
                      <a:pt x="0" y="3192"/>
                      <a:pt x="0" y="7661"/>
                    </a:cubicBezTo>
                    <a:cubicBezTo>
                      <a:pt x="0" y="12129"/>
                      <a:pt x="3195" y="15321"/>
                      <a:pt x="7668" y="15321"/>
                    </a:cubicBezTo>
                    <a:cubicBezTo>
                      <a:pt x="12141" y="15321"/>
                      <a:pt x="15336" y="12129"/>
                      <a:pt x="15336" y="7661"/>
                    </a:cubicBezTo>
                    <a:lnTo>
                      <a:pt x="15336" y="7661"/>
                    </a:lnTo>
                    <a:cubicBezTo>
                      <a:pt x="15336" y="3830"/>
                      <a:pt x="11501"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08" name="Graphic 4">
                <a:extLst>
                  <a:ext uri="{FF2B5EF4-FFF2-40B4-BE49-F238E27FC236}">
                    <a16:creationId xmlns:a16="http://schemas.microsoft.com/office/drawing/2014/main" id="{9582A1D9-0F55-4797-B0B5-C718DA363CDC}"/>
                  </a:ext>
                </a:extLst>
              </p:cNvPr>
              <p:cNvSpPr/>
              <p:nvPr/>
            </p:nvSpPr>
            <p:spPr>
              <a:xfrm>
                <a:off x="6988673" y="4449159"/>
                <a:ext cx="15336" cy="15321"/>
              </a:xfrm>
              <a:custGeom>
                <a:avLst/>
                <a:gdLst>
                  <a:gd name="connsiteX0" fmla="*/ 7668 w 15336"/>
                  <a:gd name="connsiteY0" fmla="*/ 15322 h 15321"/>
                  <a:gd name="connsiteX1" fmla="*/ 15336 w 15336"/>
                  <a:gd name="connsiteY1" fmla="*/ 7661 h 15321"/>
                  <a:gd name="connsiteX2" fmla="*/ 7668 w 15336"/>
                  <a:gd name="connsiteY2" fmla="*/ 0 h 15321"/>
                  <a:gd name="connsiteX3" fmla="*/ 0 w 15336"/>
                  <a:gd name="connsiteY3" fmla="*/ 7661 h 15321"/>
                  <a:gd name="connsiteX4" fmla="*/ 0 w 15336"/>
                  <a:gd name="connsiteY4" fmla="*/ 7661 h 15321"/>
                  <a:gd name="connsiteX5" fmla="*/ 7668 w 15336"/>
                  <a:gd name="connsiteY5" fmla="*/ 15322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15322"/>
                    </a:moveTo>
                    <a:cubicBezTo>
                      <a:pt x="12141" y="15322"/>
                      <a:pt x="15336" y="12130"/>
                      <a:pt x="15336" y="7661"/>
                    </a:cubicBezTo>
                    <a:cubicBezTo>
                      <a:pt x="15336" y="3192"/>
                      <a:pt x="12141" y="0"/>
                      <a:pt x="7668" y="0"/>
                    </a:cubicBezTo>
                    <a:cubicBezTo>
                      <a:pt x="3195" y="0"/>
                      <a:pt x="0" y="3192"/>
                      <a:pt x="0" y="7661"/>
                    </a:cubicBezTo>
                    <a:lnTo>
                      <a:pt x="0" y="7661"/>
                    </a:lnTo>
                    <a:cubicBezTo>
                      <a:pt x="0" y="11491"/>
                      <a:pt x="3195" y="15322"/>
                      <a:pt x="7668" y="15322"/>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09" name="Graphic 4">
                <a:extLst>
                  <a:ext uri="{FF2B5EF4-FFF2-40B4-BE49-F238E27FC236}">
                    <a16:creationId xmlns:a16="http://schemas.microsoft.com/office/drawing/2014/main" id="{FE8836FC-58E5-4C0A-8DD0-F6BED825FB7B}"/>
                  </a:ext>
                </a:extLst>
              </p:cNvPr>
              <p:cNvSpPr/>
              <p:nvPr/>
            </p:nvSpPr>
            <p:spPr>
              <a:xfrm>
                <a:off x="6865348" y="4479164"/>
                <a:ext cx="15405" cy="15321"/>
              </a:xfrm>
              <a:custGeom>
                <a:avLst/>
                <a:gdLst>
                  <a:gd name="connsiteX0" fmla="*/ 7668 w 15405"/>
                  <a:gd name="connsiteY0" fmla="*/ 0 h 15321"/>
                  <a:gd name="connsiteX1" fmla="*/ 0 w 15405"/>
                  <a:gd name="connsiteY1" fmla="*/ 7661 h 15321"/>
                  <a:gd name="connsiteX2" fmla="*/ 7668 w 15405"/>
                  <a:gd name="connsiteY2" fmla="*/ 15322 h 15321"/>
                  <a:gd name="connsiteX3" fmla="*/ 15336 w 15405"/>
                  <a:gd name="connsiteY3" fmla="*/ 7661 h 15321"/>
                  <a:gd name="connsiteX4" fmla="*/ 15336 w 15405"/>
                  <a:gd name="connsiteY4" fmla="*/ 7661 h 15321"/>
                  <a:gd name="connsiteX5" fmla="*/ 7668 w 15405"/>
                  <a:gd name="connsiteY5" fmla="*/ 0 h 15321"/>
                  <a:gd name="connsiteX6" fmla="*/ 7668 w 15405"/>
                  <a:gd name="connsiteY6"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05"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975" y="3830"/>
                      <a:pt x="12141" y="0"/>
                      <a:pt x="7668" y="0"/>
                    </a:cubicBezTo>
                    <a:cubicBezTo>
                      <a:pt x="7668" y="0"/>
                      <a:pt x="7668"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0" name="Graphic 4">
                <a:extLst>
                  <a:ext uri="{FF2B5EF4-FFF2-40B4-BE49-F238E27FC236}">
                    <a16:creationId xmlns:a16="http://schemas.microsoft.com/office/drawing/2014/main" id="{1CFB4A8C-F1C0-44B2-9184-A71AB9A27F5C}"/>
                  </a:ext>
                </a:extLst>
              </p:cNvPr>
              <p:cNvSpPr/>
              <p:nvPr/>
            </p:nvSpPr>
            <p:spPr>
              <a:xfrm>
                <a:off x="6896019" y="4479164"/>
                <a:ext cx="15405" cy="15321"/>
              </a:xfrm>
              <a:custGeom>
                <a:avLst/>
                <a:gdLst>
                  <a:gd name="connsiteX0" fmla="*/ 7668 w 15405"/>
                  <a:gd name="connsiteY0" fmla="*/ 0 h 15321"/>
                  <a:gd name="connsiteX1" fmla="*/ 0 w 15405"/>
                  <a:gd name="connsiteY1" fmla="*/ 7661 h 15321"/>
                  <a:gd name="connsiteX2" fmla="*/ 7668 w 15405"/>
                  <a:gd name="connsiteY2" fmla="*/ 15322 h 15321"/>
                  <a:gd name="connsiteX3" fmla="*/ 15336 w 15405"/>
                  <a:gd name="connsiteY3" fmla="*/ 7661 h 15321"/>
                  <a:gd name="connsiteX4" fmla="*/ 15336 w 15405"/>
                  <a:gd name="connsiteY4" fmla="*/ 7661 h 15321"/>
                  <a:gd name="connsiteX5" fmla="*/ 7668 w 1540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5"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975" y="3192"/>
                      <a:pt x="12141"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1" name="Graphic 4">
                <a:extLst>
                  <a:ext uri="{FF2B5EF4-FFF2-40B4-BE49-F238E27FC236}">
                    <a16:creationId xmlns:a16="http://schemas.microsoft.com/office/drawing/2014/main" id="{18639C9C-CCF8-470F-BC2B-71E1EE15070B}"/>
                  </a:ext>
                </a:extLst>
              </p:cNvPr>
              <p:cNvSpPr/>
              <p:nvPr/>
            </p:nvSpPr>
            <p:spPr>
              <a:xfrm>
                <a:off x="6926691" y="4479164"/>
                <a:ext cx="15405" cy="15321"/>
              </a:xfrm>
              <a:custGeom>
                <a:avLst/>
                <a:gdLst>
                  <a:gd name="connsiteX0" fmla="*/ 7668 w 15405"/>
                  <a:gd name="connsiteY0" fmla="*/ 0 h 15321"/>
                  <a:gd name="connsiteX1" fmla="*/ 0 w 15405"/>
                  <a:gd name="connsiteY1" fmla="*/ 7661 h 15321"/>
                  <a:gd name="connsiteX2" fmla="*/ 7668 w 15405"/>
                  <a:gd name="connsiteY2" fmla="*/ 15322 h 15321"/>
                  <a:gd name="connsiteX3" fmla="*/ 15336 w 15405"/>
                  <a:gd name="connsiteY3" fmla="*/ 7661 h 15321"/>
                  <a:gd name="connsiteX4" fmla="*/ 15336 w 15405"/>
                  <a:gd name="connsiteY4" fmla="*/ 7661 h 15321"/>
                  <a:gd name="connsiteX5" fmla="*/ 7668 w 1540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5"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975" y="3192"/>
                      <a:pt x="12141"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2" name="Graphic 4">
                <a:extLst>
                  <a:ext uri="{FF2B5EF4-FFF2-40B4-BE49-F238E27FC236}">
                    <a16:creationId xmlns:a16="http://schemas.microsoft.com/office/drawing/2014/main" id="{E1DA1BAF-BBB9-4A00-BFFA-70E4ADD49719}"/>
                  </a:ext>
                </a:extLst>
              </p:cNvPr>
              <p:cNvSpPr/>
              <p:nvPr/>
            </p:nvSpPr>
            <p:spPr>
              <a:xfrm>
                <a:off x="6958002" y="4479164"/>
                <a:ext cx="15336" cy="15321"/>
              </a:xfrm>
              <a:custGeom>
                <a:avLst/>
                <a:gdLst>
                  <a:gd name="connsiteX0" fmla="*/ 7668 w 15336"/>
                  <a:gd name="connsiteY0" fmla="*/ 0 h 15321"/>
                  <a:gd name="connsiteX1" fmla="*/ 0 w 15336"/>
                  <a:gd name="connsiteY1" fmla="*/ 7661 h 15321"/>
                  <a:gd name="connsiteX2" fmla="*/ 7668 w 15336"/>
                  <a:gd name="connsiteY2" fmla="*/ 15322 h 15321"/>
                  <a:gd name="connsiteX3" fmla="*/ 15336 w 15336"/>
                  <a:gd name="connsiteY3" fmla="*/ 7661 h 15321"/>
                  <a:gd name="connsiteX4" fmla="*/ 15336 w 15336"/>
                  <a:gd name="connsiteY4" fmla="*/ 7661 h 15321"/>
                  <a:gd name="connsiteX5" fmla="*/ 7668 w 15336"/>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336" y="3192"/>
                      <a:pt x="11501"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3" name="Graphic 4">
                <a:extLst>
                  <a:ext uri="{FF2B5EF4-FFF2-40B4-BE49-F238E27FC236}">
                    <a16:creationId xmlns:a16="http://schemas.microsoft.com/office/drawing/2014/main" id="{EFEBD6AF-113B-43C7-BC4A-FDEA6D545EF3}"/>
                  </a:ext>
                </a:extLst>
              </p:cNvPr>
              <p:cNvSpPr/>
              <p:nvPr/>
            </p:nvSpPr>
            <p:spPr>
              <a:xfrm>
                <a:off x="6988673" y="4479802"/>
                <a:ext cx="15336" cy="15321"/>
              </a:xfrm>
              <a:custGeom>
                <a:avLst/>
                <a:gdLst>
                  <a:gd name="connsiteX0" fmla="*/ 7668 w 15336"/>
                  <a:gd name="connsiteY0" fmla="*/ 15322 h 15321"/>
                  <a:gd name="connsiteX1" fmla="*/ 15336 w 15336"/>
                  <a:gd name="connsiteY1" fmla="*/ 7661 h 15321"/>
                  <a:gd name="connsiteX2" fmla="*/ 7668 w 15336"/>
                  <a:gd name="connsiteY2" fmla="*/ 0 h 15321"/>
                  <a:gd name="connsiteX3" fmla="*/ 0 w 15336"/>
                  <a:gd name="connsiteY3" fmla="*/ 7661 h 15321"/>
                  <a:gd name="connsiteX4" fmla="*/ 0 w 15336"/>
                  <a:gd name="connsiteY4" fmla="*/ 7661 h 15321"/>
                  <a:gd name="connsiteX5" fmla="*/ 7668 w 15336"/>
                  <a:gd name="connsiteY5" fmla="*/ 15322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15322"/>
                    </a:moveTo>
                    <a:cubicBezTo>
                      <a:pt x="12141" y="15322"/>
                      <a:pt x="15336" y="12130"/>
                      <a:pt x="15336" y="7661"/>
                    </a:cubicBezTo>
                    <a:cubicBezTo>
                      <a:pt x="15336" y="3192"/>
                      <a:pt x="12141" y="0"/>
                      <a:pt x="7668" y="0"/>
                    </a:cubicBezTo>
                    <a:cubicBezTo>
                      <a:pt x="3195" y="0"/>
                      <a:pt x="0" y="3192"/>
                      <a:pt x="0" y="7661"/>
                    </a:cubicBezTo>
                    <a:lnTo>
                      <a:pt x="0" y="7661"/>
                    </a:lnTo>
                    <a:cubicBezTo>
                      <a:pt x="0" y="11491"/>
                      <a:pt x="3195" y="15322"/>
                      <a:pt x="7668" y="15322"/>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4" name="Graphic 4">
                <a:extLst>
                  <a:ext uri="{FF2B5EF4-FFF2-40B4-BE49-F238E27FC236}">
                    <a16:creationId xmlns:a16="http://schemas.microsoft.com/office/drawing/2014/main" id="{CF72F75B-8606-44FE-A031-7C6A483ECA39}"/>
                  </a:ext>
                </a:extLst>
              </p:cNvPr>
              <p:cNvSpPr/>
              <p:nvPr/>
            </p:nvSpPr>
            <p:spPr>
              <a:xfrm>
                <a:off x="6865348" y="4509807"/>
                <a:ext cx="15405" cy="15321"/>
              </a:xfrm>
              <a:custGeom>
                <a:avLst/>
                <a:gdLst>
                  <a:gd name="connsiteX0" fmla="*/ 7668 w 15405"/>
                  <a:gd name="connsiteY0" fmla="*/ 0 h 15321"/>
                  <a:gd name="connsiteX1" fmla="*/ 0 w 15405"/>
                  <a:gd name="connsiteY1" fmla="*/ 7661 h 15321"/>
                  <a:gd name="connsiteX2" fmla="*/ 7668 w 15405"/>
                  <a:gd name="connsiteY2" fmla="*/ 15322 h 15321"/>
                  <a:gd name="connsiteX3" fmla="*/ 15336 w 15405"/>
                  <a:gd name="connsiteY3" fmla="*/ 7661 h 15321"/>
                  <a:gd name="connsiteX4" fmla="*/ 15336 w 15405"/>
                  <a:gd name="connsiteY4" fmla="*/ 7661 h 15321"/>
                  <a:gd name="connsiteX5" fmla="*/ 7668 w 15405"/>
                  <a:gd name="connsiteY5" fmla="*/ 0 h 15321"/>
                  <a:gd name="connsiteX6" fmla="*/ 7668 w 15405"/>
                  <a:gd name="connsiteY6"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05"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975" y="3831"/>
                      <a:pt x="12141" y="639"/>
                      <a:pt x="7668" y="0"/>
                    </a:cubicBezTo>
                    <a:cubicBezTo>
                      <a:pt x="7668" y="0"/>
                      <a:pt x="7668"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5" name="Graphic 4">
                <a:extLst>
                  <a:ext uri="{FF2B5EF4-FFF2-40B4-BE49-F238E27FC236}">
                    <a16:creationId xmlns:a16="http://schemas.microsoft.com/office/drawing/2014/main" id="{246A916F-D1E6-475A-B75A-A0A82C439941}"/>
                  </a:ext>
                </a:extLst>
              </p:cNvPr>
              <p:cNvSpPr/>
              <p:nvPr/>
            </p:nvSpPr>
            <p:spPr>
              <a:xfrm>
                <a:off x="6896019" y="4509807"/>
                <a:ext cx="15405" cy="15321"/>
              </a:xfrm>
              <a:custGeom>
                <a:avLst/>
                <a:gdLst>
                  <a:gd name="connsiteX0" fmla="*/ 7668 w 15405"/>
                  <a:gd name="connsiteY0" fmla="*/ 0 h 15321"/>
                  <a:gd name="connsiteX1" fmla="*/ 0 w 15405"/>
                  <a:gd name="connsiteY1" fmla="*/ 7661 h 15321"/>
                  <a:gd name="connsiteX2" fmla="*/ 7668 w 15405"/>
                  <a:gd name="connsiteY2" fmla="*/ 15322 h 15321"/>
                  <a:gd name="connsiteX3" fmla="*/ 15336 w 15405"/>
                  <a:gd name="connsiteY3" fmla="*/ 7661 h 15321"/>
                  <a:gd name="connsiteX4" fmla="*/ 15336 w 15405"/>
                  <a:gd name="connsiteY4" fmla="*/ 7661 h 15321"/>
                  <a:gd name="connsiteX5" fmla="*/ 7668 w 1540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5"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975" y="3831"/>
                      <a:pt x="12141"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6" name="Graphic 4">
                <a:extLst>
                  <a:ext uri="{FF2B5EF4-FFF2-40B4-BE49-F238E27FC236}">
                    <a16:creationId xmlns:a16="http://schemas.microsoft.com/office/drawing/2014/main" id="{2C74A965-DF32-4E7F-890A-95009C6A78C3}"/>
                  </a:ext>
                </a:extLst>
              </p:cNvPr>
              <p:cNvSpPr/>
              <p:nvPr/>
            </p:nvSpPr>
            <p:spPr>
              <a:xfrm>
                <a:off x="6926691" y="4509807"/>
                <a:ext cx="15405" cy="15321"/>
              </a:xfrm>
              <a:custGeom>
                <a:avLst/>
                <a:gdLst>
                  <a:gd name="connsiteX0" fmla="*/ 7668 w 15405"/>
                  <a:gd name="connsiteY0" fmla="*/ 0 h 15321"/>
                  <a:gd name="connsiteX1" fmla="*/ 0 w 15405"/>
                  <a:gd name="connsiteY1" fmla="*/ 7661 h 15321"/>
                  <a:gd name="connsiteX2" fmla="*/ 7668 w 15405"/>
                  <a:gd name="connsiteY2" fmla="*/ 15322 h 15321"/>
                  <a:gd name="connsiteX3" fmla="*/ 15336 w 15405"/>
                  <a:gd name="connsiteY3" fmla="*/ 7661 h 15321"/>
                  <a:gd name="connsiteX4" fmla="*/ 15336 w 15405"/>
                  <a:gd name="connsiteY4" fmla="*/ 7661 h 15321"/>
                  <a:gd name="connsiteX5" fmla="*/ 7668 w 1540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5"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975" y="3831"/>
                      <a:pt x="12141"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7" name="Graphic 4">
                <a:extLst>
                  <a:ext uri="{FF2B5EF4-FFF2-40B4-BE49-F238E27FC236}">
                    <a16:creationId xmlns:a16="http://schemas.microsoft.com/office/drawing/2014/main" id="{3FE280FC-2784-4CB9-9E5A-A1D4E56A246A}"/>
                  </a:ext>
                </a:extLst>
              </p:cNvPr>
              <p:cNvSpPr/>
              <p:nvPr/>
            </p:nvSpPr>
            <p:spPr>
              <a:xfrm>
                <a:off x="6958002" y="4509807"/>
                <a:ext cx="15336" cy="15321"/>
              </a:xfrm>
              <a:custGeom>
                <a:avLst/>
                <a:gdLst>
                  <a:gd name="connsiteX0" fmla="*/ 7668 w 15336"/>
                  <a:gd name="connsiteY0" fmla="*/ 0 h 15321"/>
                  <a:gd name="connsiteX1" fmla="*/ 0 w 15336"/>
                  <a:gd name="connsiteY1" fmla="*/ 7661 h 15321"/>
                  <a:gd name="connsiteX2" fmla="*/ 7668 w 15336"/>
                  <a:gd name="connsiteY2" fmla="*/ 15322 h 15321"/>
                  <a:gd name="connsiteX3" fmla="*/ 15336 w 15336"/>
                  <a:gd name="connsiteY3" fmla="*/ 7661 h 15321"/>
                  <a:gd name="connsiteX4" fmla="*/ 15336 w 15336"/>
                  <a:gd name="connsiteY4" fmla="*/ 7661 h 15321"/>
                  <a:gd name="connsiteX5" fmla="*/ 7668 w 15336"/>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336" y="3831"/>
                      <a:pt x="11501"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8" name="Graphic 4">
                <a:extLst>
                  <a:ext uri="{FF2B5EF4-FFF2-40B4-BE49-F238E27FC236}">
                    <a16:creationId xmlns:a16="http://schemas.microsoft.com/office/drawing/2014/main" id="{D219A3FF-8345-46FE-B9BD-7258165E68D4}"/>
                  </a:ext>
                </a:extLst>
              </p:cNvPr>
              <p:cNvSpPr/>
              <p:nvPr/>
            </p:nvSpPr>
            <p:spPr>
              <a:xfrm>
                <a:off x="6988673" y="4509807"/>
                <a:ext cx="15336" cy="15321"/>
              </a:xfrm>
              <a:custGeom>
                <a:avLst/>
                <a:gdLst>
                  <a:gd name="connsiteX0" fmla="*/ 7668 w 15336"/>
                  <a:gd name="connsiteY0" fmla="*/ 0 h 15321"/>
                  <a:gd name="connsiteX1" fmla="*/ 0 w 15336"/>
                  <a:gd name="connsiteY1" fmla="*/ 7661 h 15321"/>
                  <a:gd name="connsiteX2" fmla="*/ 7668 w 15336"/>
                  <a:gd name="connsiteY2" fmla="*/ 15322 h 15321"/>
                  <a:gd name="connsiteX3" fmla="*/ 15336 w 15336"/>
                  <a:gd name="connsiteY3" fmla="*/ 7661 h 15321"/>
                  <a:gd name="connsiteX4" fmla="*/ 15336 w 15336"/>
                  <a:gd name="connsiteY4" fmla="*/ 7661 h 15321"/>
                  <a:gd name="connsiteX5" fmla="*/ 7668 w 15336"/>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0"/>
                    </a:moveTo>
                    <a:cubicBezTo>
                      <a:pt x="3195" y="0"/>
                      <a:pt x="0" y="3192"/>
                      <a:pt x="0" y="7661"/>
                    </a:cubicBezTo>
                    <a:cubicBezTo>
                      <a:pt x="0" y="12130"/>
                      <a:pt x="3195" y="15322"/>
                      <a:pt x="7668" y="15322"/>
                    </a:cubicBezTo>
                    <a:cubicBezTo>
                      <a:pt x="12141" y="15322"/>
                      <a:pt x="15336" y="12130"/>
                      <a:pt x="15336" y="7661"/>
                    </a:cubicBezTo>
                    <a:lnTo>
                      <a:pt x="15336" y="7661"/>
                    </a:lnTo>
                    <a:cubicBezTo>
                      <a:pt x="15336" y="3831"/>
                      <a:pt x="11502"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9" name="Graphic 4">
                <a:extLst>
                  <a:ext uri="{FF2B5EF4-FFF2-40B4-BE49-F238E27FC236}">
                    <a16:creationId xmlns:a16="http://schemas.microsoft.com/office/drawing/2014/main" id="{40618435-0E19-4FA3-A365-2376ED8870FC}"/>
                  </a:ext>
                </a:extLst>
              </p:cNvPr>
              <p:cNvSpPr/>
              <p:nvPr/>
            </p:nvSpPr>
            <p:spPr>
              <a:xfrm>
                <a:off x="6865348" y="4541089"/>
                <a:ext cx="15336" cy="15321"/>
              </a:xfrm>
              <a:custGeom>
                <a:avLst/>
                <a:gdLst>
                  <a:gd name="connsiteX0" fmla="*/ 7668 w 15336"/>
                  <a:gd name="connsiteY0" fmla="*/ 0 h 15321"/>
                  <a:gd name="connsiteX1" fmla="*/ 0 w 15336"/>
                  <a:gd name="connsiteY1" fmla="*/ 7661 h 15321"/>
                  <a:gd name="connsiteX2" fmla="*/ 7668 w 15336"/>
                  <a:gd name="connsiteY2" fmla="*/ 15321 h 15321"/>
                  <a:gd name="connsiteX3" fmla="*/ 15336 w 15336"/>
                  <a:gd name="connsiteY3" fmla="*/ 7661 h 15321"/>
                  <a:gd name="connsiteX4" fmla="*/ 15336 w 15336"/>
                  <a:gd name="connsiteY4" fmla="*/ 7661 h 15321"/>
                  <a:gd name="connsiteX5" fmla="*/ 7668 w 15336"/>
                  <a:gd name="connsiteY5" fmla="*/ 0 h 15321"/>
                  <a:gd name="connsiteX6" fmla="*/ 7668 w 15336"/>
                  <a:gd name="connsiteY6"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36" h="15321">
                    <a:moveTo>
                      <a:pt x="7668" y="0"/>
                    </a:moveTo>
                    <a:cubicBezTo>
                      <a:pt x="3195" y="0"/>
                      <a:pt x="0" y="3192"/>
                      <a:pt x="0" y="7661"/>
                    </a:cubicBezTo>
                    <a:cubicBezTo>
                      <a:pt x="0" y="12129"/>
                      <a:pt x="3195" y="15321"/>
                      <a:pt x="7668" y="15321"/>
                    </a:cubicBezTo>
                    <a:cubicBezTo>
                      <a:pt x="12141" y="15321"/>
                      <a:pt x="15336" y="12129"/>
                      <a:pt x="15336" y="7661"/>
                    </a:cubicBezTo>
                    <a:cubicBezTo>
                      <a:pt x="15336" y="7661"/>
                      <a:pt x="15336" y="7661"/>
                      <a:pt x="15336" y="7661"/>
                    </a:cubicBezTo>
                    <a:cubicBezTo>
                      <a:pt x="15336" y="3192"/>
                      <a:pt x="12141" y="0"/>
                      <a:pt x="7668" y="0"/>
                    </a:cubicBezTo>
                    <a:cubicBezTo>
                      <a:pt x="7668" y="0"/>
                      <a:pt x="7668"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20" name="Graphic 4">
                <a:extLst>
                  <a:ext uri="{FF2B5EF4-FFF2-40B4-BE49-F238E27FC236}">
                    <a16:creationId xmlns:a16="http://schemas.microsoft.com/office/drawing/2014/main" id="{E3689523-3FAD-4B9E-8566-F1F9F79B811A}"/>
                  </a:ext>
                </a:extLst>
              </p:cNvPr>
              <p:cNvSpPr/>
              <p:nvPr/>
            </p:nvSpPr>
            <p:spPr>
              <a:xfrm>
                <a:off x="6896019" y="4541089"/>
                <a:ext cx="15405" cy="15321"/>
              </a:xfrm>
              <a:custGeom>
                <a:avLst/>
                <a:gdLst>
                  <a:gd name="connsiteX0" fmla="*/ 7668 w 15405"/>
                  <a:gd name="connsiteY0" fmla="*/ 0 h 15321"/>
                  <a:gd name="connsiteX1" fmla="*/ 0 w 15405"/>
                  <a:gd name="connsiteY1" fmla="*/ 7661 h 15321"/>
                  <a:gd name="connsiteX2" fmla="*/ 7668 w 15405"/>
                  <a:gd name="connsiteY2" fmla="*/ 15321 h 15321"/>
                  <a:gd name="connsiteX3" fmla="*/ 15336 w 15405"/>
                  <a:gd name="connsiteY3" fmla="*/ 7661 h 15321"/>
                  <a:gd name="connsiteX4" fmla="*/ 15336 w 15405"/>
                  <a:gd name="connsiteY4" fmla="*/ 7661 h 15321"/>
                  <a:gd name="connsiteX5" fmla="*/ 7668 w 1540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5" h="15321">
                    <a:moveTo>
                      <a:pt x="7668" y="0"/>
                    </a:moveTo>
                    <a:cubicBezTo>
                      <a:pt x="3195" y="0"/>
                      <a:pt x="0" y="3192"/>
                      <a:pt x="0" y="7661"/>
                    </a:cubicBezTo>
                    <a:cubicBezTo>
                      <a:pt x="0" y="12129"/>
                      <a:pt x="3195" y="15321"/>
                      <a:pt x="7668" y="15321"/>
                    </a:cubicBezTo>
                    <a:cubicBezTo>
                      <a:pt x="12141" y="15321"/>
                      <a:pt x="15336" y="12129"/>
                      <a:pt x="15336" y="7661"/>
                    </a:cubicBezTo>
                    <a:cubicBezTo>
                      <a:pt x="15336" y="7661"/>
                      <a:pt x="15336" y="7661"/>
                      <a:pt x="15336" y="7661"/>
                    </a:cubicBezTo>
                    <a:cubicBezTo>
                      <a:pt x="15975" y="3192"/>
                      <a:pt x="12141"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21" name="Graphic 4">
                <a:extLst>
                  <a:ext uri="{FF2B5EF4-FFF2-40B4-BE49-F238E27FC236}">
                    <a16:creationId xmlns:a16="http://schemas.microsoft.com/office/drawing/2014/main" id="{B42022F7-E827-4924-AD29-AFF16295DBC3}"/>
                  </a:ext>
                </a:extLst>
              </p:cNvPr>
              <p:cNvSpPr/>
              <p:nvPr/>
            </p:nvSpPr>
            <p:spPr>
              <a:xfrm>
                <a:off x="6926691" y="4541089"/>
                <a:ext cx="15405" cy="15321"/>
              </a:xfrm>
              <a:custGeom>
                <a:avLst/>
                <a:gdLst>
                  <a:gd name="connsiteX0" fmla="*/ 7668 w 15405"/>
                  <a:gd name="connsiteY0" fmla="*/ 0 h 15321"/>
                  <a:gd name="connsiteX1" fmla="*/ 0 w 15405"/>
                  <a:gd name="connsiteY1" fmla="*/ 7661 h 15321"/>
                  <a:gd name="connsiteX2" fmla="*/ 7668 w 15405"/>
                  <a:gd name="connsiteY2" fmla="*/ 15321 h 15321"/>
                  <a:gd name="connsiteX3" fmla="*/ 15336 w 15405"/>
                  <a:gd name="connsiteY3" fmla="*/ 7661 h 15321"/>
                  <a:gd name="connsiteX4" fmla="*/ 15336 w 15405"/>
                  <a:gd name="connsiteY4" fmla="*/ 7661 h 15321"/>
                  <a:gd name="connsiteX5" fmla="*/ 7668 w 15405"/>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05" h="15321">
                    <a:moveTo>
                      <a:pt x="7668" y="0"/>
                    </a:moveTo>
                    <a:cubicBezTo>
                      <a:pt x="3195" y="0"/>
                      <a:pt x="0" y="3192"/>
                      <a:pt x="0" y="7661"/>
                    </a:cubicBezTo>
                    <a:cubicBezTo>
                      <a:pt x="0" y="12129"/>
                      <a:pt x="3195" y="15321"/>
                      <a:pt x="7668" y="15321"/>
                    </a:cubicBezTo>
                    <a:cubicBezTo>
                      <a:pt x="12141" y="15321"/>
                      <a:pt x="15336" y="12129"/>
                      <a:pt x="15336" y="7661"/>
                    </a:cubicBezTo>
                    <a:cubicBezTo>
                      <a:pt x="15336" y="7661"/>
                      <a:pt x="15336" y="7661"/>
                      <a:pt x="15336" y="7661"/>
                    </a:cubicBezTo>
                    <a:cubicBezTo>
                      <a:pt x="15975" y="3192"/>
                      <a:pt x="12141"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22" name="Graphic 4">
                <a:extLst>
                  <a:ext uri="{FF2B5EF4-FFF2-40B4-BE49-F238E27FC236}">
                    <a16:creationId xmlns:a16="http://schemas.microsoft.com/office/drawing/2014/main" id="{A609390E-928B-4992-89E4-80CA1E8F65C1}"/>
                  </a:ext>
                </a:extLst>
              </p:cNvPr>
              <p:cNvSpPr/>
              <p:nvPr/>
            </p:nvSpPr>
            <p:spPr>
              <a:xfrm>
                <a:off x="6958002" y="4541089"/>
                <a:ext cx="15336" cy="15321"/>
              </a:xfrm>
              <a:custGeom>
                <a:avLst/>
                <a:gdLst>
                  <a:gd name="connsiteX0" fmla="*/ 7668 w 15336"/>
                  <a:gd name="connsiteY0" fmla="*/ 0 h 15321"/>
                  <a:gd name="connsiteX1" fmla="*/ 0 w 15336"/>
                  <a:gd name="connsiteY1" fmla="*/ 7661 h 15321"/>
                  <a:gd name="connsiteX2" fmla="*/ 7668 w 15336"/>
                  <a:gd name="connsiteY2" fmla="*/ 15321 h 15321"/>
                  <a:gd name="connsiteX3" fmla="*/ 15336 w 15336"/>
                  <a:gd name="connsiteY3" fmla="*/ 7661 h 15321"/>
                  <a:gd name="connsiteX4" fmla="*/ 15336 w 15336"/>
                  <a:gd name="connsiteY4" fmla="*/ 7661 h 15321"/>
                  <a:gd name="connsiteX5" fmla="*/ 7668 w 15336"/>
                  <a:gd name="connsiteY5" fmla="*/ 0 h 1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6" h="15321">
                    <a:moveTo>
                      <a:pt x="7668" y="0"/>
                    </a:moveTo>
                    <a:cubicBezTo>
                      <a:pt x="3195" y="0"/>
                      <a:pt x="0" y="3192"/>
                      <a:pt x="0" y="7661"/>
                    </a:cubicBezTo>
                    <a:cubicBezTo>
                      <a:pt x="0" y="12129"/>
                      <a:pt x="3195" y="15321"/>
                      <a:pt x="7668" y="15321"/>
                    </a:cubicBezTo>
                    <a:cubicBezTo>
                      <a:pt x="12141" y="15321"/>
                      <a:pt x="15336" y="12129"/>
                      <a:pt x="15336" y="7661"/>
                    </a:cubicBezTo>
                    <a:cubicBezTo>
                      <a:pt x="15336" y="7661"/>
                      <a:pt x="15336" y="7661"/>
                      <a:pt x="15336" y="7661"/>
                    </a:cubicBezTo>
                    <a:cubicBezTo>
                      <a:pt x="15336" y="3192"/>
                      <a:pt x="11501" y="0"/>
                      <a:pt x="7668" y="0"/>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201" name="TextBox 21">
              <a:extLst>
                <a:ext uri="{FF2B5EF4-FFF2-40B4-BE49-F238E27FC236}">
                  <a16:creationId xmlns:a16="http://schemas.microsoft.com/office/drawing/2014/main" id="{18D5F8DB-0D7D-4DB6-BA3E-D468FDEC23BE}"/>
                </a:ext>
              </a:extLst>
            </p:cNvPr>
            <p:cNvSpPr txBox="1"/>
            <p:nvPr/>
          </p:nvSpPr>
          <p:spPr>
            <a:xfrm>
              <a:off x="2373687" y="4998090"/>
              <a:ext cx="2335473" cy="214995"/>
            </a:xfrm>
            <a:prstGeom prst="rect">
              <a:avLst/>
            </a:prstGeom>
            <a:noFill/>
          </p:spPr>
          <p:txBody>
            <a:bodyPr wrap="square" lIns="0" tIns="0" rIns="0" bIns="0" rtlCol="0">
              <a:spAutoFit/>
            </a:bodyPr>
            <a:lstStyle/>
            <a:p>
              <a:pPr marL="0" marR="0" lvl="0" indent="0" algn="l" defTabSz="1219170" rtl="0" eaLnBrk="0" fontAlgn="base" latinLnBrk="0" hangingPunct="0">
                <a:lnSpc>
                  <a:spcPct val="11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Verdana"/>
                  <a:ea typeface="+mn-ea"/>
                  <a:cs typeface="+mn-cs"/>
                </a:rPr>
                <a:t>Janvier 2022</a:t>
              </a:r>
              <a:endParaRPr kumimoji="0" lang="en-GB" sz="1100" b="1"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223" name="Gruppieren 322">
            <a:extLst>
              <a:ext uri="{FF2B5EF4-FFF2-40B4-BE49-F238E27FC236}">
                <a16:creationId xmlns:a16="http://schemas.microsoft.com/office/drawing/2014/main" id="{E4C5BA64-9A81-4C15-9447-7CE49E81DA62}"/>
              </a:ext>
            </a:extLst>
          </p:cNvPr>
          <p:cNvGrpSpPr/>
          <p:nvPr/>
        </p:nvGrpSpPr>
        <p:grpSpPr>
          <a:xfrm>
            <a:off x="1138075" y="3497068"/>
            <a:ext cx="3304876" cy="758952"/>
            <a:chOff x="1404284" y="3396297"/>
            <a:chExt cx="3304876" cy="758952"/>
          </a:xfrm>
        </p:grpSpPr>
        <p:grpSp>
          <p:nvGrpSpPr>
            <p:cNvPr id="224" name="Graphic 4">
              <a:extLst>
                <a:ext uri="{FF2B5EF4-FFF2-40B4-BE49-F238E27FC236}">
                  <a16:creationId xmlns:a16="http://schemas.microsoft.com/office/drawing/2014/main" id="{C5C29DBE-13DA-47CB-880B-458C2FB03CC0}"/>
                </a:ext>
              </a:extLst>
            </p:cNvPr>
            <p:cNvGrpSpPr/>
            <p:nvPr/>
          </p:nvGrpSpPr>
          <p:grpSpPr>
            <a:xfrm>
              <a:off x="1404284" y="3396297"/>
              <a:ext cx="758321" cy="758952"/>
              <a:chOff x="467743" y="4793256"/>
              <a:chExt cx="361670" cy="361971"/>
            </a:xfrm>
            <a:solidFill>
              <a:srgbClr val="2EA836"/>
            </a:solidFill>
          </p:grpSpPr>
          <p:sp>
            <p:nvSpPr>
              <p:cNvPr id="226" name="Graphic 4">
                <a:extLst>
                  <a:ext uri="{FF2B5EF4-FFF2-40B4-BE49-F238E27FC236}">
                    <a16:creationId xmlns:a16="http://schemas.microsoft.com/office/drawing/2014/main" id="{479307F8-3913-4493-B6A6-717640B2CD40}"/>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27" name="Graphic 4">
                <a:extLst>
                  <a:ext uri="{FF2B5EF4-FFF2-40B4-BE49-F238E27FC236}">
                    <a16:creationId xmlns:a16="http://schemas.microsoft.com/office/drawing/2014/main" id="{3E5F5797-490A-406B-8419-019D58A21F21}"/>
                  </a:ext>
                </a:extLst>
              </p:cNvPr>
              <p:cNvSpPr/>
              <p:nvPr/>
            </p:nvSpPr>
            <p:spPr>
              <a:xfrm>
                <a:off x="528447" y="4853904"/>
                <a:ext cx="240261" cy="240037"/>
              </a:xfrm>
              <a:custGeom>
                <a:avLst/>
                <a:gdLst>
                  <a:gd name="connsiteX0" fmla="*/ 120131 w 240261"/>
                  <a:gd name="connsiteY0" fmla="*/ 0 h 240037"/>
                  <a:gd name="connsiteX1" fmla="*/ 0 w 240261"/>
                  <a:gd name="connsiteY1" fmla="*/ 120019 h 240037"/>
                  <a:gd name="connsiteX2" fmla="*/ 120131 w 240261"/>
                  <a:gd name="connsiteY2" fmla="*/ 240038 h 240037"/>
                  <a:gd name="connsiteX3" fmla="*/ 240262 w 240261"/>
                  <a:gd name="connsiteY3" fmla="*/ 120019 h 240037"/>
                  <a:gd name="connsiteX4" fmla="*/ 240262 w 240261"/>
                  <a:gd name="connsiteY4" fmla="*/ 120019 h 240037"/>
                  <a:gd name="connsiteX5" fmla="*/ 120131 w 240261"/>
                  <a:gd name="connsiteY5" fmla="*/ 0 h 240037"/>
                  <a:gd name="connsiteX6" fmla="*/ 214702 w 240261"/>
                  <a:gd name="connsiteY6" fmla="*/ 170452 h 240037"/>
                  <a:gd name="connsiteX7" fmla="*/ 162943 w 240261"/>
                  <a:gd name="connsiteY7" fmla="*/ 170452 h 240037"/>
                  <a:gd name="connsiteX8" fmla="*/ 166777 w 240261"/>
                  <a:gd name="connsiteY8" fmla="*/ 126403 h 240037"/>
                  <a:gd name="connsiteX9" fmla="*/ 226843 w 240261"/>
                  <a:gd name="connsiteY9" fmla="*/ 126403 h 240037"/>
                  <a:gd name="connsiteX10" fmla="*/ 214702 w 240261"/>
                  <a:gd name="connsiteY10" fmla="*/ 170452 h 240037"/>
                  <a:gd name="connsiteX11" fmla="*/ 120131 w 240261"/>
                  <a:gd name="connsiteY11" fmla="*/ 227270 h 240037"/>
                  <a:gd name="connsiteX12" fmla="*/ 93293 w 240261"/>
                  <a:gd name="connsiteY12" fmla="*/ 183220 h 240037"/>
                  <a:gd name="connsiteX13" fmla="*/ 147608 w 240261"/>
                  <a:gd name="connsiteY13" fmla="*/ 183220 h 240037"/>
                  <a:gd name="connsiteX14" fmla="*/ 120131 w 240261"/>
                  <a:gd name="connsiteY14" fmla="*/ 227270 h 240037"/>
                  <a:gd name="connsiteX15" fmla="*/ 120131 w 240261"/>
                  <a:gd name="connsiteY15" fmla="*/ 227270 h 240037"/>
                  <a:gd name="connsiteX16" fmla="*/ 90098 w 240261"/>
                  <a:gd name="connsiteY16" fmla="*/ 170452 h 240037"/>
                  <a:gd name="connsiteX17" fmla="*/ 85625 w 240261"/>
                  <a:gd name="connsiteY17" fmla="*/ 126403 h 240037"/>
                  <a:gd name="connsiteX18" fmla="*/ 153998 w 240261"/>
                  <a:gd name="connsiteY18" fmla="*/ 126403 h 240037"/>
                  <a:gd name="connsiteX19" fmla="*/ 149525 w 240261"/>
                  <a:gd name="connsiteY19" fmla="*/ 170452 h 240037"/>
                  <a:gd name="connsiteX20" fmla="*/ 90098 w 240261"/>
                  <a:gd name="connsiteY20" fmla="*/ 170452 h 240037"/>
                  <a:gd name="connsiteX21" fmla="*/ 13419 w 240261"/>
                  <a:gd name="connsiteY21" fmla="*/ 126403 h 240037"/>
                  <a:gd name="connsiteX22" fmla="*/ 73484 w 240261"/>
                  <a:gd name="connsiteY22" fmla="*/ 126403 h 240037"/>
                  <a:gd name="connsiteX23" fmla="*/ 77318 w 240261"/>
                  <a:gd name="connsiteY23" fmla="*/ 170452 h 240037"/>
                  <a:gd name="connsiteX24" fmla="*/ 25560 w 240261"/>
                  <a:gd name="connsiteY24" fmla="*/ 170452 h 240037"/>
                  <a:gd name="connsiteX25" fmla="*/ 13419 w 240261"/>
                  <a:gd name="connsiteY25" fmla="*/ 126403 h 240037"/>
                  <a:gd name="connsiteX26" fmla="*/ 25560 w 240261"/>
                  <a:gd name="connsiteY26" fmla="*/ 69585 h 240037"/>
                  <a:gd name="connsiteX27" fmla="*/ 77318 w 240261"/>
                  <a:gd name="connsiteY27" fmla="*/ 69585 h 240037"/>
                  <a:gd name="connsiteX28" fmla="*/ 73484 w 240261"/>
                  <a:gd name="connsiteY28" fmla="*/ 113635 h 240037"/>
                  <a:gd name="connsiteX29" fmla="*/ 13419 w 240261"/>
                  <a:gd name="connsiteY29" fmla="*/ 113635 h 240037"/>
                  <a:gd name="connsiteX30" fmla="*/ 25560 w 240261"/>
                  <a:gd name="connsiteY30" fmla="*/ 69585 h 240037"/>
                  <a:gd name="connsiteX31" fmla="*/ 120131 w 240261"/>
                  <a:gd name="connsiteY31" fmla="*/ 12768 h 240037"/>
                  <a:gd name="connsiteX32" fmla="*/ 146969 w 240261"/>
                  <a:gd name="connsiteY32" fmla="*/ 56817 h 240037"/>
                  <a:gd name="connsiteX33" fmla="*/ 92654 w 240261"/>
                  <a:gd name="connsiteY33" fmla="*/ 56817 h 240037"/>
                  <a:gd name="connsiteX34" fmla="*/ 120131 w 240261"/>
                  <a:gd name="connsiteY34" fmla="*/ 12768 h 240037"/>
                  <a:gd name="connsiteX35" fmla="*/ 120131 w 240261"/>
                  <a:gd name="connsiteY35" fmla="*/ 12768 h 240037"/>
                  <a:gd name="connsiteX36" fmla="*/ 150164 w 240261"/>
                  <a:gd name="connsiteY36" fmla="*/ 69585 h 240037"/>
                  <a:gd name="connsiteX37" fmla="*/ 154637 w 240261"/>
                  <a:gd name="connsiteY37" fmla="*/ 113635 h 240037"/>
                  <a:gd name="connsiteX38" fmla="*/ 86264 w 240261"/>
                  <a:gd name="connsiteY38" fmla="*/ 113635 h 240037"/>
                  <a:gd name="connsiteX39" fmla="*/ 90737 w 240261"/>
                  <a:gd name="connsiteY39" fmla="*/ 69585 h 240037"/>
                  <a:gd name="connsiteX40" fmla="*/ 150164 w 240261"/>
                  <a:gd name="connsiteY40" fmla="*/ 69585 h 240037"/>
                  <a:gd name="connsiteX41" fmla="*/ 166777 w 240261"/>
                  <a:gd name="connsiteY41" fmla="*/ 113635 h 240037"/>
                  <a:gd name="connsiteX42" fmla="*/ 162943 w 240261"/>
                  <a:gd name="connsiteY42" fmla="*/ 69585 h 240037"/>
                  <a:gd name="connsiteX43" fmla="*/ 214702 w 240261"/>
                  <a:gd name="connsiteY43" fmla="*/ 69585 h 240037"/>
                  <a:gd name="connsiteX44" fmla="*/ 226843 w 240261"/>
                  <a:gd name="connsiteY44" fmla="*/ 113635 h 240037"/>
                  <a:gd name="connsiteX45" fmla="*/ 166777 w 240261"/>
                  <a:gd name="connsiteY45" fmla="*/ 113635 h 240037"/>
                  <a:gd name="connsiteX46" fmla="*/ 206395 w 240261"/>
                  <a:gd name="connsiteY46" fmla="*/ 56817 h 240037"/>
                  <a:gd name="connsiteX47" fmla="*/ 160387 w 240261"/>
                  <a:gd name="connsiteY47" fmla="*/ 56817 h 240037"/>
                  <a:gd name="connsiteX48" fmla="*/ 144413 w 240261"/>
                  <a:gd name="connsiteY48" fmla="*/ 15321 h 240037"/>
                  <a:gd name="connsiteX49" fmla="*/ 206395 w 240261"/>
                  <a:gd name="connsiteY49" fmla="*/ 56817 h 240037"/>
                  <a:gd name="connsiteX50" fmla="*/ 206395 w 240261"/>
                  <a:gd name="connsiteY50" fmla="*/ 56817 h 240037"/>
                  <a:gd name="connsiteX51" fmla="*/ 95849 w 240261"/>
                  <a:gd name="connsiteY51" fmla="*/ 15321 h 240037"/>
                  <a:gd name="connsiteX52" fmla="*/ 79874 w 240261"/>
                  <a:gd name="connsiteY52" fmla="*/ 56817 h 240037"/>
                  <a:gd name="connsiteX53" fmla="*/ 33867 w 240261"/>
                  <a:gd name="connsiteY53" fmla="*/ 56817 h 240037"/>
                  <a:gd name="connsiteX54" fmla="*/ 95849 w 240261"/>
                  <a:gd name="connsiteY54" fmla="*/ 15321 h 240037"/>
                  <a:gd name="connsiteX55" fmla="*/ 95849 w 240261"/>
                  <a:gd name="connsiteY55" fmla="*/ 15321 h 240037"/>
                  <a:gd name="connsiteX56" fmla="*/ 33867 w 240261"/>
                  <a:gd name="connsiteY56" fmla="*/ 183220 h 240037"/>
                  <a:gd name="connsiteX57" fmla="*/ 79874 w 240261"/>
                  <a:gd name="connsiteY57" fmla="*/ 183220 h 240037"/>
                  <a:gd name="connsiteX58" fmla="*/ 95849 w 240261"/>
                  <a:gd name="connsiteY58" fmla="*/ 224716 h 240037"/>
                  <a:gd name="connsiteX59" fmla="*/ 33867 w 240261"/>
                  <a:gd name="connsiteY59" fmla="*/ 183220 h 240037"/>
                  <a:gd name="connsiteX60" fmla="*/ 144413 w 240261"/>
                  <a:gd name="connsiteY60" fmla="*/ 224716 h 240037"/>
                  <a:gd name="connsiteX61" fmla="*/ 160387 w 240261"/>
                  <a:gd name="connsiteY61" fmla="*/ 183220 h 240037"/>
                  <a:gd name="connsiteX62" fmla="*/ 206395 w 240261"/>
                  <a:gd name="connsiteY62" fmla="*/ 183220 h 240037"/>
                  <a:gd name="connsiteX63" fmla="*/ 144413 w 240261"/>
                  <a:gd name="connsiteY63" fmla="*/ 224716 h 240037"/>
                  <a:gd name="connsiteX64" fmla="*/ 144413 w 240261"/>
                  <a:gd name="connsiteY64" fmla="*/ 224716 h 24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40261" h="240037">
                    <a:moveTo>
                      <a:pt x="120131" y="0"/>
                    </a:moveTo>
                    <a:cubicBezTo>
                      <a:pt x="53675" y="0"/>
                      <a:pt x="0" y="53625"/>
                      <a:pt x="0" y="120019"/>
                    </a:cubicBezTo>
                    <a:cubicBezTo>
                      <a:pt x="0" y="186412"/>
                      <a:pt x="53675" y="240038"/>
                      <a:pt x="120131" y="240038"/>
                    </a:cubicBezTo>
                    <a:cubicBezTo>
                      <a:pt x="186586" y="240038"/>
                      <a:pt x="240262" y="186412"/>
                      <a:pt x="240262" y="120019"/>
                    </a:cubicBezTo>
                    <a:cubicBezTo>
                      <a:pt x="240262" y="120019"/>
                      <a:pt x="240262" y="120019"/>
                      <a:pt x="240262" y="120019"/>
                    </a:cubicBezTo>
                    <a:cubicBezTo>
                      <a:pt x="240262" y="53625"/>
                      <a:pt x="186586" y="0"/>
                      <a:pt x="120131" y="0"/>
                    </a:cubicBezTo>
                    <a:close/>
                    <a:moveTo>
                      <a:pt x="214702" y="170452"/>
                    </a:moveTo>
                    <a:lnTo>
                      <a:pt x="162943" y="170452"/>
                    </a:lnTo>
                    <a:cubicBezTo>
                      <a:pt x="165499" y="155769"/>
                      <a:pt x="166777" y="141086"/>
                      <a:pt x="166777" y="126403"/>
                    </a:cubicBezTo>
                    <a:lnTo>
                      <a:pt x="226843" y="126403"/>
                    </a:lnTo>
                    <a:cubicBezTo>
                      <a:pt x="226204" y="141724"/>
                      <a:pt x="221731" y="157046"/>
                      <a:pt x="214702" y="170452"/>
                    </a:cubicBezTo>
                    <a:close/>
                    <a:moveTo>
                      <a:pt x="120131" y="227270"/>
                    </a:moveTo>
                    <a:cubicBezTo>
                      <a:pt x="110546" y="227270"/>
                      <a:pt x="99683" y="210033"/>
                      <a:pt x="93293" y="183220"/>
                    </a:cubicBezTo>
                    <a:lnTo>
                      <a:pt x="147608" y="183220"/>
                    </a:lnTo>
                    <a:cubicBezTo>
                      <a:pt x="140579" y="210033"/>
                      <a:pt x="129716" y="227270"/>
                      <a:pt x="120131" y="227270"/>
                    </a:cubicBezTo>
                    <a:lnTo>
                      <a:pt x="120131" y="227270"/>
                    </a:lnTo>
                    <a:close/>
                    <a:moveTo>
                      <a:pt x="90098" y="170452"/>
                    </a:moveTo>
                    <a:cubicBezTo>
                      <a:pt x="87542" y="155769"/>
                      <a:pt x="86264" y="141086"/>
                      <a:pt x="85625" y="126403"/>
                    </a:cubicBezTo>
                    <a:lnTo>
                      <a:pt x="153998" y="126403"/>
                    </a:lnTo>
                    <a:cubicBezTo>
                      <a:pt x="153998" y="141086"/>
                      <a:pt x="152081" y="155769"/>
                      <a:pt x="149525" y="170452"/>
                    </a:cubicBezTo>
                    <a:lnTo>
                      <a:pt x="90098" y="170452"/>
                    </a:lnTo>
                    <a:close/>
                    <a:moveTo>
                      <a:pt x="13419" y="126403"/>
                    </a:moveTo>
                    <a:lnTo>
                      <a:pt x="73484" y="126403"/>
                    </a:lnTo>
                    <a:cubicBezTo>
                      <a:pt x="73484" y="141086"/>
                      <a:pt x="75401" y="155769"/>
                      <a:pt x="77318" y="170452"/>
                    </a:cubicBezTo>
                    <a:lnTo>
                      <a:pt x="25560" y="170452"/>
                    </a:lnTo>
                    <a:cubicBezTo>
                      <a:pt x="17892" y="157046"/>
                      <a:pt x="14058" y="141724"/>
                      <a:pt x="13419" y="126403"/>
                    </a:cubicBezTo>
                    <a:close/>
                    <a:moveTo>
                      <a:pt x="25560" y="69585"/>
                    </a:moveTo>
                    <a:lnTo>
                      <a:pt x="77318" y="69585"/>
                    </a:lnTo>
                    <a:cubicBezTo>
                      <a:pt x="74762" y="84269"/>
                      <a:pt x="73484" y="98952"/>
                      <a:pt x="73484" y="113635"/>
                    </a:cubicBezTo>
                    <a:lnTo>
                      <a:pt x="13419" y="113635"/>
                    </a:lnTo>
                    <a:cubicBezTo>
                      <a:pt x="14058" y="98313"/>
                      <a:pt x="17892" y="82992"/>
                      <a:pt x="25560" y="69585"/>
                    </a:cubicBezTo>
                    <a:close/>
                    <a:moveTo>
                      <a:pt x="120131" y="12768"/>
                    </a:moveTo>
                    <a:cubicBezTo>
                      <a:pt x="129716" y="12768"/>
                      <a:pt x="140579" y="30005"/>
                      <a:pt x="146969" y="56817"/>
                    </a:cubicBezTo>
                    <a:lnTo>
                      <a:pt x="92654" y="56817"/>
                    </a:lnTo>
                    <a:cubicBezTo>
                      <a:pt x="99683" y="30005"/>
                      <a:pt x="110546" y="12768"/>
                      <a:pt x="120131" y="12768"/>
                    </a:cubicBezTo>
                    <a:lnTo>
                      <a:pt x="120131" y="12768"/>
                    </a:lnTo>
                    <a:close/>
                    <a:moveTo>
                      <a:pt x="150164" y="69585"/>
                    </a:moveTo>
                    <a:cubicBezTo>
                      <a:pt x="152720" y="84269"/>
                      <a:pt x="153998" y="98952"/>
                      <a:pt x="154637" y="113635"/>
                    </a:cubicBezTo>
                    <a:lnTo>
                      <a:pt x="86264" y="113635"/>
                    </a:lnTo>
                    <a:cubicBezTo>
                      <a:pt x="86264" y="98952"/>
                      <a:pt x="88181" y="84269"/>
                      <a:pt x="90737" y="69585"/>
                    </a:cubicBezTo>
                    <a:lnTo>
                      <a:pt x="150164" y="69585"/>
                    </a:lnTo>
                    <a:close/>
                    <a:moveTo>
                      <a:pt x="166777" y="113635"/>
                    </a:moveTo>
                    <a:cubicBezTo>
                      <a:pt x="166777" y="98952"/>
                      <a:pt x="164860" y="84269"/>
                      <a:pt x="162943" y="69585"/>
                    </a:cubicBezTo>
                    <a:lnTo>
                      <a:pt x="214702" y="69585"/>
                    </a:lnTo>
                    <a:cubicBezTo>
                      <a:pt x="221731" y="82992"/>
                      <a:pt x="226204" y="98313"/>
                      <a:pt x="226843" y="113635"/>
                    </a:cubicBezTo>
                    <a:lnTo>
                      <a:pt x="166777" y="113635"/>
                    </a:lnTo>
                    <a:close/>
                    <a:moveTo>
                      <a:pt x="206395" y="56817"/>
                    </a:moveTo>
                    <a:lnTo>
                      <a:pt x="160387" y="56817"/>
                    </a:lnTo>
                    <a:cubicBezTo>
                      <a:pt x="157192" y="42134"/>
                      <a:pt x="152081" y="28089"/>
                      <a:pt x="144413" y="15321"/>
                    </a:cubicBezTo>
                    <a:cubicBezTo>
                      <a:pt x="169333" y="21705"/>
                      <a:pt x="191059" y="36389"/>
                      <a:pt x="206395" y="56817"/>
                    </a:cubicBezTo>
                    <a:lnTo>
                      <a:pt x="206395" y="56817"/>
                    </a:lnTo>
                    <a:close/>
                    <a:moveTo>
                      <a:pt x="95849" y="15321"/>
                    </a:moveTo>
                    <a:cubicBezTo>
                      <a:pt x="88181" y="28089"/>
                      <a:pt x="82430" y="42134"/>
                      <a:pt x="79874" y="56817"/>
                    </a:cubicBezTo>
                    <a:lnTo>
                      <a:pt x="33867" y="56817"/>
                    </a:lnTo>
                    <a:cubicBezTo>
                      <a:pt x="49203" y="36389"/>
                      <a:pt x="70928" y="21705"/>
                      <a:pt x="95849" y="15321"/>
                    </a:cubicBezTo>
                    <a:lnTo>
                      <a:pt x="95849" y="15321"/>
                    </a:lnTo>
                    <a:close/>
                    <a:moveTo>
                      <a:pt x="33867" y="183220"/>
                    </a:moveTo>
                    <a:lnTo>
                      <a:pt x="79874" y="183220"/>
                    </a:lnTo>
                    <a:cubicBezTo>
                      <a:pt x="83069" y="197903"/>
                      <a:pt x="88181" y="211948"/>
                      <a:pt x="95849" y="224716"/>
                    </a:cubicBezTo>
                    <a:cubicBezTo>
                      <a:pt x="70928" y="218332"/>
                      <a:pt x="49203" y="203649"/>
                      <a:pt x="33867" y="183220"/>
                    </a:cubicBezTo>
                    <a:close/>
                    <a:moveTo>
                      <a:pt x="144413" y="224716"/>
                    </a:moveTo>
                    <a:cubicBezTo>
                      <a:pt x="152081" y="211948"/>
                      <a:pt x="157831" y="197903"/>
                      <a:pt x="160387" y="183220"/>
                    </a:cubicBezTo>
                    <a:lnTo>
                      <a:pt x="206395" y="183220"/>
                    </a:lnTo>
                    <a:cubicBezTo>
                      <a:pt x="191059" y="203649"/>
                      <a:pt x="169333" y="218332"/>
                      <a:pt x="144413" y="224716"/>
                    </a:cubicBezTo>
                    <a:lnTo>
                      <a:pt x="144413" y="224716"/>
                    </a:lnTo>
                    <a:close/>
                  </a:path>
                </a:pathLst>
              </a:custGeom>
              <a:grpFill/>
              <a:ln w="6390"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225" name="TextBox 21">
              <a:extLst>
                <a:ext uri="{FF2B5EF4-FFF2-40B4-BE49-F238E27FC236}">
                  <a16:creationId xmlns:a16="http://schemas.microsoft.com/office/drawing/2014/main" id="{96FCCE54-552F-450A-9E87-0999E02ECB12}"/>
                </a:ext>
              </a:extLst>
            </p:cNvPr>
            <p:cNvSpPr txBox="1"/>
            <p:nvPr/>
          </p:nvSpPr>
          <p:spPr>
            <a:xfrm>
              <a:off x="2373687" y="3668276"/>
              <a:ext cx="2335473" cy="214995"/>
            </a:xfrm>
            <a:prstGeom prst="rect">
              <a:avLst/>
            </a:prstGeom>
            <a:noFill/>
          </p:spPr>
          <p:txBody>
            <a:bodyPr wrap="square" lIns="0" tIns="0" rIns="0" bIns="0" rtlCol="0">
              <a:spAutoFit/>
            </a:bodyPr>
            <a:lstStyle/>
            <a:p>
              <a:pPr marL="0" marR="0" lvl="0" indent="0" algn="l" defTabSz="1219170" rtl="0" eaLnBrk="0" fontAlgn="base" latinLnBrk="0" hangingPunct="0">
                <a:lnSpc>
                  <a:spcPct val="11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Verdana"/>
                  <a:ea typeface="+mn-ea"/>
                  <a:cs typeface="+mn-cs"/>
                </a:rPr>
                <a:t>19 pays </a:t>
              </a:r>
              <a:r>
                <a:rPr kumimoji="0" lang="en-GB" sz="1400" b="1" i="0" u="none" strike="noStrike" kern="1200" cap="none" spc="0" normalizeH="0" baseline="0" noProof="0" dirty="0" err="1">
                  <a:ln>
                    <a:noFill/>
                  </a:ln>
                  <a:solidFill>
                    <a:prstClr val="black"/>
                  </a:solidFill>
                  <a:effectLst/>
                  <a:uLnTx/>
                  <a:uFillTx/>
                  <a:latin typeface="Verdana"/>
                  <a:ea typeface="+mn-ea"/>
                  <a:cs typeface="+mn-cs"/>
                </a:rPr>
                <a:t>européens</a:t>
              </a:r>
              <a:endParaRPr kumimoji="0" lang="en-GB" sz="1100" b="1"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233" name="Isosceles Triangle 9">
            <a:extLst>
              <a:ext uri="{FF2B5EF4-FFF2-40B4-BE49-F238E27FC236}">
                <a16:creationId xmlns:a16="http://schemas.microsoft.com/office/drawing/2014/main" id="{1DDF60AC-5762-4929-B779-46AF12F51454}"/>
              </a:ext>
            </a:extLst>
          </p:cNvPr>
          <p:cNvSpPr/>
          <p:nvPr/>
        </p:nvSpPr>
        <p:spPr bwMode="gray">
          <a:xfrm rot="5400000">
            <a:off x="4834119" y="3795383"/>
            <a:ext cx="2105637" cy="273447"/>
          </a:xfrm>
          <a:prstGeom prst="triangle">
            <a:avLst/>
          </a:prstGeom>
          <a:solidFill>
            <a:schemeClr val="accent6"/>
          </a:solidFill>
          <a:ln w="19050" algn="ctr">
            <a:noFill/>
            <a:miter lim="800000"/>
            <a:headEnd/>
            <a:tailEnd/>
          </a:ln>
        </p:spPr>
        <p:txBody>
          <a:bodyPr vert="vert270" wrap="none" lIns="66675" tIns="411480" rIns="68580" bIns="66675" rtlCol="0" anchor="ctr"/>
          <a:lstStyle/>
          <a:p>
            <a:pPr marL="0" marR="0" lvl="0" indent="0" algn="r" defTabSz="1219170" rtl="0" eaLnBrk="1" fontAlgn="auto" latinLnBrk="0" hangingPunct="1">
              <a:lnSpc>
                <a:spcPct val="100000"/>
              </a:lnSpc>
              <a:spcBef>
                <a:spcPts val="450"/>
              </a:spcBef>
              <a:spcAft>
                <a:spcPts val="0"/>
              </a:spcAft>
              <a:buClrTx/>
              <a:buSzPct val="100000"/>
              <a:buFontTx/>
              <a:buNone/>
              <a:tabLst/>
              <a:defRPr/>
            </a:pPr>
            <a:endParaRPr kumimoji="0" lang="en-CA" sz="1100" b="0" i="0" u="none" strike="noStrike" kern="1200" cap="none" spc="0" normalizeH="0" baseline="0" noProof="0" dirty="0">
              <a:ln>
                <a:noFill/>
              </a:ln>
              <a:solidFill>
                <a:prstClr val="black"/>
              </a:solidFill>
              <a:effectLst/>
              <a:uLnTx/>
              <a:uFillTx/>
              <a:latin typeface="Verdana"/>
              <a:ea typeface="+mn-ea"/>
              <a:cs typeface="Verdana" panose="020B0604030504040204" pitchFamily="34" charset="0"/>
            </a:endParaRPr>
          </a:p>
        </p:txBody>
      </p:sp>
      <p:sp>
        <p:nvSpPr>
          <p:cNvPr id="104" name="Rechteck 274">
            <a:extLst>
              <a:ext uri="{FF2B5EF4-FFF2-40B4-BE49-F238E27FC236}">
                <a16:creationId xmlns:a16="http://schemas.microsoft.com/office/drawing/2014/main" id="{37C21FD9-E7E5-498C-90F9-508DAA53993B}"/>
              </a:ext>
            </a:extLst>
          </p:cNvPr>
          <p:cNvSpPr/>
          <p:nvPr/>
        </p:nvSpPr>
        <p:spPr bwMode="gray">
          <a:xfrm>
            <a:off x="7463376" y="5483580"/>
            <a:ext cx="314806" cy="18302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de-DE"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50" name="Textplatzhalter 10">
            <a:extLst>
              <a:ext uri="{FF2B5EF4-FFF2-40B4-BE49-F238E27FC236}">
                <a16:creationId xmlns:a16="http://schemas.microsoft.com/office/drawing/2014/main" id="{B5CDD32C-DD30-428D-AD5B-EF1F498C8DA3}"/>
              </a:ext>
            </a:extLst>
          </p:cNvPr>
          <p:cNvSpPr txBox="1">
            <a:spLocks/>
          </p:cNvSpPr>
          <p:nvPr/>
        </p:nvSpPr>
        <p:spPr>
          <a:xfrm>
            <a:off x="570787" y="5551075"/>
            <a:ext cx="5077058" cy="449578"/>
          </a:xfrm>
          <a:prstGeom prst="rect">
            <a:avLst/>
          </a:prstGeom>
        </p:spPr>
        <p:txBody>
          <a:bodyPr vert="horz" lIns="0" tIns="0" rIns="0" bIns="0" rtlCol="0">
            <a:noAutofit/>
          </a:bodyPr>
          <a:lstStyle>
            <a:lvl1pPr marL="0" indent="0" algn="l" defTabSz="1219170" rtl="0" eaLnBrk="1" latinLnBrk="0" hangingPunct="1">
              <a:spcBef>
                <a:spcPts val="0"/>
              </a:spcBef>
              <a:spcAft>
                <a:spcPts val="0"/>
              </a:spcAft>
              <a:buSzPct val="100000"/>
              <a:buFont typeface="Arial" panose="020B0604020202020204" pitchFamily="34" charset="0"/>
              <a:buNone/>
              <a:defRPr sz="1050" b="0" kern="1200">
                <a:solidFill>
                  <a:schemeClr val="bg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a:solidFill>
                  <a:schemeClr val="bg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a:solidFill>
                  <a:schemeClr val="bg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a:solidFill>
                  <a:schemeClr val="bg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a:solidFill>
                  <a:schemeClr val="bg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de-DE" sz="1200" b="1" i="0" u="none" strike="noStrike" kern="1200" cap="none" spc="0" normalizeH="0" baseline="0" noProof="0" dirty="0" err="1">
                <a:ln>
                  <a:noFill/>
                </a:ln>
                <a:solidFill>
                  <a:srgbClr val="FF0000"/>
                </a:solidFill>
                <a:effectLst/>
                <a:uLnTx/>
                <a:uFillTx/>
                <a:latin typeface="Verdana"/>
                <a:ea typeface="+mn-ea"/>
                <a:cs typeface="+mn-cs"/>
              </a:rPr>
              <a:t>Soutenu</a:t>
            </a:r>
            <a:r>
              <a:rPr kumimoji="0" lang="de-DE" sz="1200" b="1" i="0" u="none" strike="noStrike" kern="1200" cap="none" spc="0" normalizeH="0" baseline="0" noProof="0" dirty="0">
                <a:ln>
                  <a:noFill/>
                </a:ln>
                <a:solidFill>
                  <a:srgbClr val="FF0000"/>
                </a:solidFill>
                <a:effectLst/>
                <a:uLnTx/>
                <a:uFillTx/>
                <a:latin typeface="Verdana"/>
                <a:ea typeface="+mn-ea"/>
                <a:cs typeface="+mn-cs"/>
              </a:rPr>
              <a:t> par le Conseil de la </a:t>
            </a:r>
            <a:r>
              <a:rPr kumimoji="0" lang="de-DE" sz="1200" b="1" i="0" u="none" strike="noStrike" kern="1200" cap="none" spc="0" normalizeH="0" baseline="0" noProof="0" dirty="0" err="1">
                <a:ln>
                  <a:noFill/>
                </a:ln>
                <a:solidFill>
                  <a:srgbClr val="FF0000"/>
                </a:solidFill>
                <a:effectLst/>
                <a:uLnTx/>
                <a:uFillTx/>
                <a:latin typeface="Verdana"/>
                <a:ea typeface="+mn-ea"/>
                <a:cs typeface="+mn-cs"/>
              </a:rPr>
              <a:t>Présidences-opérateurs</a:t>
            </a:r>
            <a:r>
              <a:rPr kumimoji="0" lang="de-DE" sz="1200" b="1" i="0" u="none" strike="noStrike" kern="1200" cap="none" spc="0" normalizeH="0" baseline="0" noProof="0" dirty="0">
                <a:ln>
                  <a:noFill/>
                </a:ln>
                <a:solidFill>
                  <a:srgbClr val="FF0000"/>
                </a:solidFill>
                <a:effectLst/>
                <a:uLnTx/>
                <a:uFillTx/>
                <a:latin typeface="Verdana"/>
                <a:ea typeface="+mn-ea"/>
                <a:cs typeface="+mn-cs"/>
              </a:rPr>
              <a:t> 2021</a:t>
            </a:r>
            <a:endParaRPr kumimoji="0" lang="de-DE" sz="1200" b="1" i="1" u="none" strike="noStrike" kern="1200" cap="none" spc="0" normalizeH="0" baseline="0" noProof="0" dirty="0">
              <a:ln>
                <a:noFill/>
              </a:ln>
              <a:solidFill>
                <a:srgbClr val="FF0000"/>
              </a:solidFill>
              <a:effectLst/>
              <a:uLnTx/>
              <a:uFillTx/>
              <a:latin typeface="Verdana"/>
              <a:ea typeface="+mn-ea"/>
              <a:cs typeface="+mn-cs"/>
            </a:endParaRPr>
          </a:p>
        </p:txBody>
      </p:sp>
      <p:pic>
        <p:nvPicPr>
          <p:cNvPr id="152" name="image479.png">
            <a:extLst>
              <a:ext uri="{FF2B5EF4-FFF2-40B4-BE49-F238E27FC236}">
                <a16:creationId xmlns:a16="http://schemas.microsoft.com/office/drawing/2014/main" id="{D169356F-1913-4732-9CA1-277DE114615A}"/>
              </a:ext>
            </a:extLst>
          </p:cNvPr>
          <p:cNvPicPr>
            <a:picLocks noChangeAspect="1"/>
          </p:cNvPicPr>
          <p:nvPr/>
        </p:nvPicPr>
        <p:blipFill>
          <a:blip r:embed="rId7" cstate="print"/>
          <a:stretch>
            <a:fillRect/>
          </a:stretch>
        </p:blipFill>
        <p:spPr>
          <a:xfrm>
            <a:off x="2101556" y="5922435"/>
            <a:ext cx="1008000" cy="290425"/>
          </a:xfrm>
          <a:prstGeom prst="rect">
            <a:avLst/>
          </a:prstGeom>
        </p:spPr>
      </p:pic>
      <p:pic>
        <p:nvPicPr>
          <p:cNvPr id="153" name="Picture 1">
            <a:extLst>
              <a:ext uri="{FF2B5EF4-FFF2-40B4-BE49-F238E27FC236}">
                <a16:creationId xmlns:a16="http://schemas.microsoft.com/office/drawing/2014/main" id="{2BF49597-AB55-408A-984C-B5BB49942D13}"/>
              </a:ext>
            </a:extLst>
          </p:cNvPr>
          <p:cNvPicPr>
            <a:picLocks noChangeAspect="1"/>
          </p:cNvPicPr>
          <p:nvPr/>
        </p:nvPicPr>
        <p:blipFill rotWithShape="1">
          <a:blip r:embed="rId8">
            <a:extLst>
              <a:ext uri="{28A0092B-C50C-407E-A947-70E740481C1C}">
                <a14:useLocalDpi xmlns:a14="http://schemas.microsoft.com/office/drawing/2010/main" val="0"/>
              </a:ext>
            </a:extLst>
          </a:blip>
          <a:srcRect l="3751" t="29084" r="3173" b="30429"/>
          <a:stretch/>
        </p:blipFill>
        <p:spPr bwMode="auto">
          <a:xfrm>
            <a:off x="693495" y="5945016"/>
            <a:ext cx="1008000" cy="245263"/>
          </a:xfrm>
          <a:prstGeom prst="rect">
            <a:avLst/>
          </a:prstGeom>
          <a:noFill/>
          <a:ln>
            <a:noFill/>
          </a:ln>
          <a:extLst>
            <a:ext uri="{53640926-AAD7-44D8-BBD7-CCE9431645EC}">
              <a14:shadowObscured xmlns:a14="http://schemas.microsoft.com/office/drawing/2010/main"/>
            </a:ext>
          </a:extLst>
        </p:spPr>
      </p:pic>
      <p:pic>
        <p:nvPicPr>
          <p:cNvPr id="154" name="Picture 3" descr="Fitnessstudio Bad Homburg | Fitnessstudio Frankfurt | David Lloyd Clubs">
            <a:extLst>
              <a:ext uri="{FF2B5EF4-FFF2-40B4-BE49-F238E27FC236}">
                <a16:creationId xmlns:a16="http://schemas.microsoft.com/office/drawing/2014/main" id="{3CCA6721-97B6-4528-ACAF-83521239263F}"/>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509617" y="5869693"/>
            <a:ext cx="1008000" cy="395908"/>
          </a:xfrm>
          <a:prstGeom prst="rect">
            <a:avLst/>
          </a:prstGeom>
          <a:noFill/>
          <a:ln>
            <a:noFill/>
          </a:ln>
        </p:spPr>
      </p:pic>
      <p:pic>
        <p:nvPicPr>
          <p:cNvPr id="155" name="Picture 9">
            <a:extLst>
              <a:ext uri="{FF2B5EF4-FFF2-40B4-BE49-F238E27FC236}">
                <a16:creationId xmlns:a16="http://schemas.microsoft.com/office/drawing/2014/main" id="{A5C913A6-ED4B-4366-9F5E-F754C15A3791}"/>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0437" t="14985" r="10817" b="15556"/>
          <a:stretch/>
        </p:blipFill>
        <p:spPr bwMode="auto">
          <a:xfrm>
            <a:off x="4917678" y="5918857"/>
            <a:ext cx="1008000" cy="297580"/>
          </a:xfrm>
          <a:prstGeom prst="rect">
            <a:avLst/>
          </a:prstGeom>
          <a:noFill/>
          <a:ln>
            <a:noFill/>
          </a:ln>
        </p:spPr>
      </p:pic>
      <p:pic>
        <p:nvPicPr>
          <p:cNvPr id="156" name="Picture 6" descr="LifeFit Group MidCo GmbH Group quarterly interim unaudited report Q1/FY2020  report as of and for the interim period started 1 No">
            <a:extLst>
              <a:ext uri="{FF2B5EF4-FFF2-40B4-BE49-F238E27FC236}">
                <a16:creationId xmlns:a16="http://schemas.microsoft.com/office/drawing/2014/main" id="{D00445CE-A6DD-47C4-BBC0-0BF07A0A4B32}"/>
              </a:ext>
            </a:extLst>
          </p:cNvPr>
          <p:cNvPicPr>
            <a:picLocks noChangeAspect="1"/>
          </p:cNvPicPr>
          <p:nvPr/>
        </p:nvPicPr>
        <p:blipFill rotWithShape="1">
          <a:blip r:embed="rId11">
            <a:extLst>
              <a:ext uri="{28A0092B-C50C-407E-A947-70E740481C1C}">
                <a14:useLocalDpi xmlns:a14="http://schemas.microsoft.com/office/drawing/2010/main" val="0"/>
              </a:ext>
            </a:extLst>
          </a:blip>
          <a:srcRect l="10041" t="18139" r="7221" b="14570"/>
          <a:stretch/>
        </p:blipFill>
        <p:spPr bwMode="auto">
          <a:xfrm>
            <a:off x="7733800" y="5921152"/>
            <a:ext cx="1008000" cy="292990"/>
          </a:xfrm>
          <a:prstGeom prst="rect">
            <a:avLst/>
          </a:prstGeom>
          <a:noFill/>
          <a:ln>
            <a:noFill/>
          </a:ln>
        </p:spPr>
      </p:pic>
      <p:pic>
        <p:nvPicPr>
          <p:cNvPr id="157" name="Picture 5" descr="GO fit ATHLETICS">
            <a:extLst>
              <a:ext uri="{FF2B5EF4-FFF2-40B4-BE49-F238E27FC236}">
                <a16:creationId xmlns:a16="http://schemas.microsoft.com/office/drawing/2014/main" id="{3C464A09-509A-45D8-B9F5-6CC165465A36}"/>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t="11656" b="23775"/>
          <a:stretch/>
        </p:blipFill>
        <p:spPr bwMode="auto">
          <a:xfrm>
            <a:off x="6325739" y="5835014"/>
            <a:ext cx="1008000" cy="465267"/>
          </a:xfrm>
          <a:prstGeom prst="rect">
            <a:avLst/>
          </a:prstGeom>
          <a:noFill/>
          <a:ln>
            <a:noFill/>
          </a:ln>
          <a:extLst>
            <a:ext uri="{53640926-AAD7-44D8-BBD7-CCE9431645EC}">
              <a14:shadowObscured xmlns:a14="http://schemas.microsoft.com/office/drawing/2010/main"/>
            </a:ext>
          </a:extLst>
        </p:spPr>
      </p:pic>
      <p:pic>
        <p:nvPicPr>
          <p:cNvPr id="158" name="Picture 7" descr="PureGym - Wikipedia">
            <a:extLst>
              <a:ext uri="{FF2B5EF4-FFF2-40B4-BE49-F238E27FC236}">
                <a16:creationId xmlns:a16="http://schemas.microsoft.com/office/drawing/2014/main" id="{B3DCF4C9-48E9-442F-A8A2-E5D871091806}"/>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141861" y="5827579"/>
            <a:ext cx="1008000" cy="480137"/>
          </a:xfrm>
          <a:prstGeom prst="rect">
            <a:avLst/>
          </a:prstGeom>
          <a:noFill/>
          <a:ln>
            <a:noFill/>
          </a:ln>
        </p:spPr>
      </p:pic>
      <p:pic>
        <p:nvPicPr>
          <p:cNvPr id="159" name="Picture 8">
            <a:extLst>
              <a:ext uri="{FF2B5EF4-FFF2-40B4-BE49-F238E27FC236}">
                <a16:creationId xmlns:a16="http://schemas.microsoft.com/office/drawing/2014/main" id="{30A0FB81-F357-4FB2-AB5D-5F65E9E155C7}"/>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14006" t="25960" r="13370" b="24817"/>
          <a:stretch/>
        </p:blipFill>
        <p:spPr bwMode="auto">
          <a:xfrm>
            <a:off x="10549924" y="5902845"/>
            <a:ext cx="1008000" cy="329605"/>
          </a:xfrm>
          <a:prstGeom prst="rect">
            <a:avLst/>
          </a:prstGeom>
          <a:noFill/>
          <a:ln>
            <a:noFill/>
          </a:ln>
          <a:extLst>
            <a:ext uri="{53640926-AAD7-44D8-BBD7-CCE9431645EC}">
              <a14:shadowObscured xmlns:a14="http://schemas.microsoft.com/office/drawing/2010/main"/>
            </a:ext>
          </a:extLst>
        </p:spPr>
      </p:pic>
      <p:sp>
        <p:nvSpPr>
          <p:cNvPr id="149" name="TextBox 90">
            <a:extLst>
              <a:ext uri="{FF2B5EF4-FFF2-40B4-BE49-F238E27FC236}">
                <a16:creationId xmlns:a16="http://schemas.microsoft.com/office/drawing/2014/main" id="{489805A1-1A39-4CD7-9A92-5C69ACF113AF}"/>
              </a:ext>
            </a:extLst>
          </p:cNvPr>
          <p:cNvSpPr txBox="1"/>
          <p:nvPr/>
        </p:nvSpPr>
        <p:spPr>
          <a:xfrm>
            <a:off x="480917" y="2018853"/>
            <a:ext cx="10425821" cy="245708"/>
          </a:xfrm>
          <a:prstGeom prst="rect">
            <a:avLst/>
          </a:prstGeom>
          <a:noFill/>
        </p:spPr>
        <p:txBody>
          <a:bodyPr wrap="square" lIns="0" tIns="0" rIns="0" bIns="0" rtlCol="0">
            <a:spAutoFit/>
          </a:bodyPr>
          <a:lstStyle/>
          <a:p>
            <a:pPr marL="0" marR="0" lvl="0" indent="0" algn="l" defTabSz="1219170" rtl="0" eaLnBrk="0" fontAlgn="base" latinLnBrk="0" hangingPunct="0">
              <a:lnSpc>
                <a:spcPct val="110000"/>
              </a:lnSpc>
              <a:spcBef>
                <a:spcPct val="0"/>
              </a:spcBef>
              <a:spcAft>
                <a:spcPct val="0"/>
              </a:spcAft>
              <a:buClrTx/>
              <a:buSzTx/>
              <a:buFontTx/>
              <a:buNone/>
              <a:tabLst/>
              <a:defRPr/>
            </a:pPr>
            <a:r>
              <a:rPr kumimoji="0" lang="en-GB" sz="1600" b="1" i="0" u="none" strike="noStrike" kern="1200" cap="none" spc="0" normalizeH="0" baseline="0" noProof="0" dirty="0" err="1">
                <a:ln>
                  <a:noFill/>
                </a:ln>
                <a:solidFill>
                  <a:prstClr val="black"/>
                </a:solidFill>
                <a:effectLst/>
                <a:uLnTx/>
                <a:uFillTx/>
                <a:latin typeface="Verdana"/>
                <a:ea typeface="+mn-ea"/>
                <a:cs typeface="+mn-cs"/>
              </a:rPr>
              <a:t>Méthodologie</a:t>
            </a:r>
            <a:r>
              <a:rPr kumimoji="0" lang="en-GB" sz="1600" b="1" i="0" u="none" strike="noStrike" kern="1200" cap="none" spc="0" normalizeH="0" baseline="0" noProof="0" dirty="0">
                <a:ln>
                  <a:noFill/>
                </a:ln>
                <a:solidFill>
                  <a:prstClr val="black"/>
                </a:solidFill>
                <a:effectLst/>
                <a:uLnTx/>
                <a:uFillTx/>
                <a:latin typeface="Verdana"/>
                <a:ea typeface="+mn-ea"/>
                <a:cs typeface="+mn-cs"/>
              </a:rPr>
              <a:t> de </a:t>
            </a:r>
            <a:r>
              <a:rPr kumimoji="0" lang="en-GB" sz="1600" b="1" i="0" u="none" strike="noStrike" kern="1200" cap="none" spc="0" normalizeH="0" baseline="0" noProof="0" dirty="0" err="1">
                <a:ln>
                  <a:noFill/>
                </a:ln>
                <a:solidFill>
                  <a:prstClr val="black"/>
                </a:solidFill>
                <a:effectLst/>
                <a:uLnTx/>
                <a:uFillTx/>
                <a:latin typeface="Verdana"/>
                <a:ea typeface="+mn-ea"/>
                <a:cs typeface="+mn-cs"/>
              </a:rPr>
              <a:t>l’étude</a:t>
            </a:r>
            <a:endParaRPr kumimoji="0" lang="en-GB" sz="1050" b="1" i="0" u="none" strike="noStrike" kern="1200" cap="none" spc="0" normalizeH="0" baseline="30000" noProof="0" dirty="0">
              <a:ln>
                <a:noFill/>
              </a:ln>
              <a:solidFill>
                <a:prstClr val="black"/>
              </a:solidFill>
              <a:effectLst/>
              <a:uLnTx/>
              <a:uFillTx/>
              <a:latin typeface="Verdana"/>
              <a:ea typeface="+mn-ea"/>
              <a:cs typeface="+mn-cs"/>
            </a:endParaRPr>
          </a:p>
        </p:txBody>
      </p:sp>
      <p:grpSp>
        <p:nvGrpSpPr>
          <p:cNvPr id="151" name="Group 150">
            <a:extLst>
              <a:ext uri="{FF2B5EF4-FFF2-40B4-BE49-F238E27FC236}">
                <a16:creationId xmlns:a16="http://schemas.microsoft.com/office/drawing/2014/main" id="{54106D09-E33D-4C7F-A6FD-505316C797B6}"/>
              </a:ext>
            </a:extLst>
          </p:cNvPr>
          <p:cNvGrpSpPr/>
          <p:nvPr/>
        </p:nvGrpSpPr>
        <p:grpSpPr>
          <a:xfrm>
            <a:off x="0" y="1413877"/>
            <a:ext cx="1872351" cy="233523"/>
            <a:chOff x="0" y="1112402"/>
            <a:chExt cx="1872351" cy="233523"/>
          </a:xfrm>
        </p:grpSpPr>
        <p:sp>
          <p:nvSpPr>
            <p:cNvPr id="160" name="Freeform 61">
              <a:extLst>
                <a:ext uri="{FF2B5EF4-FFF2-40B4-BE49-F238E27FC236}">
                  <a16:creationId xmlns:a16="http://schemas.microsoft.com/office/drawing/2014/main" id="{F4CDB615-EA7F-406F-8029-31E777E19FE6}"/>
                </a:ext>
              </a:extLst>
            </p:cNvPr>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28575" algn="ctr">
              <a:solidFill>
                <a:schemeClr val="accent1"/>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161" name="Straight Connector 160">
              <a:extLst>
                <a:ext uri="{FF2B5EF4-FFF2-40B4-BE49-F238E27FC236}">
                  <a16:creationId xmlns:a16="http://schemas.microsoft.com/office/drawing/2014/main" id="{4AD65109-95A9-444B-B344-FB06B67DE348}"/>
                </a:ext>
              </a:extLst>
            </p:cNvPr>
            <p:cNvCxnSpPr/>
            <p:nvPr/>
          </p:nvCxnSpPr>
          <p:spPr>
            <a:xfrm flipH="1">
              <a:off x="0" y="1259840"/>
              <a:ext cx="12903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131C514D-6620-47D4-B5C0-A53812DAE10E}"/>
                </a:ext>
              </a:extLst>
            </p:cNvPr>
            <p:cNvCxnSpPr/>
            <p:nvPr/>
          </p:nvCxnSpPr>
          <p:spPr>
            <a:xfrm flipH="1">
              <a:off x="1651705" y="1259840"/>
              <a:ext cx="220646" cy="0"/>
            </a:xfrm>
            <a:prstGeom prst="line">
              <a:avLst/>
            </a:prstGeom>
            <a:ln w="28575">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grpSp>
        <p:nvGrpSpPr>
          <p:cNvPr id="163" name="Group 162">
            <a:extLst>
              <a:ext uri="{FF2B5EF4-FFF2-40B4-BE49-F238E27FC236}">
                <a16:creationId xmlns:a16="http://schemas.microsoft.com/office/drawing/2014/main" id="{5648CE90-3334-47A4-957C-7209BB3FA3B5}"/>
              </a:ext>
            </a:extLst>
          </p:cNvPr>
          <p:cNvGrpSpPr/>
          <p:nvPr/>
        </p:nvGrpSpPr>
        <p:grpSpPr>
          <a:xfrm flipH="1">
            <a:off x="10319649" y="6515955"/>
            <a:ext cx="1872351" cy="233523"/>
            <a:chOff x="0" y="1112402"/>
            <a:chExt cx="1872351" cy="233523"/>
          </a:xfrm>
        </p:grpSpPr>
        <p:sp>
          <p:nvSpPr>
            <p:cNvPr id="164" name="Freeform 65">
              <a:extLst>
                <a:ext uri="{FF2B5EF4-FFF2-40B4-BE49-F238E27FC236}">
                  <a16:creationId xmlns:a16="http://schemas.microsoft.com/office/drawing/2014/main" id="{CB2E5316-45C1-4F69-8EBE-63639B78BFA9}"/>
                </a:ext>
              </a:extLst>
            </p:cNvPr>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28575" algn="ctr">
              <a:solidFill>
                <a:schemeClr val="accent1"/>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165" name="Straight Connector 164">
              <a:extLst>
                <a:ext uri="{FF2B5EF4-FFF2-40B4-BE49-F238E27FC236}">
                  <a16:creationId xmlns:a16="http://schemas.microsoft.com/office/drawing/2014/main" id="{F6EB1E6C-85FC-4930-97A8-ECB66B173C00}"/>
                </a:ext>
              </a:extLst>
            </p:cNvPr>
            <p:cNvCxnSpPr/>
            <p:nvPr/>
          </p:nvCxnSpPr>
          <p:spPr>
            <a:xfrm flipH="1">
              <a:off x="0" y="1259840"/>
              <a:ext cx="12903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DB8FC8C1-2CE7-4A76-9095-5BBA2EFABB71}"/>
                </a:ext>
              </a:extLst>
            </p:cNvPr>
            <p:cNvCxnSpPr/>
            <p:nvPr/>
          </p:nvCxnSpPr>
          <p:spPr>
            <a:xfrm flipH="1">
              <a:off x="1651705" y="1259840"/>
              <a:ext cx="220646" cy="0"/>
            </a:xfrm>
            <a:prstGeom prst="line">
              <a:avLst/>
            </a:prstGeom>
            <a:ln w="28575">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76298003"/>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DA4AF8-2A02-958D-4BA9-E6DEDA7D3C33}"/>
              </a:ext>
            </a:extLst>
          </p:cNvPr>
          <p:cNvSpPr>
            <a:spLocks noGrp="1"/>
          </p:cNvSpPr>
          <p:nvPr>
            <p:ph type="title"/>
          </p:nvPr>
        </p:nvSpPr>
        <p:spPr>
          <a:xfrm>
            <a:off x="469900" y="402584"/>
            <a:ext cx="11252200" cy="6260433"/>
          </a:xfrm>
        </p:spPr>
        <p:txBody>
          <a:bodyPr/>
          <a:lstStyle/>
          <a:p>
            <a:pPr>
              <a:lnSpc>
                <a:spcPct val="107000"/>
              </a:lnSpc>
              <a:spcAft>
                <a:spcPts val="800"/>
              </a:spcAft>
            </a:pPr>
            <a:r>
              <a:rPr lang="nl-NL" b="1" dirty="0">
                <a:solidFill>
                  <a:srgbClr val="FF0000"/>
                </a:solidFill>
              </a:rPr>
              <a:t>Périodes de troubles… </a:t>
            </a:r>
            <a:r>
              <a:rPr lang="en-US" sz="1800" dirty="0">
                <a:latin typeface="+mn-lt"/>
                <a:cs typeface="Times New Roman" panose="02020603050405020304" pitchFamily="18" charset="0"/>
              </a:rPr>
              <a:t>S</a:t>
            </a:r>
            <a:r>
              <a:rPr lang="en-US" sz="1800" dirty="0">
                <a:effectLst/>
                <a:latin typeface="+mn-lt"/>
                <a:ea typeface="Times New Roman" panose="02020603050405020304" pitchFamily="18" charset="0"/>
                <a:cs typeface="Times New Roman" panose="02020603050405020304" pitchFamily="18" charset="0"/>
              </a:rPr>
              <a:t>ix </a:t>
            </a:r>
            <a:r>
              <a:rPr lang="en-US" sz="1800" dirty="0" err="1">
                <a:effectLst/>
                <a:latin typeface="+mn-lt"/>
                <a:ea typeface="Times New Roman" panose="02020603050405020304" pitchFamily="18" charset="0"/>
                <a:cs typeface="Times New Roman" panose="02020603050405020304" pitchFamily="18" charset="0"/>
              </a:rPr>
              <a:t>éléments</a:t>
            </a:r>
            <a:r>
              <a:rPr lang="en-US" sz="1800" dirty="0">
                <a:effectLst/>
                <a:latin typeface="+mn-lt"/>
                <a:ea typeface="Times New Roman" panose="02020603050405020304" pitchFamily="18" charset="0"/>
                <a:cs typeface="Times New Roman" panose="02020603050405020304" pitchFamily="18" charset="0"/>
              </a:rPr>
              <a:t> qui </a:t>
            </a:r>
            <a:r>
              <a:rPr lang="fr-FR" sz="1800" dirty="0">
                <a:effectLst/>
                <a:latin typeface="+mn-lt"/>
                <a:ea typeface="Times New Roman" panose="02020603050405020304" pitchFamily="18" charset="0"/>
                <a:cs typeface="Times New Roman" panose="02020603050405020304" pitchFamily="18" charset="0"/>
              </a:rPr>
              <a:t>impactent série</a:t>
            </a:r>
            <a:r>
              <a:rPr lang="fr-FR" sz="1800" dirty="0">
                <a:latin typeface="+mn-lt"/>
                <a:ea typeface="Times New Roman" panose="02020603050405020304" pitchFamily="18" charset="0"/>
                <a:cs typeface="Times New Roman" panose="02020603050405020304" pitchFamily="18" charset="0"/>
              </a:rPr>
              <a:t>usement le secteur du fitness</a:t>
            </a:r>
            <a:br>
              <a:rPr lang="en-US" sz="1800" dirty="0">
                <a:effectLst/>
                <a:latin typeface="+mn-lt"/>
                <a:ea typeface="Times New Roman" panose="02020603050405020304" pitchFamily="18" charset="0"/>
                <a:cs typeface="Times New Roman" panose="02020603050405020304" pitchFamily="18" charset="0"/>
              </a:rPr>
            </a:br>
            <a:br>
              <a:rPr lang="nl-NL" sz="1800" dirty="0">
                <a:effectLst/>
                <a:latin typeface="+mn-lt"/>
                <a:ea typeface="Calibri" panose="020F0502020204030204" pitchFamily="34" charset="0"/>
                <a:cs typeface="Times New Roman" panose="02020603050405020304" pitchFamily="18" charset="0"/>
              </a:rPr>
            </a:br>
            <a:r>
              <a:rPr lang="nl-NL" sz="2800" dirty="0">
                <a:effectLst/>
                <a:latin typeface="+mn-lt"/>
                <a:ea typeface="Calibri" panose="020F0502020204030204" pitchFamily="34" charset="0"/>
                <a:cs typeface="Times New Roman" panose="02020603050405020304" pitchFamily="18" charset="0"/>
              </a:rPr>
              <a:t>1. </a:t>
            </a:r>
            <a:r>
              <a:rPr lang="en-US" sz="1800" dirty="0">
                <a:effectLst/>
                <a:latin typeface="+mn-lt"/>
                <a:ea typeface="Times New Roman" panose="02020603050405020304" pitchFamily="18" charset="0"/>
                <a:cs typeface="Times New Roman" panose="02020603050405020304" pitchFamily="18" charset="0"/>
              </a:rPr>
              <a:t>Le </a:t>
            </a:r>
            <a:r>
              <a:rPr lang="en-US" sz="1800" dirty="0" err="1">
                <a:effectLst/>
                <a:latin typeface="+mn-lt"/>
                <a:ea typeface="Times New Roman" panose="02020603050405020304" pitchFamily="18" charset="0"/>
                <a:cs typeface="Times New Roman" panose="02020603050405020304" pitchFamily="18" charset="0"/>
              </a:rPr>
              <a:t>secteur</a:t>
            </a:r>
            <a:r>
              <a:rPr lang="en-US" sz="1800" dirty="0">
                <a:effectLst/>
                <a:latin typeface="+mn-lt"/>
                <a:ea typeface="Times New Roman" panose="02020603050405020304" pitchFamily="18" charset="0"/>
                <a:cs typeface="Times New Roman" panose="02020603050405020304" pitchFamily="18" charset="0"/>
              </a:rPr>
              <a:t> </a:t>
            </a:r>
            <a:r>
              <a:rPr lang="en-US" sz="1800" dirty="0" err="1">
                <a:effectLst/>
                <a:latin typeface="+mn-lt"/>
                <a:ea typeface="Times New Roman" panose="02020603050405020304" pitchFamily="18" charset="0"/>
                <a:cs typeface="Times New Roman" panose="02020603050405020304" pitchFamily="18" charset="0"/>
              </a:rPr>
              <a:t>est</a:t>
            </a:r>
            <a:r>
              <a:rPr lang="en-US" sz="1800" dirty="0">
                <a:effectLst/>
                <a:latin typeface="+mn-lt"/>
                <a:ea typeface="Times New Roman" panose="02020603050405020304" pitchFamily="18" charset="0"/>
                <a:cs typeface="Times New Roman" panose="02020603050405020304" pitchFamily="18" charset="0"/>
              </a:rPr>
              <a:t> encore </a:t>
            </a:r>
            <a:r>
              <a:rPr lang="en-US" sz="1800" dirty="0" err="1">
                <a:effectLst/>
                <a:latin typeface="+mn-lt"/>
                <a:ea typeface="Times New Roman" panose="02020603050405020304" pitchFamily="18" charset="0"/>
                <a:cs typeface="Times New Roman" panose="02020603050405020304" pitchFamily="18" charset="0"/>
              </a:rPr>
              <a:t>en</a:t>
            </a:r>
            <a:r>
              <a:rPr lang="en-US" sz="1800" dirty="0">
                <a:effectLst/>
                <a:latin typeface="+mn-lt"/>
                <a:ea typeface="Times New Roman" panose="02020603050405020304" pitchFamily="18" charset="0"/>
                <a:cs typeface="Times New Roman" panose="02020603050405020304" pitchFamily="18" charset="0"/>
              </a:rPr>
              <a:t> train de se </a:t>
            </a:r>
            <a:r>
              <a:rPr lang="en-US" sz="1800" dirty="0" err="1">
                <a:effectLst/>
                <a:latin typeface="+mn-lt"/>
                <a:ea typeface="Times New Roman" panose="02020603050405020304" pitchFamily="18" charset="0"/>
                <a:cs typeface="Times New Roman" panose="02020603050405020304" pitchFamily="18" charset="0"/>
              </a:rPr>
              <a:t>remettre</a:t>
            </a:r>
            <a:r>
              <a:rPr lang="en-US" sz="1800" dirty="0">
                <a:effectLst/>
                <a:latin typeface="+mn-lt"/>
                <a:ea typeface="Times New Roman" panose="02020603050405020304" pitchFamily="18" charset="0"/>
                <a:cs typeface="Times New Roman" panose="02020603050405020304" pitchFamily="18" charset="0"/>
              </a:rPr>
              <a:t> des </a:t>
            </a:r>
            <a:r>
              <a:rPr lang="en-US" sz="1800" dirty="0" err="1">
                <a:effectLst/>
                <a:latin typeface="+mn-lt"/>
                <a:ea typeface="Times New Roman" panose="02020603050405020304" pitchFamily="18" charset="0"/>
                <a:cs typeface="Times New Roman" panose="02020603050405020304" pitchFamily="18" charset="0"/>
              </a:rPr>
              <a:t>effets</a:t>
            </a:r>
            <a:r>
              <a:rPr lang="en-US" sz="1800" dirty="0">
                <a:effectLst/>
                <a:latin typeface="+mn-lt"/>
                <a:ea typeface="Times New Roman" panose="02020603050405020304" pitchFamily="18" charset="0"/>
                <a:cs typeface="Times New Roman" panose="02020603050405020304" pitchFamily="18" charset="0"/>
              </a:rPr>
              <a:t> </a:t>
            </a:r>
            <a:r>
              <a:rPr lang="en-US" sz="1800" dirty="0" err="1">
                <a:effectLst/>
                <a:latin typeface="+mn-lt"/>
                <a:ea typeface="Times New Roman" panose="02020603050405020304" pitchFamily="18" charset="0"/>
                <a:cs typeface="Times New Roman" panose="02020603050405020304" pitchFamily="18" charset="0"/>
              </a:rPr>
              <a:t>dramatiques</a:t>
            </a:r>
            <a:r>
              <a:rPr lang="en-US" sz="1800" dirty="0">
                <a:effectLst/>
                <a:latin typeface="+mn-lt"/>
                <a:ea typeface="Times New Roman" panose="02020603050405020304" pitchFamily="18" charset="0"/>
                <a:cs typeface="Times New Roman" panose="02020603050405020304" pitchFamily="18" charset="0"/>
              </a:rPr>
              <a:t> de la </a:t>
            </a:r>
            <a:r>
              <a:rPr lang="en-US" sz="1800" b="1" dirty="0" err="1">
                <a:solidFill>
                  <a:srgbClr val="FFFF00"/>
                </a:solidFill>
                <a:effectLst/>
                <a:latin typeface="+mn-lt"/>
                <a:ea typeface="Times New Roman" panose="02020603050405020304" pitchFamily="18" charset="0"/>
                <a:cs typeface="Times New Roman" panose="02020603050405020304" pitchFamily="18" charset="0"/>
              </a:rPr>
              <a:t>pandémie</a:t>
            </a:r>
            <a:r>
              <a:rPr lang="en-US" sz="1800" b="1" dirty="0">
                <a:solidFill>
                  <a:srgbClr val="FFFF00"/>
                </a:solidFill>
                <a:effectLst/>
                <a:latin typeface="+mn-lt"/>
                <a:ea typeface="Times New Roman" panose="02020603050405020304" pitchFamily="18" charset="0"/>
                <a:cs typeface="Times New Roman" panose="02020603050405020304" pitchFamily="18" charset="0"/>
              </a:rPr>
              <a:t> de COVID-19 </a:t>
            </a:r>
            <a:r>
              <a:rPr lang="en-US" sz="1800" dirty="0">
                <a:effectLst/>
                <a:latin typeface="+mn-lt"/>
                <a:ea typeface="Times New Roman" panose="02020603050405020304" pitchFamily="18" charset="0"/>
                <a:cs typeface="Times New Roman" panose="02020603050405020304" pitchFamily="18" charset="0"/>
              </a:rPr>
              <a:t>et les fermetures des salles pendant de </a:t>
            </a:r>
            <a:r>
              <a:rPr lang="en-US" sz="1800" dirty="0" err="1">
                <a:effectLst/>
                <a:latin typeface="+mn-lt"/>
                <a:ea typeface="Times New Roman" panose="02020603050405020304" pitchFamily="18" charset="0"/>
                <a:cs typeface="Times New Roman" panose="02020603050405020304" pitchFamily="18" charset="0"/>
              </a:rPr>
              <a:t>longues</a:t>
            </a:r>
            <a:r>
              <a:rPr lang="en-US" sz="1800" dirty="0">
                <a:effectLst/>
                <a:latin typeface="+mn-lt"/>
                <a:ea typeface="Times New Roman" panose="02020603050405020304" pitchFamily="18" charset="0"/>
                <a:cs typeface="Times New Roman" panose="02020603050405020304" pitchFamily="18" charset="0"/>
              </a:rPr>
              <a:t> </a:t>
            </a:r>
            <a:r>
              <a:rPr lang="en-US" sz="1800" dirty="0" err="1">
                <a:effectLst/>
                <a:latin typeface="+mn-lt"/>
                <a:ea typeface="Times New Roman" panose="02020603050405020304" pitchFamily="18" charset="0"/>
                <a:cs typeface="Times New Roman" panose="02020603050405020304" pitchFamily="18" charset="0"/>
              </a:rPr>
              <a:t>périodes</a:t>
            </a:r>
            <a:r>
              <a:rPr lang="en-US" sz="1800" dirty="0">
                <a:effectLst/>
                <a:latin typeface="+mn-lt"/>
                <a:ea typeface="Times New Roman" panose="02020603050405020304" pitchFamily="18" charset="0"/>
                <a:cs typeface="Times New Roman" panose="02020603050405020304" pitchFamily="18" charset="0"/>
              </a:rPr>
              <a:t> </a:t>
            </a:r>
            <a:r>
              <a:rPr lang="en-US" sz="1800" dirty="0" err="1">
                <a:effectLst/>
                <a:latin typeface="+mn-lt"/>
                <a:ea typeface="Times New Roman" panose="02020603050405020304" pitchFamily="18" charset="0"/>
                <a:cs typeface="Times New Roman" panose="02020603050405020304" pitchFamily="18" charset="0"/>
              </a:rPr>
              <a:t>en</a:t>
            </a:r>
            <a:r>
              <a:rPr lang="en-US" sz="1800" dirty="0">
                <a:effectLst/>
                <a:latin typeface="+mn-lt"/>
                <a:ea typeface="Times New Roman" panose="02020603050405020304" pitchFamily="18" charset="0"/>
                <a:cs typeface="Times New Roman" panose="02020603050405020304" pitchFamily="18" charset="0"/>
              </a:rPr>
              <a:t> 2020 et 2021;  </a:t>
            </a:r>
            <a:br>
              <a:rPr lang="en-US" sz="1800" dirty="0">
                <a:effectLst/>
                <a:latin typeface="+mn-lt"/>
                <a:ea typeface="Times New Roman" panose="02020603050405020304" pitchFamily="18" charset="0"/>
                <a:cs typeface="Times New Roman" panose="02020603050405020304" pitchFamily="18" charset="0"/>
              </a:rPr>
            </a:br>
            <a:br>
              <a:rPr lang="en-US" sz="1800" dirty="0">
                <a:effectLst/>
                <a:latin typeface="+mn-lt"/>
                <a:ea typeface="Times New Roman" panose="02020603050405020304" pitchFamily="18" charset="0"/>
                <a:cs typeface="Times New Roman" panose="02020603050405020304" pitchFamily="18" charset="0"/>
              </a:rPr>
            </a:br>
            <a:r>
              <a:rPr lang="en-US" sz="2800" dirty="0">
                <a:effectLst/>
                <a:latin typeface="+mn-lt"/>
                <a:ea typeface="Times New Roman" panose="02020603050405020304" pitchFamily="18" charset="0"/>
                <a:cs typeface="Times New Roman" panose="02020603050405020304" pitchFamily="18" charset="0"/>
              </a:rPr>
              <a:t>2</a:t>
            </a:r>
            <a:r>
              <a:rPr lang="nl-NL" sz="2800" dirty="0">
                <a:latin typeface="+mn-lt"/>
                <a:ea typeface="Times New Roman" panose="02020603050405020304" pitchFamily="18" charset="0"/>
                <a:cs typeface="Times New Roman" panose="02020603050405020304" pitchFamily="18" charset="0"/>
              </a:rPr>
              <a:t>. </a:t>
            </a:r>
            <a:r>
              <a:rPr lang="en-US" sz="1800" dirty="0">
                <a:effectLst/>
                <a:latin typeface="+mn-lt"/>
                <a:ea typeface="Times New Roman" panose="02020603050405020304" pitchFamily="18" charset="0"/>
                <a:cs typeface="Times New Roman" panose="02020603050405020304" pitchFamily="18" charset="0"/>
              </a:rPr>
              <a:t>Un </a:t>
            </a:r>
            <a:r>
              <a:rPr lang="en-US" sz="1800" dirty="0" err="1">
                <a:effectLst/>
                <a:latin typeface="+mn-lt"/>
                <a:ea typeface="Times New Roman" panose="02020603050405020304" pitchFamily="18" charset="0"/>
                <a:cs typeface="Times New Roman" panose="02020603050405020304" pitchFamily="18" charset="0"/>
              </a:rPr>
              <a:t>marché</a:t>
            </a:r>
            <a:r>
              <a:rPr lang="en-US" sz="1800" dirty="0">
                <a:effectLst/>
                <a:latin typeface="+mn-lt"/>
                <a:ea typeface="Times New Roman" panose="02020603050405020304" pitchFamily="18" charset="0"/>
                <a:cs typeface="Times New Roman" panose="02020603050405020304" pitchFamily="18" charset="0"/>
              </a:rPr>
              <a:t> de </a:t>
            </a:r>
            <a:r>
              <a:rPr lang="en-US" sz="1800" dirty="0" err="1">
                <a:effectLst/>
                <a:latin typeface="+mn-lt"/>
                <a:ea typeface="Times New Roman" panose="02020603050405020304" pitchFamily="18" charset="0"/>
                <a:cs typeface="Times New Roman" panose="02020603050405020304" pitchFamily="18" charset="0"/>
              </a:rPr>
              <a:t>l’emploi</a:t>
            </a:r>
            <a:r>
              <a:rPr lang="en-US" sz="1800" dirty="0">
                <a:effectLst/>
                <a:latin typeface="+mn-lt"/>
                <a:ea typeface="Times New Roman" panose="02020603050405020304" pitchFamily="18" charset="0"/>
                <a:cs typeface="Times New Roman" panose="02020603050405020304" pitchFamily="18" charset="0"/>
              </a:rPr>
              <a:t> </a:t>
            </a:r>
            <a:r>
              <a:rPr lang="en-US" sz="1800" dirty="0" err="1">
                <a:effectLst/>
                <a:latin typeface="+mn-lt"/>
                <a:ea typeface="Times New Roman" panose="02020603050405020304" pitchFamily="18" charset="0"/>
                <a:cs typeface="Times New Roman" panose="02020603050405020304" pitchFamily="18" charset="0"/>
              </a:rPr>
              <a:t>particulièrement</a:t>
            </a:r>
            <a:r>
              <a:rPr lang="en-US" sz="1800" dirty="0">
                <a:effectLst/>
                <a:latin typeface="+mn-lt"/>
                <a:ea typeface="Times New Roman" panose="02020603050405020304" pitchFamily="18" charset="0"/>
                <a:cs typeface="Times New Roman" panose="02020603050405020304" pitchFamily="18" charset="0"/>
              </a:rPr>
              <a:t> </a:t>
            </a:r>
            <a:r>
              <a:rPr lang="en-US" sz="1800" dirty="0" err="1">
                <a:effectLst/>
                <a:latin typeface="+mn-lt"/>
                <a:ea typeface="Times New Roman" panose="02020603050405020304" pitchFamily="18" charset="0"/>
                <a:cs typeface="Times New Roman" panose="02020603050405020304" pitchFamily="18" charset="0"/>
              </a:rPr>
              <a:t>restreint</a:t>
            </a:r>
            <a:r>
              <a:rPr lang="en-US" sz="1800" dirty="0">
                <a:effectLst/>
                <a:latin typeface="+mn-lt"/>
                <a:ea typeface="Times New Roman" panose="02020603050405020304" pitchFamily="18" charset="0"/>
                <a:cs typeface="Times New Roman" panose="02020603050405020304" pitchFamily="18" charset="0"/>
              </a:rPr>
              <a:t>, </a:t>
            </a:r>
            <a:r>
              <a:rPr lang="en-US" sz="1800" dirty="0" err="1">
                <a:effectLst/>
                <a:latin typeface="+mn-lt"/>
                <a:ea typeface="Times New Roman" panose="02020603050405020304" pitchFamily="18" charset="0"/>
                <a:cs typeface="Times New Roman" panose="02020603050405020304" pitchFamily="18" charset="0"/>
              </a:rPr>
              <a:t>ce</a:t>
            </a:r>
            <a:r>
              <a:rPr lang="en-US" sz="1800" dirty="0">
                <a:effectLst/>
                <a:latin typeface="+mn-lt"/>
                <a:ea typeface="Times New Roman" panose="02020603050405020304" pitchFamily="18" charset="0"/>
                <a:cs typeface="Times New Roman" panose="02020603050405020304" pitchFamily="18" charset="0"/>
              </a:rPr>
              <a:t> qui </a:t>
            </a:r>
            <a:r>
              <a:rPr lang="en-US" sz="1800" dirty="0" err="1">
                <a:effectLst/>
                <a:latin typeface="+mn-lt"/>
                <a:ea typeface="Times New Roman" panose="02020603050405020304" pitchFamily="18" charset="0"/>
                <a:cs typeface="Times New Roman" panose="02020603050405020304" pitchFamily="18" charset="0"/>
              </a:rPr>
              <a:t>résulte</a:t>
            </a:r>
            <a:r>
              <a:rPr lang="en-US" sz="1800" dirty="0">
                <a:effectLst/>
                <a:latin typeface="+mn-lt"/>
                <a:ea typeface="Times New Roman" panose="02020603050405020304" pitchFamily="18" charset="0"/>
                <a:cs typeface="Times New Roman" panose="02020603050405020304" pitchFamily="18" charset="0"/>
              </a:rPr>
              <a:t> </a:t>
            </a:r>
            <a:r>
              <a:rPr lang="en-US" sz="1800" dirty="0" err="1">
                <a:effectLst/>
                <a:latin typeface="+mn-lt"/>
                <a:ea typeface="Times New Roman" panose="02020603050405020304" pitchFamily="18" charset="0"/>
                <a:cs typeface="Times New Roman" panose="02020603050405020304" pitchFamily="18" charset="0"/>
              </a:rPr>
              <a:t>en</a:t>
            </a:r>
            <a:r>
              <a:rPr lang="en-US" sz="1800" dirty="0">
                <a:effectLst/>
                <a:latin typeface="+mn-lt"/>
                <a:ea typeface="Times New Roman" panose="02020603050405020304" pitchFamily="18" charset="0"/>
                <a:cs typeface="Times New Roman" panose="02020603050405020304" pitchFamily="18" charset="0"/>
              </a:rPr>
              <a:t> des </a:t>
            </a:r>
            <a:r>
              <a:rPr lang="en-US" sz="1800" b="1" dirty="0" err="1">
                <a:solidFill>
                  <a:srgbClr val="FFFF00"/>
                </a:solidFill>
                <a:effectLst/>
                <a:latin typeface="+mn-lt"/>
                <a:ea typeface="Times New Roman" panose="02020603050405020304" pitchFamily="18" charset="0"/>
                <a:cs typeface="Times New Roman" panose="02020603050405020304" pitchFamily="18" charset="0"/>
              </a:rPr>
              <a:t>coûts</a:t>
            </a:r>
            <a:r>
              <a:rPr lang="en-US" sz="1800" b="1" dirty="0">
                <a:solidFill>
                  <a:srgbClr val="FFFF00"/>
                </a:solidFill>
                <a:effectLst/>
                <a:latin typeface="+mn-lt"/>
                <a:ea typeface="Times New Roman" panose="02020603050405020304" pitchFamily="18" charset="0"/>
                <a:cs typeface="Times New Roman" panose="02020603050405020304" pitchFamily="18" charset="0"/>
              </a:rPr>
              <a:t> du personnel plus </a:t>
            </a:r>
            <a:r>
              <a:rPr lang="en-US" sz="1800" b="1" dirty="0" err="1">
                <a:solidFill>
                  <a:srgbClr val="FFFF00"/>
                </a:solidFill>
                <a:effectLst/>
                <a:latin typeface="+mn-lt"/>
                <a:ea typeface="Times New Roman" panose="02020603050405020304" pitchFamily="18" charset="0"/>
                <a:cs typeface="Times New Roman" panose="02020603050405020304" pitchFamily="18" charset="0"/>
              </a:rPr>
              <a:t>élevés</a:t>
            </a:r>
            <a:r>
              <a:rPr lang="en-US" sz="1800" dirty="0">
                <a:latin typeface="+mn-lt"/>
                <a:ea typeface="Times New Roman" panose="02020603050405020304" pitchFamily="18" charset="0"/>
                <a:cs typeface="Times New Roman" panose="02020603050405020304" pitchFamily="18" charset="0"/>
              </a:rPr>
              <a:t>;</a:t>
            </a:r>
            <a:br>
              <a:rPr lang="en-US" sz="1800" dirty="0">
                <a:effectLst/>
                <a:latin typeface="+mn-lt"/>
                <a:ea typeface="Times New Roman" panose="02020603050405020304" pitchFamily="18" charset="0"/>
                <a:cs typeface="Times New Roman" panose="02020603050405020304" pitchFamily="18" charset="0"/>
              </a:rPr>
            </a:br>
            <a:br>
              <a:rPr lang="nl-NL" sz="1800" dirty="0">
                <a:effectLst/>
                <a:latin typeface="+mn-lt"/>
                <a:ea typeface="Calibri" panose="020F0502020204030204" pitchFamily="34" charset="0"/>
                <a:cs typeface="Times New Roman" panose="02020603050405020304" pitchFamily="18" charset="0"/>
              </a:rPr>
            </a:br>
            <a:r>
              <a:rPr lang="nl-NL" sz="2800" dirty="0">
                <a:effectLst/>
                <a:latin typeface="+mn-lt"/>
                <a:ea typeface="Calibri" panose="020F0502020204030204" pitchFamily="34" charset="0"/>
                <a:cs typeface="Times New Roman" panose="02020603050405020304" pitchFamily="18" charset="0"/>
              </a:rPr>
              <a:t>3. </a:t>
            </a:r>
            <a:r>
              <a:rPr lang="en-US" sz="1800" dirty="0">
                <a:latin typeface="+mn-lt"/>
                <a:ea typeface="Calibri" panose="020F0502020204030204" pitchFamily="34" charset="0"/>
                <a:cs typeface="Times New Roman" panose="02020603050405020304" pitchFamily="18" charset="0"/>
              </a:rPr>
              <a:t>Suite au</a:t>
            </a:r>
            <a:r>
              <a:rPr lang="en-US" sz="1800" dirty="0">
                <a:effectLst/>
                <a:latin typeface="+mn-lt"/>
                <a:ea typeface="Times New Roman" panose="02020603050405020304" pitchFamily="18" charset="0"/>
                <a:cs typeface="Times New Roman" panose="02020603050405020304" pitchFamily="18" charset="0"/>
              </a:rPr>
              <a:t> Covid (Chine) et le </a:t>
            </a:r>
            <a:r>
              <a:rPr lang="en-US" sz="1800" dirty="0" err="1">
                <a:effectLst/>
                <a:latin typeface="+mn-lt"/>
                <a:ea typeface="Times New Roman" panose="02020603050405020304" pitchFamily="18" charset="0"/>
                <a:cs typeface="Times New Roman" panose="02020603050405020304" pitchFamily="18" charset="0"/>
              </a:rPr>
              <a:t>conflit</a:t>
            </a:r>
            <a:r>
              <a:rPr lang="en-US" sz="1800" dirty="0">
                <a:effectLst/>
                <a:latin typeface="+mn-lt"/>
                <a:ea typeface="Times New Roman" panose="02020603050405020304" pitchFamily="18" charset="0"/>
                <a:cs typeface="Times New Roman" panose="02020603050405020304" pitchFamily="18" charset="0"/>
              </a:rPr>
              <a:t> </a:t>
            </a:r>
            <a:r>
              <a:rPr lang="en-US" sz="1800" dirty="0" err="1">
                <a:effectLst/>
                <a:latin typeface="+mn-lt"/>
                <a:ea typeface="Times New Roman" panose="02020603050405020304" pitchFamily="18" charset="0"/>
                <a:cs typeface="Times New Roman" panose="02020603050405020304" pitchFamily="18" charset="0"/>
              </a:rPr>
              <a:t>ukrainien</a:t>
            </a:r>
            <a:r>
              <a:rPr lang="en-US" sz="1800" dirty="0">
                <a:effectLst/>
                <a:latin typeface="+mn-lt"/>
                <a:ea typeface="Times New Roman" panose="02020603050405020304" pitchFamily="18" charset="0"/>
                <a:cs typeface="Times New Roman" panose="02020603050405020304" pitchFamily="18" charset="0"/>
              </a:rPr>
              <a:t>, on constate </a:t>
            </a:r>
            <a:r>
              <a:rPr lang="en-US" sz="1800" dirty="0" err="1">
                <a:effectLst/>
                <a:latin typeface="+mn-lt"/>
                <a:ea typeface="Times New Roman" panose="02020603050405020304" pitchFamily="18" charset="0"/>
                <a:cs typeface="Times New Roman" panose="02020603050405020304" pitchFamily="18" charset="0"/>
              </a:rPr>
              <a:t>une</a:t>
            </a:r>
            <a:r>
              <a:rPr lang="en-US" sz="1800" dirty="0">
                <a:effectLst/>
                <a:latin typeface="+mn-lt"/>
                <a:ea typeface="Times New Roman" panose="02020603050405020304" pitchFamily="18" charset="0"/>
                <a:cs typeface="Times New Roman" panose="02020603050405020304" pitchFamily="18" charset="0"/>
              </a:rPr>
              <a:t> </a:t>
            </a:r>
            <a:r>
              <a:rPr lang="en-US" sz="1800" b="1" dirty="0">
                <a:solidFill>
                  <a:srgbClr val="FFFF00"/>
                </a:solidFill>
                <a:effectLst/>
                <a:latin typeface="+mn-lt"/>
                <a:ea typeface="Times New Roman" panose="02020603050405020304" pitchFamily="18" charset="0"/>
                <a:cs typeface="Times New Roman" panose="02020603050405020304" pitchFamily="18" charset="0"/>
              </a:rPr>
              <a:t>perturbation de la </a:t>
            </a:r>
            <a:r>
              <a:rPr lang="en-US" sz="1800" b="1" dirty="0" err="1">
                <a:solidFill>
                  <a:srgbClr val="FFFF00"/>
                </a:solidFill>
                <a:effectLst/>
                <a:latin typeface="+mn-lt"/>
                <a:ea typeface="Times New Roman" panose="02020603050405020304" pitchFamily="18" charset="0"/>
                <a:cs typeface="Times New Roman" panose="02020603050405020304" pitchFamily="18" charset="0"/>
              </a:rPr>
              <a:t>chaîne</a:t>
            </a:r>
            <a:r>
              <a:rPr lang="en-US" sz="1800" b="1" dirty="0">
                <a:solidFill>
                  <a:srgbClr val="FFFF00"/>
                </a:solidFill>
                <a:effectLst/>
                <a:latin typeface="+mn-lt"/>
                <a:ea typeface="Times New Roman" panose="02020603050405020304" pitchFamily="18" charset="0"/>
                <a:cs typeface="Times New Roman" panose="02020603050405020304" pitchFamily="18" charset="0"/>
              </a:rPr>
              <a:t> de production</a:t>
            </a:r>
            <a:r>
              <a:rPr lang="en-US" sz="1800" dirty="0">
                <a:effectLst/>
                <a:latin typeface="+mn-lt"/>
                <a:ea typeface="Times New Roman" panose="02020603050405020304" pitchFamily="18" charset="0"/>
                <a:cs typeface="Times New Roman" panose="02020603050405020304" pitchFamily="18" charset="0"/>
              </a:rPr>
              <a:t>;</a:t>
            </a:r>
            <a:br>
              <a:rPr lang="en-US" sz="1800" dirty="0">
                <a:effectLst/>
                <a:latin typeface="+mn-lt"/>
                <a:ea typeface="Times New Roman" panose="02020603050405020304" pitchFamily="18" charset="0"/>
                <a:cs typeface="Times New Roman" panose="02020603050405020304" pitchFamily="18" charset="0"/>
              </a:rPr>
            </a:br>
            <a:r>
              <a:rPr lang="en-US" sz="1800" dirty="0">
                <a:effectLst/>
                <a:latin typeface="+mn-lt"/>
                <a:ea typeface="Times New Roman" panose="02020603050405020304" pitchFamily="18" charset="0"/>
                <a:cs typeface="Times New Roman" panose="02020603050405020304" pitchFamily="18" charset="0"/>
              </a:rPr>
              <a:t> </a:t>
            </a:r>
            <a:br>
              <a:rPr lang="nl-NL" sz="1800" dirty="0">
                <a:effectLst/>
                <a:latin typeface="+mn-lt"/>
                <a:ea typeface="Calibri" panose="020F0502020204030204" pitchFamily="34" charset="0"/>
                <a:cs typeface="Times New Roman" panose="02020603050405020304" pitchFamily="18" charset="0"/>
              </a:rPr>
            </a:br>
            <a:r>
              <a:rPr lang="nl-NL" sz="2800" dirty="0">
                <a:effectLst/>
                <a:latin typeface="+mn-lt"/>
                <a:ea typeface="Calibri" panose="020F0502020204030204" pitchFamily="34" charset="0"/>
                <a:cs typeface="Times New Roman" panose="02020603050405020304" pitchFamily="18" charset="0"/>
              </a:rPr>
              <a:t>4. </a:t>
            </a:r>
            <a:r>
              <a:rPr lang="en-US" sz="1800" dirty="0">
                <a:effectLst/>
                <a:latin typeface="+mn-lt"/>
                <a:ea typeface="Times New Roman" panose="02020603050405020304" pitchFamily="18" charset="0"/>
                <a:cs typeface="Times New Roman" panose="02020603050405020304" pitchFamily="18" charset="0"/>
              </a:rPr>
              <a:t>Les ménages se </a:t>
            </a:r>
            <a:r>
              <a:rPr lang="en-US" sz="1800" dirty="0" err="1">
                <a:effectLst/>
                <a:latin typeface="+mn-lt"/>
                <a:ea typeface="Times New Roman" panose="02020603050405020304" pitchFamily="18" charset="0"/>
                <a:cs typeface="Times New Roman" panose="02020603050405020304" pitchFamily="18" charset="0"/>
              </a:rPr>
              <a:t>préparent</a:t>
            </a:r>
            <a:r>
              <a:rPr lang="en-US" sz="1800" dirty="0">
                <a:effectLst/>
                <a:latin typeface="+mn-lt"/>
                <a:ea typeface="Times New Roman" panose="02020603050405020304" pitchFamily="18" charset="0"/>
                <a:cs typeface="Times New Roman" panose="02020603050405020304" pitchFamily="18" charset="0"/>
              </a:rPr>
              <a:t> pour </a:t>
            </a:r>
            <a:r>
              <a:rPr lang="en-US" sz="1800" dirty="0" err="1">
                <a:effectLst/>
                <a:latin typeface="+mn-lt"/>
                <a:ea typeface="Times New Roman" panose="02020603050405020304" pitchFamily="18" charset="0"/>
                <a:cs typeface="Times New Roman" panose="02020603050405020304" pitchFamily="18" charset="0"/>
              </a:rPr>
              <a:t>une</a:t>
            </a:r>
            <a:r>
              <a:rPr lang="en-US" sz="1800" dirty="0">
                <a:effectLst/>
                <a:latin typeface="+mn-lt"/>
                <a:ea typeface="Times New Roman" panose="02020603050405020304" pitchFamily="18" charset="0"/>
                <a:cs typeface="Times New Roman" panose="02020603050405020304" pitchFamily="18" charset="0"/>
              </a:rPr>
              <a:t> </a:t>
            </a:r>
            <a:r>
              <a:rPr lang="en-US" sz="1800" b="1" dirty="0" err="1">
                <a:solidFill>
                  <a:srgbClr val="FFFF00"/>
                </a:solidFill>
                <a:effectLst/>
                <a:latin typeface="+mn-lt"/>
                <a:ea typeface="Times New Roman" panose="02020603050405020304" pitchFamily="18" charset="0"/>
                <a:cs typeface="Times New Roman" panose="02020603050405020304" pitchFamily="18" charset="0"/>
              </a:rPr>
              <a:t>récession</a:t>
            </a:r>
            <a:r>
              <a:rPr lang="en-US" sz="1800" dirty="0">
                <a:effectLst/>
                <a:latin typeface="+mn-lt"/>
                <a:ea typeface="Times New Roman" panose="02020603050405020304" pitchFamily="18" charset="0"/>
                <a:cs typeface="Times New Roman" panose="02020603050405020304" pitchFamily="18" charset="0"/>
              </a:rPr>
              <a:t> et font le point sur </a:t>
            </a:r>
            <a:r>
              <a:rPr lang="en-US" sz="1800" dirty="0" err="1">
                <a:effectLst/>
                <a:latin typeface="+mn-lt"/>
                <a:ea typeface="Times New Roman" panose="02020603050405020304" pitchFamily="18" charset="0"/>
                <a:cs typeface="Times New Roman" panose="02020603050405020304" pitchFamily="18" charset="0"/>
              </a:rPr>
              <a:t>leurs</a:t>
            </a:r>
            <a:r>
              <a:rPr lang="en-US" sz="1800" dirty="0">
                <a:effectLst/>
                <a:latin typeface="+mn-lt"/>
                <a:ea typeface="Times New Roman" panose="02020603050405020304" pitchFamily="18" charset="0"/>
                <a:cs typeface="Times New Roman" panose="02020603050405020304" pitchFamily="18" charset="0"/>
              </a:rPr>
              <a:t> </a:t>
            </a:r>
            <a:r>
              <a:rPr lang="en-US" sz="1800" dirty="0" err="1">
                <a:effectLst/>
                <a:latin typeface="+mn-lt"/>
                <a:ea typeface="Times New Roman" panose="02020603050405020304" pitchFamily="18" charset="0"/>
                <a:cs typeface="Times New Roman" panose="02020603050405020304" pitchFamily="18" charset="0"/>
              </a:rPr>
              <a:t>dépenses</a:t>
            </a:r>
            <a:r>
              <a:rPr lang="en-US" sz="1800" dirty="0">
                <a:effectLst/>
                <a:latin typeface="+mn-lt"/>
                <a:ea typeface="Times New Roman" panose="02020603050405020304" pitchFamily="18" charset="0"/>
                <a:cs typeface="Times New Roman" panose="02020603050405020304" pitchFamily="18" charset="0"/>
              </a:rPr>
              <a:t>;</a:t>
            </a:r>
            <a:br>
              <a:rPr lang="en-US" sz="1800" dirty="0">
                <a:effectLst/>
                <a:latin typeface="+mn-lt"/>
                <a:ea typeface="Times New Roman" panose="02020603050405020304" pitchFamily="18" charset="0"/>
                <a:cs typeface="Times New Roman" panose="02020603050405020304" pitchFamily="18" charset="0"/>
              </a:rPr>
            </a:br>
            <a:br>
              <a:rPr lang="nl-NL" sz="1800" dirty="0">
                <a:effectLst/>
                <a:latin typeface="+mn-lt"/>
                <a:ea typeface="Calibri" panose="020F0502020204030204" pitchFamily="34" charset="0"/>
                <a:cs typeface="Times New Roman" panose="02020603050405020304" pitchFamily="18" charset="0"/>
              </a:rPr>
            </a:br>
            <a:r>
              <a:rPr lang="nl-NL" sz="2800" dirty="0">
                <a:effectLst/>
                <a:latin typeface="+mn-lt"/>
                <a:ea typeface="Calibri" panose="020F0502020204030204" pitchFamily="34" charset="0"/>
                <a:cs typeface="Times New Roman" panose="02020603050405020304" pitchFamily="18" charset="0"/>
              </a:rPr>
              <a:t>5. </a:t>
            </a:r>
            <a:r>
              <a:rPr lang="en-US" sz="1800" b="1" dirty="0" err="1">
                <a:solidFill>
                  <a:srgbClr val="FFFF00"/>
                </a:solidFill>
                <a:effectLst/>
                <a:latin typeface="+mn-lt"/>
                <a:ea typeface="Times New Roman" panose="02020603050405020304" pitchFamily="18" charset="0"/>
                <a:cs typeface="Times New Roman" panose="02020603050405020304" pitchFamily="18" charset="0"/>
              </a:rPr>
              <a:t>L’inflation</a:t>
            </a:r>
            <a:r>
              <a:rPr lang="en-US" sz="1800" b="1" dirty="0">
                <a:effectLst/>
                <a:latin typeface="+mn-lt"/>
                <a:ea typeface="Times New Roman" panose="02020603050405020304" pitchFamily="18" charset="0"/>
                <a:cs typeface="Times New Roman" panose="02020603050405020304" pitchFamily="18" charset="0"/>
              </a:rPr>
              <a:t> </a:t>
            </a:r>
            <a:r>
              <a:rPr lang="en-US" sz="1800" dirty="0">
                <a:effectLst/>
                <a:latin typeface="+mn-lt"/>
                <a:ea typeface="Times New Roman" panose="02020603050405020304" pitchFamily="18" charset="0"/>
                <a:cs typeface="Times New Roman" panose="02020603050405020304" pitchFamily="18" charset="0"/>
              </a:rPr>
              <a:t>( Europe 8,9% </a:t>
            </a:r>
            <a:r>
              <a:rPr lang="en-US" sz="1800" dirty="0" err="1">
                <a:effectLst/>
                <a:latin typeface="+mn-lt"/>
                <a:ea typeface="Times New Roman" panose="02020603050405020304" pitchFamily="18" charset="0"/>
                <a:cs typeface="Times New Roman" panose="02020603050405020304" pitchFamily="18" charset="0"/>
              </a:rPr>
              <a:t>en</a:t>
            </a:r>
            <a:r>
              <a:rPr lang="en-US" sz="1800" dirty="0">
                <a:effectLst/>
                <a:latin typeface="+mn-lt"/>
                <a:ea typeface="Times New Roman" panose="02020603050405020304" pitchFamily="18" charset="0"/>
                <a:cs typeface="Times New Roman" panose="02020603050405020304" pitchFamily="18" charset="0"/>
              </a:rPr>
              <a:t> </a:t>
            </a:r>
            <a:r>
              <a:rPr lang="en-US" sz="1800" dirty="0" err="1">
                <a:effectLst/>
                <a:latin typeface="+mn-lt"/>
                <a:ea typeface="Times New Roman" panose="02020603050405020304" pitchFamily="18" charset="0"/>
                <a:cs typeface="Times New Roman" panose="02020603050405020304" pitchFamily="18" charset="0"/>
              </a:rPr>
              <a:t>juillet</a:t>
            </a:r>
            <a:r>
              <a:rPr lang="en-US" sz="1800" dirty="0">
                <a:effectLst/>
                <a:latin typeface="+mn-lt"/>
                <a:ea typeface="Times New Roman" panose="02020603050405020304" pitchFamily="18" charset="0"/>
                <a:cs typeface="Times New Roman" panose="02020603050405020304" pitchFamily="18" charset="0"/>
              </a:rPr>
              <a:t> 2022!) a un impact </a:t>
            </a:r>
            <a:r>
              <a:rPr lang="en-US" sz="1800" dirty="0" err="1">
                <a:effectLst/>
                <a:latin typeface="+mn-lt"/>
                <a:ea typeface="Times New Roman" panose="02020603050405020304" pitchFamily="18" charset="0"/>
                <a:cs typeface="Times New Roman" panose="02020603050405020304" pitchFamily="18" charset="0"/>
              </a:rPr>
              <a:t>géneral</a:t>
            </a:r>
            <a:r>
              <a:rPr lang="en-US" sz="1800" dirty="0">
                <a:effectLst/>
                <a:latin typeface="+mn-lt"/>
                <a:ea typeface="Times New Roman" panose="02020603050405020304" pitchFamily="18" charset="0"/>
                <a:cs typeface="Times New Roman" panose="02020603050405020304" pitchFamily="18" charset="0"/>
              </a:rPr>
              <a:t>, </a:t>
            </a:r>
            <a:r>
              <a:rPr lang="en-US" sz="1800" dirty="0" err="1">
                <a:effectLst/>
                <a:latin typeface="+mn-lt"/>
                <a:ea typeface="Times New Roman" panose="02020603050405020304" pitchFamily="18" charset="0"/>
                <a:cs typeface="Times New Roman" panose="02020603050405020304" pitchFamily="18" charset="0"/>
              </a:rPr>
              <a:t>mais</a:t>
            </a:r>
            <a:r>
              <a:rPr lang="en-US" sz="1800" dirty="0">
                <a:effectLst/>
                <a:latin typeface="+mn-lt"/>
                <a:ea typeface="Times New Roman" panose="02020603050405020304" pitchFamily="18" charset="0"/>
                <a:cs typeface="Times New Roman" panose="02020603050405020304" pitchFamily="18" charset="0"/>
              </a:rPr>
              <a:t> sur </a:t>
            </a:r>
            <a:r>
              <a:rPr lang="en-US" sz="1800" dirty="0" err="1">
                <a:effectLst/>
                <a:latin typeface="+mn-lt"/>
                <a:ea typeface="Times New Roman" panose="02020603050405020304" pitchFamily="18" charset="0"/>
                <a:cs typeface="Times New Roman" panose="02020603050405020304" pitchFamily="18" charset="0"/>
              </a:rPr>
              <a:t>certains</a:t>
            </a:r>
            <a:r>
              <a:rPr lang="en-US" sz="1800" dirty="0">
                <a:effectLst/>
                <a:latin typeface="+mn-lt"/>
                <a:ea typeface="Times New Roman" panose="02020603050405020304" pitchFamily="18" charset="0"/>
                <a:cs typeface="Times New Roman" panose="02020603050405020304" pitchFamily="18" charset="0"/>
              </a:rPr>
              <a:t> </a:t>
            </a:r>
            <a:r>
              <a:rPr lang="en-US" sz="1800" dirty="0" err="1">
                <a:effectLst/>
                <a:latin typeface="+mn-lt"/>
                <a:ea typeface="Times New Roman" panose="02020603050405020304" pitchFamily="18" charset="0"/>
                <a:cs typeface="Times New Roman" panose="02020603050405020304" pitchFamily="18" charset="0"/>
              </a:rPr>
              <a:t>groupes</a:t>
            </a:r>
            <a:r>
              <a:rPr lang="en-US" sz="1800" dirty="0">
                <a:effectLst/>
                <a:latin typeface="+mn-lt"/>
                <a:ea typeface="Times New Roman" panose="02020603050405020304" pitchFamily="18" charset="0"/>
                <a:cs typeface="Times New Roman" panose="02020603050405020304" pitchFamily="18" charset="0"/>
              </a:rPr>
              <a:t> de </a:t>
            </a:r>
            <a:r>
              <a:rPr lang="en-US" sz="1800" dirty="0" err="1">
                <a:effectLst/>
                <a:latin typeface="+mn-lt"/>
                <a:ea typeface="Times New Roman" panose="02020603050405020304" pitchFamily="18" charset="0"/>
                <a:cs typeface="Times New Roman" panose="02020603050405020304" pitchFamily="18" charset="0"/>
              </a:rPr>
              <a:t>consommateurs</a:t>
            </a:r>
            <a:r>
              <a:rPr lang="en-US" sz="1800" dirty="0">
                <a:effectLst/>
                <a:latin typeface="+mn-lt"/>
                <a:ea typeface="Times New Roman" panose="02020603050405020304" pitchFamily="18" charset="0"/>
                <a:cs typeface="Times New Roman" panose="02020603050405020304" pitchFamily="18" charset="0"/>
              </a:rPr>
              <a:t> plus que </a:t>
            </a:r>
            <a:r>
              <a:rPr lang="en-US" sz="1800" dirty="0" err="1">
                <a:effectLst/>
                <a:latin typeface="+mn-lt"/>
                <a:ea typeface="Times New Roman" panose="02020603050405020304" pitchFamily="18" charset="0"/>
                <a:cs typeface="Times New Roman" panose="02020603050405020304" pitchFamily="18" charset="0"/>
              </a:rPr>
              <a:t>d’autres</a:t>
            </a:r>
            <a:r>
              <a:rPr lang="en-US" sz="1800" dirty="0">
                <a:effectLst/>
                <a:latin typeface="+mn-lt"/>
                <a:ea typeface="Times New Roman" panose="02020603050405020304" pitchFamily="18" charset="0"/>
                <a:cs typeface="Times New Roman" panose="02020603050405020304" pitchFamily="18" charset="0"/>
              </a:rPr>
              <a:t>;</a:t>
            </a:r>
            <a:br>
              <a:rPr lang="en-US" sz="1800" dirty="0">
                <a:effectLst/>
                <a:latin typeface="+mn-lt"/>
                <a:ea typeface="Times New Roman" panose="02020603050405020304" pitchFamily="18" charset="0"/>
                <a:cs typeface="Times New Roman" panose="02020603050405020304" pitchFamily="18" charset="0"/>
              </a:rPr>
            </a:br>
            <a:r>
              <a:rPr lang="en-US" sz="1800" dirty="0">
                <a:effectLst/>
                <a:latin typeface="+mn-lt"/>
                <a:ea typeface="Times New Roman" panose="02020603050405020304" pitchFamily="18" charset="0"/>
                <a:cs typeface="Times New Roman" panose="02020603050405020304" pitchFamily="18" charset="0"/>
              </a:rPr>
              <a:t> </a:t>
            </a:r>
            <a:br>
              <a:rPr lang="nl-NL" sz="1800" dirty="0">
                <a:effectLst/>
                <a:latin typeface="+mn-lt"/>
                <a:ea typeface="Calibri" panose="020F0502020204030204" pitchFamily="34" charset="0"/>
                <a:cs typeface="Times New Roman" panose="02020603050405020304" pitchFamily="18" charset="0"/>
              </a:rPr>
            </a:br>
            <a:r>
              <a:rPr lang="nl-NL" sz="2800" dirty="0">
                <a:effectLst/>
                <a:latin typeface="+mn-lt"/>
                <a:ea typeface="Calibri" panose="020F0502020204030204" pitchFamily="34" charset="0"/>
                <a:cs typeface="Times New Roman" panose="02020603050405020304" pitchFamily="18" charset="0"/>
              </a:rPr>
              <a:t>6. </a:t>
            </a:r>
            <a:r>
              <a:rPr lang="fr-FR" sz="1800" dirty="0">
                <a:latin typeface="+mn-lt"/>
                <a:ea typeface="Calibri" panose="020F0502020204030204" pitchFamily="34" charset="0"/>
                <a:cs typeface="Times New Roman" panose="02020603050405020304" pitchFamily="18" charset="0"/>
              </a:rPr>
              <a:t>L</a:t>
            </a:r>
            <a:r>
              <a:rPr lang="fr-FR" sz="1800" dirty="0">
                <a:effectLst/>
                <a:latin typeface="+mn-lt"/>
                <a:ea typeface="Times New Roman" panose="02020603050405020304" pitchFamily="18" charset="0"/>
                <a:cs typeface="Times New Roman" panose="02020603050405020304" pitchFamily="18" charset="0"/>
              </a:rPr>
              <a:t>a</a:t>
            </a:r>
            <a:r>
              <a:rPr lang="fr-FR" sz="1800" b="1" dirty="0">
                <a:solidFill>
                  <a:srgbClr val="FFFF00"/>
                </a:solidFill>
                <a:effectLst/>
                <a:latin typeface="+mn-lt"/>
                <a:ea typeface="Times New Roman" panose="02020603050405020304" pitchFamily="18" charset="0"/>
                <a:cs typeface="Times New Roman" panose="02020603050405020304" pitchFamily="18" charset="0"/>
              </a:rPr>
              <a:t> </a:t>
            </a:r>
            <a:r>
              <a:rPr lang="fr-FR" sz="1800" b="1" dirty="0">
                <a:solidFill>
                  <a:srgbClr val="FFFF00"/>
                </a:solidFill>
                <a:latin typeface="+mn-lt"/>
                <a:ea typeface="Times New Roman" panose="02020603050405020304" pitchFamily="18" charset="0"/>
                <a:cs typeface="Times New Roman" panose="02020603050405020304" pitchFamily="18" charset="0"/>
              </a:rPr>
              <a:t>co</a:t>
            </a:r>
            <a:r>
              <a:rPr lang="fr-FR" sz="1800" b="1" dirty="0">
                <a:solidFill>
                  <a:srgbClr val="FFFF00"/>
                </a:solidFill>
                <a:effectLst/>
                <a:latin typeface="+mn-lt"/>
                <a:ea typeface="Times New Roman" panose="02020603050405020304" pitchFamily="18" charset="0"/>
                <a:cs typeface="Times New Roman" panose="02020603050405020304" pitchFamily="18" charset="0"/>
              </a:rPr>
              <a:t>mpétition</a:t>
            </a:r>
            <a:r>
              <a:rPr lang="fr-FR" sz="1800" dirty="0">
                <a:effectLst/>
                <a:latin typeface="+mn-lt"/>
                <a:ea typeface="Times New Roman" panose="02020603050405020304" pitchFamily="18" charset="0"/>
                <a:cs typeface="Times New Roman" panose="02020603050405020304" pitchFamily="18" charset="0"/>
              </a:rPr>
              <a:t> est dure et il reste nécessaire </a:t>
            </a:r>
            <a:r>
              <a:rPr lang="fr-FR" sz="1800" b="1" dirty="0">
                <a:solidFill>
                  <a:srgbClr val="FFFF00"/>
                </a:solidFill>
                <a:effectLst/>
                <a:latin typeface="+mn-lt"/>
                <a:ea typeface="Times New Roman" panose="02020603050405020304" pitchFamily="18" charset="0"/>
                <a:cs typeface="Times New Roman" panose="02020603050405020304" pitchFamily="18" charset="0"/>
              </a:rPr>
              <a:t>d’investir et transformer </a:t>
            </a:r>
            <a:r>
              <a:rPr lang="fr-FR" sz="1800" dirty="0">
                <a:effectLst/>
                <a:latin typeface="+mn-lt"/>
                <a:ea typeface="Times New Roman" panose="02020603050405020304" pitchFamily="18" charset="0"/>
                <a:cs typeface="Times New Roman" panose="02020603050405020304" pitchFamily="18" charset="0"/>
              </a:rPr>
              <a:t>ses modèles  </a:t>
            </a:r>
            <a:br>
              <a:rPr lang="fr-FR" sz="1800" dirty="0">
                <a:effectLst/>
                <a:latin typeface="+mn-lt"/>
                <a:ea typeface="Times New Roman" panose="02020603050405020304" pitchFamily="18" charset="0"/>
                <a:cs typeface="Times New Roman" panose="02020603050405020304" pitchFamily="18" charset="0"/>
              </a:rPr>
            </a:br>
            <a:r>
              <a:rPr lang="fr-FR" sz="1800" dirty="0">
                <a:effectLst/>
                <a:latin typeface="+mn-lt"/>
                <a:ea typeface="Times New Roman" panose="02020603050405020304" pitchFamily="18" charset="0"/>
                <a:cs typeface="Times New Roman" panose="02020603050405020304" pitchFamily="18" charset="0"/>
              </a:rPr>
              <a:t>                                                                                                                     commerciaux</a:t>
            </a:r>
            <a:br>
              <a:rPr lang="en-US" sz="1800" dirty="0">
                <a:effectLst/>
                <a:latin typeface="+mn-lt"/>
                <a:ea typeface="Times New Roman" panose="02020603050405020304" pitchFamily="18" charset="0"/>
                <a:cs typeface="Times New Roman" panose="02020603050405020304" pitchFamily="18" charset="0"/>
              </a:rPr>
            </a:br>
            <a:br>
              <a:rPr lang="nl-NL" sz="1800" dirty="0">
                <a:effectLst/>
                <a:latin typeface="Calibri" panose="020F0502020204030204" pitchFamily="34" charset="0"/>
                <a:ea typeface="Calibri" panose="020F0502020204030204" pitchFamily="34" charset="0"/>
                <a:cs typeface="Times New Roman" panose="02020603050405020304" pitchFamily="18" charset="0"/>
              </a:rPr>
            </a:br>
            <a:endParaRPr lang="nl-NL" dirty="0"/>
          </a:p>
        </p:txBody>
      </p:sp>
    </p:spTree>
    <p:extLst>
      <p:ext uri="{BB962C8B-B14F-4D97-AF65-F5344CB8AC3E}">
        <p14:creationId xmlns:p14="http://schemas.microsoft.com/office/powerpoint/2010/main" val="1800193666"/>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D4BA8250-5213-40D0-B747-12CB8BB8AB6E}"/>
              </a:ext>
            </a:extLst>
          </p:cNvPr>
          <p:cNvPicPr>
            <a:picLocks noChangeAspect="1"/>
          </p:cNvPicPr>
          <p:nvPr/>
        </p:nvPicPr>
        <p:blipFill rotWithShape="1">
          <a:blip r:embed="rId7"/>
          <a:srcRect t="-1" b="8374"/>
          <a:stretch/>
        </p:blipFill>
        <p:spPr>
          <a:xfrm>
            <a:off x="1464227" y="1979118"/>
            <a:ext cx="9263547" cy="4284000"/>
          </a:xfrm>
          <a:prstGeom prst="rect">
            <a:avLst/>
          </a:prstGeom>
        </p:spPr>
      </p:pic>
      <p:sp>
        <p:nvSpPr>
          <p:cNvPr id="4" name="Rectangle 3"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 typeface="Wingdings 2" pitchFamily="18" charset="2"/>
              <a:buNone/>
              <a:tabLst/>
              <a:defRPr/>
            </a:pPr>
            <a:endParaRPr kumimoji="0" lang="en-GB" sz="1000" b="0" i="0" u="none" strike="noStrike" kern="1200" cap="none" spc="0" normalizeH="0" baseline="0" noProof="0" dirty="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13" name="Title 1"/>
          <p:cNvSpPr>
            <a:spLocks noGrp="1"/>
          </p:cNvSpPr>
          <p:nvPr>
            <p:ph type="title"/>
          </p:nvPr>
        </p:nvSpPr>
        <p:spPr/>
        <p:txBody>
          <a:bodyPr vert="horz"/>
          <a:lstStyle/>
          <a:p>
            <a:r>
              <a:rPr lang="en-US" b="1" dirty="0">
                <a:solidFill>
                  <a:schemeClr val="accent1"/>
                </a:solidFill>
              </a:rPr>
              <a:t>Entre</a:t>
            </a:r>
            <a:r>
              <a:rPr lang="en-US" dirty="0"/>
              <a:t> </a:t>
            </a:r>
            <a:r>
              <a:rPr lang="en-US" b="1" dirty="0">
                <a:solidFill>
                  <a:schemeClr val="accent1"/>
                </a:solidFill>
              </a:rPr>
              <a:t>36 % et 72 % </a:t>
            </a:r>
            <a:r>
              <a:rPr lang="en-US" dirty="0"/>
              <a:t>des </a:t>
            </a:r>
            <a:r>
              <a:rPr lang="en-US" dirty="0" err="1"/>
              <a:t>consommateurs</a:t>
            </a:r>
            <a:r>
              <a:rPr lang="en-US" dirty="0"/>
              <a:t> dans les pays </a:t>
            </a:r>
            <a:r>
              <a:rPr lang="en-US" dirty="0" err="1"/>
              <a:t>interrogés</a:t>
            </a:r>
            <a:r>
              <a:rPr lang="en-US" dirty="0"/>
              <a:t> </a:t>
            </a:r>
            <a:r>
              <a:rPr lang="en-US" dirty="0" err="1"/>
              <a:t>ont</a:t>
            </a:r>
            <a:r>
              <a:rPr lang="en-US" dirty="0"/>
              <a:t> </a:t>
            </a:r>
            <a:r>
              <a:rPr lang="en-US" dirty="0" err="1"/>
              <a:t>indiqué</a:t>
            </a:r>
            <a:r>
              <a:rPr lang="en-US" dirty="0"/>
              <a:t> faire du sport </a:t>
            </a:r>
            <a:r>
              <a:rPr lang="en-US" b="1" dirty="0">
                <a:solidFill>
                  <a:schemeClr val="accent1"/>
                </a:solidFill>
              </a:rPr>
              <a:t>au </a:t>
            </a:r>
            <a:r>
              <a:rPr lang="en-US" b="1" dirty="0" err="1">
                <a:solidFill>
                  <a:schemeClr val="accent1"/>
                </a:solidFill>
              </a:rPr>
              <a:t>moins</a:t>
            </a:r>
            <a:r>
              <a:rPr lang="en-US" b="1" dirty="0">
                <a:solidFill>
                  <a:schemeClr val="accent1"/>
                </a:solidFill>
              </a:rPr>
              <a:t> </a:t>
            </a:r>
            <a:r>
              <a:rPr lang="en-US" b="1" dirty="0" err="1">
                <a:solidFill>
                  <a:schemeClr val="accent1"/>
                </a:solidFill>
              </a:rPr>
              <a:t>une</a:t>
            </a:r>
            <a:r>
              <a:rPr lang="en-US" b="1" dirty="0">
                <a:solidFill>
                  <a:schemeClr val="accent1"/>
                </a:solidFill>
              </a:rPr>
              <a:t> </a:t>
            </a:r>
            <a:r>
              <a:rPr lang="en-US" b="1" dirty="0" err="1">
                <a:solidFill>
                  <a:schemeClr val="accent1"/>
                </a:solidFill>
              </a:rPr>
              <a:t>fois</a:t>
            </a:r>
            <a:r>
              <a:rPr lang="en-US" b="1" dirty="0">
                <a:solidFill>
                  <a:schemeClr val="accent1"/>
                </a:solidFill>
              </a:rPr>
              <a:t> par </a:t>
            </a:r>
            <a:r>
              <a:rPr lang="en-US" b="1" dirty="0" err="1">
                <a:solidFill>
                  <a:schemeClr val="accent1"/>
                </a:solidFill>
              </a:rPr>
              <a:t>semaine</a:t>
            </a:r>
            <a:endParaRPr lang="en-GB" b="1" baseline="30000" noProof="0" dirty="0">
              <a:solidFill>
                <a:schemeClr val="accent1"/>
              </a:solidFill>
            </a:endParaRPr>
          </a:p>
        </p:txBody>
      </p:sp>
      <p:sp>
        <p:nvSpPr>
          <p:cNvPr id="25" name="TextBox 24"/>
          <p:cNvSpPr txBox="1"/>
          <p:nvPr/>
        </p:nvSpPr>
        <p:spPr>
          <a:xfrm>
            <a:off x="480878" y="6218114"/>
            <a:ext cx="9838771" cy="531364"/>
          </a:xfrm>
          <a:prstGeom prst="rect">
            <a:avLst/>
          </a:prstGeom>
          <a:noFill/>
        </p:spPr>
        <p:txBody>
          <a:bodyPr wrap="square" lIns="0" tIns="0" rIns="0" bIns="0" rtlCol="0" anchor="b">
            <a:spAutoFit/>
          </a:bodyPr>
          <a:lstStyle/>
          <a:p>
            <a:pPr eaLnBrk="0" fontAlgn="base" hangingPunct="0">
              <a:lnSpc>
                <a:spcPct val="110000"/>
              </a:lnSpc>
            </a:pPr>
            <a:r>
              <a:rPr lang="fr-FR"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Notes: 1) Question correspondante de l’étude: </a:t>
            </a:r>
            <a:r>
              <a:rPr lang="fr-FR" sz="800" b="1" kern="1200" dirty="0">
                <a:solidFill>
                  <a:srgbClr val="FF0000"/>
                </a:solidFill>
                <a:effectLst/>
                <a:latin typeface="Verdana" panose="020B0604030504040204" pitchFamily="34" charset="0"/>
                <a:ea typeface="Times New Roman" panose="02020603050405020304" pitchFamily="18" charset="0"/>
                <a:cs typeface="Times New Roman" panose="02020603050405020304" pitchFamily="18" charset="0"/>
              </a:rPr>
              <a:t>Combien de fois pratiquez-vous le fitness ? (comprend les exercices de force et/ou cardio et/ou les cours suivis en salle de fitness, à la maison, en extérieur…)? </a:t>
            </a:r>
            <a:br>
              <a:rPr lang="fr-FR"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br>
            <a:r>
              <a:rPr lang="fr-FR"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N = 10 888) Les chiffres du schéma présentent </a:t>
            </a:r>
            <a:r>
              <a:rPr lang="fr-FR" sz="800" kern="1200" dirty="0" err="1">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lla</a:t>
            </a:r>
            <a:r>
              <a:rPr lang="fr-FR"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 part de consommateurs qui pratiquent au moins une fois par semaine.</a:t>
            </a:r>
            <a:br>
              <a:rPr lang="fr-FR"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br>
            <a:r>
              <a:rPr lang="en-GB"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Source: EuropeActive Consumer Survey 2022/Étude </a:t>
            </a:r>
            <a:r>
              <a:rPr lang="en-GB" sz="800" kern="1200" dirty="0" err="1">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consommateurs</a:t>
            </a:r>
            <a:r>
              <a:rPr lang="en-GB"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 EuropeActive 2022</a:t>
            </a:r>
            <a:endParaRPr lang="fr-FR" sz="800" dirty="0">
              <a:effectLst/>
              <a:latin typeface="Times New Roman" panose="02020603050405020304" pitchFamily="18" charset="0"/>
              <a:ea typeface="Times New Roman" panose="02020603050405020304" pitchFamily="18" charset="0"/>
            </a:endParaRPr>
          </a:p>
        </p:txBody>
      </p:sp>
      <p:grpSp>
        <p:nvGrpSpPr>
          <p:cNvPr id="31" name="Group 30">
            <a:extLst>
              <a:ext uri="{FF2B5EF4-FFF2-40B4-BE49-F238E27FC236}">
                <a16:creationId xmlns:a16="http://schemas.microsoft.com/office/drawing/2014/main" id="{3759C6C7-19F4-4DEE-A1F7-F8ABC23D0C17}"/>
              </a:ext>
            </a:extLst>
          </p:cNvPr>
          <p:cNvGrpSpPr/>
          <p:nvPr/>
        </p:nvGrpSpPr>
        <p:grpSpPr>
          <a:xfrm>
            <a:off x="0" y="1112402"/>
            <a:ext cx="1872351" cy="233523"/>
            <a:chOff x="0" y="1112402"/>
            <a:chExt cx="1872351" cy="233523"/>
          </a:xfrm>
        </p:grpSpPr>
        <p:sp>
          <p:nvSpPr>
            <p:cNvPr id="32" name="Freeform 61">
              <a:extLst>
                <a:ext uri="{FF2B5EF4-FFF2-40B4-BE49-F238E27FC236}">
                  <a16:creationId xmlns:a16="http://schemas.microsoft.com/office/drawing/2014/main" id="{7796911A-2C4D-4315-9DB1-65721C0404BB}"/>
                </a:ext>
              </a:extLst>
            </p:cNvPr>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28575" algn="ctr">
              <a:solidFill>
                <a:schemeClr val="accent1"/>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33" name="Straight Connector 32">
              <a:extLst>
                <a:ext uri="{FF2B5EF4-FFF2-40B4-BE49-F238E27FC236}">
                  <a16:creationId xmlns:a16="http://schemas.microsoft.com/office/drawing/2014/main" id="{2F3E5D96-4119-4404-8719-414241E4368D}"/>
                </a:ext>
              </a:extLst>
            </p:cNvPr>
            <p:cNvCxnSpPr/>
            <p:nvPr/>
          </p:nvCxnSpPr>
          <p:spPr>
            <a:xfrm flipH="1">
              <a:off x="0" y="1259840"/>
              <a:ext cx="12903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A2F95A1-71DD-412D-BD9B-870E26B3B4A3}"/>
                </a:ext>
              </a:extLst>
            </p:cNvPr>
            <p:cNvCxnSpPr/>
            <p:nvPr/>
          </p:nvCxnSpPr>
          <p:spPr>
            <a:xfrm flipH="1">
              <a:off x="1651705" y="1259840"/>
              <a:ext cx="220646" cy="0"/>
            </a:xfrm>
            <a:prstGeom prst="line">
              <a:avLst/>
            </a:prstGeom>
            <a:ln w="28575">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sp>
        <p:nvSpPr>
          <p:cNvPr id="21" name="TextBox 90">
            <a:extLst>
              <a:ext uri="{FF2B5EF4-FFF2-40B4-BE49-F238E27FC236}">
                <a16:creationId xmlns:a16="http://schemas.microsoft.com/office/drawing/2014/main" id="{F5CA59D5-DB35-4C5B-B177-7E33DDF86A85}"/>
              </a:ext>
            </a:extLst>
          </p:cNvPr>
          <p:cNvSpPr txBox="1"/>
          <p:nvPr/>
        </p:nvSpPr>
        <p:spPr>
          <a:xfrm>
            <a:off x="480917" y="1463688"/>
            <a:ext cx="10425821" cy="245708"/>
          </a:xfrm>
          <a:prstGeom prst="rect">
            <a:avLst/>
          </a:prstGeom>
          <a:noFill/>
        </p:spPr>
        <p:txBody>
          <a:bodyPr wrap="square" lIns="0" tIns="0" rIns="0" bIns="0" rtlCol="0">
            <a:spAutoFit/>
          </a:bodyPr>
          <a:lstStyle/>
          <a:p>
            <a:pPr marL="0" marR="0" lvl="0" indent="0" algn="l" defTabSz="1219170" rtl="0" eaLnBrk="0" fontAlgn="base" latinLnBrk="0" hangingPunct="0">
              <a:lnSpc>
                <a:spcPct val="11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Verdana"/>
                <a:ea typeface="+mn-ea"/>
                <a:cs typeface="+mn-cs"/>
              </a:rPr>
              <a:t>Pratique </a:t>
            </a:r>
            <a:r>
              <a:rPr kumimoji="0" lang="en-US" sz="1600" b="1" i="0" u="none" strike="noStrike" kern="1200" cap="none" spc="0" normalizeH="0" baseline="0" noProof="0" dirty="0" err="1">
                <a:ln>
                  <a:noFill/>
                </a:ln>
                <a:solidFill>
                  <a:prstClr val="black"/>
                </a:solidFill>
                <a:effectLst/>
                <a:uLnTx/>
                <a:uFillTx/>
                <a:latin typeface="Verdana"/>
                <a:ea typeface="+mn-ea"/>
                <a:cs typeface="+mn-cs"/>
              </a:rPr>
              <a:t>régulière</a:t>
            </a:r>
            <a:r>
              <a:rPr kumimoji="0" lang="en-US" sz="1600" b="1" i="0" u="none" strike="noStrike" kern="1200" cap="none" spc="0" normalizeH="0" baseline="0" noProof="0" dirty="0">
                <a:ln>
                  <a:noFill/>
                </a:ln>
                <a:solidFill>
                  <a:prstClr val="black"/>
                </a:solidFill>
                <a:effectLst/>
                <a:uLnTx/>
                <a:uFillTx/>
                <a:latin typeface="Verdana"/>
                <a:ea typeface="+mn-ea"/>
                <a:cs typeface="+mn-cs"/>
              </a:rPr>
              <a:t> du fitness par pays</a:t>
            </a:r>
            <a:r>
              <a:rPr kumimoji="0" lang="en-US" sz="1600" b="1" i="0" u="none" strike="noStrike" kern="1200" cap="none" spc="0" normalizeH="0" baseline="30000" noProof="0" dirty="0">
                <a:ln>
                  <a:noFill/>
                </a:ln>
                <a:solidFill>
                  <a:prstClr val="black"/>
                </a:solidFill>
                <a:effectLst/>
                <a:uLnTx/>
                <a:uFillTx/>
                <a:latin typeface="Verdana"/>
                <a:ea typeface="+mn-ea"/>
                <a:cs typeface="+mn-cs"/>
              </a:rPr>
              <a:t>1</a:t>
            </a:r>
            <a:endParaRPr kumimoji="0" lang="en-GB" sz="700" b="0" i="0" u="none" strike="noStrike" kern="1200" cap="none" spc="0" normalizeH="0" baseline="30000" noProof="0" dirty="0">
              <a:ln>
                <a:noFill/>
              </a:ln>
              <a:solidFill>
                <a:prstClr val="black"/>
              </a:solidFill>
              <a:effectLst/>
              <a:uLnTx/>
              <a:uFillTx/>
              <a:latin typeface="Verdana"/>
              <a:ea typeface="+mn-ea"/>
              <a:cs typeface="+mn-cs"/>
            </a:endParaRPr>
          </a:p>
        </p:txBody>
      </p:sp>
      <p:grpSp>
        <p:nvGrpSpPr>
          <p:cNvPr id="27" name="Group 26">
            <a:extLst>
              <a:ext uri="{FF2B5EF4-FFF2-40B4-BE49-F238E27FC236}">
                <a16:creationId xmlns:a16="http://schemas.microsoft.com/office/drawing/2014/main" id="{A19CC9F9-2F81-47E9-86F9-CCDD74FFA84D}"/>
              </a:ext>
            </a:extLst>
          </p:cNvPr>
          <p:cNvGrpSpPr/>
          <p:nvPr/>
        </p:nvGrpSpPr>
        <p:grpSpPr>
          <a:xfrm flipH="1">
            <a:off x="10319649" y="6515955"/>
            <a:ext cx="1872351" cy="233523"/>
            <a:chOff x="0" y="1112402"/>
            <a:chExt cx="1872351" cy="233523"/>
          </a:xfrm>
        </p:grpSpPr>
        <p:sp>
          <p:nvSpPr>
            <p:cNvPr id="28" name="Freeform 65">
              <a:extLst>
                <a:ext uri="{FF2B5EF4-FFF2-40B4-BE49-F238E27FC236}">
                  <a16:creationId xmlns:a16="http://schemas.microsoft.com/office/drawing/2014/main" id="{731D49D8-0B85-4F31-854E-2D9103BFF70A}"/>
                </a:ext>
              </a:extLst>
            </p:cNvPr>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28575" algn="ctr">
              <a:solidFill>
                <a:schemeClr val="accent1"/>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29" name="Straight Connector 28">
              <a:extLst>
                <a:ext uri="{FF2B5EF4-FFF2-40B4-BE49-F238E27FC236}">
                  <a16:creationId xmlns:a16="http://schemas.microsoft.com/office/drawing/2014/main" id="{044DA7D4-399D-436A-9EB5-68875BAAED18}"/>
                </a:ext>
              </a:extLst>
            </p:cNvPr>
            <p:cNvCxnSpPr/>
            <p:nvPr/>
          </p:nvCxnSpPr>
          <p:spPr>
            <a:xfrm flipH="1">
              <a:off x="0" y="1259840"/>
              <a:ext cx="12903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CD4C3A8-750A-4D9A-A422-6B3B4E023EAF}"/>
                </a:ext>
              </a:extLst>
            </p:cNvPr>
            <p:cNvCxnSpPr/>
            <p:nvPr/>
          </p:nvCxnSpPr>
          <p:spPr>
            <a:xfrm flipH="1">
              <a:off x="1651705" y="1259840"/>
              <a:ext cx="220646" cy="0"/>
            </a:xfrm>
            <a:prstGeom prst="line">
              <a:avLst/>
            </a:prstGeom>
            <a:ln w="28575">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grpSp>
        <p:nvGrpSpPr>
          <p:cNvPr id="18" name="Gruppieren 17">
            <a:extLst>
              <a:ext uri="{FF2B5EF4-FFF2-40B4-BE49-F238E27FC236}">
                <a16:creationId xmlns:a16="http://schemas.microsoft.com/office/drawing/2014/main" id="{665971B8-F8AB-4529-9896-F0373B87EDEC}"/>
              </a:ext>
            </a:extLst>
          </p:cNvPr>
          <p:cNvGrpSpPr/>
          <p:nvPr/>
        </p:nvGrpSpPr>
        <p:grpSpPr>
          <a:xfrm>
            <a:off x="7287972" y="1555762"/>
            <a:ext cx="4294427" cy="922493"/>
            <a:chOff x="6874832" y="814684"/>
            <a:chExt cx="4294427" cy="922493"/>
          </a:xfrm>
        </p:grpSpPr>
        <p:sp>
          <p:nvSpPr>
            <p:cNvPr id="35" name="Speech Bubble: Rectangle 34">
              <a:extLst>
                <a:ext uri="{FF2B5EF4-FFF2-40B4-BE49-F238E27FC236}">
                  <a16:creationId xmlns:a16="http://schemas.microsoft.com/office/drawing/2014/main" id="{76802188-0CC2-4E27-9F68-A8EDF5791FE9}"/>
                </a:ext>
              </a:extLst>
            </p:cNvPr>
            <p:cNvSpPr/>
            <p:nvPr/>
          </p:nvSpPr>
          <p:spPr bwMode="gray">
            <a:xfrm>
              <a:off x="6874832" y="814684"/>
              <a:ext cx="4294427" cy="922493"/>
            </a:xfrm>
            <a:prstGeom prst="wedgeRectCallout">
              <a:avLst>
                <a:gd name="adj1" fmla="val -34484"/>
                <a:gd name="adj2" fmla="val 72195"/>
              </a:avLst>
            </a:prstGeom>
            <a:noFill/>
            <a:ln w="19050" algn="ctr">
              <a:solidFill>
                <a:schemeClr val="accent1"/>
              </a:solidFill>
              <a:miter lim="800000"/>
              <a:headEnd/>
              <a:tailEnd/>
            </a:ln>
          </p:spPr>
          <p:txBody>
            <a:bodyPr wrap="square"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Pratique </a:t>
              </a:r>
              <a:r>
                <a:rPr kumimoji="0" lang="en-US" sz="1200" b="1" i="0" u="none" strike="noStrike" kern="1200" cap="none" spc="0" normalizeH="0" baseline="0" noProof="0" dirty="0" err="1">
                  <a:ln>
                    <a:noFill/>
                  </a:ln>
                  <a:solidFill>
                    <a:prstClr val="black"/>
                  </a:solidFill>
                  <a:effectLst/>
                  <a:uLnTx/>
                  <a:uFillTx/>
                  <a:latin typeface="Verdana"/>
                  <a:ea typeface="+mn-ea"/>
                  <a:cs typeface="+mn-cs"/>
                </a:rPr>
                <a:t>régulière</a:t>
              </a:r>
              <a:r>
                <a:rPr kumimoji="0" lang="en-US" sz="1200" b="1" i="0" u="none" strike="noStrike" kern="1200" cap="none" spc="0" normalizeH="0" baseline="0" noProof="0" dirty="0">
                  <a:ln>
                    <a:noFill/>
                  </a:ln>
                  <a:solidFill>
                    <a:prstClr val="black"/>
                  </a:solidFill>
                  <a:effectLst/>
                  <a:uLnTx/>
                  <a:uFillTx/>
                  <a:latin typeface="Verdana"/>
                  <a:ea typeface="+mn-ea"/>
                  <a:cs typeface="+mn-cs"/>
                </a:rPr>
                <a:t> du fitness” </a:t>
              </a:r>
              <a:br>
                <a:rPr kumimoji="0" lang="en-US" sz="1200" b="1" i="0" u="none" strike="noStrike" kern="1200" cap="none" spc="0" normalizeH="0" baseline="0" noProof="0" dirty="0">
                  <a:ln>
                    <a:noFill/>
                  </a:ln>
                  <a:solidFill>
                    <a:prstClr val="black"/>
                  </a:solidFill>
                  <a:effectLst/>
                  <a:uLnTx/>
                  <a:uFillTx/>
                  <a:latin typeface="Verdana"/>
                  <a:ea typeface="+mn-ea"/>
                  <a:cs typeface="+mn-cs"/>
                </a:rPr>
              </a:br>
              <a:endParaRPr lang="en-US" sz="1200" b="1" dirty="0">
                <a:solidFill>
                  <a:prstClr val="black"/>
                </a:solidFill>
                <a:latin typeface="Verdana"/>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Pratique</a:t>
              </a:r>
              <a:r>
                <a:rPr lang="en-US" sz="1200" b="1" dirty="0">
                  <a:solidFill>
                    <a:prstClr val="black"/>
                  </a:solidFill>
                  <a:latin typeface="Verdana"/>
                </a:rPr>
                <a:t> au </a:t>
              </a:r>
              <a:r>
                <a:rPr lang="en-US" sz="1200" b="1" dirty="0" err="1">
                  <a:solidFill>
                    <a:prstClr val="black"/>
                  </a:solidFill>
                  <a:latin typeface="Verdana"/>
                </a:rPr>
                <a:t>moins</a:t>
              </a:r>
              <a:r>
                <a:rPr lang="en-US" sz="1200" b="1" dirty="0">
                  <a:solidFill>
                    <a:prstClr val="black"/>
                  </a:solidFill>
                  <a:latin typeface="Verdana"/>
                </a:rPr>
                <a:t> </a:t>
              </a:r>
              <a:r>
                <a:rPr lang="en-US" sz="1200" b="1" dirty="0" err="1">
                  <a:solidFill>
                    <a:prstClr val="black"/>
                  </a:solidFill>
                  <a:latin typeface="Verdana"/>
                </a:rPr>
                <a:t>une</a:t>
              </a:r>
              <a:r>
                <a:rPr lang="en-US" sz="1200" b="1" dirty="0">
                  <a:solidFill>
                    <a:prstClr val="black"/>
                  </a:solidFill>
                  <a:latin typeface="Verdana"/>
                </a:rPr>
                <a:t> </a:t>
              </a:r>
              <a:r>
                <a:rPr lang="en-US" sz="1200" b="1" dirty="0" err="1">
                  <a:solidFill>
                    <a:prstClr val="black"/>
                  </a:solidFill>
                  <a:latin typeface="Verdana"/>
                </a:rPr>
                <a:t>fois</a:t>
              </a:r>
              <a:r>
                <a:rPr lang="en-US" sz="1200" b="1" dirty="0">
                  <a:solidFill>
                    <a:prstClr val="black"/>
                  </a:solidFill>
                  <a:latin typeface="Verdana"/>
                </a:rPr>
                <a:t> par </a:t>
              </a:r>
              <a:r>
                <a:rPr lang="en-US" sz="1200" b="1" dirty="0" err="1">
                  <a:solidFill>
                    <a:prstClr val="black"/>
                  </a:solidFill>
                  <a:latin typeface="Verdana"/>
                </a:rPr>
                <a:t>semaine</a:t>
              </a:r>
              <a:endParaRPr kumimoji="0" lang="en-US" sz="1200" b="1"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Pfeil: nach unten 16">
              <a:extLst>
                <a:ext uri="{FF2B5EF4-FFF2-40B4-BE49-F238E27FC236}">
                  <a16:creationId xmlns:a16="http://schemas.microsoft.com/office/drawing/2014/main" id="{994C11FA-384B-43B6-87FE-C37D6F4A103E}"/>
                </a:ext>
              </a:extLst>
            </p:cNvPr>
            <p:cNvSpPr/>
            <p:nvPr/>
          </p:nvSpPr>
          <p:spPr bwMode="gray">
            <a:xfrm rot="16200000">
              <a:off x="6944537" y="1336423"/>
              <a:ext cx="338666" cy="259645"/>
            </a:xfrm>
            <a:prstGeom prst="downArrow">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de-DE" sz="1600" b="1" i="0" u="none" strike="noStrike" kern="1200" cap="none" spc="0" normalizeH="0" baseline="0" noProof="0" dirty="0">
                <a:ln>
                  <a:noFill/>
                </a:ln>
                <a:solidFill>
                  <a:prstClr val="white"/>
                </a:solidFill>
                <a:effectLst/>
                <a:uLnTx/>
                <a:uFillTx/>
                <a:latin typeface="Verdana"/>
                <a:ea typeface="+mn-ea"/>
                <a:cs typeface="+mn-cs"/>
              </a:endParaRPr>
            </a:p>
          </p:txBody>
        </p:sp>
      </p:grpSp>
      <p:sp>
        <p:nvSpPr>
          <p:cNvPr id="22" name="Rectangle 21">
            <a:extLst>
              <a:ext uri="{FF2B5EF4-FFF2-40B4-BE49-F238E27FC236}">
                <a16:creationId xmlns:a16="http://schemas.microsoft.com/office/drawing/2014/main" id="{79CEF50E-4B53-4F83-9EAC-64F84FC3E57F}"/>
              </a:ext>
            </a:extLst>
          </p:cNvPr>
          <p:cNvSpPr/>
          <p:nvPr/>
        </p:nvSpPr>
        <p:spPr bwMode="gray">
          <a:xfrm rot="16200000">
            <a:off x="-370913" y="3841060"/>
            <a:ext cx="4208506" cy="342000"/>
          </a:xfrm>
          <a:prstGeom prst="rect">
            <a:avLst/>
          </a:prstGeom>
          <a:noFill/>
          <a:ln w="19050" algn="ctr">
            <a:solidFill>
              <a:srgbClr val="80808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de-DE"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3" name="Rectangle 22">
            <a:extLst>
              <a:ext uri="{FF2B5EF4-FFF2-40B4-BE49-F238E27FC236}">
                <a16:creationId xmlns:a16="http://schemas.microsoft.com/office/drawing/2014/main" id="{03BBEB36-46D8-43C1-9372-0EA2F1A760F2}"/>
              </a:ext>
            </a:extLst>
          </p:cNvPr>
          <p:cNvSpPr/>
          <p:nvPr/>
        </p:nvSpPr>
        <p:spPr bwMode="gray">
          <a:xfrm rot="16200000">
            <a:off x="1910959" y="3801080"/>
            <a:ext cx="3747919" cy="899069"/>
          </a:xfrm>
          <a:prstGeom prst="rect">
            <a:avLst/>
          </a:prstGeom>
          <a:noFill/>
          <a:ln w="19050" algn="ctr">
            <a:solidFill>
              <a:srgbClr val="80808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de-DE"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4" name="Rectangle 23">
            <a:extLst>
              <a:ext uri="{FF2B5EF4-FFF2-40B4-BE49-F238E27FC236}">
                <a16:creationId xmlns:a16="http://schemas.microsoft.com/office/drawing/2014/main" id="{F55E4AB5-9656-4FEF-90DB-71C4C499F1FB}"/>
              </a:ext>
            </a:extLst>
          </p:cNvPr>
          <p:cNvSpPr/>
          <p:nvPr/>
        </p:nvSpPr>
        <p:spPr bwMode="gray">
          <a:xfrm rot="16200000">
            <a:off x="248589" y="4009118"/>
            <a:ext cx="3884030" cy="342000"/>
          </a:xfrm>
          <a:prstGeom prst="rect">
            <a:avLst/>
          </a:prstGeom>
          <a:noFill/>
          <a:ln w="19050" algn="ctr">
            <a:solidFill>
              <a:srgbClr val="80808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de-DE"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6" name="Rectangle 35">
            <a:extLst>
              <a:ext uri="{FF2B5EF4-FFF2-40B4-BE49-F238E27FC236}">
                <a16:creationId xmlns:a16="http://schemas.microsoft.com/office/drawing/2014/main" id="{998168B4-4219-44FE-9DFC-397358767D91}"/>
              </a:ext>
            </a:extLst>
          </p:cNvPr>
          <p:cNvSpPr/>
          <p:nvPr/>
        </p:nvSpPr>
        <p:spPr bwMode="gray">
          <a:xfrm rot="16200000">
            <a:off x="1165466" y="4009118"/>
            <a:ext cx="3884030" cy="342000"/>
          </a:xfrm>
          <a:prstGeom prst="rect">
            <a:avLst/>
          </a:prstGeom>
          <a:noFill/>
          <a:ln w="19050" algn="ctr">
            <a:solidFill>
              <a:srgbClr val="80808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de-DE"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68E5A607-D126-4AEB-AB98-04038AC7BD5F}"/>
              </a:ext>
            </a:extLst>
          </p:cNvPr>
          <p:cNvSpPr/>
          <p:nvPr/>
        </p:nvSpPr>
        <p:spPr bwMode="gray">
          <a:xfrm rot="16200000">
            <a:off x="6101710" y="4385755"/>
            <a:ext cx="3156850" cy="342000"/>
          </a:xfrm>
          <a:prstGeom prst="rect">
            <a:avLst/>
          </a:prstGeom>
          <a:noFill/>
          <a:ln w="19050" algn="ctr">
            <a:solidFill>
              <a:srgbClr val="80808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de-DE"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1DBD4E41-E723-4768-9992-730F50BFE76A}"/>
              </a:ext>
            </a:extLst>
          </p:cNvPr>
          <p:cNvSpPr/>
          <p:nvPr/>
        </p:nvSpPr>
        <p:spPr bwMode="gray">
          <a:xfrm rot="16200000">
            <a:off x="3696929" y="4262361"/>
            <a:ext cx="3395087" cy="342000"/>
          </a:xfrm>
          <a:prstGeom prst="rect">
            <a:avLst/>
          </a:prstGeom>
          <a:noFill/>
          <a:ln w="19050" algn="ctr">
            <a:solidFill>
              <a:srgbClr val="80808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de-DE" sz="1600" b="1"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402591785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36" grpId="0" animBg="1"/>
      <p:bldP spid="37" grpId="0" animBg="1"/>
      <p:bldP spid="3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 typeface="Wingdings 2" pitchFamily="18" charset="2"/>
              <a:buNone/>
              <a:tabLst/>
              <a:defRPr/>
            </a:pPr>
            <a:endParaRPr kumimoji="0" lang="en-GB" sz="1000" b="0" i="0" u="none" strike="noStrike" kern="1200" cap="none" spc="0" normalizeH="0" baseline="0" noProof="0" dirty="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13" name="Title 1"/>
          <p:cNvSpPr>
            <a:spLocks noGrp="1"/>
          </p:cNvSpPr>
          <p:nvPr>
            <p:ph type="title"/>
          </p:nvPr>
        </p:nvSpPr>
        <p:spPr>
          <a:xfrm>
            <a:off x="469899" y="402586"/>
            <a:ext cx="11369799" cy="698501"/>
          </a:xfrm>
        </p:spPr>
        <p:txBody>
          <a:bodyPr vert="horz"/>
          <a:lstStyle/>
          <a:p>
            <a:r>
              <a:rPr lang="en-US" dirty="0"/>
              <a:t>La </a:t>
            </a:r>
            <a:r>
              <a:rPr lang="en-US" b="1" dirty="0" err="1">
                <a:solidFill>
                  <a:schemeClr val="accent1"/>
                </a:solidFill>
              </a:rPr>
              <a:t>popularité</a:t>
            </a:r>
            <a:r>
              <a:rPr lang="en-US" b="1" dirty="0">
                <a:solidFill>
                  <a:schemeClr val="accent1"/>
                </a:solidFill>
              </a:rPr>
              <a:t> des </a:t>
            </a:r>
            <a:r>
              <a:rPr lang="en-US" b="1" dirty="0" err="1">
                <a:solidFill>
                  <a:schemeClr val="accent1"/>
                </a:solidFill>
              </a:rPr>
              <a:t>lieux</a:t>
            </a:r>
            <a:r>
              <a:rPr lang="en-US" b="1" dirty="0">
                <a:solidFill>
                  <a:schemeClr val="accent1"/>
                </a:solidFill>
              </a:rPr>
              <a:t> </a:t>
            </a:r>
            <a:r>
              <a:rPr lang="en-US" b="1" dirty="0" err="1">
                <a:solidFill>
                  <a:schemeClr val="accent1"/>
                </a:solidFill>
              </a:rPr>
              <a:t>d’entraînement</a:t>
            </a:r>
            <a:r>
              <a:rPr lang="en-US" b="1" dirty="0">
                <a:solidFill>
                  <a:schemeClr val="accent1"/>
                </a:solidFill>
              </a:rPr>
              <a:t> </a:t>
            </a:r>
            <a:r>
              <a:rPr lang="en-US" b="1" dirty="0" err="1">
                <a:solidFill>
                  <a:schemeClr val="accent1"/>
                </a:solidFill>
              </a:rPr>
              <a:t>varie</a:t>
            </a:r>
            <a:r>
              <a:rPr lang="en-US" b="1" dirty="0">
                <a:solidFill>
                  <a:schemeClr val="accent1"/>
                </a:solidFill>
              </a:rPr>
              <a:t> </a:t>
            </a:r>
            <a:r>
              <a:rPr lang="en-US" dirty="0" err="1"/>
              <a:t>largement</a:t>
            </a:r>
            <a:r>
              <a:rPr lang="en-US" dirty="0"/>
              <a:t> </a:t>
            </a:r>
            <a:r>
              <a:rPr lang="en-US" b="1" dirty="0" err="1">
                <a:solidFill>
                  <a:schemeClr val="accent1"/>
                </a:solidFill>
              </a:rPr>
              <a:t>selon</a:t>
            </a:r>
            <a:r>
              <a:rPr lang="en-US" b="1" dirty="0">
                <a:solidFill>
                  <a:schemeClr val="accent1"/>
                </a:solidFill>
              </a:rPr>
              <a:t> les pays </a:t>
            </a:r>
            <a:r>
              <a:rPr lang="en-US" dirty="0"/>
              <a:t>et </a:t>
            </a:r>
            <a:r>
              <a:rPr lang="en-US" dirty="0" err="1"/>
              <a:t>peut</a:t>
            </a:r>
            <a:r>
              <a:rPr lang="en-US" dirty="0"/>
              <a:t> </a:t>
            </a:r>
            <a:r>
              <a:rPr lang="en-US" dirty="0" err="1"/>
              <a:t>aussi</a:t>
            </a:r>
            <a:r>
              <a:rPr lang="en-US" dirty="0"/>
              <a:t> </a:t>
            </a:r>
            <a:r>
              <a:rPr lang="en-US" dirty="0" err="1"/>
              <a:t>dépendre</a:t>
            </a:r>
            <a:r>
              <a:rPr lang="en-US" dirty="0"/>
              <a:t> des restrictions au moment de </a:t>
            </a:r>
            <a:r>
              <a:rPr lang="en-US" dirty="0" err="1"/>
              <a:t>l’étude</a:t>
            </a:r>
            <a:endParaRPr lang="en-GB" baseline="30000" noProof="0" dirty="0">
              <a:solidFill>
                <a:schemeClr val="bg1"/>
              </a:solidFill>
            </a:endParaRPr>
          </a:p>
        </p:txBody>
      </p:sp>
      <p:sp>
        <p:nvSpPr>
          <p:cNvPr id="25" name="TextBox 24"/>
          <p:cNvSpPr txBox="1"/>
          <p:nvPr/>
        </p:nvSpPr>
        <p:spPr>
          <a:xfrm>
            <a:off x="480877" y="6218114"/>
            <a:ext cx="10596515" cy="531364"/>
          </a:xfrm>
          <a:prstGeom prst="rect">
            <a:avLst/>
          </a:prstGeom>
          <a:noFill/>
        </p:spPr>
        <p:txBody>
          <a:bodyPr wrap="square" lIns="0" tIns="0" rIns="0" bIns="0" rtlCol="0" anchor="b">
            <a:spAutoFit/>
          </a:bodyPr>
          <a:lstStyle/>
          <a:p>
            <a:pPr eaLnBrk="0" fontAlgn="base" hangingPunct="0">
              <a:lnSpc>
                <a:spcPct val="110000"/>
              </a:lnSpc>
            </a:pPr>
            <a:r>
              <a:rPr lang="en-GB"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Source: EuropeActive Consumer Survey 2022/Étude </a:t>
            </a:r>
            <a:r>
              <a:rPr lang="en-GB" sz="800" kern="1200" dirty="0" err="1">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consommateurs</a:t>
            </a:r>
            <a:r>
              <a:rPr lang="en-GB"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 EuropeActive 2022</a:t>
            </a:r>
            <a:endParaRPr lang="fr-FR" sz="800" dirty="0">
              <a:effectLst/>
              <a:latin typeface="Times New Roman" panose="02020603050405020304" pitchFamily="18" charset="0"/>
              <a:ea typeface="Times New Roman" panose="02020603050405020304" pitchFamily="18" charset="0"/>
            </a:endParaRPr>
          </a:p>
          <a:p>
            <a:pPr eaLnBrk="0" fontAlgn="base" hangingPunct="0">
              <a:lnSpc>
                <a:spcPct val="110000"/>
              </a:lnSpc>
            </a:pPr>
            <a:r>
              <a:rPr lang="fr-FR"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Note: 1) Question correspondante de l’étude: </a:t>
            </a:r>
            <a:r>
              <a:rPr lang="fr-FR" sz="800" b="1" kern="1200" dirty="0">
                <a:solidFill>
                  <a:srgbClr val="FF0000"/>
                </a:solidFill>
                <a:effectLst/>
                <a:latin typeface="Verdana" panose="020B0604030504040204" pitchFamily="34" charset="0"/>
                <a:ea typeface="Times New Roman" panose="02020603050405020304" pitchFamily="18" charset="0"/>
                <a:cs typeface="Times New Roman" panose="02020603050405020304" pitchFamily="18" charset="0"/>
              </a:rPr>
              <a:t>Dans quel cadre faites-vous du fitness? </a:t>
            </a:r>
            <a:r>
              <a:rPr lang="en-US"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a:t>
            </a:r>
            <a:r>
              <a:rPr lang="en-US" sz="800" kern="1200" dirty="0" err="1">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Réponses</a:t>
            </a:r>
            <a:r>
              <a:rPr lang="en-US"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 multiples </a:t>
            </a:r>
            <a:r>
              <a:rPr lang="en-US" sz="800" kern="1200" dirty="0" err="1">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possibles</a:t>
            </a:r>
            <a:r>
              <a:rPr lang="en-US"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 </a:t>
            </a:r>
            <a:r>
              <a:rPr lang="fr-FR"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Les chiffres du schéma se réfèrent à la part de consommateurs qui pratiquent au moins une fois par semaine (N = 5 894).</a:t>
            </a:r>
            <a:br>
              <a:rPr lang="fr-FR"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br>
            <a:r>
              <a:rPr lang="en-GB"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Source: EuropeActive Consumer Survey 2022/Étude </a:t>
            </a:r>
            <a:r>
              <a:rPr lang="en-GB" sz="800" kern="1200" dirty="0" err="1">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consommateurs</a:t>
            </a:r>
            <a:r>
              <a:rPr lang="en-GB"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 EuropeActive 2022</a:t>
            </a:r>
            <a:endParaRPr lang="fr-FR" sz="800" dirty="0">
              <a:effectLst/>
              <a:latin typeface="Times New Roman" panose="02020603050405020304" pitchFamily="18" charset="0"/>
              <a:ea typeface="Times New Roman" panose="02020603050405020304" pitchFamily="18" charset="0"/>
            </a:endParaRPr>
          </a:p>
        </p:txBody>
      </p:sp>
      <p:sp>
        <p:nvSpPr>
          <p:cNvPr id="20" name="TextBox 90">
            <a:extLst>
              <a:ext uri="{FF2B5EF4-FFF2-40B4-BE49-F238E27FC236}">
                <a16:creationId xmlns:a16="http://schemas.microsoft.com/office/drawing/2014/main" id="{831BCB6C-D320-423A-9159-0C47334979BD}"/>
              </a:ext>
            </a:extLst>
          </p:cNvPr>
          <p:cNvSpPr txBox="1"/>
          <p:nvPr/>
        </p:nvSpPr>
        <p:spPr>
          <a:xfrm>
            <a:off x="480917" y="1529002"/>
            <a:ext cx="11241223" cy="246221"/>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Verdana"/>
                <a:ea typeface="+mn-ea"/>
                <a:cs typeface="+mn-cs"/>
              </a:rPr>
              <a:t>Lieux</a:t>
            </a:r>
            <a:r>
              <a:rPr kumimoji="0" lang="en-US" sz="1600" b="1" i="0" u="none" strike="noStrike" kern="1200" cap="none" spc="0" normalizeH="0" baseline="0" noProof="0" dirty="0">
                <a:ln>
                  <a:noFill/>
                </a:ln>
                <a:solidFill>
                  <a:prstClr val="black"/>
                </a:solidFill>
                <a:effectLst/>
                <a:uLnTx/>
                <a:uFillTx/>
                <a:latin typeface="Verdana"/>
                <a:ea typeface="+mn-ea"/>
                <a:cs typeface="+mn-cs"/>
              </a:rPr>
              <a:t> </a:t>
            </a:r>
            <a:r>
              <a:rPr kumimoji="0" lang="en-US" sz="1600" b="1" i="0" u="none" strike="noStrike" kern="1200" cap="none" spc="0" normalizeH="0" baseline="0" noProof="0" dirty="0" err="1">
                <a:ln>
                  <a:noFill/>
                </a:ln>
                <a:solidFill>
                  <a:prstClr val="black"/>
                </a:solidFill>
                <a:effectLst/>
                <a:uLnTx/>
                <a:uFillTx/>
                <a:latin typeface="Verdana"/>
                <a:ea typeface="+mn-ea"/>
                <a:cs typeface="+mn-cs"/>
              </a:rPr>
              <a:t>d’entraînement</a:t>
            </a:r>
            <a:r>
              <a:rPr kumimoji="0" lang="en-US" sz="1600" b="1" i="0" u="none" strike="noStrike" kern="1200" cap="none" spc="0" normalizeH="0" baseline="0" noProof="0" dirty="0">
                <a:ln>
                  <a:noFill/>
                </a:ln>
                <a:solidFill>
                  <a:prstClr val="black"/>
                </a:solidFill>
                <a:effectLst/>
                <a:uLnTx/>
                <a:uFillTx/>
                <a:latin typeface="Verdana"/>
                <a:ea typeface="+mn-ea"/>
                <a:cs typeface="+mn-cs"/>
              </a:rPr>
              <a:t> des </a:t>
            </a:r>
            <a:r>
              <a:rPr kumimoji="0" lang="en-US" sz="1600" b="1" i="0" u="none" strike="noStrike" kern="1200" cap="none" spc="0" normalizeH="0" baseline="0" noProof="0" dirty="0" err="1">
                <a:ln>
                  <a:noFill/>
                </a:ln>
                <a:solidFill>
                  <a:prstClr val="black"/>
                </a:solidFill>
                <a:effectLst/>
                <a:uLnTx/>
                <a:uFillTx/>
                <a:latin typeface="Verdana"/>
                <a:ea typeface="+mn-ea"/>
                <a:cs typeface="+mn-cs"/>
              </a:rPr>
              <a:t>pratiquants</a:t>
            </a:r>
            <a:r>
              <a:rPr kumimoji="0" lang="en-US" sz="1600" b="1" i="0" u="none" strike="noStrike" kern="1200" cap="none" spc="0" normalizeH="0" baseline="0" noProof="0" dirty="0">
                <a:ln>
                  <a:noFill/>
                </a:ln>
                <a:solidFill>
                  <a:prstClr val="black"/>
                </a:solidFill>
                <a:effectLst/>
                <a:uLnTx/>
                <a:uFillTx/>
                <a:latin typeface="Verdana"/>
                <a:ea typeface="+mn-ea"/>
                <a:cs typeface="+mn-cs"/>
              </a:rPr>
              <a:t> </a:t>
            </a:r>
            <a:r>
              <a:rPr kumimoji="0" lang="en-US" sz="1600" b="1" i="0" u="none" strike="noStrike" kern="1200" cap="none" spc="0" normalizeH="0" baseline="0" noProof="0" dirty="0" err="1">
                <a:ln>
                  <a:noFill/>
                </a:ln>
                <a:solidFill>
                  <a:prstClr val="black"/>
                </a:solidFill>
                <a:effectLst/>
                <a:uLnTx/>
                <a:uFillTx/>
                <a:latin typeface="Verdana"/>
                <a:ea typeface="+mn-ea"/>
                <a:cs typeface="+mn-cs"/>
              </a:rPr>
              <a:t>réguliers</a:t>
            </a:r>
            <a:r>
              <a:rPr kumimoji="0" lang="en-US" sz="1600" b="1" i="0" u="none" strike="noStrike" kern="1200" cap="none" spc="0" normalizeH="0" baseline="0" noProof="0" dirty="0">
                <a:ln>
                  <a:noFill/>
                </a:ln>
                <a:solidFill>
                  <a:prstClr val="black"/>
                </a:solidFill>
                <a:effectLst/>
                <a:uLnTx/>
                <a:uFillTx/>
                <a:latin typeface="Verdana"/>
                <a:ea typeface="+mn-ea"/>
                <a:cs typeface="+mn-cs"/>
              </a:rPr>
              <a:t> du fitness</a:t>
            </a:r>
            <a:r>
              <a:rPr kumimoji="0" lang="en-US" sz="1600" b="1" i="0" u="none" strike="noStrike" kern="1200" cap="none" spc="0" normalizeH="0" baseline="30000" noProof="0" dirty="0">
                <a:ln>
                  <a:noFill/>
                </a:ln>
                <a:solidFill>
                  <a:prstClr val="black"/>
                </a:solidFill>
                <a:effectLst/>
                <a:uLnTx/>
                <a:uFillTx/>
                <a:latin typeface="Verdana"/>
                <a:ea typeface="+mn-ea"/>
                <a:cs typeface="+mn-cs"/>
              </a:rPr>
              <a:t>1</a:t>
            </a:r>
            <a:endParaRPr kumimoji="0" lang="en-GB" sz="700" b="0" i="0" u="none" strike="noStrike" kern="1200" cap="none" spc="0" normalizeH="0" baseline="30000" noProof="0" dirty="0">
              <a:ln>
                <a:noFill/>
              </a:ln>
              <a:solidFill>
                <a:prstClr val="black"/>
              </a:solidFill>
              <a:effectLst/>
              <a:uLnTx/>
              <a:uFillTx/>
              <a:latin typeface="Verdana"/>
              <a:ea typeface="+mn-ea"/>
              <a:cs typeface="+mn-cs"/>
            </a:endParaRPr>
          </a:p>
        </p:txBody>
      </p:sp>
      <p:pic>
        <p:nvPicPr>
          <p:cNvPr id="5" name="Picture 4">
            <a:extLst>
              <a:ext uri="{FF2B5EF4-FFF2-40B4-BE49-F238E27FC236}">
                <a16:creationId xmlns:a16="http://schemas.microsoft.com/office/drawing/2014/main" id="{4A597B23-0C64-40A8-B2C5-D84CCCD1D828}"/>
              </a:ext>
            </a:extLst>
          </p:cNvPr>
          <p:cNvPicPr>
            <a:picLocks noChangeAspect="1"/>
          </p:cNvPicPr>
          <p:nvPr/>
        </p:nvPicPr>
        <p:blipFill rotWithShape="1">
          <a:blip r:embed="rId7"/>
          <a:srcRect l="72983" b="70172"/>
          <a:stretch/>
        </p:blipFill>
        <p:spPr>
          <a:xfrm>
            <a:off x="8072846" y="2331069"/>
            <a:ext cx="2323936" cy="3302354"/>
          </a:xfrm>
          <a:prstGeom prst="rect">
            <a:avLst/>
          </a:prstGeom>
        </p:spPr>
      </p:pic>
      <p:sp>
        <p:nvSpPr>
          <p:cNvPr id="104" name="Rechteck 251">
            <a:extLst>
              <a:ext uri="{FF2B5EF4-FFF2-40B4-BE49-F238E27FC236}">
                <a16:creationId xmlns:a16="http://schemas.microsoft.com/office/drawing/2014/main" id="{4FF8796D-74B6-413F-8A24-3734ABA51CA6}"/>
              </a:ext>
            </a:extLst>
          </p:cNvPr>
          <p:cNvSpPr/>
          <p:nvPr/>
        </p:nvSpPr>
        <p:spPr bwMode="gray">
          <a:xfrm>
            <a:off x="1307001" y="3399035"/>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1</a:t>
            </a:r>
          </a:p>
        </p:txBody>
      </p:sp>
      <p:sp>
        <p:nvSpPr>
          <p:cNvPr id="105" name="Rechteck 251">
            <a:extLst>
              <a:ext uri="{FF2B5EF4-FFF2-40B4-BE49-F238E27FC236}">
                <a16:creationId xmlns:a16="http://schemas.microsoft.com/office/drawing/2014/main" id="{823E72B9-7B79-4290-9D92-1B97D4A1C4F4}"/>
              </a:ext>
            </a:extLst>
          </p:cNvPr>
          <p:cNvSpPr/>
          <p:nvPr/>
        </p:nvSpPr>
        <p:spPr bwMode="gray">
          <a:xfrm>
            <a:off x="1307001" y="3875416"/>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2</a:t>
            </a:r>
          </a:p>
        </p:txBody>
      </p:sp>
      <p:sp>
        <p:nvSpPr>
          <p:cNvPr id="106" name="Rechteck 251">
            <a:extLst>
              <a:ext uri="{FF2B5EF4-FFF2-40B4-BE49-F238E27FC236}">
                <a16:creationId xmlns:a16="http://schemas.microsoft.com/office/drawing/2014/main" id="{A89B79D8-C895-4972-8011-CA3E992B3250}"/>
              </a:ext>
            </a:extLst>
          </p:cNvPr>
          <p:cNvSpPr/>
          <p:nvPr/>
        </p:nvSpPr>
        <p:spPr bwMode="gray">
          <a:xfrm>
            <a:off x="1307001" y="4351797"/>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3</a:t>
            </a:r>
          </a:p>
        </p:txBody>
      </p:sp>
      <p:sp>
        <p:nvSpPr>
          <p:cNvPr id="107" name="Rechteck 251">
            <a:extLst>
              <a:ext uri="{FF2B5EF4-FFF2-40B4-BE49-F238E27FC236}">
                <a16:creationId xmlns:a16="http://schemas.microsoft.com/office/drawing/2014/main" id="{D5F67080-EDC3-48EB-9FA1-E05160C0CF2A}"/>
              </a:ext>
            </a:extLst>
          </p:cNvPr>
          <p:cNvSpPr/>
          <p:nvPr/>
        </p:nvSpPr>
        <p:spPr bwMode="gray">
          <a:xfrm>
            <a:off x="1307001" y="4828178"/>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4</a:t>
            </a:r>
          </a:p>
        </p:txBody>
      </p:sp>
      <p:sp>
        <p:nvSpPr>
          <p:cNvPr id="108" name="Rechteck 251">
            <a:extLst>
              <a:ext uri="{FF2B5EF4-FFF2-40B4-BE49-F238E27FC236}">
                <a16:creationId xmlns:a16="http://schemas.microsoft.com/office/drawing/2014/main" id="{8C7CC898-314A-4CE9-B968-70A9592086E4}"/>
              </a:ext>
            </a:extLst>
          </p:cNvPr>
          <p:cNvSpPr/>
          <p:nvPr/>
        </p:nvSpPr>
        <p:spPr bwMode="gray">
          <a:xfrm>
            <a:off x="1307001" y="5304559"/>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5</a:t>
            </a:r>
          </a:p>
        </p:txBody>
      </p:sp>
      <p:sp>
        <p:nvSpPr>
          <p:cNvPr id="109" name="TextBox 108">
            <a:extLst>
              <a:ext uri="{FF2B5EF4-FFF2-40B4-BE49-F238E27FC236}">
                <a16:creationId xmlns:a16="http://schemas.microsoft.com/office/drawing/2014/main" id="{710379D7-F136-4396-928A-1D8B641B2B33}"/>
              </a:ext>
            </a:extLst>
          </p:cNvPr>
          <p:cNvSpPr txBox="1"/>
          <p:nvPr/>
        </p:nvSpPr>
        <p:spPr>
          <a:xfrm rot="16200000">
            <a:off x="448877" y="4367463"/>
            <a:ext cx="987145" cy="184666"/>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de-DE" sz="1200" b="1" i="0" u="none" strike="noStrike" kern="1200" cap="none" spc="0" normalizeH="0" baseline="0" noProof="0" dirty="0">
                <a:ln>
                  <a:noFill/>
                </a:ln>
                <a:solidFill>
                  <a:srgbClr val="313131"/>
                </a:solidFill>
                <a:effectLst/>
                <a:uLnTx/>
                <a:uFillTx/>
                <a:latin typeface="Verdana"/>
                <a:ea typeface="+mn-ea"/>
                <a:cs typeface="+mn-cs"/>
              </a:rPr>
              <a:t>Top-5</a:t>
            </a:r>
          </a:p>
        </p:txBody>
      </p:sp>
      <p:sp>
        <p:nvSpPr>
          <p:cNvPr id="24" name="TextBox 23">
            <a:extLst>
              <a:ext uri="{FF2B5EF4-FFF2-40B4-BE49-F238E27FC236}">
                <a16:creationId xmlns:a16="http://schemas.microsoft.com/office/drawing/2014/main" id="{5C3A9395-775F-44FF-8700-D64FB8F302CE}"/>
              </a:ext>
            </a:extLst>
          </p:cNvPr>
          <p:cNvSpPr txBox="1"/>
          <p:nvPr/>
        </p:nvSpPr>
        <p:spPr>
          <a:xfrm>
            <a:off x="486745" y="2717367"/>
            <a:ext cx="1164959" cy="184666"/>
          </a:xfrm>
          <a:prstGeom prst="rect">
            <a:avLst/>
          </a:prstGeom>
          <a:noFill/>
        </p:spPr>
        <p:txBody>
          <a:bodyPr wrap="square" lIns="0" tIns="0" rIns="0" bIns="0" rtlCol="0" anchor="ctr">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de-DE" sz="1200" b="1" i="0" u="none" strike="noStrike" kern="1200" cap="none" spc="0" normalizeH="0" baseline="0" noProof="0" dirty="0" err="1">
                <a:ln>
                  <a:noFill/>
                </a:ln>
                <a:solidFill>
                  <a:srgbClr val="313131"/>
                </a:solidFill>
                <a:effectLst/>
                <a:uLnTx/>
                <a:uFillTx/>
                <a:latin typeface="Verdana"/>
                <a:ea typeface="+mn-ea"/>
                <a:cs typeface="+mn-cs"/>
              </a:rPr>
              <a:t>Échantillon</a:t>
            </a:r>
            <a:r>
              <a:rPr kumimoji="0" lang="de-DE" sz="1200" b="1" i="0" u="none" strike="noStrike" kern="1200" cap="none" spc="0" normalizeH="0" baseline="0" noProof="0" dirty="0">
                <a:ln>
                  <a:noFill/>
                </a:ln>
                <a:solidFill>
                  <a:srgbClr val="313131"/>
                </a:solidFill>
                <a:effectLst/>
                <a:uLnTx/>
                <a:uFillTx/>
                <a:latin typeface="Verdana"/>
                <a:ea typeface="+mn-ea"/>
                <a:cs typeface="+mn-cs"/>
              </a:rPr>
              <a:t> Ø </a:t>
            </a:r>
          </a:p>
        </p:txBody>
      </p:sp>
      <p:grpSp>
        <p:nvGrpSpPr>
          <p:cNvPr id="42" name="Group 30">
            <a:extLst>
              <a:ext uri="{FF2B5EF4-FFF2-40B4-BE49-F238E27FC236}">
                <a16:creationId xmlns:a16="http://schemas.microsoft.com/office/drawing/2014/main" id="{DED5845C-DE62-429D-BC5B-551D7DFF9664}"/>
              </a:ext>
            </a:extLst>
          </p:cNvPr>
          <p:cNvGrpSpPr/>
          <p:nvPr/>
        </p:nvGrpSpPr>
        <p:grpSpPr>
          <a:xfrm>
            <a:off x="0" y="1112402"/>
            <a:ext cx="1872351" cy="233523"/>
            <a:chOff x="0" y="1112402"/>
            <a:chExt cx="1872351" cy="233523"/>
          </a:xfrm>
        </p:grpSpPr>
        <p:sp>
          <p:nvSpPr>
            <p:cNvPr id="43" name="Freeform 61">
              <a:extLst>
                <a:ext uri="{FF2B5EF4-FFF2-40B4-BE49-F238E27FC236}">
                  <a16:creationId xmlns:a16="http://schemas.microsoft.com/office/drawing/2014/main" id="{4ABAD817-71C8-4663-AEF7-72E3E849B583}"/>
                </a:ext>
              </a:extLst>
            </p:cNvPr>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28575" algn="ctr">
              <a:solidFill>
                <a:schemeClr val="accent1"/>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44" name="Straight Connector 32">
              <a:extLst>
                <a:ext uri="{FF2B5EF4-FFF2-40B4-BE49-F238E27FC236}">
                  <a16:creationId xmlns:a16="http://schemas.microsoft.com/office/drawing/2014/main" id="{A53ED6E2-F98B-4127-AE9D-6ACC6E3181F4}"/>
                </a:ext>
              </a:extLst>
            </p:cNvPr>
            <p:cNvCxnSpPr/>
            <p:nvPr/>
          </p:nvCxnSpPr>
          <p:spPr>
            <a:xfrm flipH="1">
              <a:off x="0" y="1259840"/>
              <a:ext cx="12903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33">
              <a:extLst>
                <a:ext uri="{FF2B5EF4-FFF2-40B4-BE49-F238E27FC236}">
                  <a16:creationId xmlns:a16="http://schemas.microsoft.com/office/drawing/2014/main" id="{B695F820-494D-4F2A-A1D4-1F7B3010CD01}"/>
                </a:ext>
              </a:extLst>
            </p:cNvPr>
            <p:cNvCxnSpPr/>
            <p:nvPr/>
          </p:nvCxnSpPr>
          <p:spPr>
            <a:xfrm flipH="1">
              <a:off x="1651705" y="1259840"/>
              <a:ext cx="220646" cy="0"/>
            </a:xfrm>
            <a:prstGeom prst="line">
              <a:avLst/>
            </a:prstGeom>
            <a:ln w="28575">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grpSp>
        <p:nvGrpSpPr>
          <p:cNvPr id="46" name="Group 26">
            <a:extLst>
              <a:ext uri="{FF2B5EF4-FFF2-40B4-BE49-F238E27FC236}">
                <a16:creationId xmlns:a16="http://schemas.microsoft.com/office/drawing/2014/main" id="{3D09B810-8E8E-4B4C-BD86-FCEB8D9362C9}"/>
              </a:ext>
            </a:extLst>
          </p:cNvPr>
          <p:cNvGrpSpPr/>
          <p:nvPr/>
        </p:nvGrpSpPr>
        <p:grpSpPr>
          <a:xfrm flipH="1">
            <a:off x="10319649" y="6515955"/>
            <a:ext cx="1872351" cy="233523"/>
            <a:chOff x="0" y="1112402"/>
            <a:chExt cx="1872351" cy="233523"/>
          </a:xfrm>
        </p:grpSpPr>
        <p:sp>
          <p:nvSpPr>
            <p:cNvPr id="47" name="Freeform 65">
              <a:extLst>
                <a:ext uri="{FF2B5EF4-FFF2-40B4-BE49-F238E27FC236}">
                  <a16:creationId xmlns:a16="http://schemas.microsoft.com/office/drawing/2014/main" id="{BB52A731-3026-4850-90E0-2F3569B13101}"/>
                </a:ext>
              </a:extLst>
            </p:cNvPr>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28575" algn="ctr">
              <a:solidFill>
                <a:schemeClr val="accent1"/>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48" name="Straight Connector 28">
              <a:extLst>
                <a:ext uri="{FF2B5EF4-FFF2-40B4-BE49-F238E27FC236}">
                  <a16:creationId xmlns:a16="http://schemas.microsoft.com/office/drawing/2014/main" id="{11293844-0AFB-4CCC-BBF3-E3CCB6127594}"/>
                </a:ext>
              </a:extLst>
            </p:cNvPr>
            <p:cNvCxnSpPr/>
            <p:nvPr/>
          </p:nvCxnSpPr>
          <p:spPr>
            <a:xfrm flipH="1">
              <a:off x="0" y="1259840"/>
              <a:ext cx="12903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Straight Connector 29">
              <a:extLst>
                <a:ext uri="{FF2B5EF4-FFF2-40B4-BE49-F238E27FC236}">
                  <a16:creationId xmlns:a16="http://schemas.microsoft.com/office/drawing/2014/main" id="{E02909D2-5562-4A66-89B9-7F5A7870BA32}"/>
                </a:ext>
              </a:extLst>
            </p:cNvPr>
            <p:cNvCxnSpPr/>
            <p:nvPr/>
          </p:nvCxnSpPr>
          <p:spPr>
            <a:xfrm flipH="1">
              <a:off x="1651705" y="1259840"/>
              <a:ext cx="220646" cy="0"/>
            </a:xfrm>
            <a:prstGeom prst="line">
              <a:avLst/>
            </a:prstGeom>
            <a:ln w="28575">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pic>
        <p:nvPicPr>
          <p:cNvPr id="7" name="Picture 6">
            <a:extLst>
              <a:ext uri="{FF2B5EF4-FFF2-40B4-BE49-F238E27FC236}">
                <a16:creationId xmlns:a16="http://schemas.microsoft.com/office/drawing/2014/main" id="{5581B792-0B04-4895-8FEA-5B41E41444E6}"/>
              </a:ext>
            </a:extLst>
          </p:cNvPr>
          <p:cNvPicPr>
            <a:picLocks noChangeAspect="1"/>
          </p:cNvPicPr>
          <p:nvPr/>
        </p:nvPicPr>
        <p:blipFill rotWithShape="1">
          <a:blip r:embed="rId7"/>
          <a:srcRect l="34005" r="27016" b="70172"/>
          <a:stretch/>
        </p:blipFill>
        <p:spPr>
          <a:xfrm>
            <a:off x="4720046" y="2331070"/>
            <a:ext cx="3352800" cy="3302353"/>
          </a:xfrm>
          <a:prstGeom prst="rect">
            <a:avLst/>
          </a:prstGeom>
        </p:spPr>
      </p:pic>
      <p:pic>
        <p:nvPicPr>
          <p:cNvPr id="9" name="Picture 8">
            <a:extLst>
              <a:ext uri="{FF2B5EF4-FFF2-40B4-BE49-F238E27FC236}">
                <a16:creationId xmlns:a16="http://schemas.microsoft.com/office/drawing/2014/main" id="{C5B64EDE-0982-4D5A-99B9-1D1D62B7AB3C}"/>
              </a:ext>
            </a:extLst>
          </p:cNvPr>
          <p:cNvPicPr>
            <a:picLocks noChangeAspect="1"/>
          </p:cNvPicPr>
          <p:nvPr/>
        </p:nvPicPr>
        <p:blipFill rotWithShape="1">
          <a:blip r:embed="rId7"/>
          <a:srcRect r="65997" b="70172"/>
          <a:stretch/>
        </p:blipFill>
        <p:spPr>
          <a:xfrm>
            <a:off x="1795220" y="2331069"/>
            <a:ext cx="2924826" cy="3302354"/>
          </a:xfrm>
          <a:prstGeom prst="rect">
            <a:avLst/>
          </a:prstGeom>
        </p:spPr>
      </p:pic>
      <p:grpSp>
        <p:nvGrpSpPr>
          <p:cNvPr id="26" name="Gruppieren 17">
            <a:extLst>
              <a:ext uri="{FF2B5EF4-FFF2-40B4-BE49-F238E27FC236}">
                <a16:creationId xmlns:a16="http://schemas.microsoft.com/office/drawing/2014/main" id="{E8EAA5A5-DA5A-4780-BE84-EF8FD4ECFF2E}"/>
              </a:ext>
            </a:extLst>
          </p:cNvPr>
          <p:cNvGrpSpPr/>
          <p:nvPr/>
        </p:nvGrpSpPr>
        <p:grpSpPr>
          <a:xfrm>
            <a:off x="7258720" y="1261000"/>
            <a:ext cx="4693793" cy="922493"/>
            <a:chOff x="6874833" y="814684"/>
            <a:chExt cx="3439800" cy="922493"/>
          </a:xfrm>
        </p:grpSpPr>
        <p:sp>
          <p:nvSpPr>
            <p:cNvPr id="27" name="Speech Bubble: Rectangle 26">
              <a:extLst>
                <a:ext uri="{FF2B5EF4-FFF2-40B4-BE49-F238E27FC236}">
                  <a16:creationId xmlns:a16="http://schemas.microsoft.com/office/drawing/2014/main" id="{395A4069-0E0E-4F42-BC01-BBF8981C8E52}"/>
                </a:ext>
              </a:extLst>
            </p:cNvPr>
            <p:cNvSpPr/>
            <p:nvPr/>
          </p:nvSpPr>
          <p:spPr bwMode="gray">
            <a:xfrm>
              <a:off x="6874833" y="814684"/>
              <a:ext cx="3439800" cy="922493"/>
            </a:xfrm>
            <a:prstGeom prst="wedgeRectCallout">
              <a:avLst>
                <a:gd name="adj1" fmla="val -53910"/>
                <a:gd name="adj2" fmla="val -16761"/>
              </a:avLst>
            </a:prstGeom>
            <a:noFill/>
            <a:ln w="19050" algn="ctr">
              <a:solidFill>
                <a:schemeClr val="accent1"/>
              </a:solidFill>
              <a:miter lim="800000"/>
              <a:headEnd/>
              <a:tailEnd/>
            </a:ln>
          </p:spPr>
          <p:txBody>
            <a:bodyPr wrap="square"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Pratique </a:t>
              </a:r>
              <a:r>
                <a:rPr kumimoji="0" lang="en-US" sz="1200" b="1" i="0" u="none" strike="noStrike" kern="1200" cap="none" spc="0" normalizeH="0" baseline="0" noProof="0" dirty="0" err="1">
                  <a:ln>
                    <a:noFill/>
                  </a:ln>
                  <a:solidFill>
                    <a:prstClr val="black"/>
                  </a:solidFill>
                  <a:effectLst/>
                  <a:uLnTx/>
                  <a:uFillTx/>
                  <a:latin typeface="Verdana"/>
                  <a:ea typeface="+mn-ea"/>
                  <a:cs typeface="+mn-cs"/>
                </a:rPr>
                <a:t>régulière</a:t>
              </a:r>
              <a:r>
                <a:rPr kumimoji="0" lang="en-US" sz="1200" b="1" i="0" u="none" strike="noStrike" kern="1200" cap="none" spc="0" normalizeH="0" baseline="0" noProof="0" dirty="0">
                  <a:ln>
                    <a:noFill/>
                  </a:ln>
                  <a:solidFill>
                    <a:prstClr val="black"/>
                  </a:solidFill>
                  <a:effectLst/>
                  <a:uLnTx/>
                  <a:uFillTx/>
                  <a:latin typeface="Verdana"/>
                  <a:ea typeface="+mn-ea"/>
                  <a:cs typeface="+mn-cs"/>
                </a:rPr>
                <a:t> du fitness” </a:t>
              </a:r>
              <a:br>
                <a:rPr kumimoji="0" lang="en-US" sz="1200" b="1" i="0" u="none" strike="noStrike" kern="1200" cap="none" spc="0" normalizeH="0" baseline="0" noProof="0" dirty="0">
                  <a:ln>
                    <a:noFill/>
                  </a:ln>
                  <a:solidFill>
                    <a:prstClr val="black"/>
                  </a:solidFill>
                  <a:effectLst/>
                  <a:uLnTx/>
                  <a:uFillTx/>
                  <a:latin typeface="Verdana"/>
                  <a:ea typeface="+mn-ea"/>
                  <a:cs typeface="+mn-cs"/>
                </a:rPr>
              </a:br>
              <a:br>
                <a:rPr kumimoji="0" lang="en-US" sz="1200" b="1" i="0" u="none" strike="noStrike" kern="1200" cap="none" spc="0" normalizeH="0" baseline="0" noProof="0" dirty="0">
                  <a:ln>
                    <a:noFill/>
                  </a:ln>
                  <a:solidFill>
                    <a:prstClr val="black"/>
                  </a:solidFill>
                  <a:effectLst/>
                  <a:uLnTx/>
                  <a:uFillTx/>
                  <a:latin typeface="Verdana"/>
                  <a:ea typeface="+mn-ea"/>
                  <a:cs typeface="+mn-cs"/>
                </a:rPr>
              </a:br>
              <a:r>
                <a:rPr kumimoji="0" lang="en-US" sz="1200" b="1" i="0" u="none" strike="noStrike" kern="1200" cap="none" spc="0" normalizeH="0" baseline="0" noProof="0" dirty="0">
                  <a:ln>
                    <a:noFill/>
                  </a:ln>
                  <a:solidFill>
                    <a:prstClr val="black"/>
                  </a:solidFill>
                  <a:effectLst/>
                  <a:uLnTx/>
                  <a:uFillTx/>
                  <a:latin typeface="Verdana"/>
                  <a:ea typeface="+mn-ea"/>
                  <a:cs typeface="+mn-cs"/>
                </a:rPr>
                <a:t>Pratique au </a:t>
              </a:r>
              <a:r>
                <a:rPr kumimoji="0" lang="en-US" sz="1200" b="1" i="0" u="none" strike="noStrike" kern="1200" cap="none" spc="0" normalizeH="0" baseline="0" noProof="0" dirty="0" err="1">
                  <a:ln>
                    <a:noFill/>
                  </a:ln>
                  <a:solidFill>
                    <a:prstClr val="black"/>
                  </a:solidFill>
                  <a:effectLst/>
                  <a:uLnTx/>
                  <a:uFillTx/>
                  <a:latin typeface="Verdana"/>
                  <a:ea typeface="+mn-ea"/>
                  <a:cs typeface="+mn-cs"/>
                </a:rPr>
                <a:t>moins</a:t>
              </a:r>
              <a:r>
                <a:rPr kumimoji="0" lang="en-US" sz="1200" b="1" i="0" u="none" strike="noStrike" kern="1200" cap="none" spc="0" normalizeH="0" baseline="0" noProof="0" dirty="0">
                  <a:ln>
                    <a:noFill/>
                  </a:ln>
                  <a:solidFill>
                    <a:prstClr val="black"/>
                  </a:solidFill>
                  <a:effectLst/>
                  <a:uLnTx/>
                  <a:uFillTx/>
                  <a:latin typeface="Verdana"/>
                  <a:ea typeface="+mn-ea"/>
                  <a:cs typeface="+mn-cs"/>
                </a:rPr>
                <a:t> </a:t>
              </a:r>
              <a:r>
                <a:rPr kumimoji="0" lang="en-US" sz="1200" b="1" i="0" u="none" strike="noStrike" kern="1200" cap="none" spc="0" normalizeH="0" baseline="0" noProof="0" dirty="0" err="1">
                  <a:ln>
                    <a:noFill/>
                  </a:ln>
                  <a:solidFill>
                    <a:prstClr val="black"/>
                  </a:solidFill>
                  <a:effectLst/>
                  <a:uLnTx/>
                  <a:uFillTx/>
                  <a:latin typeface="Verdana"/>
                  <a:ea typeface="+mn-ea"/>
                  <a:cs typeface="+mn-cs"/>
                </a:rPr>
                <a:t>une</a:t>
              </a:r>
              <a:r>
                <a:rPr kumimoji="0" lang="en-US" sz="1200" b="1" i="0" u="none" strike="noStrike" kern="1200" cap="none" spc="0" normalizeH="0" baseline="0" noProof="0" dirty="0">
                  <a:ln>
                    <a:noFill/>
                  </a:ln>
                  <a:solidFill>
                    <a:prstClr val="black"/>
                  </a:solidFill>
                  <a:effectLst/>
                  <a:uLnTx/>
                  <a:uFillTx/>
                  <a:latin typeface="Verdana"/>
                  <a:ea typeface="+mn-ea"/>
                  <a:cs typeface="+mn-cs"/>
                </a:rPr>
                <a:t> </a:t>
              </a:r>
              <a:r>
                <a:rPr kumimoji="0" lang="en-US" sz="1200" b="1" i="0" u="none" strike="noStrike" kern="1200" cap="none" spc="0" normalizeH="0" baseline="0" noProof="0" dirty="0" err="1">
                  <a:ln>
                    <a:noFill/>
                  </a:ln>
                  <a:solidFill>
                    <a:prstClr val="black"/>
                  </a:solidFill>
                  <a:effectLst/>
                  <a:uLnTx/>
                  <a:uFillTx/>
                  <a:latin typeface="Verdana"/>
                  <a:ea typeface="+mn-ea"/>
                  <a:cs typeface="+mn-cs"/>
                </a:rPr>
                <a:t>fois</a:t>
              </a:r>
              <a:r>
                <a:rPr kumimoji="0" lang="en-US" sz="1200" b="1" i="0" u="none" strike="noStrike" kern="1200" cap="none" spc="0" normalizeH="0" baseline="0" noProof="0" dirty="0">
                  <a:ln>
                    <a:noFill/>
                  </a:ln>
                  <a:solidFill>
                    <a:prstClr val="black"/>
                  </a:solidFill>
                  <a:effectLst/>
                  <a:uLnTx/>
                  <a:uFillTx/>
                  <a:latin typeface="Verdana"/>
                  <a:ea typeface="+mn-ea"/>
                  <a:cs typeface="+mn-cs"/>
                </a:rPr>
                <a:t> par </a:t>
              </a:r>
              <a:r>
                <a:rPr kumimoji="0" lang="en-US" sz="1200" b="1" i="0" u="none" strike="noStrike" kern="1200" cap="none" spc="0" normalizeH="0" baseline="0" noProof="0" dirty="0" err="1">
                  <a:ln>
                    <a:noFill/>
                  </a:ln>
                  <a:solidFill>
                    <a:prstClr val="black"/>
                  </a:solidFill>
                  <a:effectLst/>
                  <a:uLnTx/>
                  <a:uFillTx/>
                  <a:latin typeface="Verdana"/>
                  <a:ea typeface="+mn-ea"/>
                  <a:cs typeface="+mn-cs"/>
                </a:rPr>
                <a:t>semaine</a:t>
              </a:r>
              <a:endParaRPr kumimoji="0" lang="en-US" sz="1200" b="1" i="0" u="none" strike="noStrike" kern="1200" cap="none" spc="0" normalizeH="0" baseline="0" noProof="0" dirty="0">
                <a:ln>
                  <a:noFill/>
                </a:ln>
                <a:solidFill>
                  <a:prstClr val="black"/>
                </a:solidFill>
                <a:effectLst/>
                <a:uLnTx/>
                <a:uFillTx/>
                <a:latin typeface="Verdana"/>
                <a:ea typeface="+mn-ea"/>
                <a:cs typeface="+mn-cs"/>
              </a:endParaRPr>
            </a:p>
          </p:txBody>
        </p:sp>
        <p:sp>
          <p:nvSpPr>
            <p:cNvPr id="28" name="Pfeil: nach unten 16">
              <a:extLst>
                <a:ext uri="{FF2B5EF4-FFF2-40B4-BE49-F238E27FC236}">
                  <a16:creationId xmlns:a16="http://schemas.microsoft.com/office/drawing/2014/main" id="{2E14AB7F-D76C-4CD5-9946-1FF96EA70DCC}"/>
                </a:ext>
              </a:extLst>
            </p:cNvPr>
            <p:cNvSpPr/>
            <p:nvPr/>
          </p:nvSpPr>
          <p:spPr bwMode="gray">
            <a:xfrm rot="16200000">
              <a:off x="6944537" y="1336423"/>
              <a:ext cx="338666" cy="259645"/>
            </a:xfrm>
            <a:prstGeom prst="downArrow">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de-DE" sz="1600" b="1" i="0" u="none" strike="noStrike" kern="1200" cap="none" spc="0" normalizeH="0" baseline="0" noProof="0" dirty="0">
                <a:ln>
                  <a:noFill/>
                </a:ln>
                <a:solidFill>
                  <a:prstClr val="white"/>
                </a:solidFill>
                <a:effectLst/>
                <a:uLnTx/>
                <a:uFillTx/>
                <a:latin typeface="Verdana"/>
                <a:ea typeface="+mn-ea"/>
                <a:cs typeface="+mn-cs"/>
              </a:endParaRPr>
            </a:p>
          </p:txBody>
        </p:sp>
      </p:grpSp>
    </p:spTree>
    <p:extLst>
      <p:ext uri="{BB962C8B-B14F-4D97-AF65-F5344CB8AC3E}">
        <p14:creationId xmlns:p14="http://schemas.microsoft.com/office/powerpoint/2010/main" val="312544181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animBg="1"/>
      <p:bldP spid="105" grpId="0" animBg="1"/>
      <p:bldP spid="106" grpId="0" animBg="1"/>
      <p:bldP spid="107" grpId="0" animBg="1"/>
      <p:bldP spid="108" grpId="0" animBg="1"/>
      <p:bldP spid="109" grpId="0"/>
      <p:bldP spid="2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 typeface="Wingdings 2" pitchFamily="18" charset="2"/>
              <a:buNone/>
              <a:tabLst/>
              <a:defRPr/>
            </a:pPr>
            <a:endParaRPr kumimoji="0" lang="en-GB" sz="1000" b="0" i="0" u="none" strike="noStrike" kern="1200" cap="none" spc="0" normalizeH="0" baseline="0" noProof="0" dirty="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13" name="Title 1"/>
          <p:cNvSpPr>
            <a:spLocks noGrp="1"/>
          </p:cNvSpPr>
          <p:nvPr>
            <p:ph type="title"/>
          </p:nvPr>
        </p:nvSpPr>
        <p:spPr/>
        <p:txBody>
          <a:bodyPr vert="horz"/>
          <a:lstStyle/>
          <a:p>
            <a:r>
              <a:rPr lang="en-US" b="1" dirty="0">
                <a:solidFill>
                  <a:schemeClr val="accent1"/>
                </a:solidFill>
              </a:rPr>
              <a:t>42 % </a:t>
            </a:r>
            <a:r>
              <a:rPr lang="en-US" dirty="0"/>
              <a:t>des </a:t>
            </a:r>
            <a:r>
              <a:rPr lang="en-US" dirty="0" err="1"/>
              <a:t>pratiquants</a:t>
            </a:r>
            <a:r>
              <a:rPr lang="en-US" dirty="0"/>
              <a:t> du fitness </a:t>
            </a:r>
            <a:r>
              <a:rPr lang="en-US" b="1" dirty="0" err="1">
                <a:solidFill>
                  <a:schemeClr val="accent1"/>
                </a:solidFill>
              </a:rPr>
              <a:t>combinent</a:t>
            </a:r>
            <a:r>
              <a:rPr lang="en-US" b="1" dirty="0">
                <a:solidFill>
                  <a:schemeClr val="accent1"/>
                </a:solidFill>
              </a:rPr>
              <a:t> au </a:t>
            </a:r>
            <a:r>
              <a:rPr lang="en-US" b="1" dirty="0" err="1">
                <a:solidFill>
                  <a:schemeClr val="accent1"/>
                </a:solidFill>
              </a:rPr>
              <a:t>moins</a:t>
            </a:r>
            <a:r>
              <a:rPr lang="en-US" b="1" dirty="0">
                <a:solidFill>
                  <a:schemeClr val="accent1"/>
                </a:solidFill>
              </a:rPr>
              <a:t> deux </a:t>
            </a:r>
            <a:r>
              <a:rPr lang="en-US" b="1" dirty="0" err="1">
                <a:solidFill>
                  <a:schemeClr val="accent1"/>
                </a:solidFill>
              </a:rPr>
              <a:t>possibilités</a:t>
            </a:r>
            <a:r>
              <a:rPr lang="en-US" b="1" dirty="0">
                <a:solidFill>
                  <a:schemeClr val="accent1"/>
                </a:solidFill>
              </a:rPr>
              <a:t> </a:t>
            </a:r>
            <a:r>
              <a:rPr lang="en-US" b="1" dirty="0" err="1">
                <a:solidFill>
                  <a:schemeClr val="accent1"/>
                </a:solidFill>
              </a:rPr>
              <a:t>d’entraînement</a:t>
            </a:r>
            <a:r>
              <a:rPr lang="en-US" b="1" dirty="0">
                <a:solidFill>
                  <a:schemeClr val="accent1"/>
                </a:solidFill>
              </a:rPr>
              <a:t> ;</a:t>
            </a:r>
            <a:r>
              <a:rPr lang="en-US" dirty="0"/>
              <a:t> la </a:t>
            </a:r>
            <a:r>
              <a:rPr lang="en-US" dirty="0" err="1"/>
              <a:t>majorité</a:t>
            </a:r>
            <a:r>
              <a:rPr lang="en-US" dirty="0"/>
              <a:t> </a:t>
            </a:r>
            <a:r>
              <a:rPr lang="en-US" dirty="0" err="1"/>
              <a:t>combinant</a:t>
            </a:r>
            <a:r>
              <a:rPr lang="en-US" dirty="0"/>
              <a:t> </a:t>
            </a:r>
            <a:r>
              <a:rPr lang="en-US" dirty="0" err="1"/>
              <a:t>l’entraînement</a:t>
            </a:r>
            <a:r>
              <a:rPr lang="en-US" dirty="0"/>
              <a:t> à </a:t>
            </a:r>
            <a:r>
              <a:rPr lang="en-US" dirty="0" err="1"/>
              <a:t>l’extérieur</a:t>
            </a:r>
            <a:r>
              <a:rPr lang="en-US" dirty="0"/>
              <a:t> </a:t>
            </a:r>
            <a:r>
              <a:rPr lang="en-US" dirty="0" err="1"/>
              <a:t>ou</a:t>
            </a:r>
            <a:r>
              <a:rPr lang="en-US" dirty="0"/>
              <a:t> à la </a:t>
            </a:r>
            <a:r>
              <a:rPr lang="en-US" dirty="0" err="1"/>
              <a:t>maison</a:t>
            </a:r>
            <a:endParaRPr lang="en-US" dirty="0"/>
          </a:p>
        </p:txBody>
      </p:sp>
      <p:sp>
        <p:nvSpPr>
          <p:cNvPr id="22" name="TextBox 21">
            <a:extLst>
              <a:ext uri="{FF2B5EF4-FFF2-40B4-BE49-F238E27FC236}">
                <a16:creationId xmlns:a16="http://schemas.microsoft.com/office/drawing/2014/main" id="{6A6D168F-ED75-4C3B-BDB5-D072873662EC}"/>
              </a:ext>
            </a:extLst>
          </p:cNvPr>
          <p:cNvSpPr txBox="1"/>
          <p:nvPr/>
        </p:nvSpPr>
        <p:spPr>
          <a:xfrm>
            <a:off x="480878" y="6488957"/>
            <a:ext cx="10803809" cy="260521"/>
          </a:xfrm>
          <a:prstGeom prst="rect">
            <a:avLst/>
          </a:prstGeom>
          <a:noFill/>
        </p:spPr>
        <p:txBody>
          <a:bodyPr wrap="square" lIns="0" tIns="0" rIns="0" bIns="0" rtlCol="0" anchor="b">
            <a:spAutoFit/>
          </a:bodyPr>
          <a:lstStyle/>
          <a:p>
            <a:pPr eaLnBrk="0" fontAlgn="base" hangingPunct="0">
              <a:lnSpc>
                <a:spcPct val="110000"/>
              </a:lnSpc>
            </a:pPr>
            <a:r>
              <a:rPr lang="fr-FR"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Notes: 1) Question correspondante de l’étude: </a:t>
            </a:r>
            <a:r>
              <a:rPr lang="fr-FR" sz="800" b="1" kern="1200" dirty="0">
                <a:solidFill>
                  <a:srgbClr val="FF0000"/>
                </a:solidFill>
                <a:effectLst/>
                <a:latin typeface="Verdana" panose="020B0604030504040204" pitchFamily="34" charset="0"/>
                <a:ea typeface="Times New Roman" panose="02020603050405020304" pitchFamily="18" charset="0"/>
                <a:cs typeface="Times New Roman" panose="02020603050405020304" pitchFamily="18" charset="0"/>
              </a:rPr>
              <a:t>Dans quel cadre faites-vous du fitness? </a:t>
            </a:r>
            <a:r>
              <a:rPr lang="fr-FR"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N = 8 964); 2) En club: comprend l’ensemble des clubs de fitness, studios EMS et studios yoga.</a:t>
            </a:r>
            <a:br>
              <a:rPr lang="fr-FR"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br>
            <a:r>
              <a:rPr lang="en-GB"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Source: EuropeActive Consumer Survey 2022/Étude </a:t>
            </a:r>
            <a:r>
              <a:rPr lang="en-GB" sz="800" kern="1200" dirty="0" err="1">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consommateurs</a:t>
            </a:r>
            <a:r>
              <a:rPr lang="en-GB"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 EuropeActive 2022</a:t>
            </a:r>
            <a:endParaRPr lang="fr-FR" sz="800" dirty="0">
              <a:effectLst/>
              <a:latin typeface="Times New Roman" panose="02020603050405020304" pitchFamily="18" charset="0"/>
              <a:ea typeface="Times New Roman" panose="02020603050405020304" pitchFamily="18" charset="0"/>
            </a:endParaRPr>
          </a:p>
        </p:txBody>
      </p:sp>
      <p:pic>
        <p:nvPicPr>
          <p:cNvPr id="5" name="Picture 4">
            <a:extLst>
              <a:ext uri="{FF2B5EF4-FFF2-40B4-BE49-F238E27FC236}">
                <a16:creationId xmlns:a16="http://schemas.microsoft.com/office/drawing/2014/main" id="{E751D3CA-470E-4A4B-8190-E282B9C50E3C}"/>
              </a:ext>
            </a:extLst>
          </p:cNvPr>
          <p:cNvPicPr>
            <a:picLocks noChangeAspect="1"/>
          </p:cNvPicPr>
          <p:nvPr/>
        </p:nvPicPr>
        <p:blipFill>
          <a:blip r:embed="rId7"/>
          <a:stretch>
            <a:fillRect/>
          </a:stretch>
        </p:blipFill>
        <p:spPr>
          <a:xfrm>
            <a:off x="3504836" y="1858269"/>
            <a:ext cx="5182328" cy="4603376"/>
          </a:xfrm>
          <a:prstGeom prst="rect">
            <a:avLst/>
          </a:prstGeom>
        </p:spPr>
      </p:pic>
      <p:sp>
        <p:nvSpPr>
          <p:cNvPr id="19" name="TextBox 90">
            <a:extLst>
              <a:ext uri="{FF2B5EF4-FFF2-40B4-BE49-F238E27FC236}">
                <a16:creationId xmlns:a16="http://schemas.microsoft.com/office/drawing/2014/main" id="{C5D1E1A7-B47B-406B-9203-1D19BA06BE9A}"/>
              </a:ext>
            </a:extLst>
          </p:cNvPr>
          <p:cNvSpPr txBox="1"/>
          <p:nvPr/>
        </p:nvSpPr>
        <p:spPr>
          <a:xfrm>
            <a:off x="480917" y="1463688"/>
            <a:ext cx="10425821" cy="245708"/>
          </a:xfrm>
          <a:prstGeom prst="rect">
            <a:avLst/>
          </a:prstGeom>
          <a:noFill/>
        </p:spPr>
        <p:txBody>
          <a:bodyPr wrap="square" lIns="0" tIns="0" rIns="0" bIns="0" rtlCol="0">
            <a:spAutoFit/>
          </a:bodyPr>
          <a:lstStyle/>
          <a:p>
            <a:pPr marL="0" marR="0" lvl="0" indent="0" algn="l" defTabSz="1219170" rtl="0" eaLnBrk="0" fontAlgn="base" latinLnBrk="0" hangingPunct="0">
              <a:lnSpc>
                <a:spcPct val="110000"/>
              </a:lnSpc>
              <a:spcBef>
                <a:spcPct val="0"/>
              </a:spcBef>
              <a:spcAft>
                <a:spcPct val="0"/>
              </a:spcAft>
              <a:buClrTx/>
              <a:buSzTx/>
              <a:buFontTx/>
              <a:buNone/>
              <a:tabLst/>
              <a:defRPr/>
            </a:pPr>
            <a:r>
              <a:rPr kumimoji="0" lang="en-GB" sz="1600" b="1" i="0" u="none" strike="noStrike" kern="1200" cap="none" spc="0" normalizeH="0" baseline="0" noProof="0" dirty="0" err="1">
                <a:ln>
                  <a:noFill/>
                </a:ln>
                <a:solidFill>
                  <a:prstClr val="black"/>
                </a:solidFill>
                <a:effectLst/>
                <a:uLnTx/>
                <a:uFillTx/>
                <a:latin typeface="Verdana"/>
                <a:ea typeface="+mn-ea"/>
                <a:cs typeface="+mn-cs"/>
              </a:rPr>
              <a:t>Combinaison</a:t>
            </a:r>
            <a:r>
              <a:rPr kumimoji="0" lang="en-GB" sz="1600" b="1" i="0" u="none" strike="noStrike" kern="1200" cap="none" spc="0" normalizeH="0" baseline="0" noProof="0" dirty="0">
                <a:ln>
                  <a:noFill/>
                </a:ln>
                <a:solidFill>
                  <a:prstClr val="black"/>
                </a:solidFill>
                <a:effectLst/>
                <a:uLnTx/>
                <a:uFillTx/>
                <a:latin typeface="Verdana"/>
                <a:ea typeface="+mn-ea"/>
                <a:cs typeface="+mn-cs"/>
              </a:rPr>
              <a:t> des </a:t>
            </a:r>
            <a:r>
              <a:rPr kumimoji="0" lang="en-GB" sz="1600" b="1" i="0" u="none" strike="noStrike" kern="1200" cap="none" spc="0" normalizeH="0" baseline="0" noProof="0" dirty="0" err="1">
                <a:ln>
                  <a:noFill/>
                </a:ln>
                <a:solidFill>
                  <a:prstClr val="black"/>
                </a:solidFill>
                <a:effectLst/>
                <a:uLnTx/>
                <a:uFillTx/>
                <a:latin typeface="Verdana"/>
                <a:ea typeface="+mn-ea"/>
                <a:cs typeface="+mn-cs"/>
              </a:rPr>
              <a:t>entraînements</a:t>
            </a:r>
            <a:r>
              <a:rPr kumimoji="0" lang="en-GB" sz="1600" b="1" i="0" u="none" strike="noStrike" kern="1200" cap="none" spc="0" normalizeH="0" baseline="0" noProof="0" dirty="0">
                <a:ln>
                  <a:noFill/>
                </a:ln>
                <a:solidFill>
                  <a:prstClr val="black"/>
                </a:solidFill>
                <a:effectLst/>
                <a:uLnTx/>
                <a:uFillTx/>
                <a:latin typeface="Verdana"/>
                <a:ea typeface="+mn-ea"/>
                <a:cs typeface="+mn-cs"/>
              </a:rPr>
              <a:t> des </a:t>
            </a:r>
            <a:r>
              <a:rPr lang="en-GB" sz="1600" b="1" dirty="0" err="1">
                <a:solidFill>
                  <a:prstClr val="black"/>
                </a:solidFill>
                <a:latin typeface="Verdana"/>
              </a:rPr>
              <a:t>praticiens</a:t>
            </a:r>
            <a:r>
              <a:rPr lang="en-GB" sz="1600" b="1" dirty="0">
                <a:solidFill>
                  <a:prstClr val="black"/>
                </a:solidFill>
                <a:latin typeface="Verdana"/>
              </a:rPr>
              <a:t> du </a:t>
            </a:r>
            <a:r>
              <a:rPr lang="en-GB" sz="1600" b="1" dirty="0" err="1">
                <a:solidFill>
                  <a:prstClr val="black"/>
                </a:solidFill>
                <a:latin typeface="Verdana"/>
              </a:rPr>
              <a:t>fitnes</a:t>
            </a:r>
            <a:r>
              <a:rPr kumimoji="0" lang="en-GB" sz="1600" b="1" i="0" u="none" strike="noStrike" kern="1200" cap="none" spc="0" normalizeH="0" baseline="0" noProof="0" dirty="0">
                <a:ln>
                  <a:noFill/>
                </a:ln>
                <a:solidFill>
                  <a:prstClr val="black"/>
                </a:solidFill>
                <a:effectLst/>
                <a:uLnTx/>
                <a:uFillTx/>
                <a:latin typeface="Verdana"/>
                <a:ea typeface="+mn-ea"/>
                <a:cs typeface="+mn-cs"/>
              </a:rPr>
              <a:t>s</a:t>
            </a:r>
            <a:r>
              <a:rPr kumimoji="0" lang="en-GB" sz="1600" b="1" i="0" u="none" strike="noStrike" kern="1200" cap="none" spc="0" normalizeH="0" baseline="30000" noProof="0" dirty="0">
                <a:ln>
                  <a:noFill/>
                </a:ln>
                <a:solidFill>
                  <a:prstClr val="black"/>
                </a:solidFill>
                <a:effectLst/>
                <a:uLnTx/>
                <a:uFillTx/>
                <a:latin typeface="Verdana"/>
                <a:ea typeface="+mn-ea"/>
                <a:cs typeface="+mn-cs"/>
              </a:rPr>
              <a:t>1</a:t>
            </a:r>
          </a:p>
        </p:txBody>
      </p:sp>
      <p:grpSp>
        <p:nvGrpSpPr>
          <p:cNvPr id="21" name="Group 20">
            <a:extLst>
              <a:ext uri="{FF2B5EF4-FFF2-40B4-BE49-F238E27FC236}">
                <a16:creationId xmlns:a16="http://schemas.microsoft.com/office/drawing/2014/main" id="{78A89B7F-84B4-4810-9E0F-ADA454CE8825}"/>
              </a:ext>
            </a:extLst>
          </p:cNvPr>
          <p:cNvGrpSpPr/>
          <p:nvPr/>
        </p:nvGrpSpPr>
        <p:grpSpPr>
          <a:xfrm>
            <a:off x="0" y="1112402"/>
            <a:ext cx="1872351" cy="233523"/>
            <a:chOff x="0" y="1112402"/>
            <a:chExt cx="1872351" cy="233523"/>
          </a:xfrm>
        </p:grpSpPr>
        <p:sp>
          <p:nvSpPr>
            <p:cNvPr id="23" name="Freeform 61">
              <a:extLst>
                <a:ext uri="{FF2B5EF4-FFF2-40B4-BE49-F238E27FC236}">
                  <a16:creationId xmlns:a16="http://schemas.microsoft.com/office/drawing/2014/main" id="{CEF9508B-46B6-4958-B0C7-BDE478879016}"/>
                </a:ext>
              </a:extLst>
            </p:cNvPr>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28575" algn="ctr">
              <a:solidFill>
                <a:schemeClr val="accent1"/>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24" name="Straight Connector 23">
              <a:extLst>
                <a:ext uri="{FF2B5EF4-FFF2-40B4-BE49-F238E27FC236}">
                  <a16:creationId xmlns:a16="http://schemas.microsoft.com/office/drawing/2014/main" id="{174C6E53-E1C1-4F41-B63C-7F07C58351EB}"/>
                </a:ext>
              </a:extLst>
            </p:cNvPr>
            <p:cNvCxnSpPr/>
            <p:nvPr/>
          </p:nvCxnSpPr>
          <p:spPr>
            <a:xfrm flipH="1">
              <a:off x="0" y="1259840"/>
              <a:ext cx="12903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770065C-2B25-470C-9715-B47BBD60F959}"/>
                </a:ext>
              </a:extLst>
            </p:cNvPr>
            <p:cNvCxnSpPr/>
            <p:nvPr/>
          </p:nvCxnSpPr>
          <p:spPr>
            <a:xfrm flipH="1">
              <a:off x="1651705" y="1259840"/>
              <a:ext cx="220646" cy="0"/>
            </a:xfrm>
            <a:prstGeom prst="line">
              <a:avLst/>
            </a:prstGeom>
            <a:ln w="28575">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3156613B-8969-431B-9958-0A272368AEFA}"/>
              </a:ext>
            </a:extLst>
          </p:cNvPr>
          <p:cNvGrpSpPr/>
          <p:nvPr/>
        </p:nvGrpSpPr>
        <p:grpSpPr>
          <a:xfrm flipH="1">
            <a:off x="10319649" y="6515955"/>
            <a:ext cx="1872351" cy="233523"/>
            <a:chOff x="0" y="1112402"/>
            <a:chExt cx="1872351" cy="233523"/>
          </a:xfrm>
        </p:grpSpPr>
        <p:sp>
          <p:nvSpPr>
            <p:cNvPr id="27" name="Freeform 65">
              <a:extLst>
                <a:ext uri="{FF2B5EF4-FFF2-40B4-BE49-F238E27FC236}">
                  <a16:creationId xmlns:a16="http://schemas.microsoft.com/office/drawing/2014/main" id="{B88E4832-214F-4F0C-9123-66A76FC47B42}"/>
                </a:ext>
              </a:extLst>
            </p:cNvPr>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28575" algn="ctr">
              <a:solidFill>
                <a:schemeClr val="accent1"/>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28" name="Straight Connector 27">
              <a:extLst>
                <a:ext uri="{FF2B5EF4-FFF2-40B4-BE49-F238E27FC236}">
                  <a16:creationId xmlns:a16="http://schemas.microsoft.com/office/drawing/2014/main" id="{6D8386F4-8FB8-450E-9279-1790199CB5E3}"/>
                </a:ext>
              </a:extLst>
            </p:cNvPr>
            <p:cNvCxnSpPr/>
            <p:nvPr/>
          </p:nvCxnSpPr>
          <p:spPr>
            <a:xfrm flipH="1">
              <a:off x="0" y="1259840"/>
              <a:ext cx="12903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2B77216-C2A3-4815-99F5-ECCE7B8BFB41}"/>
                </a:ext>
              </a:extLst>
            </p:cNvPr>
            <p:cNvCxnSpPr/>
            <p:nvPr/>
          </p:nvCxnSpPr>
          <p:spPr>
            <a:xfrm flipH="1">
              <a:off x="1651705" y="1259840"/>
              <a:ext cx="220646" cy="0"/>
            </a:xfrm>
            <a:prstGeom prst="line">
              <a:avLst/>
            </a:prstGeom>
            <a:ln w="28575">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pic>
        <p:nvPicPr>
          <p:cNvPr id="31" name="Picture 30">
            <a:extLst>
              <a:ext uri="{FF2B5EF4-FFF2-40B4-BE49-F238E27FC236}">
                <a16:creationId xmlns:a16="http://schemas.microsoft.com/office/drawing/2014/main" id="{F3FFFEDB-7E6F-4119-A34C-E1BE72E7517E}"/>
              </a:ext>
            </a:extLst>
          </p:cNvPr>
          <p:cNvPicPr>
            <a:picLocks noChangeAspect="1"/>
          </p:cNvPicPr>
          <p:nvPr/>
        </p:nvPicPr>
        <p:blipFill rotWithShape="1">
          <a:blip r:embed="rId8"/>
          <a:srcRect l="5773" r="66824" b="74869"/>
          <a:stretch/>
        </p:blipFill>
        <p:spPr>
          <a:xfrm>
            <a:off x="10687376" y="233591"/>
            <a:ext cx="1796960" cy="1144013"/>
          </a:xfrm>
          <a:prstGeom prst="rect">
            <a:avLst/>
          </a:prstGeom>
        </p:spPr>
      </p:pic>
      <p:grpSp>
        <p:nvGrpSpPr>
          <p:cNvPr id="130" name="Gruppieren 29">
            <a:extLst>
              <a:ext uri="{FF2B5EF4-FFF2-40B4-BE49-F238E27FC236}">
                <a16:creationId xmlns:a16="http://schemas.microsoft.com/office/drawing/2014/main" id="{BC5FE7D5-D59B-46E8-BA39-ABF24C70D4E5}"/>
              </a:ext>
            </a:extLst>
          </p:cNvPr>
          <p:cNvGrpSpPr/>
          <p:nvPr/>
        </p:nvGrpSpPr>
        <p:grpSpPr>
          <a:xfrm>
            <a:off x="480878" y="1976202"/>
            <a:ext cx="2935019" cy="813406"/>
            <a:chOff x="8146056" y="1627584"/>
            <a:chExt cx="3138631" cy="922493"/>
          </a:xfrm>
        </p:grpSpPr>
        <p:sp>
          <p:nvSpPr>
            <p:cNvPr id="131" name="Speech Bubble: Rectangle 34">
              <a:extLst>
                <a:ext uri="{FF2B5EF4-FFF2-40B4-BE49-F238E27FC236}">
                  <a16:creationId xmlns:a16="http://schemas.microsoft.com/office/drawing/2014/main" id="{11D73A4E-1569-4532-95F2-0D5AC99768B3}"/>
                </a:ext>
              </a:extLst>
            </p:cNvPr>
            <p:cNvSpPr/>
            <p:nvPr/>
          </p:nvSpPr>
          <p:spPr bwMode="gray">
            <a:xfrm>
              <a:off x="8146056" y="1627584"/>
              <a:ext cx="3138631" cy="922493"/>
            </a:xfrm>
            <a:prstGeom prst="wedgeRectCallout">
              <a:avLst>
                <a:gd name="adj1" fmla="val 39144"/>
                <a:gd name="adj2" fmla="val -66848"/>
              </a:avLst>
            </a:prstGeom>
            <a:noFill/>
            <a:ln w="19050" algn="ctr">
              <a:solidFill>
                <a:schemeClr val="accent1"/>
              </a:solidFill>
              <a:miter lim="800000"/>
              <a:headEnd/>
              <a:tailEnd/>
            </a:ln>
          </p:spPr>
          <p:txBody>
            <a:bodyPr wrap="square"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a:t>
              </a:r>
              <a:r>
                <a:rPr kumimoji="0" lang="en-US" sz="1200" b="1" i="0" u="none" strike="noStrike" kern="1200" cap="none" spc="0" normalizeH="0" baseline="0" noProof="0" dirty="0" err="1">
                  <a:ln>
                    <a:noFill/>
                  </a:ln>
                  <a:solidFill>
                    <a:prstClr val="black"/>
                  </a:solidFill>
                  <a:effectLst/>
                  <a:uLnTx/>
                  <a:uFillTx/>
                  <a:latin typeface="Verdana"/>
                  <a:ea typeface="+mn-ea"/>
                  <a:cs typeface="+mn-cs"/>
                </a:rPr>
                <a:t>Praticiens</a:t>
              </a:r>
              <a:r>
                <a:rPr kumimoji="0" lang="en-US" sz="1200" b="1" i="0" u="none" strike="noStrike" kern="1200" cap="none" spc="0" normalizeH="0" baseline="0" noProof="0" dirty="0">
                  <a:ln>
                    <a:noFill/>
                  </a:ln>
                  <a:solidFill>
                    <a:prstClr val="black"/>
                  </a:solidFill>
                  <a:effectLst/>
                  <a:uLnTx/>
                  <a:uFillTx/>
                  <a:latin typeface="Verdana"/>
                  <a:ea typeface="+mn-ea"/>
                  <a:cs typeface="+mn-cs"/>
                </a:rPr>
                <a:t> du fitness” </a:t>
              </a:r>
              <a:br>
                <a:rPr kumimoji="0" lang="en-US" sz="1200" b="1" i="0" u="none" strike="noStrike" kern="1200" cap="none" spc="0" normalizeH="0" baseline="0" noProof="0" dirty="0">
                  <a:ln>
                    <a:noFill/>
                  </a:ln>
                  <a:solidFill>
                    <a:prstClr val="black"/>
                  </a:solidFill>
                  <a:effectLst/>
                  <a:uLnTx/>
                  <a:uFillTx/>
                  <a:latin typeface="Verdana"/>
                  <a:ea typeface="+mn-ea"/>
                  <a:cs typeface="+mn-cs"/>
                </a:rPr>
              </a:br>
              <a:br>
                <a:rPr kumimoji="0" lang="en-US" sz="1200" b="1" i="0" u="none" strike="noStrike" kern="1200" cap="none" spc="0" normalizeH="0" baseline="0" noProof="0" dirty="0">
                  <a:ln>
                    <a:noFill/>
                  </a:ln>
                  <a:solidFill>
                    <a:prstClr val="black"/>
                  </a:solidFill>
                  <a:effectLst/>
                  <a:uLnTx/>
                  <a:uFillTx/>
                  <a:latin typeface="Verdana"/>
                  <a:ea typeface="+mn-ea"/>
                  <a:cs typeface="+mn-cs"/>
                </a:rPr>
              </a:br>
              <a:r>
                <a:rPr kumimoji="0" lang="en-US" sz="1200" b="1" i="0" u="none" strike="noStrike" kern="1200" cap="none" spc="0" normalizeH="0" baseline="0" noProof="0" dirty="0">
                  <a:ln>
                    <a:noFill/>
                  </a:ln>
                  <a:solidFill>
                    <a:prstClr val="black"/>
                  </a:solidFill>
                  <a:effectLst/>
                  <a:uLnTx/>
                  <a:uFillTx/>
                  <a:latin typeface="Verdana"/>
                  <a:ea typeface="+mn-ea"/>
                  <a:cs typeface="+mn-cs"/>
                </a:rPr>
                <a:t>  </a:t>
              </a:r>
              <a:r>
                <a:rPr lang="en-US" sz="1200" b="1" dirty="0">
                  <a:solidFill>
                    <a:prstClr val="black"/>
                  </a:solidFill>
                  <a:latin typeface="Verdana"/>
                </a:rPr>
                <a:t>Pratique au </a:t>
              </a:r>
              <a:r>
                <a:rPr lang="en-US" sz="1200" b="1" dirty="0" err="1">
                  <a:solidFill>
                    <a:prstClr val="black"/>
                  </a:solidFill>
                  <a:latin typeface="Verdana"/>
                </a:rPr>
                <a:t>moins</a:t>
              </a:r>
              <a:endParaRPr lang="en-US" sz="1200" b="1" dirty="0">
                <a:solidFill>
                  <a:prstClr val="black"/>
                </a:solidFill>
                <a:latin typeface="Verdana"/>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Verdana"/>
                </a:rPr>
                <a:t> “de temps </a:t>
              </a:r>
              <a:r>
                <a:rPr lang="en-US" sz="1200" b="1" dirty="0" err="1">
                  <a:solidFill>
                    <a:prstClr val="black"/>
                  </a:solidFill>
                  <a:latin typeface="Verdana"/>
                </a:rPr>
                <a:t>en</a:t>
              </a:r>
              <a:r>
                <a:rPr lang="en-US" sz="1200" b="1" dirty="0">
                  <a:solidFill>
                    <a:prstClr val="black"/>
                  </a:solidFill>
                  <a:latin typeface="Verdana"/>
                </a:rPr>
                <a:t> temps”</a:t>
              </a:r>
              <a:endParaRPr kumimoji="0" lang="en-US" sz="1200" b="1" i="0" u="none" strike="noStrike" kern="1200" cap="none" spc="0" normalizeH="0" baseline="0" noProof="0" dirty="0">
                <a:ln>
                  <a:noFill/>
                </a:ln>
                <a:solidFill>
                  <a:prstClr val="black"/>
                </a:solidFill>
                <a:effectLst/>
                <a:uLnTx/>
                <a:uFillTx/>
                <a:latin typeface="Verdana"/>
                <a:ea typeface="+mn-ea"/>
                <a:cs typeface="+mn-cs"/>
              </a:endParaRPr>
            </a:p>
          </p:txBody>
        </p:sp>
        <p:sp>
          <p:nvSpPr>
            <p:cNvPr id="132" name="Pfeil: nach unten 41">
              <a:extLst>
                <a:ext uri="{FF2B5EF4-FFF2-40B4-BE49-F238E27FC236}">
                  <a16:creationId xmlns:a16="http://schemas.microsoft.com/office/drawing/2014/main" id="{F5545FE3-5DC3-4C9E-B28D-C17E05B8225F}"/>
                </a:ext>
              </a:extLst>
            </p:cNvPr>
            <p:cNvSpPr/>
            <p:nvPr/>
          </p:nvSpPr>
          <p:spPr bwMode="gray">
            <a:xfrm rot="16200000">
              <a:off x="8215760" y="2149323"/>
              <a:ext cx="338666" cy="259645"/>
            </a:xfrm>
            <a:prstGeom prst="downArrow">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de-DE" sz="1600" b="1" i="0" u="none" strike="noStrike" kern="1200" cap="none" spc="0" normalizeH="0" baseline="0" noProof="0" dirty="0">
                <a:ln>
                  <a:noFill/>
                </a:ln>
                <a:solidFill>
                  <a:prstClr val="white"/>
                </a:solidFill>
                <a:effectLst/>
                <a:uLnTx/>
                <a:uFillTx/>
                <a:latin typeface="Verdana"/>
                <a:ea typeface="+mn-ea"/>
                <a:cs typeface="+mn-cs"/>
              </a:endParaRPr>
            </a:p>
          </p:txBody>
        </p:sp>
      </p:grpSp>
    </p:spTree>
    <p:extLst>
      <p:ext uri="{BB962C8B-B14F-4D97-AF65-F5344CB8AC3E}">
        <p14:creationId xmlns:p14="http://schemas.microsoft.com/office/powerpoint/2010/main" val="3504298010"/>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 typeface="Wingdings 2" pitchFamily="18" charset="2"/>
              <a:buNone/>
              <a:tabLst/>
              <a:defRPr/>
            </a:pPr>
            <a:endParaRPr kumimoji="0" lang="en-GB" sz="1000" b="0" i="0" u="none" strike="noStrike" kern="1200" cap="none" spc="0" normalizeH="0" baseline="0" noProof="0" dirty="0">
              <a:ln>
                <a:noFill/>
              </a:ln>
              <a:solidFill>
                <a:prstClr val="white"/>
              </a:solidFill>
              <a:effectLst/>
              <a:uLnTx/>
              <a:uFillTx/>
              <a:latin typeface="Verdana" panose="020B0604030504040204" pitchFamily="34" charset="0"/>
              <a:ea typeface="+mn-ea"/>
              <a:cs typeface="+mn-cs"/>
              <a:sym typeface="Verdana" panose="020B0604030504040204" pitchFamily="34" charset="0"/>
            </a:endParaRPr>
          </a:p>
        </p:txBody>
      </p:sp>
      <p:sp>
        <p:nvSpPr>
          <p:cNvPr id="13" name="Title 1"/>
          <p:cNvSpPr>
            <a:spLocks noGrp="1"/>
          </p:cNvSpPr>
          <p:nvPr>
            <p:ph type="title"/>
          </p:nvPr>
        </p:nvSpPr>
        <p:spPr/>
        <p:txBody>
          <a:bodyPr vert="horz"/>
          <a:lstStyle/>
          <a:p>
            <a:r>
              <a:rPr lang="en-US" dirty="0"/>
              <a:t>Bien </a:t>
            </a:r>
            <a:r>
              <a:rPr lang="en-US" dirty="0" err="1"/>
              <a:t>qu’il</a:t>
            </a:r>
            <a:r>
              <a:rPr lang="en-US" dirty="0"/>
              <a:t> y </a:t>
            </a:r>
            <a:r>
              <a:rPr lang="en-US" dirty="0" err="1"/>
              <a:t>ait</a:t>
            </a:r>
            <a:r>
              <a:rPr lang="en-US" dirty="0"/>
              <a:t> </a:t>
            </a:r>
            <a:r>
              <a:rPr lang="en-US" dirty="0" err="1"/>
              <a:t>une</a:t>
            </a:r>
            <a:r>
              <a:rPr lang="en-US" dirty="0"/>
              <a:t> tendance à la </a:t>
            </a:r>
            <a:r>
              <a:rPr lang="en-US" dirty="0" err="1"/>
              <a:t>réduction</a:t>
            </a:r>
            <a:r>
              <a:rPr lang="en-US" dirty="0"/>
              <a:t> de la pratique du fitness dans la </a:t>
            </a:r>
            <a:r>
              <a:rPr lang="en-US" dirty="0" err="1"/>
              <a:t>plupart</a:t>
            </a:r>
            <a:r>
              <a:rPr lang="en-US" dirty="0"/>
              <a:t> des pays, les </a:t>
            </a:r>
            <a:r>
              <a:rPr lang="en-US" b="1" dirty="0" err="1">
                <a:solidFill>
                  <a:schemeClr val="accent1"/>
                </a:solidFill>
              </a:rPr>
              <a:t>signes</a:t>
            </a:r>
            <a:r>
              <a:rPr lang="en-US" b="1" dirty="0">
                <a:solidFill>
                  <a:schemeClr val="accent1"/>
                </a:solidFill>
              </a:rPr>
              <a:t> </a:t>
            </a:r>
            <a:r>
              <a:rPr lang="en-US" b="1" dirty="0" err="1">
                <a:solidFill>
                  <a:schemeClr val="accent1"/>
                </a:solidFill>
              </a:rPr>
              <a:t>montrent</a:t>
            </a:r>
            <a:r>
              <a:rPr lang="en-US" b="1" dirty="0">
                <a:solidFill>
                  <a:schemeClr val="accent1"/>
                </a:solidFill>
              </a:rPr>
              <a:t> </a:t>
            </a:r>
            <a:r>
              <a:rPr lang="en-US" b="1" dirty="0" err="1">
                <a:solidFill>
                  <a:schemeClr val="accent1"/>
                </a:solidFill>
              </a:rPr>
              <a:t>clairement</a:t>
            </a:r>
            <a:r>
              <a:rPr lang="en-US" b="1" dirty="0">
                <a:solidFill>
                  <a:schemeClr val="accent1"/>
                </a:solidFill>
              </a:rPr>
              <a:t> </a:t>
            </a:r>
            <a:r>
              <a:rPr lang="en-US" b="1" dirty="0" err="1">
                <a:solidFill>
                  <a:schemeClr val="accent1"/>
                </a:solidFill>
              </a:rPr>
              <a:t>une</a:t>
            </a:r>
            <a:r>
              <a:rPr lang="en-US" b="1" dirty="0">
                <a:solidFill>
                  <a:schemeClr val="accent1"/>
                </a:solidFill>
              </a:rPr>
              <a:t> tendance à la </a:t>
            </a:r>
            <a:r>
              <a:rPr lang="en-US" b="1" dirty="0" err="1">
                <a:solidFill>
                  <a:schemeClr val="accent1"/>
                </a:solidFill>
              </a:rPr>
              <a:t>hausse</a:t>
            </a:r>
            <a:r>
              <a:rPr lang="en-US" b="1" dirty="0">
                <a:solidFill>
                  <a:schemeClr val="accent1"/>
                </a:solidFill>
              </a:rPr>
              <a:t> pour </a:t>
            </a:r>
            <a:r>
              <a:rPr lang="en-US" b="1" dirty="0" err="1">
                <a:solidFill>
                  <a:schemeClr val="accent1"/>
                </a:solidFill>
              </a:rPr>
              <a:t>l’avenir</a:t>
            </a:r>
            <a:endParaRPr lang="en-GB" b="1" baseline="30000" noProof="0" dirty="0">
              <a:solidFill>
                <a:schemeClr val="accent1"/>
              </a:solidFill>
            </a:endParaRPr>
          </a:p>
        </p:txBody>
      </p:sp>
      <p:sp>
        <p:nvSpPr>
          <p:cNvPr id="25" name="TextBox 24"/>
          <p:cNvSpPr txBox="1"/>
          <p:nvPr/>
        </p:nvSpPr>
        <p:spPr>
          <a:xfrm>
            <a:off x="-29396" y="6098383"/>
            <a:ext cx="10349045" cy="666786"/>
          </a:xfrm>
          <a:prstGeom prst="rect">
            <a:avLst/>
          </a:prstGeom>
          <a:noFill/>
        </p:spPr>
        <p:txBody>
          <a:bodyPr wrap="square" lIns="0" tIns="0" rIns="0" bIns="0" rtlCol="0" anchor="b">
            <a:spAutoFit/>
          </a:bodyPr>
          <a:lstStyle/>
          <a:p>
            <a:pPr eaLnBrk="0" fontAlgn="base" hangingPunct="0">
              <a:lnSpc>
                <a:spcPct val="110000"/>
              </a:lnSpc>
            </a:pPr>
            <a:r>
              <a:rPr lang="fr-FR"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Notes: 1) Question correspondante de l’étude:</a:t>
            </a:r>
            <a:r>
              <a:rPr lang="fr-FR" sz="800" b="1" kern="1200" dirty="0">
                <a:solidFill>
                  <a:srgbClr val="FF0000"/>
                </a:solidFill>
                <a:effectLst/>
                <a:latin typeface="Verdana" panose="020B0604030504040204" pitchFamily="34" charset="0"/>
                <a:ea typeface="Times New Roman" panose="02020603050405020304" pitchFamily="18" charset="0"/>
                <a:cs typeface="Times New Roman" panose="02020603050405020304" pitchFamily="18" charset="0"/>
              </a:rPr>
              <a:t> Pratiquez vous actuellement plus ou moins souvent de fitness qu’avant la pandémie de Covid-19 ou autant que pendant la pandémie de Covid-19 ? </a:t>
            </a:r>
            <a:r>
              <a:rPr lang="fr-FR"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N = 10 888) Les chiffres du schéma montrent le différentiel exprimé en point de pourcentage entre les pratiquants qui ont augmenté leur niveau d’activité compare à ceux qui ont réduit leur niveau d’activité; 2) Question correspondante de l’étude: après la pandémie, envisagez-vous de pratiquer le fitness plus souvent ou moins souvent qu’avant la pandémie de Covid-19 ou aussi souvent qu’avant la pandémie de Covid-19 ? </a:t>
            </a:r>
            <a:r>
              <a:rPr lang="en-US"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N = 10 888) </a:t>
            </a:r>
            <a:br>
              <a:rPr lang="en-GB"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br>
            <a:r>
              <a:rPr lang="en-GB"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Source: EuropeActive Consumer Survey 2022/Étude </a:t>
            </a:r>
            <a:r>
              <a:rPr lang="en-GB" sz="800" kern="1200" dirty="0" err="1">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consommateurs</a:t>
            </a:r>
            <a:r>
              <a:rPr lang="en-GB" sz="800" kern="1200" dirty="0">
                <a:solidFill>
                  <a:srgbClr val="000000"/>
                </a:solidFill>
                <a:effectLst/>
                <a:latin typeface="Verdana" panose="020B0604030504040204" pitchFamily="34" charset="0"/>
                <a:ea typeface="Times New Roman" panose="02020603050405020304" pitchFamily="18" charset="0"/>
                <a:cs typeface="Times New Roman" panose="02020603050405020304" pitchFamily="18" charset="0"/>
              </a:rPr>
              <a:t> EuropeActive 2022</a:t>
            </a:r>
            <a:endParaRPr lang="fr-FR" sz="800" dirty="0">
              <a:effectLst/>
              <a:latin typeface="Times New Roman" panose="02020603050405020304" pitchFamily="18" charset="0"/>
              <a:ea typeface="Times New Roman" panose="02020603050405020304" pitchFamily="18" charset="0"/>
            </a:endParaRPr>
          </a:p>
        </p:txBody>
      </p:sp>
      <p:sp>
        <p:nvSpPr>
          <p:cNvPr id="76" name="Rechteck 127">
            <a:extLst>
              <a:ext uri="{FF2B5EF4-FFF2-40B4-BE49-F238E27FC236}">
                <a16:creationId xmlns:a16="http://schemas.microsoft.com/office/drawing/2014/main" id="{054BC3F8-A5DC-4B60-87A2-197AFDB4921F}"/>
              </a:ext>
            </a:extLst>
          </p:cNvPr>
          <p:cNvSpPr/>
          <p:nvPr/>
        </p:nvSpPr>
        <p:spPr bwMode="gray">
          <a:xfrm>
            <a:off x="1556463" y="1758801"/>
            <a:ext cx="3692525" cy="197167"/>
          </a:xfrm>
          <a:prstGeom prst="rect">
            <a:avLst/>
          </a:prstGeom>
          <a:noFill/>
          <a:ln w="19050" algn="ctr">
            <a:noFill/>
            <a:miter lim="800000"/>
            <a:headEnd/>
            <a:tailEnd/>
          </a:ln>
        </p:spPr>
        <p:txBody>
          <a:bodyPr wrap="square" lIns="88900" tIns="88900" rIns="88900" bIns="88900" rtlCol="0" anchor="ctr"/>
          <a:lstStyle/>
          <a:p>
            <a:pPr lvl="0" algn="ctr" defTabSz="914400">
              <a:lnSpc>
                <a:spcPct val="106000"/>
              </a:lnSpc>
              <a:defRPr/>
            </a:pPr>
            <a:r>
              <a:rPr lang="en-US" sz="1200" dirty="0">
                <a:solidFill>
                  <a:prstClr val="black"/>
                </a:solidFill>
                <a:latin typeface="Verdana"/>
              </a:rPr>
              <a:t>F</a:t>
            </a:r>
            <a:r>
              <a:rPr kumimoji="0" lang="en-US" sz="1200" b="0" i="0" u="none" strike="noStrike" kern="1200" cap="none" spc="0" normalizeH="0" baseline="0" noProof="0" dirty="0" err="1">
                <a:ln>
                  <a:noFill/>
                </a:ln>
                <a:solidFill>
                  <a:prstClr val="black"/>
                </a:solidFill>
                <a:effectLst/>
                <a:uLnTx/>
                <a:uFillTx/>
                <a:latin typeface="Verdana"/>
                <a:ea typeface="+mn-ea"/>
                <a:cs typeface="+mn-cs"/>
              </a:rPr>
              <a:t>réquence</a:t>
            </a:r>
            <a:r>
              <a:rPr kumimoji="0" lang="en-US" sz="1200" b="0" i="0" u="none" strike="noStrike" kern="1200" cap="none" spc="0" normalizeH="0" baseline="0" noProof="0" dirty="0">
                <a:ln>
                  <a:noFill/>
                </a:ln>
                <a:solidFill>
                  <a:prstClr val="black"/>
                </a:solidFill>
                <a:effectLst/>
                <a:uLnTx/>
                <a:uFillTx/>
                <a:latin typeface="Verdana"/>
                <a:ea typeface="+mn-ea"/>
                <a:cs typeface="+mn-cs"/>
              </a:rPr>
              <a:t> </a:t>
            </a:r>
            <a:r>
              <a:rPr lang="en-US" sz="1200" b="1" noProof="0" dirty="0">
                <a:solidFill>
                  <a:srgbClr val="86BC25"/>
                </a:solidFill>
              </a:rPr>
              <a:t>a</a:t>
            </a:r>
            <a:r>
              <a:rPr lang="en-US" sz="1200" b="1" dirty="0" err="1">
                <a:solidFill>
                  <a:srgbClr val="86BC25"/>
                </a:solidFill>
              </a:rPr>
              <a:t>ctuelle</a:t>
            </a:r>
            <a:r>
              <a:rPr lang="en-US" sz="1200" b="1" dirty="0">
                <a:solidFill>
                  <a:srgbClr val="86BC25"/>
                </a:solidFill>
              </a:rPr>
              <a:t> </a:t>
            </a:r>
            <a:r>
              <a:rPr kumimoji="0" lang="en-GB" sz="1200" b="0" i="0" u="none" strike="noStrike" kern="1200" cap="none" spc="0" normalizeH="0" baseline="30000" noProof="0" dirty="0">
                <a:ln>
                  <a:noFill/>
                </a:ln>
                <a:solidFill>
                  <a:prstClr val="black"/>
                </a:solidFill>
                <a:effectLst/>
                <a:uLnTx/>
                <a:uFillTx/>
                <a:latin typeface="Verdana"/>
                <a:ea typeface="+mn-ea"/>
                <a:cs typeface="+mn-cs"/>
              </a:rPr>
              <a:t>1</a:t>
            </a:r>
            <a:endParaRPr kumimoji="0" lang="de-DE" sz="1200" b="0" i="0" u="none" strike="noStrike" kern="1200" cap="none" spc="0" normalizeH="0" baseline="30000" noProof="0" dirty="0">
              <a:ln>
                <a:noFill/>
              </a:ln>
              <a:solidFill>
                <a:prstClr val="black"/>
              </a:solidFill>
              <a:effectLst/>
              <a:uLnTx/>
              <a:uFillTx/>
              <a:latin typeface="Verdana"/>
              <a:ea typeface="+mn-ea"/>
              <a:cs typeface="+mn-cs"/>
            </a:endParaRPr>
          </a:p>
        </p:txBody>
      </p:sp>
      <p:sp>
        <p:nvSpPr>
          <p:cNvPr id="77" name="Rechteck 127">
            <a:extLst>
              <a:ext uri="{FF2B5EF4-FFF2-40B4-BE49-F238E27FC236}">
                <a16:creationId xmlns:a16="http://schemas.microsoft.com/office/drawing/2014/main" id="{D03C1EA5-26A3-4720-9C39-5F90848D8EC7}"/>
              </a:ext>
            </a:extLst>
          </p:cNvPr>
          <p:cNvSpPr/>
          <p:nvPr/>
        </p:nvSpPr>
        <p:spPr bwMode="gray">
          <a:xfrm>
            <a:off x="7340043" y="1758801"/>
            <a:ext cx="3692525" cy="197167"/>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0" i="0" u="none" strike="noStrike" kern="1200" cap="none" spc="0" normalizeH="0" baseline="0" noProof="0" dirty="0" err="1">
                <a:ln>
                  <a:noFill/>
                </a:ln>
                <a:solidFill>
                  <a:prstClr val="black"/>
                </a:solidFill>
                <a:effectLst/>
                <a:uLnTx/>
                <a:uFillTx/>
                <a:latin typeface="Verdana"/>
                <a:ea typeface="+mn-ea"/>
                <a:cs typeface="+mn-cs"/>
              </a:rPr>
              <a:t>Intentionnalité</a:t>
            </a:r>
            <a:r>
              <a:rPr kumimoji="0" lang="en-US" sz="1200" b="0" i="0" u="none" strike="noStrike" kern="1200" cap="none" spc="0" normalizeH="0" baseline="0" noProof="0">
                <a:ln>
                  <a:noFill/>
                </a:ln>
                <a:solidFill>
                  <a:prstClr val="black"/>
                </a:solidFill>
                <a:effectLst/>
                <a:uLnTx/>
                <a:uFillTx/>
                <a:latin typeface="Verdana"/>
                <a:ea typeface="+mn-ea"/>
                <a:cs typeface="+mn-cs"/>
              </a:rPr>
              <a:t> </a:t>
            </a:r>
            <a:r>
              <a:rPr kumimoji="0" lang="en-US" sz="1200" b="1" i="0" u="none" strike="noStrike" kern="1200" cap="none" spc="0" normalizeH="0" baseline="0" noProof="0">
                <a:ln>
                  <a:noFill/>
                </a:ln>
                <a:solidFill>
                  <a:srgbClr val="86BC25"/>
                </a:solidFill>
                <a:effectLst/>
                <a:uLnTx/>
                <a:uFillTx/>
                <a:latin typeface="Verdana"/>
                <a:ea typeface="+mn-ea"/>
                <a:cs typeface="+mn-cs"/>
              </a:rPr>
              <a:t>future</a:t>
            </a:r>
            <a:r>
              <a:rPr kumimoji="0" lang="en-US" sz="1200" b="0" i="0" u="none" strike="noStrike" kern="1200" cap="none" spc="0" normalizeH="0" baseline="0" noProof="0">
                <a:ln>
                  <a:noFill/>
                </a:ln>
                <a:solidFill>
                  <a:prstClr val="black"/>
                </a:solidFill>
                <a:effectLst/>
                <a:uLnTx/>
                <a:uFillTx/>
                <a:latin typeface="Verdana"/>
                <a:ea typeface="+mn-ea"/>
                <a:cs typeface="+mn-cs"/>
              </a:rPr>
              <a:t>²</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 name="TextBox 90">
            <a:extLst>
              <a:ext uri="{FF2B5EF4-FFF2-40B4-BE49-F238E27FC236}">
                <a16:creationId xmlns:a16="http://schemas.microsoft.com/office/drawing/2014/main" id="{E7FD09E6-7D3C-45A0-86D9-B0EDC83A454F}"/>
              </a:ext>
            </a:extLst>
          </p:cNvPr>
          <p:cNvSpPr txBox="1"/>
          <p:nvPr/>
        </p:nvSpPr>
        <p:spPr>
          <a:xfrm>
            <a:off x="480917" y="1463688"/>
            <a:ext cx="10425821" cy="246221"/>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Verdana"/>
                <a:ea typeface="+mn-ea"/>
                <a:cs typeface="+mn-cs"/>
              </a:rPr>
              <a:t>Changement</a:t>
            </a:r>
            <a:r>
              <a:rPr kumimoji="0" lang="en-US" sz="1600" b="1" i="0" u="none" strike="noStrike" kern="1200" cap="none" spc="0" normalizeH="0" baseline="0" noProof="0" dirty="0">
                <a:ln>
                  <a:noFill/>
                </a:ln>
                <a:solidFill>
                  <a:prstClr val="black"/>
                </a:solidFill>
                <a:effectLst/>
                <a:uLnTx/>
                <a:uFillTx/>
                <a:latin typeface="Verdana"/>
                <a:ea typeface="+mn-ea"/>
                <a:cs typeface="+mn-cs"/>
              </a:rPr>
              <a:t> de la </a:t>
            </a:r>
            <a:r>
              <a:rPr kumimoji="0" lang="en-US" sz="1600" b="1" i="0" u="none" strike="noStrike" kern="1200" cap="none" spc="0" normalizeH="0" baseline="0" noProof="0" dirty="0" err="1">
                <a:ln>
                  <a:noFill/>
                </a:ln>
                <a:solidFill>
                  <a:prstClr val="black"/>
                </a:solidFill>
                <a:effectLst/>
                <a:uLnTx/>
                <a:uFillTx/>
                <a:latin typeface="Verdana"/>
                <a:ea typeface="+mn-ea"/>
                <a:cs typeface="+mn-cs"/>
              </a:rPr>
              <a:t>fréquence</a:t>
            </a:r>
            <a:r>
              <a:rPr kumimoji="0" lang="en-US" sz="1600" b="1" i="0" u="none" strike="noStrike" kern="1200" cap="none" spc="0" normalizeH="0" baseline="0" noProof="0" dirty="0">
                <a:ln>
                  <a:noFill/>
                </a:ln>
                <a:solidFill>
                  <a:prstClr val="black"/>
                </a:solidFill>
                <a:effectLst/>
                <a:uLnTx/>
                <a:uFillTx/>
                <a:latin typeface="Verdana"/>
                <a:ea typeface="+mn-ea"/>
                <a:cs typeface="+mn-cs"/>
              </a:rPr>
              <a:t> des </a:t>
            </a:r>
            <a:r>
              <a:rPr kumimoji="0" lang="en-US" sz="1600" b="1" i="0" u="none" strike="noStrike" kern="1200" cap="none" spc="0" normalizeH="0" baseline="0" noProof="0" dirty="0" err="1">
                <a:ln>
                  <a:noFill/>
                </a:ln>
                <a:solidFill>
                  <a:prstClr val="black"/>
                </a:solidFill>
                <a:effectLst/>
                <a:uLnTx/>
                <a:uFillTx/>
                <a:latin typeface="Verdana"/>
                <a:ea typeface="+mn-ea"/>
                <a:cs typeface="+mn-cs"/>
              </a:rPr>
              <a:t>activités</a:t>
            </a:r>
            <a:r>
              <a:rPr kumimoji="0" lang="en-US" sz="1600" b="1" i="0" u="none" strike="noStrike" kern="1200" cap="none" spc="0" normalizeH="0" baseline="0" noProof="0" dirty="0">
                <a:ln>
                  <a:noFill/>
                </a:ln>
                <a:solidFill>
                  <a:prstClr val="black"/>
                </a:solidFill>
                <a:effectLst/>
                <a:uLnTx/>
                <a:uFillTx/>
                <a:latin typeface="Verdana"/>
                <a:ea typeface="+mn-ea"/>
                <a:cs typeface="+mn-cs"/>
              </a:rPr>
              <a:t> de fitness </a:t>
            </a:r>
            <a:r>
              <a:rPr kumimoji="0" lang="en-US" sz="1600" b="1" i="0" u="none" strike="noStrike" kern="1200" cap="none" spc="0" normalizeH="0" baseline="0" noProof="0" dirty="0" err="1">
                <a:ln>
                  <a:noFill/>
                </a:ln>
                <a:solidFill>
                  <a:prstClr val="black"/>
                </a:solidFill>
                <a:effectLst/>
                <a:uLnTx/>
                <a:uFillTx/>
                <a:latin typeface="Verdana"/>
                <a:ea typeface="+mn-ea"/>
                <a:cs typeface="+mn-cs"/>
              </a:rPr>
              <a:t>dû</a:t>
            </a:r>
            <a:r>
              <a:rPr kumimoji="0" lang="en-US" sz="1600" b="1" i="0" u="none" strike="noStrike" kern="1200" cap="none" spc="0" normalizeH="0" baseline="0" noProof="0" dirty="0">
                <a:ln>
                  <a:noFill/>
                </a:ln>
                <a:solidFill>
                  <a:prstClr val="black"/>
                </a:solidFill>
                <a:effectLst/>
                <a:uLnTx/>
                <a:uFillTx/>
                <a:latin typeface="Verdana"/>
                <a:ea typeface="+mn-ea"/>
                <a:cs typeface="+mn-cs"/>
              </a:rPr>
              <a:t> au COVID-19</a:t>
            </a:r>
            <a:endParaRPr kumimoji="0" lang="en-GB" sz="700" b="0" i="0" u="none" strike="noStrike" kern="1200" cap="none" spc="0" normalizeH="0" baseline="30000" noProof="0" dirty="0">
              <a:ln>
                <a:noFill/>
              </a:ln>
              <a:solidFill>
                <a:prstClr val="black"/>
              </a:solidFill>
              <a:effectLst/>
              <a:uLnTx/>
              <a:uFillTx/>
              <a:latin typeface="Verdana"/>
              <a:ea typeface="+mn-ea"/>
              <a:cs typeface="+mn-cs"/>
            </a:endParaRPr>
          </a:p>
        </p:txBody>
      </p:sp>
      <p:grpSp>
        <p:nvGrpSpPr>
          <p:cNvPr id="36" name="Group 35">
            <a:extLst>
              <a:ext uri="{FF2B5EF4-FFF2-40B4-BE49-F238E27FC236}">
                <a16:creationId xmlns:a16="http://schemas.microsoft.com/office/drawing/2014/main" id="{08F620EB-9129-477F-924E-8A95E4AB6172}"/>
              </a:ext>
            </a:extLst>
          </p:cNvPr>
          <p:cNvGrpSpPr/>
          <p:nvPr/>
        </p:nvGrpSpPr>
        <p:grpSpPr>
          <a:xfrm>
            <a:off x="0" y="1112402"/>
            <a:ext cx="1872351" cy="233523"/>
            <a:chOff x="0" y="1112402"/>
            <a:chExt cx="1872351" cy="233523"/>
          </a:xfrm>
        </p:grpSpPr>
        <p:sp>
          <p:nvSpPr>
            <p:cNvPr id="37" name="Freeform 61">
              <a:extLst>
                <a:ext uri="{FF2B5EF4-FFF2-40B4-BE49-F238E27FC236}">
                  <a16:creationId xmlns:a16="http://schemas.microsoft.com/office/drawing/2014/main" id="{28627FF0-C52C-41DD-BDE0-725A453EAC21}"/>
                </a:ext>
              </a:extLst>
            </p:cNvPr>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28575" algn="ctr">
              <a:solidFill>
                <a:schemeClr val="accent1"/>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38" name="Straight Connector 37">
              <a:extLst>
                <a:ext uri="{FF2B5EF4-FFF2-40B4-BE49-F238E27FC236}">
                  <a16:creationId xmlns:a16="http://schemas.microsoft.com/office/drawing/2014/main" id="{700456ED-0480-462B-AB87-8AC510D75E9F}"/>
                </a:ext>
              </a:extLst>
            </p:cNvPr>
            <p:cNvCxnSpPr/>
            <p:nvPr/>
          </p:nvCxnSpPr>
          <p:spPr>
            <a:xfrm flipH="1">
              <a:off x="0" y="1259840"/>
              <a:ext cx="12903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D0D3D84-5B29-418E-8E94-545659704B7F}"/>
                </a:ext>
              </a:extLst>
            </p:cNvPr>
            <p:cNvCxnSpPr/>
            <p:nvPr/>
          </p:nvCxnSpPr>
          <p:spPr>
            <a:xfrm flipH="1">
              <a:off x="1651705" y="1259840"/>
              <a:ext cx="220646" cy="0"/>
            </a:xfrm>
            <a:prstGeom prst="line">
              <a:avLst/>
            </a:prstGeom>
            <a:ln w="28575">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8251169-B690-4046-B0D3-65D143B4EE07}"/>
              </a:ext>
            </a:extLst>
          </p:cNvPr>
          <p:cNvGrpSpPr/>
          <p:nvPr/>
        </p:nvGrpSpPr>
        <p:grpSpPr>
          <a:xfrm flipH="1">
            <a:off x="10319649" y="6515955"/>
            <a:ext cx="1872351" cy="233523"/>
            <a:chOff x="0" y="1112402"/>
            <a:chExt cx="1872351" cy="233523"/>
          </a:xfrm>
        </p:grpSpPr>
        <p:sp>
          <p:nvSpPr>
            <p:cNvPr id="41" name="Freeform 65">
              <a:extLst>
                <a:ext uri="{FF2B5EF4-FFF2-40B4-BE49-F238E27FC236}">
                  <a16:creationId xmlns:a16="http://schemas.microsoft.com/office/drawing/2014/main" id="{CAE3E5FE-19EC-4A19-B08C-9722F00E7171}"/>
                </a:ext>
              </a:extLst>
            </p:cNvPr>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28575" algn="ctr">
              <a:solidFill>
                <a:schemeClr val="accent1"/>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42" name="Straight Connector 41">
              <a:extLst>
                <a:ext uri="{FF2B5EF4-FFF2-40B4-BE49-F238E27FC236}">
                  <a16:creationId xmlns:a16="http://schemas.microsoft.com/office/drawing/2014/main" id="{879A1A32-1FC1-4855-9B60-89762D9A9529}"/>
                </a:ext>
              </a:extLst>
            </p:cNvPr>
            <p:cNvCxnSpPr/>
            <p:nvPr/>
          </p:nvCxnSpPr>
          <p:spPr>
            <a:xfrm flipH="1">
              <a:off x="0" y="1259840"/>
              <a:ext cx="12903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33D5F68-29E6-4280-A112-E966BEDB5D92}"/>
                </a:ext>
              </a:extLst>
            </p:cNvPr>
            <p:cNvCxnSpPr/>
            <p:nvPr/>
          </p:nvCxnSpPr>
          <p:spPr>
            <a:xfrm flipH="1">
              <a:off x="1651705" y="1259840"/>
              <a:ext cx="220646" cy="0"/>
            </a:xfrm>
            <a:prstGeom prst="line">
              <a:avLst/>
            </a:prstGeom>
            <a:ln w="28575">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sp>
        <p:nvSpPr>
          <p:cNvPr id="30" name="Rechteck 251">
            <a:extLst>
              <a:ext uri="{FF2B5EF4-FFF2-40B4-BE49-F238E27FC236}">
                <a16:creationId xmlns:a16="http://schemas.microsoft.com/office/drawing/2014/main" id="{2910B872-81FA-4A3A-A654-C55FA4BFAD09}"/>
              </a:ext>
            </a:extLst>
          </p:cNvPr>
          <p:cNvSpPr/>
          <p:nvPr/>
        </p:nvSpPr>
        <p:spPr bwMode="gray">
          <a:xfrm>
            <a:off x="1261061" y="2143428"/>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1</a:t>
            </a:r>
          </a:p>
        </p:txBody>
      </p:sp>
      <p:sp>
        <p:nvSpPr>
          <p:cNvPr id="31" name="Rechteck 251">
            <a:extLst>
              <a:ext uri="{FF2B5EF4-FFF2-40B4-BE49-F238E27FC236}">
                <a16:creationId xmlns:a16="http://schemas.microsoft.com/office/drawing/2014/main" id="{2C0BE8F5-4D53-4D88-8B1B-5CBD1872C41A}"/>
              </a:ext>
            </a:extLst>
          </p:cNvPr>
          <p:cNvSpPr/>
          <p:nvPr/>
        </p:nvSpPr>
        <p:spPr bwMode="gray">
          <a:xfrm>
            <a:off x="1261061" y="2482069"/>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2</a:t>
            </a:r>
          </a:p>
        </p:txBody>
      </p:sp>
      <p:sp>
        <p:nvSpPr>
          <p:cNvPr id="32" name="Rechteck 251">
            <a:extLst>
              <a:ext uri="{FF2B5EF4-FFF2-40B4-BE49-F238E27FC236}">
                <a16:creationId xmlns:a16="http://schemas.microsoft.com/office/drawing/2014/main" id="{8D16254F-A317-44A6-AFBD-BABBB02C6200}"/>
              </a:ext>
            </a:extLst>
          </p:cNvPr>
          <p:cNvSpPr/>
          <p:nvPr/>
        </p:nvSpPr>
        <p:spPr bwMode="gray">
          <a:xfrm>
            <a:off x="1261061" y="2820710"/>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3</a:t>
            </a:r>
          </a:p>
        </p:txBody>
      </p:sp>
      <p:sp>
        <p:nvSpPr>
          <p:cNvPr id="33" name="Rechteck 251">
            <a:extLst>
              <a:ext uri="{FF2B5EF4-FFF2-40B4-BE49-F238E27FC236}">
                <a16:creationId xmlns:a16="http://schemas.microsoft.com/office/drawing/2014/main" id="{63F99926-67FE-45DA-AEF7-627F592DFC9E}"/>
              </a:ext>
            </a:extLst>
          </p:cNvPr>
          <p:cNvSpPr/>
          <p:nvPr/>
        </p:nvSpPr>
        <p:spPr bwMode="gray">
          <a:xfrm>
            <a:off x="1261061" y="3159351"/>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4</a:t>
            </a:r>
          </a:p>
        </p:txBody>
      </p:sp>
      <p:sp>
        <p:nvSpPr>
          <p:cNvPr id="34" name="Rechteck 251">
            <a:extLst>
              <a:ext uri="{FF2B5EF4-FFF2-40B4-BE49-F238E27FC236}">
                <a16:creationId xmlns:a16="http://schemas.microsoft.com/office/drawing/2014/main" id="{C0373B88-60AE-4335-B3C3-2DFCC19464F1}"/>
              </a:ext>
            </a:extLst>
          </p:cNvPr>
          <p:cNvSpPr/>
          <p:nvPr/>
        </p:nvSpPr>
        <p:spPr bwMode="gray">
          <a:xfrm>
            <a:off x="1261061" y="3497991"/>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5</a:t>
            </a:r>
          </a:p>
        </p:txBody>
      </p:sp>
      <p:sp>
        <p:nvSpPr>
          <p:cNvPr id="44" name="TextBox 43">
            <a:extLst>
              <a:ext uri="{FF2B5EF4-FFF2-40B4-BE49-F238E27FC236}">
                <a16:creationId xmlns:a16="http://schemas.microsoft.com/office/drawing/2014/main" id="{20A9B9F2-2B5A-4195-98E8-6798C6287653}"/>
              </a:ext>
            </a:extLst>
          </p:cNvPr>
          <p:cNvSpPr txBox="1"/>
          <p:nvPr/>
        </p:nvSpPr>
        <p:spPr>
          <a:xfrm rot="16200000">
            <a:off x="355467" y="2832975"/>
            <a:ext cx="987145" cy="184666"/>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de-DE" sz="1200" b="1" i="0" u="none" strike="noStrike" kern="1200" cap="none" spc="0" normalizeH="0" baseline="0" noProof="0" dirty="0">
                <a:ln>
                  <a:noFill/>
                </a:ln>
                <a:solidFill>
                  <a:srgbClr val="313131"/>
                </a:solidFill>
                <a:effectLst/>
                <a:uLnTx/>
                <a:uFillTx/>
                <a:latin typeface="Verdana"/>
                <a:ea typeface="+mn-ea"/>
                <a:cs typeface="+mn-cs"/>
              </a:rPr>
              <a:t>Top-5</a:t>
            </a:r>
          </a:p>
        </p:txBody>
      </p:sp>
      <p:pic>
        <p:nvPicPr>
          <p:cNvPr id="7" name="Picture 6">
            <a:extLst>
              <a:ext uri="{FF2B5EF4-FFF2-40B4-BE49-F238E27FC236}">
                <a16:creationId xmlns:a16="http://schemas.microsoft.com/office/drawing/2014/main" id="{B72531C4-5D0A-4529-AB71-BA2526C63CCC}"/>
              </a:ext>
            </a:extLst>
          </p:cNvPr>
          <p:cNvPicPr>
            <a:picLocks noChangeAspect="1"/>
          </p:cNvPicPr>
          <p:nvPr/>
        </p:nvPicPr>
        <p:blipFill rotWithShape="1">
          <a:blip r:embed="rId7"/>
          <a:srcRect t="77407" r="54806"/>
          <a:stretch/>
        </p:blipFill>
        <p:spPr>
          <a:xfrm>
            <a:off x="1555547" y="4176698"/>
            <a:ext cx="3443305" cy="1793547"/>
          </a:xfrm>
          <a:prstGeom prst="rect">
            <a:avLst/>
          </a:prstGeom>
        </p:spPr>
      </p:pic>
      <p:pic>
        <p:nvPicPr>
          <p:cNvPr id="5" name="Picture 4">
            <a:extLst>
              <a:ext uri="{FF2B5EF4-FFF2-40B4-BE49-F238E27FC236}">
                <a16:creationId xmlns:a16="http://schemas.microsoft.com/office/drawing/2014/main" id="{9A3D209C-4302-454A-865D-930EBF03239A}"/>
              </a:ext>
            </a:extLst>
          </p:cNvPr>
          <p:cNvPicPr>
            <a:picLocks noChangeAspect="1"/>
          </p:cNvPicPr>
          <p:nvPr/>
        </p:nvPicPr>
        <p:blipFill rotWithShape="1">
          <a:blip r:embed="rId7"/>
          <a:srcRect t="10328" r="51556" b="65829"/>
          <a:stretch/>
        </p:blipFill>
        <p:spPr>
          <a:xfrm>
            <a:off x="1555547" y="1983346"/>
            <a:ext cx="3693441" cy="1826484"/>
          </a:xfrm>
          <a:prstGeom prst="rect">
            <a:avLst/>
          </a:prstGeom>
        </p:spPr>
      </p:pic>
      <p:pic>
        <p:nvPicPr>
          <p:cNvPr id="6" name="Picture 5">
            <a:extLst>
              <a:ext uri="{FF2B5EF4-FFF2-40B4-BE49-F238E27FC236}">
                <a16:creationId xmlns:a16="http://schemas.microsoft.com/office/drawing/2014/main" id="{61499AF9-5D9B-4C4C-A9AE-CE342EC620C8}"/>
              </a:ext>
            </a:extLst>
          </p:cNvPr>
          <p:cNvPicPr>
            <a:picLocks noChangeAspect="1"/>
          </p:cNvPicPr>
          <p:nvPr/>
        </p:nvPicPr>
        <p:blipFill rotWithShape="1">
          <a:blip r:embed="rId7"/>
          <a:srcRect l="10178" t="42756" r="56453" b="53542"/>
          <a:stretch/>
        </p:blipFill>
        <p:spPr>
          <a:xfrm>
            <a:off x="2381865" y="3847411"/>
            <a:ext cx="2452483" cy="287789"/>
          </a:xfrm>
          <a:prstGeom prst="rect">
            <a:avLst/>
          </a:prstGeom>
        </p:spPr>
      </p:pic>
      <p:grpSp>
        <p:nvGrpSpPr>
          <p:cNvPr id="141" name="Group 140">
            <a:extLst>
              <a:ext uri="{FF2B5EF4-FFF2-40B4-BE49-F238E27FC236}">
                <a16:creationId xmlns:a16="http://schemas.microsoft.com/office/drawing/2014/main" id="{FFBE50C5-8B0A-43BE-937E-43CA2D2F2670}"/>
              </a:ext>
            </a:extLst>
          </p:cNvPr>
          <p:cNvGrpSpPr/>
          <p:nvPr/>
        </p:nvGrpSpPr>
        <p:grpSpPr>
          <a:xfrm>
            <a:off x="6854676" y="2143427"/>
            <a:ext cx="4177892" cy="3820435"/>
            <a:chOff x="6854676" y="2079875"/>
            <a:chExt cx="4177892" cy="3883988"/>
          </a:xfrm>
        </p:grpSpPr>
        <p:pic>
          <p:nvPicPr>
            <p:cNvPr id="26" name="Picture 25">
              <a:extLst>
                <a:ext uri="{FF2B5EF4-FFF2-40B4-BE49-F238E27FC236}">
                  <a16:creationId xmlns:a16="http://schemas.microsoft.com/office/drawing/2014/main" id="{EFC16326-A251-4CEC-B79C-17C08C8A660B}"/>
                </a:ext>
              </a:extLst>
            </p:cNvPr>
            <p:cNvPicPr>
              <a:picLocks noChangeAspect="1"/>
            </p:cNvPicPr>
            <p:nvPr/>
          </p:nvPicPr>
          <p:blipFill rotWithShape="1">
            <a:blip r:embed="rId7"/>
            <a:srcRect l="42881" t="12018" b="65989"/>
            <a:stretch/>
          </p:blipFill>
          <p:spPr>
            <a:xfrm>
              <a:off x="6962588" y="2079875"/>
              <a:ext cx="4059416" cy="1693600"/>
            </a:xfrm>
            <a:prstGeom prst="rect">
              <a:avLst/>
            </a:prstGeom>
          </p:spPr>
        </p:pic>
        <p:pic>
          <p:nvPicPr>
            <p:cNvPr id="55" name="Picture 54">
              <a:extLst>
                <a:ext uri="{FF2B5EF4-FFF2-40B4-BE49-F238E27FC236}">
                  <a16:creationId xmlns:a16="http://schemas.microsoft.com/office/drawing/2014/main" id="{5D7DA2AD-2CD1-438B-A22B-F03D422BE8A5}"/>
                </a:ext>
              </a:extLst>
            </p:cNvPr>
            <p:cNvPicPr>
              <a:picLocks noChangeAspect="1"/>
            </p:cNvPicPr>
            <p:nvPr/>
          </p:nvPicPr>
          <p:blipFill rotWithShape="1">
            <a:blip r:embed="rId8"/>
            <a:srcRect l="41398" t="78099"/>
            <a:stretch/>
          </p:blipFill>
          <p:spPr>
            <a:xfrm>
              <a:off x="6854678" y="4248714"/>
              <a:ext cx="4177890" cy="1715149"/>
            </a:xfrm>
            <a:prstGeom prst="rect">
              <a:avLst/>
            </a:prstGeom>
          </p:spPr>
        </p:pic>
        <p:pic>
          <p:nvPicPr>
            <p:cNvPr id="28" name="Picture 27">
              <a:extLst>
                <a:ext uri="{FF2B5EF4-FFF2-40B4-BE49-F238E27FC236}">
                  <a16:creationId xmlns:a16="http://schemas.microsoft.com/office/drawing/2014/main" id="{B0CEB1E7-E8C6-4FDD-909A-258334130409}"/>
                </a:ext>
              </a:extLst>
            </p:cNvPr>
            <p:cNvPicPr>
              <a:picLocks noChangeAspect="1"/>
            </p:cNvPicPr>
            <p:nvPr/>
          </p:nvPicPr>
          <p:blipFill rotWithShape="1">
            <a:blip r:embed="rId7"/>
            <a:srcRect l="41363" t="51371" r="1" b="45175"/>
            <a:stretch/>
          </p:blipFill>
          <p:spPr>
            <a:xfrm>
              <a:off x="6854676" y="3869277"/>
              <a:ext cx="4167327" cy="265923"/>
            </a:xfrm>
            <a:prstGeom prst="rect">
              <a:avLst/>
            </a:prstGeom>
          </p:spPr>
        </p:pic>
      </p:grpSp>
      <p:sp>
        <p:nvSpPr>
          <p:cNvPr id="122" name="Rechteck 251">
            <a:extLst>
              <a:ext uri="{FF2B5EF4-FFF2-40B4-BE49-F238E27FC236}">
                <a16:creationId xmlns:a16="http://schemas.microsoft.com/office/drawing/2014/main" id="{84F7F222-7E2B-4A06-BE61-5213E5445BC8}"/>
              </a:ext>
            </a:extLst>
          </p:cNvPr>
          <p:cNvSpPr/>
          <p:nvPr/>
        </p:nvSpPr>
        <p:spPr bwMode="gray">
          <a:xfrm>
            <a:off x="7151178" y="2113995"/>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1</a:t>
            </a:r>
          </a:p>
        </p:txBody>
      </p:sp>
      <p:sp>
        <p:nvSpPr>
          <p:cNvPr id="123" name="Rechteck 251">
            <a:extLst>
              <a:ext uri="{FF2B5EF4-FFF2-40B4-BE49-F238E27FC236}">
                <a16:creationId xmlns:a16="http://schemas.microsoft.com/office/drawing/2014/main" id="{2BDFA984-CA0F-4191-944E-1A3CC61207BD}"/>
              </a:ext>
            </a:extLst>
          </p:cNvPr>
          <p:cNvSpPr/>
          <p:nvPr/>
        </p:nvSpPr>
        <p:spPr bwMode="gray">
          <a:xfrm>
            <a:off x="7151178" y="2460208"/>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2</a:t>
            </a:r>
          </a:p>
        </p:txBody>
      </p:sp>
      <p:sp>
        <p:nvSpPr>
          <p:cNvPr id="124" name="Rechteck 251">
            <a:extLst>
              <a:ext uri="{FF2B5EF4-FFF2-40B4-BE49-F238E27FC236}">
                <a16:creationId xmlns:a16="http://schemas.microsoft.com/office/drawing/2014/main" id="{1EC582DD-F495-4DEC-ACF6-95469E631216}"/>
              </a:ext>
            </a:extLst>
          </p:cNvPr>
          <p:cNvSpPr/>
          <p:nvPr/>
        </p:nvSpPr>
        <p:spPr bwMode="gray">
          <a:xfrm>
            <a:off x="7151178" y="2806421"/>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3</a:t>
            </a:r>
          </a:p>
        </p:txBody>
      </p:sp>
      <p:sp>
        <p:nvSpPr>
          <p:cNvPr id="125" name="Rechteck 251">
            <a:extLst>
              <a:ext uri="{FF2B5EF4-FFF2-40B4-BE49-F238E27FC236}">
                <a16:creationId xmlns:a16="http://schemas.microsoft.com/office/drawing/2014/main" id="{0DC39E1E-452E-4C99-8DDD-70BE0F7DCC70}"/>
              </a:ext>
            </a:extLst>
          </p:cNvPr>
          <p:cNvSpPr/>
          <p:nvPr/>
        </p:nvSpPr>
        <p:spPr bwMode="gray">
          <a:xfrm>
            <a:off x="7151178" y="3152634"/>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4</a:t>
            </a:r>
          </a:p>
        </p:txBody>
      </p:sp>
      <p:sp>
        <p:nvSpPr>
          <p:cNvPr id="126" name="Rechteck 251">
            <a:extLst>
              <a:ext uri="{FF2B5EF4-FFF2-40B4-BE49-F238E27FC236}">
                <a16:creationId xmlns:a16="http://schemas.microsoft.com/office/drawing/2014/main" id="{DBEF56FA-FEF0-4776-92F6-DCCF8722493E}"/>
              </a:ext>
            </a:extLst>
          </p:cNvPr>
          <p:cNvSpPr/>
          <p:nvPr/>
        </p:nvSpPr>
        <p:spPr bwMode="gray">
          <a:xfrm>
            <a:off x="7151178" y="3498847"/>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5</a:t>
            </a:r>
          </a:p>
        </p:txBody>
      </p:sp>
      <p:sp>
        <p:nvSpPr>
          <p:cNvPr id="127" name="TextBox 126">
            <a:extLst>
              <a:ext uri="{FF2B5EF4-FFF2-40B4-BE49-F238E27FC236}">
                <a16:creationId xmlns:a16="http://schemas.microsoft.com/office/drawing/2014/main" id="{C648DFC9-333D-47D8-8CFE-668191C62091}"/>
              </a:ext>
            </a:extLst>
          </p:cNvPr>
          <p:cNvSpPr txBox="1"/>
          <p:nvPr/>
        </p:nvSpPr>
        <p:spPr>
          <a:xfrm rot="16200000">
            <a:off x="6268771" y="2838611"/>
            <a:ext cx="987145" cy="184666"/>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de-DE" sz="1200" b="1" i="0" u="none" strike="noStrike" kern="1200" cap="none" spc="0" normalizeH="0" baseline="0" noProof="0" dirty="0">
                <a:ln>
                  <a:noFill/>
                </a:ln>
                <a:solidFill>
                  <a:srgbClr val="313131"/>
                </a:solidFill>
                <a:effectLst/>
                <a:uLnTx/>
                <a:uFillTx/>
                <a:latin typeface="Verdana"/>
                <a:ea typeface="+mn-ea"/>
                <a:cs typeface="+mn-cs"/>
              </a:rPr>
              <a:t>Top-5</a:t>
            </a:r>
          </a:p>
        </p:txBody>
      </p:sp>
      <p:sp>
        <p:nvSpPr>
          <p:cNvPr id="129" name="Rechteck 251">
            <a:extLst>
              <a:ext uri="{FF2B5EF4-FFF2-40B4-BE49-F238E27FC236}">
                <a16:creationId xmlns:a16="http://schemas.microsoft.com/office/drawing/2014/main" id="{817CCBB3-A81A-438E-839B-5A7078C6C198}"/>
              </a:ext>
            </a:extLst>
          </p:cNvPr>
          <p:cNvSpPr/>
          <p:nvPr/>
        </p:nvSpPr>
        <p:spPr bwMode="gray">
          <a:xfrm>
            <a:off x="1246699" y="4256322"/>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15</a:t>
            </a:r>
          </a:p>
        </p:txBody>
      </p:sp>
      <p:sp>
        <p:nvSpPr>
          <p:cNvPr id="130" name="Rechteck 251">
            <a:extLst>
              <a:ext uri="{FF2B5EF4-FFF2-40B4-BE49-F238E27FC236}">
                <a16:creationId xmlns:a16="http://schemas.microsoft.com/office/drawing/2014/main" id="{DA0E34C8-7315-444F-9558-21A75AB47CD9}"/>
              </a:ext>
            </a:extLst>
          </p:cNvPr>
          <p:cNvSpPr/>
          <p:nvPr/>
        </p:nvSpPr>
        <p:spPr bwMode="gray">
          <a:xfrm>
            <a:off x="1246699" y="4606844"/>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16</a:t>
            </a:r>
          </a:p>
        </p:txBody>
      </p:sp>
      <p:sp>
        <p:nvSpPr>
          <p:cNvPr id="131" name="Rechteck 251">
            <a:extLst>
              <a:ext uri="{FF2B5EF4-FFF2-40B4-BE49-F238E27FC236}">
                <a16:creationId xmlns:a16="http://schemas.microsoft.com/office/drawing/2014/main" id="{4DDC56F5-445C-4FE4-B5B6-C59623BDEFF0}"/>
              </a:ext>
            </a:extLst>
          </p:cNvPr>
          <p:cNvSpPr/>
          <p:nvPr/>
        </p:nvSpPr>
        <p:spPr bwMode="gray">
          <a:xfrm>
            <a:off x="1246699" y="4957366"/>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17</a:t>
            </a:r>
          </a:p>
        </p:txBody>
      </p:sp>
      <p:sp>
        <p:nvSpPr>
          <p:cNvPr id="132" name="Rechteck 251">
            <a:extLst>
              <a:ext uri="{FF2B5EF4-FFF2-40B4-BE49-F238E27FC236}">
                <a16:creationId xmlns:a16="http://schemas.microsoft.com/office/drawing/2014/main" id="{3720EAAA-A293-48B3-A0CC-122847F80384}"/>
              </a:ext>
            </a:extLst>
          </p:cNvPr>
          <p:cNvSpPr/>
          <p:nvPr/>
        </p:nvSpPr>
        <p:spPr bwMode="gray">
          <a:xfrm>
            <a:off x="1246699" y="5307888"/>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18</a:t>
            </a:r>
          </a:p>
        </p:txBody>
      </p:sp>
      <p:sp>
        <p:nvSpPr>
          <p:cNvPr id="133" name="Rechteck 251">
            <a:extLst>
              <a:ext uri="{FF2B5EF4-FFF2-40B4-BE49-F238E27FC236}">
                <a16:creationId xmlns:a16="http://schemas.microsoft.com/office/drawing/2014/main" id="{B58001AD-A9FC-4448-B6B0-A3C1242A5A08}"/>
              </a:ext>
            </a:extLst>
          </p:cNvPr>
          <p:cNvSpPr/>
          <p:nvPr/>
        </p:nvSpPr>
        <p:spPr bwMode="gray">
          <a:xfrm>
            <a:off x="1246699" y="5658409"/>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19</a:t>
            </a:r>
          </a:p>
        </p:txBody>
      </p:sp>
      <p:sp>
        <p:nvSpPr>
          <p:cNvPr id="134" name="Rechteck 251">
            <a:extLst>
              <a:ext uri="{FF2B5EF4-FFF2-40B4-BE49-F238E27FC236}">
                <a16:creationId xmlns:a16="http://schemas.microsoft.com/office/drawing/2014/main" id="{B2805152-C0B5-40AC-8210-930DCA5E0DDB}"/>
              </a:ext>
            </a:extLst>
          </p:cNvPr>
          <p:cNvSpPr/>
          <p:nvPr/>
        </p:nvSpPr>
        <p:spPr bwMode="gray">
          <a:xfrm>
            <a:off x="7151178" y="4256322"/>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15</a:t>
            </a:r>
          </a:p>
        </p:txBody>
      </p:sp>
      <p:sp>
        <p:nvSpPr>
          <p:cNvPr id="135" name="Rechteck 251">
            <a:extLst>
              <a:ext uri="{FF2B5EF4-FFF2-40B4-BE49-F238E27FC236}">
                <a16:creationId xmlns:a16="http://schemas.microsoft.com/office/drawing/2014/main" id="{4E0A6D5C-77AF-473A-91AE-62908AEF6245}"/>
              </a:ext>
            </a:extLst>
          </p:cNvPr>
          <p:cNvSpPr/>
          <p:nvPr/>
        </p:nvSpPr>
        <p:spPr bwMode="gray">
          <a:xfrm>
            <a:off x="7151178" y="4607587"/>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16</a:t>
            </a:r>
          </a:p>
        </p:txBody>
      </p:sp>
      <p:sp>
        <p:nvSpPr>
          <p:cNvPr id="136" name="Rechteck 251">
            <a:extLst>
              <a:ext uri="{FF2B5EF4-FFF2-40B4-BE49-F238E27FC236}">
                <a16:creationId xmlns:a16="http://schemas.microsoft.com/office/drawing/2014/main" id="{1B99A291-6E9B-461F-A33B-B922BB1B65E4}"/>
              </a:ext>
            </a:extLst>
          </p:cNvPr>
          <p:cNvSpPr/>
          <p:nvPr/>
        </p:nvSpPr>
        <p:spPr bwMode="gray">
          <a:xfrm>
            <a:off x="7151178" y="4958852"/>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17</a:t>
            </a:r>
          </a:p>
        </p:txBody>
      </p:sp>
      <p:sp>
        <p:nvSpPr>
          <p:cNvPr id="137" name="Rechteck 251">
            <a:extLst>
              <a:ext uri="{FF2B5EF4-FFF2-40B4-BE49-F238E27FC236}">
                <a16:creationId xmlns:a16="http://schemas.microsoft.com/office/drawing/2014/main" id="{EFC7B765-8A49-4C6B-9421-0172CF986231}"/>
              </a:ext>
            </a:extLst>
          </p:cNvPr>
          <p:cNvSpPr/>
          <p:nvPr/>
        </p:nvSpPr>
        <p:spPr bwMode="gray">
          <a:xfrm>
            <a:off x="7151178" y="5310117"/>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18</a:t>
            </a:r>
          </a:p>
        </p:txBody>
      </p:sp>
      <p:sp>
        <p:nvSpPr>
          <p:cNvPr id="138" name="Rechteck 251">
            <a:extLst>
              <a:ext uri="{FF2B5EF4-FFF2-40B4-BE49-F238E27FC236}">
                <a16:creationId xmlns:a16="http://schemas.microsoft.com/office/drawing/2014/main" id="{F018299D-B4A3-4552-83D1-7247E222F6D0}"/>
              </a:ext>
            </a:extLst>
          </p:cNvPr>
          <p:cNvSpPr/>
          <p:nvPr/>
        </p:nvSpPr>
        <p:spPr bwMode="gray">
          <a:xfrm>
            <a:off x="7151178" y="5661380"/>
            <a:ext cx="216000" cy="216000"/>
          </a:xfrm>
          <a:prstGeom prst="round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784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Verdana"/>
                <a:ea typeface="+mn-ea"/>
                <a:cs typeface="+mn-cs"/>
              </a:rPr>
              <a:t>19</a:t>
            </a:r>
          </a:p>
        </p:txBody>
      </p:sp>
      <p:pic>
        <p:nvPicPr>
          <p:cNvPr id="146" name="Picture 145">
            <a:extLst>
              <a:ext uri="{FF2B5EF4-FFF2-40B4-BE49-F238E27FC236}">
                <a16:creationId xmlns:a16="http://schemas.microsoft.com/office/drawing/2014/main" id="{BF33F5C2-D905-41C1-98D7-6BE576575AF1}"/>
              </a:ext>
            </a:extLst>
          </p:cNvPr>
          <p:cNvPicPr>
            <a:picLocks noChangeAspect="1"/>
          </p:cNvPicPr>
          <p:nvPr/>
        </p:nvPicPr>
        <p:blipFill rotWithShape="1">
          <a:blip r:embed="rId7"/>
          <a:srcRect l="64" t="42756" r="89922" b="54170"/>
          <a:stretch/>
        </p:blipFill>
        <p:spPr>
          <a:xfrm>
            <a:off x="1503220" y="3849668"/>
            <a:ext cx="736010" cy="239029"/>
          </a:xfrm>
          <a:prstGeom prst="rect">
            <a:avLst/>
          </a:prstGeom>
        </p:spPr>
      </p:pic>
    </p:spTree>
    <p:extLst>
      <p:ext uri="{BB962C8B-B14F-4D97-AF65-F5344CB8AC3E}">
        <p14:creationId xmlns:p14="http://schemas.microsoft.com/office/powerpoint/2010/main" val="43732459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4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7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2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2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2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2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2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2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34"/>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3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3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3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38"/>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77" grpId="0"/>
      <p:bldP spid="30" grpId="0" animBg="1"/>
      <p:bldP spid="31" grpId="0" animBg="1"/>
      <p:bldP spid="32" grpId="0" animBg="1"/>
      <p:bldP spid="33" grpId="0" animBg="1"/>
      <p:bldP spid="34" grpId="0" animBg="1"/>
      <p:bldP spid="44" grpId="0"/>
      <p:bldP spid="122" grpId="0" animBg="1"/>
      <p:bldP spid="123" grpId="0" animBg="1"/>
      <p:bldP spid="124" grpId="0" animBg="1"/>
      <p:bldP spid="125" grpId="0" animBg="1"/>
      <p:bldP spid="126" grpId="0" animBg="1"/>
      <p:bldP spid="127" grpId="0"/>
      <p:bldP spid="129" grpId="0" animBg="1"/>
      <p:bldP spid="130" grpId="0" animBg="1"/>
      <p:bldP spid="131" grpId="0" animBg="1"/>
      <p:bldP spid="132" grpId="0" animBg="1"/>
      <p:bldP spid="133" grpId="0" animBg="1"/>
      <p:bldP spid="134" grpId="0" animBg="1"/>
      <p:bldP spid="135" grpId="0" animBg="1"/>
      <p:bldP spid="136" grpId="0" animBg="1"/>
      <p:bldP spid="137" grpId="0" animBg="1"/>
      <p:bldP spid="13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768651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93" imgH="493" progId="TCLayout.ActiveDocument.1">
                  <p:embed/>
                </p:oleObj>
              </mc:Choice>
              <mc:Fallback>
                <p:oleObj name="think-cell Folie" r:id="rId5" imgW="493" imgH="493"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buFont typeface="Wingdings 2" pitchFamily="18" charset="2"/>
              <a:buNone/>
            </a:pPr>
            <a:endParaRPr lang="en-GB" sz="1000" dirty="0">
              <a:solidFill>
                <a:schemeClr val="bg1"/>
              </a:solidFill>
              <a:latin typeface="Verdana" panose="020B0604030504040204" pitchFamily="34" charset="0"/>
              <a:sym typeface="Verdana" panose="020B0604030504040204" pitchFamily="34" charset="0"/>
            </a:endParaRPr>
          </a:p>
        </p:txBody>
      </p:sp>
      <p:sp>
        <p:nvSpPr>
          <p:cNvPr id="59" name="Rectangle 58"/>
          <p:cNvSpPr/>
          <p:nvPr/>
        </p:nvSpPr>
        <p:spPr bwMode="gray">
          <a:xfrm>
            <a:off x="0" y="1449901"/>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60" name="Rectangle 59"/>
          <p:cNvSpPr/>
          <p:nvPr/>
        </p:nvSpPr>
        <p:spPr bwMode="gray">
          <a:xfrm>
            <a:off x="0" y="6055925"/>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65" name="Group 64"/>
          <p:cNvGrpSpPr/>
          <p:nvPr/>
        </p:nvGrpSpPr>
        <p:grpSpPr>
          <a:xfrm flipH="1">
            <a:off x="10319649" y="6223855"/>
            <a:ext cx="1872351" cy="233523"/>
            <a:chOff x="0" y="1112402"/>
            <a:chExt cx="1872351" cy="233523"/>
          </a:xfrm>
        </p:grpSpPr>
        <p:sp>
          <p:nvSpPr>
            <p:cNvPr id="66" name="Freeform 65"/>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cxnSp>
          <p:nvCxnSpPr>
            <p:cNvPr id="67" name="Straight Connector 66"/>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sp>
        <p:nvSpPr>
          <p:cNvPr id="13" name="Title 1"/>
          <p:cNvSpPr>
            <a:spLocks noGrp="1"/>
          </p:cNvSpPr>
          <p:nvPr>
            <p:ph type="title"/>
          </p:nvPr>
        </p:nvSpPr>
        <p:spPr/>
        <p:txBody>
          <a:bodyPr vert="horz"/>
          <a:lstStyle/>
          <a:p>
            <a:r>
              <a:rPr lang="en-GB" dirty="0"/>
              <a:t>Malgré des </a:t>
            </a:r>
            <a:r>
              <a:rPr lang="en-GB" dirty="0" err="1"/>
              <a:t>différences</a:t>
            </a:r>
            <a:r>
              <a:rPr lang="en-GB" dirty="0"/>
              <a:t> </a:t>
            </a:r>
            <a:r>
              <a:rPr lang="en-GB" dirty="0" err="1"/>
              <a:t>selon</a:t>
            </a:r>
            <a:r>
              <a:rPr lang="en-GB" dirty="0"/>
              <a:t> les pays, </a:t>
            </a:r>
            <a:r>
              <a:rPr lang="en-GB" dirty="0" err="1"/>
              <a:t>plusieurs</a:t>
            </a:r>
            <a:r>
              <a:rPr lang="en-GB" dirty="0"/>
              <a:t> </a:t>
            </a:r>
            <a:r>
              <a:rPr lang="en-GB" dirty="0" err="1"/>
              <a:t>facteurs</a:t>
            </a:r>
            <a:r>
              <a:rPr lang="en-GB" dirty="0"/>
              <a:t> </a:t>
            </a:r>
            <a:r>
              <a:rPr lang="en-GB" dirty="0" err="1"/>
              <a:t>communs</a:t>
            </a:r>
            <a:r>
              <a:rPr lang="en-GB" dirty="0"/>
              <a:t> sur la </a:t>
            </a:r>
            <a:r>
              <a:rPr lang="en-GB" dirty="0" err="1"/>
              <a:t>consommation</a:t>
            </a:r>
            <a:r>
              <a:rPr lang="en-GB" dirty="0"/>
              <a:t> du fitness </a:t>
            </a:r>
            <a:r>
              <a:rPr lang="en-GB" dirty="0" err="1"/>
              <a:t>ont</a:t>
            </a:r>
            <a:r>
              <a:rPr lang="en-GB" dirty="0"/>
              <a:t> </a:t>
            </a:r>
            <a:r>
              <a:rPr lang="en-GB" dirty="0" err="1"/>
              <a:t>été</a:t>
            </a:r>
            <a:r>
              <a:rPr lang="en-GB" dirty="0"/>
              <a:t> </a:t>
            </a:r>
            <a:r>
              <a:rPr lang="en-GB" dirty="0" err="1"/>
              <a:t>identifiés</a:t>
            </a:r>
            <a:endParaRPr lang="en-GB" baseline="30000" noProof="0" dirty="0">
              <a:solidFill>
                <a:schemeClr val="bg1"/>
              </a:solidFill>
            </a:endParaRPr>
          </a:p>
        </p:txBody>
      </p:sp>
      <p:grpSp>
        <p:nvGrpSpPr>
          <p:cNvPr id="31" name="Group 30">
            <a:extLst>
              <a:ext uri="{FF2B5EF4-FFF2-40B4-BE49-F238E27FC236}">
                <a16:creationId xmlns:a16="http://schemas.microsoft.com/office/drawing/2014/main" id="{3759C6C7-19F4-4DEE-A1F7-F8ABC23D0C17}"/>
              </a:ext>
            </a:extLst>
          </p:cNvPr>
          <p:cNvGrpSpPr/>
          <p:nvPr/>
        </p:nvGrpSpPr>
        <p:grpSpPr>
          <a:xfrm>
            <a:off x="0" y="1112402"/>
            <a:ext cx="1872351" cy="233523"/>
            <a:chOff x="0" y="1112402"/>
            <a:chExt cx="1872351" cy="233523"/>
          </a:xfrm>
        </p:grpSpPr>
        <p:sp>
          <p:nvSpPr>
            <p:cNvPr id="32" name="Freeform 61">
              <a:extLst>
                <a:ext uri="{FF2B5EF4-FFF2-40B4-BE49-F238E27FC236}">
                  <a16:creationId xmlns:a16="http://schemas.microsoft.com/office/drawing/2014/main" id="{7796911A-2C4D-4315-9DB1-65721C0404BB}"/>
                </a:ext>
              </a:extLst>
            </p:cNvPr>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cxnSp>
          <p:nvCxnSpPr>
            <p:cNvPr id="33" name="Straight Connector 32">
              <a:extLst>
                <a:ext uri="{FF2B5EF4-FFF2-40B4-BE49-F238E27FC236}">
                  <a16:creationId xmlns:a16="http://schemas.microsoft.com/office/drawing/2014/main" id="{2F3E5D96-4119-4404-8719-414241E4368D}"/>
                </a:ext>
              </a:extLst>
            </p:cNvPr>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A2F95A1-71DD-412D-BD9B-870E26B3B4A3}"/>
                </a:ext>
              </a:extLst>
            </p:cNvPr>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sp>
        <p:nvSpPr>
          <p:cNvPr id="333" name="TextBox 90">
            <a:extLst>
              <a:ext uri="{FF2B5EF4-FFF2-40B4-BE49-F238E27FC236}">
                <a16:creationId xmlns:a16="http://schemas.microsoft.com/office/drawing/2014/main" id="{1FCB6C25-4012-48B2-94CF-0A84960D8E6C}"/>
              </a:ext>
            </a:extLst>
          </p:cNvPr>
          <p:cNvSpPr txBox="1"/>
          <p:nvPr/>
        </p:nvSpPr>
        <p:spPr>
          <a:xfrm>
            <a:off x="480878" y="1671675"/>
            <a:ext cx="7538409" cy="355097"/>
          </a:xfrm>
          <a:prstGeom prst="rect">
            <a:avLst/>
          </a:prstGeom>
          <a:noFill/>
        </p:spPr>
        <p:txBody>
          <a:bodyPr wrap="square" lIns="0" tIns="0" rIns="0" bIns="0" rtlCol="0">
            <a:spAutoFit/>
          </a:bodyPr>
          <a:lstStyle/>
          <a:p>
            <a:pPr eaLnBrk="0" fontAlgn="base" hangingPunct="0">
              <a:lnSpc>
                <a:spcPct val="110000"/>
              </a:lnSpc>
              <a:spcBef>
                <a:spcPct val="0"/>
              </a:spcBef>
              <a:spcAft>
                <a:spcPct val="0"/>
              </a:spcAft>
            </a:pPr>
            <a:r>
              <a:rPr lang="en-US" sz="1100" b="1" dirty="0" err="1">
                <a:solidFill>
                  <a:schemeClr val="bg1"/>
                </a:solidFill>
                <a:latin typeface="+mj-lt"/>
              </a:rPr>
              <a:t>Enquête</a:t>
            </a:r>
            <a:r>
              <a:rPr lang="en-US" sz="1100" b="1" dirty="0">
                <a:solidFill>
                  <a:schemeClr val="bg1"/>
                </a:solidFill>
                <a:latin typeface="+mj-lt"/>
              </a:rPr>
              <a:t> EuropeActive des </a:t>
            </a:r>
            <a:r>
              <a:rPr lang="en-US" sz="1100" b="1" dirty="0" err="1">
                <a:solidFill>
                  <a:schemeClr val="bg1"/>
                </a:solidFill>
                <a:latin typeface="+mj-lt"/>
              </a:rPr>
              <a:t>consommateurs</a:t>
            </a:r>
            <a:r>
              <a:rPr lang="en-US" sz="1100" b="1" dirty="0">
                <a:solidFill>
                  <a:schemeClr val="bg1"/>
                </a:solidFill>
                <a:latin typeface="+mj-lt"/>
              </a:rPr>
              <a:t>:</a:t>
            </a:r>
            <a:br>
              <a:rPr lang="en-US" sz="1100" dirty="0">
                <a:solidFill>
                  <a:schemeClr val="bg1"/>
                </a:solidFill>
                <a:latin typeface="+mj-lt"/>
              </a:rPr>
            </a:br>
            <a:r>
              <a:rPr lang="en-US" sz="1100" dirty="0" err="1">
                <a:solidFill>
                  <a:schemeClr val="bg1"/>
                </a:solidFill>
                <a:latin typeface="+mj-lt"/>
              </a:rPr>
              <a:t>Facteurs</a:t>
            </a:r>
            <a:r>
              <a:rPr lang="en-US" sz="1100" dirty="0">
                <a:solidFill>
                  <a:schemeClr val="bg1"/>
                </a:solidFill>
                <a:latin typeface="+mj-lt"/>
              </a:rPr>
              <a:t> </a:t>
            </a:r>
            <a:r>
              <a:rPr lang="en-US" sz="1100" dirty="0" err="1">
                <a:solidFill>
                  <a:schemeClr val="bg1"/>
                </a:solidFill>
                <a:latin typeface="+mj-lt"/>
              </a:rPr>
              <a:t>communs</a:t>
            </a:r>
            <a:r>
              <a:rPr lang="en-US" sz="1100" dirty="0">
                <a:solidFill>
                  <a:schemeClr val="bg1"/>
                </a:solidFill>
                <a:latin typeface="+mj-lt"/>
              </a:rPr>
              <a:t> de comment et </a:t>
            </a:r>
            <a:r>
              <a:rPr lang="en-US" sz="1100" dirty="0" err="1">
                <a:solidFill>
                  <a:schemeClr val="bg1"/>
                </a:solidFill>
                <a:latin typeface="+mj-lt"/>
              </a:rPr>
              <a:t>quand</a:t>
            </a:r>
            <a:r>
              <a:rPr lang="en-US" sz="1100" dirty="0">
                <a:solidFill>
                  <a:schemeClr val="bg1"/>
                </a:solidFill>
                <a:latin typeface="+mj-lt"/>
              </a:rPr>
              <a:t> les </a:t>
            </a:r>
            <a:r>
              <a:rPr lang="en-US" sz="1100" dirty="0" err="1">
                <a:solidFill>
                  <a:schemeClr val="bg1"/>
                </a:solidFill>
                <a:latin typeface="+mj-lt"/>
              </a:rPr>
              <a:t>européens</a:t>
            </a:r>
            <a:r>
              <a:rPr lang="en-US" sz="1100" dirty="0">
                <a:solidFill>
                  <a:schemeClr val="bg1"/>
                </a:solidFill>
                <a:latin typeface="+mj-lt"/>
              </a:rPr>
              <a:t> </a:t>
            </a:r>
            <a:r>
              <a:rPr lang="en-US" sz="1100" dirty="0" err="1">
                <a:solidFill>
                  <a:schemeClr val="bg1"/>
                </a:solidFill>
                <a:latin typeface="+mj-lt"/>
              </a:rPr>
              <a:t>pratiquent</a:t>
            </a:r>
            <a:r>
              <a:rPr lang="en-US" sz="1100" dirty="0">
                <a:solidFill>
                  <a:schemeClr val="bg1"/>
                </a:solidFill>
                <a:latin typeface="+mj-lt"/>
              </a:rPr>
              <a:t> le fitness</a:t>
            </a:r>
          </a:p>
        </p:txBody>
      </p:sp>
      <p:sp>
        <p:nvSpPr>
          <p:cNvPr id="20" name="TextBox 96">
            <a:extLst>
              <a:ext uri="{FF2B5EF4-FFF2-40B4-BE49-F238E27FC236}">
                <a16:creationId xmlns:a16="http://schemas.microsoft.com/office/drawing/2014/main" id="{47829553-52DF-46F2-B1AB-8B4D95C60828}"/>
              </a:ext>
            </a:extLst>
          </p:cNvPr>
          <p:cNvSpPr txBox="1"/>
          <p:nvPr/>
        </p:nvSpPr>
        <p:spPr>
          <a:xfrm>
            <a:off x="469900" y="6175392"/>
            <a:ext cx="10779991" cy="258276"/>
          </a:xfrm>
          <a:prstGeom prst="rect">
            <a:avLst/>
          </a:prstGeom>
          <a:noFill/>
        </p:spPr>
        <p:txBody>
          <a:bodyPr wrap="square" lIns="0" tIns="0" rIns="0" bIns="0" rtlCol="0" anchor="b">
            <a:spAutoFit/>
          </a:bodyPr>
          <a:lstStyle/>
          <a:p>
            <a:pPr eaLnBrk="0" fontAlgn="base" hangingPunct="0">
              <a:lnSpc>
                <a:spcPct val="110000"/>
              </a:lnSpc>
              <a:spcBef>
                <a:spcPct val="0"/>
              </a:spcBef>
              <a:spcAft>
                <a:spcPct val="0"/>
              </a:spcAft>
            </a:pPr>
            <a:br>
              <a:rPr lang="en-GB" sz="800" dirty="0">
                <a:solidFill>
                  <a:schemeClr val="bg1"/>
                </a:solidFill>
                <a:latin typeface="+mj-lt"/>
              </a:rPr>
            </a:br>
            <a:r>
              <a:rPr lang="en-GB" sz="800" dirty="0">
                <a:solidFill>
                  <a:schemeClr val="bg1"/>
                </a:solidFill>
                <a:latin typeface="+mj-lt"/>
              </a:rPr>
              <a:t>Source: EuropeActive Consumer Survey 2022.</a:t>
            </a:r>
          </a:p>
        </p:txBody>
      </p:sp>
      <p:grpSp>
        <p:nvGrpSpPr>
          <p:cNvPr id="5" name="Gruppieren 4">
            <a:extLst>
              <a:ext uri="{FF2B5EF4-FFF2-40B4-BE49-F238E27FC236}">
                <a16:creationId xmlns:a16="http://schemas.microsoft.com/office/drawing/2014/main" id="{CE0B8292-9B64-49A4-9650-BB1557C56DC5}"/>
              </a:ext>
            </a:extLst>
          </p:cNvPr>
          <p:cNvGrpSpPr/>
          <p:nvPr/>
        </p:nvGrpSpPr>
        <p:grpSpPr>
          <a:xfrm>
            <a:off x="1269759" y="2083218"/>
            <a:ext cx="2701895" cy="2038334"/>
            <a:chOff x="1269759" y="2083218"/>
            <a:chExt cx="2701895" cy="2038334"/>
          </a:xfrm>
        </p:grpSpPr>
        <p:pic>
          <p:nvPicPr>
            <p:cNvPr id="6" name="Grafik 5">
              <a:extLst>
                <a:ext uri="{FF2B5EF4-FFF2-40B4-BE49-F238E27FC236}">
                  <a16:creationId xmlns:a16="http://schemas.microsoft.com/office/drawing/2014/main" id="{5049D42D-DA83-4686-852A-73C97123B961}"/>
                </a:ext>
              </a:extLst>
            </p:cNvPr>
            <p:cNvPicPr>
              <a:picLocks noChangeAspect="1"/>
            </p:cNvPicPr>
            <p:nvPr/>
          </p:nvPicPr>
          <p:blipFill rotWithShape="1">
            <a:blip r:embed="rId7"/>
            <a:srcRect r="70378" b="72836"/>
            <a:stretch/>
          </p:blipFill>
          <p:spPr>
            <a:xfrm>
              <a:off x="1269759" y="2083218"/>
              <a:ext cx="2148840" cy="1460323"/>
            </a:xfrm>
            <a:prstGeom prst="rect">
              <a:avLst/>
            </a:prstGeom>
          </p:spPr>
        </p:pic>
        <p:sp>
          <p:nvSpPr>
            <p:cNvPr id="3" name="TextBox 2">
              <a:extLst>
                <a:ext uri="{FF2B5EF4-FFF2-40B4-BE49-F238E27FC236}">
                  <a16:creationId xmlns:a16="http://schemas.microsoft.com/office/drawing/2014/main" id="{297236A3-FD5D-48FE-B0A8-F93AB86A6B8B}"/>
                </a:ext>
              </a:extLst>
            </p:cNvPr>
            <p:cNvSpPr txBox="1"/>
            <p:nvPr/>
          </p:nvSpPr>
          <p:spPr>
            <a:xfrm>
              <a:off x="1343654" y="3613721"/>
              <a:ext cx="2628000" cy="507831"/>
            </a:xfrm>
            <a:prstGeom prst="rect">
              <a:avLst/>
            </a:prstGeom>
            <a:noFill/>
          </p:spPr>
          <p:txBody>
            <a:bodyPr wrap="square" lIns="0" tIns="0" rIns="0" bIns="0" rtlCol="0">
              <a:spAutoFit/>
            </a:bodyPr>
            <a:lstStyle/>
            <a:p>
              <a:pPr>
                <a:spcBef>
                  <a:spcPts val="600"/>
                </a:spcBef>
                <a:buSzPct val="100000"/>
              </a:pPr>
              <a:r>
                <a:rPr lang="en-US" sz="1100" dirty="0" err="1">
                  <a:solidFill>
                    <a:schemeClr val="bg1"/>
                  </a:solidFill>
                </a:rPr>
                <a:t>En</a:t>
              </a:r>
              <a:r>
                <a:rPr lang="en-US" sz="1100" dirty="0">
                  <a:solidFill>
                    <a:schemeClr val="bg1"/>
                  </a:solidFill>
                </a:rPr>
                <a:t> </a:t>
              </a:r>
              <a:r>
                <a:rPr lang="en-US" sz="1100" dirty="0" err="1">
                  <a:solidFill>
                    <a:schemeClr val="bg1"/>
                  </a:solidFill>
                </a:rPr>
                <a:t>extérieur</a:t>
              </a:r>
              <a:r>
                <a:rPr lang="en-US" sz="1100" dirty="0">
                  <a:solidFill>
                    <a:schemeClr val="bg1"/>
                  </a:solidFill>
                </a:rPr>
                <a:t>, à la </a:t>
              </a:r>
              <a:r>
                <a:rPr lang="en-US" sz="1100" dirty="0" err="1">
                  <a:solidFill>
                    <a:schemeClr val="bg1"/>
                  </a:solidFill>
                </a:rPr>
                <a:t>maison</a:t>
              </a:r>
              <a:r>
                <a:rPr lang="en-US" sz="1100" dirty="0">
                  <a:solidFill>
                    <a:schemeClr val="bg1"/>
                  </a:solidFill>
                </a:rPr>
                <a:t> et </a:t>
              </a:r>
              <a:r>
                <a:rPr lang="en-US" sz="1100" dirty="0" err="1">
                  <a:solidFill>
                    <a:schemeClr val="bg1"/>
                  </a:solidFill>
                </a:rPr>
                <a:t>en</a:t>
              </a:r>
              <a:r>
                <a:rPr lang="en-US" sz="1100" dirty="0">
                  <a:solidFill>
                    <a:schemeClr val="bg1"/>
                  </a:solidFill>
                </a:rPr>
                <a:t> salle  </a:t>
              </a:r>
              <a:r>
                <a:rPr lang="en-US" sz="1100" b="1" dirty="0" err="1">
                  <a:solidFill>
                    <a:schemeClr val="bg1"/>
                  </a:solidFill>
                </a:rPr>
                <a:t>forment</a:t>
              </a:r>
              <a:r>
                <a:rPr lang="en-US" sz="1100" b="1" dirty="0">
                  <a:solidFill>
                    <a:schemeClr val="bg1"/>
                  </a:solidFill>
                </a:rPr>
                <a:t> un </a:t>
              </a:r>
              <a:r>
                <a:rPr lang="en-US" sz="1100" b="1" dirty="0" err="1">
                  <a:solidFill>
                    <a:schemeClr val="bg1"/>
                  </a:solidFill>
                </a:rPr>
                <a:t>entraînement</a:t>
              </a:r>
              <a:r>
                <a:rPr lang="en-US" sz="1100" b="1" dirty="0">
                  <a:solidFill>
                    <a:schemeClr val="bg1"/>
                  </a:solidFill>
                </a:rPr>
                <a:t> </a:t>
              </a:r>
              <a:r>
                <a:rPr lang="en-US" sz="1100" b="1" dirty="0" err="1">
                  <a:solidFill>
                    <a:schemeClr val="bg1"/>
                  </a:solidFill>
                </a:rPr>
                <a:t>complémentaire</a:t>
              </a:r>
              <a:endParaRPr lang="en-US" sz="1100" b="1" dirty="0">
                <a:solidFill>
                  <a:schemeClr val="bg1"/>
                </a:solidFill>
              </a:endParaRPr>
            </a:p>
          </p:txBody>
        </p:sp>
      </p:grpSp>
      <p:grpSp>
        <p:nvGrpSpPr>
          <p:cNvPr id="7" name="Gruppieren 6">
            <a:extLst>
              <a:ext uri="{FF2B5EF4-FFF2-40B4-BE49-F238E27FC236}">
                <a16:creationId xmlns:a16="http://schemas.microsoft.com/office/drawing/2014/main" id="{25DCCA03-621C-46BD-95B1-39C9564F5583}"/>
              </a:ext>
            </a:extLst>
          </p:cNvPr>
          <p:cNvGrpSpPr/>
          <p:nvPr/>
        </p:nvGrpSpPr>
        <p:grpSpPr>
          <a:xfrm>
            <a:off x="4790171" y="2091789"/>
            <a:ext cx="2709867" cy="2029763"/>
            <a:chOff x="4790171" y="2091789"/>
            <a:chExt cx="2709867" cy="2029763"/>
          </a:xfrm>
        </p:grpSpPr>
        <p:pic>
          <p:nvPicPr>
            <p:cNvPr id="19" name="Grafik 5">
              <a:extLst>
                <a:ext uri="{FF2B5EF4-FFF2-40B4-BE49-F238E27FC236}">
                  <a16:creationId xmlns:a16="http://schemas.microsoft.com/office/drawing/2014/main" id="{5995ED03-3B75-4AB4-B653-094BDC5DCF3F}"/>
                </a:ext>
              </a:extLst>
            </p:cNvPr>
            <p:cNvPicPr>
              <a:picLocks noChangeAspect="1"/>
            </p:cNvPicPr>
            <p:nvPr/>
          </p:nvPicPr>
          <p:blipFill rotWithShape="1">
            <a:blip r:embed="rId7"/>
            <a:srcRect l="34261" r="32213" b="73686"/>
            <a:stretch/>
          </p:blipFill>
          <p:spPr>
            <a:xfrm>
              <a:off x="4790171" y="2091789"/>
              <a:ext cx="2432050" cy="1414603"/>
            </a:xfrm>
            <a:prstGeom prst="rect">
              <a:avLst/>
            </a:prstGeom>
          </p:spPr>
        </p:pic>
        <p:sp>
          <p:nvSpPr>
            <p:cNvPr id="22" name="TextBox 21">
              <a:extLst>
                <a:ext uri="{FF2B5EF4-FFF2-40B4-BE49-F238E27FC236}">
                  <a16:creationId xmlns:a16="http://schemas.microsoft.com/office/drawing/2014/main" id="{F1273DC8-3BFA-47CC-AF8D-BF622ADE14A4}"/>
                </a:ext>
              </a:extLst>
            </p:cNvPr>
            <p:cNvSpPr txBox="1"/>
            <p:nvPr/>
          </p:nvSpPr>
          <p:spPr>
            <a:xfrm>
              <a:off x="4872038" y="3613721"/>
              <a:ext cx="2628000" cy="507831"/>
            </a:xfrm>
            <a:prstGeom prst="rect">
              <a:avLst/>
            </a:prstGeom>
            <a:noFill/>
          </p:spPr>
          <p:txBody>
            <a:bodyPr wrap="square" lIns="0" tIns="0" rIns="0" bIns="0" rtlCol="0">
              <a:spAutoFit/>
            </a:bodyPr>
            <a:lstStyle/>
            <a:p>
              <a:pPr>
                <a:spcBef>
                  <a:spcPts val="600"/>
                </a:spcBef>
                <a:buSzPct val="100000"/>
              </a:pPr>
              <a:r>
                <a:rPr lang="en-GB" sz="1100" dirty="0">
                  <a:solidFill>
                    <a:schemeClr val="bg1"/>
                  </a:solidFill>
                </a:rPr>
                <a:t>La </a:t>
              </a:r>
              <a:r>
                <a:rPr lang="en-GB" sz="1100" dirty="0" err="1">
                  <a:solidFill>
                    <a:schemeClr val="bg1"/>
                  </a:solidFill>
                </a:rPr>
                <a:t>jeune</a:t>
              </a:r>
              <a:r>
                <a:rPr lang="en-GB" sz="1100" dirty="0">
                  <a:solidFill>
                    <a:schemeClr val="bg1"/>
                  </a:solidFill>
                </a:rPr>
                <a:t> </a:t>
              </a:r>
              <a:r>
                <a:rPr lang="en-GB" sz="1100" dirty="0" err="1">
                  <a:solidFill>
                    <a:schemeClr val="bg1"/>
                  </a:solidFill>
                </a:rPr>
                <a:t>génération</a:t>
              </a:r>
              <a:r>
                <a:rPr lang="en-GB" sz="1100" dirty="0">
                  <a:solidFill>
                    <a:schemeClr val="bg1"/>
                  </a:solidFill>
                </a:rPr>
                <a:t> </a:t>
              </a:r>
              <a:r>
                <a:rPr lang="en-GB" sz="1100" dirty="0" err="1">
                  <a:solidFill>
                    <a:schemeClr val="bg1"/>
                  </a:solidFill>
                </a:rPr>
                <a:t>sert</a:t>
              </a:r>
              <a:r>
                <a:rPr lang="en-GB" sz="1100" dirty="0">
                  <a:solidFill>
                    <a:schemeClr val="bg1"/>
                  </a:solidFill>
                </a:rPr>
                <a:t> de </a:t>
              </a:r>
              <a:r>
                <a:rPr lang="en-GB" sz="1100" dirty="0" err="1">
                  <a:solidFill>
                    <a:schemeClr val="bg1"/>
                  </a:solidFill>
                </a:rPr>
                <a:t>moteur</a:t>
              </a:r>
              <a:r>
                <a:rPr lang="en-GB" sz="1100" dirty="0">
                  <a:solidFill>
                    <a:schemeClr val="bg1"/>
                  </a:solidFill>
                </a:rPr>
                <a:t> pour </a:t>
              </a:r>
              <a:r>
                <a:rPr lang="en-GB" sz="1100" b="1" dirty="0" err="1">
                  <a:solidFill>
                    <a:schemeClr val="bg1"/>
                  </a:solidFill>
                </a:rPr>
                <a:t>fusionner</a:t>
              </a:r>
              <a:r>
                <a:rPr lang="en-GB" sz="1100" b="1" dirty="0">
                  <a:solidFill>
                    <a:schemeClr val="bg1"/>
                  </a:solidFill>
                </a:rPr>
                <a:t> les </a:t>
              </a:r>
              <a:r>
                <a:rPr lang="en-GB" sz="1100" b="1" dirty="0" err="1">
                  <a:solidFill>
                    <a:schemeClr val="bg1"/>
                  </a:solidFill>
                </a:rPr>
                <a:t>expériences</a:t>
              </a:r>
              <a:r>
                <a:rPr lang="en-GB" sz="1100" b="1" dirty="0">
                  <a:solidFill>
                    <a:schemeClr val="bg1"/>
                  </a:solidFill>
                </a:rPr>
                <a:t> numérique et physique.</a:t>
              </a:r>
            </a:p>
          </p:txBody>
        </p:sp>
      </p:grpSp>
      <p:grpSp>
        <p:nvGrpSpPr>
          <p:cNvPr id="8" name="Gruppieren 7">
            <a:extLst>
              <a:ext uri="{FF2B5EF4-FFF2-40B4-BE49-F238E27FC236}">
                <a16:creationId xmlns:a16="http://schemas.microsoft.com/office/drawing/2014/main" id="{5E7B8366-3725-4ECA-9B53-50A6041B356A}"/>
              </a:ext>
            </a:extLst>
          </p:cNvPr>
          <p:cNvGrpSpPr/>
          <p:nvPr/>
        </p:nvGrpSpPr>
        <p:grpSpPr>
          <a:xfrm>
            <a:off x="8505168" y="2083218"/>
            <a:ext cx="2739782" cy="2038334"/>
            <a:chOff x="8505168" y="2083218"/>
            <a:chExt cx="2739782" cy="2038334"/>
          </a:xfrm>
        </p:grpSpPr>
        <p:pic>
          <p:nvPicPr>
            <p:cNvPr id="25" name="Grafik 5">
              <a:extLst>
                <a:ext uri="{FF2B5EF4-FFF2-40B4-BE49-F238E27FC236}">
                  <a16:creationId xmlns:a16="http://schemas.microsoft.com/office/drawing/2014/main" id="{F6743FCD-FB87-4C11-9FDC-496BCA35845B}"/>
                </a:ext>
              </a:extLst>
            </p:cNvPr>
            <p:cNvPicPr>
              <a:picLocks noChangeAspect="1"/>
            </p:cNvPicPr>
            <p:nvPr/>
          </p:nvPicPr>
          <p:blipFill rotWithShape="1">
            <a:blip r:embed="rId7"/>
            <a:srcRect l="68400" b="72836"/>
            <a:stretch/>
          </p:blipFill>
          <p:spPr>
            <a:xfrm>
              <a:off x="8505168" y="2083218"/>
              <a:ext cx="2292351" cy="1460323"/>
            </a:xfrm>
            <a:prstGeom prst="rect">
              <a:avLst/>
            </a:prstGeom>
          </p:spPr>
        </p:pic>
        <p:sp>
          <p:nvSpPr>
            <p:cNvPr id="27" name="TextBox 26">
              <a:extLst>
                <a:ext uri="{FF2B5EF4-FFF2-40B4-BE49-F238E27FC236}">
                  <a16:creationId xmlns:a16="http://schemas.microsoft.com/office/drawing/2014/main" id="{B7F8BCAD-93EF-4841-B340-11B09F7001AE}"/>
                </a:ext>
              </a:extLst>
            </p:cNvPr>
            <p:cNvSpPr txBox="1"/>
            <p:nvPr/>
          </p:nvSpPr>
          <p:spPr>
            <a:xfrm>
              <a:off x="8616950" y="3613721"/>
              <a:ext cx="2628000" cy="507831"/>
            </a:xfrm>
            <a:prstGeom prst="rect">
              <a:avLst/>
            </a:prstGeom>
            <a:noFill/>
          </p:spPr>
          <p:txBody>
            <a:bodyPr wrap="square" lIns="0" tIns="0" rIns="0" bIns="0" rtlCol="0">
              <a:spAutoFit/>
            </a:bodyPr>
            <a:lstStyle/>
            <a:p>
              <a:pPr>
                <a:spcBef>
                  <a:spcPts val="600"/>
                </a:spcBef>
                <a:buSzPct val="100000"/>
              </a:pPr>
              <a:r>
                <a:rPr lang="en-GB" sz="1100" dirty="0">
                  <a:solidFill>
                    <a:schemeClr val="bg1"/>
                  </a:solidFill>
                </a:rPr>
                <a:t>Le COVID-19 a </a:t>
              </a:r>
              <a:r>
                <a:rPr lang="en-GB" sz="1100" dirty="0" err="1">
                  <a:solidFill>
                    <a:schemeClr val="bg1"/>
                  </a:solidFill>
                </a:rPr>
                <a:t>été</a:t>
              </a:r>
              <a:r>
                <a:rPr lang="en-GB" sz="1100" dirty="0">
                  <a:solidFill>
                    <a:schemeClr val="bg1"/>
                  </a:solidFill>
                </a:rPr>
                <a:t> un </a:t>
              </a:r>
              <a:r>
                <a:rPr lang="en-GB" sz="1100" b="1" dirty="0" err="1">
                  <a:solidFill>
                    <a:schemeClr val="bg1"/>
                  </a:solidFill>
                </a:rPr>
                <a:t>facteur</a:t>
              </a:r>
              <a:r>
                <a:rPr lang="en-GB" sz="1100" b="1" dirty="0">
                  <a:solidFill>
                    <a:schemeClr val="bg1"/>
                  </a:solidFill>
                </a:rPr>
                <a:t> </a:t>
              </a:r>
              <a:r>
                <a:rPr lang="en-GB" sz="1100" b="1" dirty="0" err="1">
                  <a:solidFill>
                    <a:schemeClr val="bg1"/>
                  </a:solidFill>
                </a:rPr>
                <a:t>majeur</a:t>
              </a:r>
              <a:r>
                <a:rPr lang="en-GB" sz="1100" b="1" dirty="0">
                  <a:solidFill>
                    <a:schemeClr val="bg1"/>
                  </a:solidFill>
                </a:rPr>
                <a:t> de perturbation</a:t>
              </a:r>
              <a:r>
                <a:rPr lang="en-GB" sz="1100" dirty="0">
                  <a:solidFill>
                    <a:schemeClr val="bg1"/>
                  </a:solidFill>
                </a:rPr>
                <a:t> des </a:t>
              </a:r>
              <a:r>
                <a:rPr lang="en-GB" sz="1100" dirty="0" err="1">
                  <a:solidFill>
                    <a:schemeClr val="bg1"/>
                  </a:solidFill>
                </a:rPr>
                <a:t>entraînements</a:t>
              </a:r>
              <a:r>
                <a:rPr lang="en-GB" sz="1100" dirty="0">
                  <a:solidFill>
                    <a:schemeClr val="bg1"/>
                  </a:solidFill>
                </a:rPr>
                <a:t>.</a:t>
              </a:r>
            </a:p>
          </p:txBody>
        </p:sp>
      </p:grpSp>
      <p:grpSp>
        <p:nvGrpSpPr>
          <p:cNvPr id="9" name="Gruppieren 8">
            <a:extLst>
              <a:ext uri="{FF2B5EF4-FFF2-40B4-BE49-F238E27FC236}">
                <a16:creationId xmlns:a16="http://schemas.microsoft.com/office/drawing/2014/main" id="{7984ADAC-6A54-4226-8394-600B0FE1FDD5}"/>
              </a:ext>
            </a:extLst>
          </p:cNvPr>
          <p:cNvGrpSpPr/>
          <p:nvPr/>
        </p:nvGrpSpPr>
        <p:grpSpPr>
          <a:xfrm>
            <a:off x="1334129" y="4212550"/>
            <a:ext cx="2637525" cy="1720071"/>
            <a:chOff x="1334129" y="4212550"/>
            <a:chExt cx="2637525" cy="1720071"/>
          </a:xfrm>
        </p:grpSpPr>
        <p:pic>
          <p:nvPicPr>
            <p:cNvPr id="24" name="Grafik 5">
              <a:extLst>
                <a:ext uri="{FF2B5EF4-FFF2-40B4-BE49-F238E27FC236}">
                  <a16:creationId xmlns:a16="http://schemas.microsoft.com/office/drawing/2014/main" id="{FF272843-8D4E-4E43-8AD8-B136081D9399}"/>
                </a:ext>
              </a:extLst>
            </p:cNvPr>
            <p:cNvPicPr>
              <a:picLocks noChangeAspect="1"/>
            </p:cNvPicPr>
            <p:nvPr/>
          </p:nvPicPr>
          <p:blipFill rotWithShape="1">
            <a:blip r:embed="rId7"/>
            <a:srcRect t="40149" r="68433" b="38259"/>
            <a:stretch/>
          </p:blipFill>
          <p:spPr>
            <a:xfrm>
              <a:off x="1334129" y="4212550"/>
              <a:ext cx="2289965" cy="1160765"/>
            </a:xfrm>
            <a:prstGeom prst="rect">
              <a:avLst/>
            </a:prstGeom>
          </p:spPr>
        </p:pic>
        <p:sp>
          <p:nvSpPr>
            <p:cNvPr id="28" name="TextBox 27">
              <a:extLst>
                <a:ext uri="{FF2B5EF4-FFF2-40B4-BE49-F238E27FC236}">
                  <a16:creationId xmlns:a16="http://schemas.microsoft.com/office/drawing/2014/main" id="{11424C87-E841-4518-BF5B-2280A2BABCE1}"/>
                </a:ext>
              </a:extLst>
            </p:cNvPr>
            <p:cNvSpPr txBox="1"/>
            <p:nvPr/>
          </p:nvSpPr>
          <p:spPr>
            <a:xfrm>
              <a:off x="1343654" y="5424790"/>
              <a:ext cx="2628000" cy="507831"/>
            </a:xfrm>
            <a:prstGeom prst="rect">
              <a:avLst/>
            </a:prstGeom>
            <a:noFill/>
          </p:spPr>
          <p:txBody>
            <a:bodyPr wrap="square" lIns="0" tIns="0" rIns="0" bIns="0" rtlCol="0">
              <a:spAutoFit/>
            </a:bodyPr>
            <a:lstStyle/>
            <a:p>
              <a:pPr>
                <a:spcBef>
                  <a:spcPts val="600"/>
                </a:spcBef>
                <a:buSzPct val="100000"/>
              </a:pPr>
              <a:r>
                <a:rPr lang="en-US" sz="1100" dirty="0" err="1">
                  <a:solidFill>
                    <a:schemeClr val="bg1"/>
                  </a:solidFill>
                </a:rPr>
                <a:t>L’équipement</a:t>
              </a:r>
              <a:r>
                <a:rPr lang="en-US" sz="1100" dirty="0">
                  <a:solidFill>
                    <a:schemeClr val="bg1"/>
                  </a:solidFill>
                </a:rPr>
                <a:t> et </a:t>
              </a:r>
              <a:r>
                <a:rPr lang="en-US" sz="1100" dirty="0" err="1">
                  <a:solidFill>
                    <a:schemeClr val="bg1"/>
                  </a:solidFill>
                </a:rPr>
                <a:t>l’expérience</a:t>
              </a:r>
              <a:r>
                <a:rPr lang="en-US" sz="1100" dirty="0">
                  <a:solidFill>
                    <a:schemeClr val="bg1"/>
                  </a:solidFill>
                </a:rPr>
                <a:t> </a:t>
              </a:r>
              <a:r>
                <a:rPr lang="en-US" sz="1100" dirty="0" err="1">
                  <a:solidFill>
                    <a:schemeClr val="bg1"/>
                  </a:solidFill>
                </a:rPr>
                <a:t>sociale</a:t>
              </a:r>
              <a:r>
                <a:rPr lang="en-US" sz="1100" dirty="0">
                  <a:solidFill>
                    <a:schemeClr val="bg1"/>
                  </a:solidFill>
                </a:rPr>
                <a:t> </a:t>
              </a:r>
              <a:r>
                <a:rPr lang="en-US" sz="1100" dirty="0" err="1">
                  <a:solidFill>
                    <a:schemeClr val="bg1"/>
                  </a:solidFill>
                </a:rPr>
                <a:t>sont</a:t>
              </a:r>
              <a:r>
                <a:rPr lang="en-US" sz="1100" dirty="0">
                  <a:solidFill>
                    <a:schemeClr val="bg1"/>
                  </a:solidFill>
                </a:rPr>
                <a:t> des </a:t>
              </a:r>
              <a:r>
                <a:rPr lang="en-US" sz="1100" b="1" dirty="0" err="1">
                  <a:solidFill>
                    <a:schemeClr val="bg1"/>
                  </a:solidFill>
                </a:rPr>
                <a:t>atouts</a:t>
              </a:r>
              <a:r>
                <a:rPr lang="en-US" sz="1100" b="1" dirty="0">
                  <a:solidFill>
                    <a:schemeClr val="bg1"/>
                  </a:solidFill>
                </a:rPr>
                <a:t> </a:t>
              </a:r>
              <a:r>
                <a:rPr lang="en-US" sz="1100" b="1" dirty="0" err="1">
                  <a:solidFill>
                    <a:schemeClr val="bg1"/>
                  </a:solidFill>
                </a:rPr>
                <a:t>majeurs</a:t>
              </a:r>
              <a:r>
                <a:rPr lang="en-US" sz="1100" b="1" dirty="0">
                  <a:solidFill>
                    <a:schemeClr val="bg1"/>
                  </a:solidFill>
                </a:rPr>
                <a:t> des salles de sport</a:t>
              </a:r>
              <a:r>
                <a:rPr lang="en-US" sz="1100" dirty="0">
                  <a:solidFill>
                    <a:schemeClr val="bg1"/>
                  </a:solidFill>
                </a:rPr>
                <a:t>.</a:t>
              </a:r>
            </a:p>
          </p:txBody>
        </p:sp>
      </p:grpSp>
      <p:grpSp>
        <p:nvGrpSpPr>
          <p:cNvPr id="10" name="Gruppieren 9">
            <a:extLst>
              <a:ext uri="{FF2B5EF4-FFF2-40B4-BE49-F238E27FC236}">
                <a16:creationId xmlns:a16="http://schemas.microsoft.com/office/drawing/2014/main" id="{4C515A23-01EC-4FCF-95BB-8BAC8548FA29}"/>
              </a:ext>
            </a:extLst>
          </p:cNvPr>
          <p:cNvGrpSpPr/>
          <p:nvPr/>
        </p:nvGrpSpPr>
        <p:grpSpPr>
          <a:xfrm>
            <a:off x="4803819" y="4198856"/>
            <a:ext cx="2696219" cy="1734360"/>
            <a:chOff x="4803819" y="4198856"/>
            <a:chExt cx="2696219" cy="1734360"/>
          </a:xfrm>
        </p:grpSpPr>
        <p:pic>
          <p:nvPicPr>
            <p:cNvPr id="21" name="Grafik 5">
              <a:extLst>
                <a:ext uri="{FF2B5EF4-FFF2-40B4-BE49-F238E27FC236}">
                  <a16:creationId xmlns:a16="http://schemas.microsoft.com/office/drawing/2014/main" id="{FE941DE6-35FE-4AAB-9FC8-D78DC900FFB2}"/>
                </a:ext>
              </a:extLst>
            </p:cNvPr>
            <p:cNvPicPr>
              <a:picLocks noChangeAspect="1"/>
            </p:cNvPicPr>
            <p:nvPr/>
          </p:nvPicPr>
          <p:blipFill rotWithShape="1">
            <a:blip r:embed="rId7"/>
            <a:srcRect l="34543" t="40207" r="33890" b="38555"/>
            <a:stretch/>
          </p:blipFill>
          <p:spPr>
            <a:xfrm>
              <a:off x="4803819" y="4198856"/>
              <a:ext cx="2289965" cy="1141713"/>
            </a:xfrm>
            <a:prstGeom prst="rect">
              <a:avLst/>
            </a:prstGeom>
          </p:spPr>
        </p:pic>
        <p:sp>
          <p:nvSpPr>
            <p:cNvPr id="29" name="TextBox 28">
              <a:extLst>
                <a:ext uri="{FF2B5EF4-FFF2-40B4-BE49-F238E27FC236}">
                  <a16:creationId xmlns:a16="http://schemas.microsoft.com/office/drawing/2014/main" id="{9BD93144-8347-42D3-A2B1-658E648B0488}"/>
                </a:ext>
              </a:extLst>
            </p:cNvPr>
            <p:cNvSpPr txBox="1"/>
            <p:nvPr/>
          </p:nvSpPr>
          <p:spPr>
            <a:xfrm>
              <a:off x="4872038" y="5425385"/>
              <a:ext cx="2628000" cy="507831"/>
            </a:xfrm>
            <a:prstGeom prst="rect">
              <a:avLst/>
            </a:prstGeom>
            <a:noFill/>
          </p:spPr>
          <p:txBody>
            <a:bodyPr wrap="square" lIns="0" tIns="0" rIns="0" bIns="0" rtlCol="0">
              <a:spAutoFit/>
            </a:bodyPr>
            <a:lstStyle/>
            <a:p>
              <a:pPr>
                <a:spcBef>
                  <a:spcPts val="600"/>
                </a:spcBef>
                <a:buSzPct val="100000"/>
              </a:pPr>
              <a:r>
                <a:rPr lang="en-US" sz="1100" dirty="0">
                  <a:solidFill>
                    <a:schemeClr val="bg1"/>
                  </a:solidFill>
                </a:rPr>
                <a:t>Les petits </a:t>
              </a:r>
              <a:r>
                <a:rPr lang="en-US" sz="1100" dirty="0" err="1">
                  <a:solidFill>
                    <a:schemeClr val="bg1"/>
                  </a:solidFill>
                </a:rPr>
                <a:t>équipements</a:t>
              </a:r>
              <a:r>
                <a:rPr lang="en-US" sz="1100" dirty="0">
                  <a:solidFill>
                    <a:schemeClr val="bg1"/>
                  </a:solidFill>
                </a:rPr>
                <a:t> </a:t>
              </a:r>
              <a:r>
                <a:rPr lang="en-US" sz="1100" dirty="0" err="1">
                  <a:solidFill>
                    <a:schemeClr val="bg1"/>
                  </a:solidFill>
                </a:rPr>
                <a:t>servent</a:t>
              </a:r>
              <a:r>
                <a:rPr lang="en-US" sz="1100" dirty="0">
                  <a:solidFill>
                    <a:schemeClr val="bg1"/>
                  </a:solidFill>
                </a:rPr>
                <a:t> de </a:t>
              </a:r>
              <a:r>
                <a:rPr lang="en-US" sz="1100" b="1" dirty="0" err="1">
                  <a:solidFill>
                    <a:schemeClr val="bg1"/>
                  </a:solidFill>
                </a:rPr>
                <a:t>facteur</a:t>
              </a:r>
              <a:r>
                <a:rPr lang="en-US" sz="1100" b="1" dirty="0">
                  <a:solidFill>
                    <a:schemeClr val="bg1"/>
                  </a:solidFill>
                </a:rPr>
                <a:t> </a:t>
              </a:r>
              <a:r>
                <a:rPr lang="en-US" sz="1100" b="1" dirty="0" err="1">
                  <a:solidFill>
                    <a:schemeClr val="bg1"/>
                  </a:solidFill>
                </a:rPr>
                <a:t>moteur</a:t>
              </a:r>
              <a:r>
                <a:rPr lang="en-US" sz="1100" b="1" dirty="0">
                  <a:solidFill>
                    <a:schemeClr val="bg1"/>
                  </a:solidFill>
                </a:rPr>
                <a:t> pour </a:t>
              </a:r>
              <a:r>
                <a:rPr lang="en-US" sz="1100" b="1" dirty="0" err="1">
                  <a:solidFill>
                    <a:schemeClr val="bg1"/>
                  </a:solidFill>
                </a:rPr>
                <a:t>l’entraînement</a:t>
              </a:r>
              <a:r>
                <a:rPr lang="en-US" sz="1100" b="1" dirty="0">
                  <a:solidFill>
                    <a:schemeClr val="bg1"/>
                  </a:solidFill>
                </a:rPr>
                <a:t> à la </a:t>
              </a:r>
              <a:r>
                <a:rPr lang="en-US" sz="1100" b="1" dirty="0" err="1">
                  <a:solidFill>
                    <a:schemeClr val="bg1"/>
                  </a:solidFill>
                </a:rPr>
                <a:t>maison</a:t>
              </a:r>
              <a:r>
                <a:rPr lang="en-US" sz="1100" dirty="0">
                  <a:solidFill>
                    <a:schemeClr val="bg1"/>
                  </a:solidFill>
                </a:rPr>
                <a:t>.</a:t>
              </a:r>
            </a:p>
          </p:txBody>
        </p:sp>
      </p:grpSp>
      <p:grpSp>
        <p:nvGrpSpPr>
          <p:cNvPr id="11" name="Gruppieren 10">
            <a:extLst>
              <a:ext uri="{FF2B5EF4-FFF2-40B4-BE49-F238E27FC236}">
                <a16:creationId xmlns:a16="http://schemas.microsoft.com/office/drawing/2014/main" id="{5B4B63CF-3E25-42A2-9989-B81EDE509019}"/>
              </a:ext>
            </a:extLst>
          </p:cNvPr>
          <p:cNvGrpSpPr/>
          <p:nvPr/>
        </p:nvGrpSpPr>
        <p:grpSpPr>
          <a:xfrm>
            <a:off x="8557568" y="4208299"/>
            <a:ext cx="2687382" cy="1555640"/>
            <a:chOff x="8557568" y="4208299"/>
            <a:chExt cx="2687382" cy="1555640"/>
          </a:xfrm>
        </p:grpSpPr>
        <p:pic>
          <p:nvPicPr>
            <p:cNvPr id="26" name="Grafik 5">
              <a:extLst>
                <a:ext uri="{FF2B5EF4-FFF2-40B4-BE49-F238E27FC236}">
                  <a16:creationId xmlns:a16="http://schemas.microsoft.com/office/drawing/2014/main" id="{F782BD0C-34B8-4C7D-9382-6BB8F96E114A}"/>
                </a:ext>
              </a:extLst>
            </p:cNvPr>
            <p:cNvPicPr>
              <a:picLocks noChangeAspect="1"/>
            </p:cNvPicPr>
            <p:nvPr/>
          </p:nvPicPr>
          <p:blipFill rotWithShape="1">
            <a:blip r:embed="rId7"/>
            <a:srcRect l="69110" t="40326" r="2528" b="38787"/>
            <a:stretch/>
          </p:blipFill>
          <p:spPr>
            <a:xfrm>
              <a:off x="8557568" y="4208299"/>
              <a:ext cx="2057400" cy="1122827"/>
            </a:xfrm>
            <a:prstGeom prst="rect">
              <a:avLst/>
            </a:prstGeom>
          </p:spPr>
        </p:pic>
        <p:sp>
          <p:nvSpPr>
            <p:cNvPr id="30" name="TextBox 29">
              <a:extLst>
                <a:ext uri="{FF2B5EF4-FFF2-40B4-BE49-F238E27FC236}">
                  <a16:creationId xmlns:a16="http://schemas.microsoft.com/office/drawing/2014/main" id="{0C2094ED-6646-4437-A350-5573D98C765E}"/>
                </a:ext>
              </a:extLst>
            </p:cNvPr>
            <p:cNvSpPr txBox="1"/>
            <p:nvPr/>
          </p:nvSpPr>
          <p:spPr>
            <a:xfrm>
              <a:off x="8616950" y="5425385"/>
              <a:ext cx="2628000" cy="338554"/>
            </a:xfrm>
            <a:prstGeom prst="rect">
              <a:avLst/>
            </a:prstGeom>
            <a:noFill/>
          </p:spPr>
          <p:txBody>
            <a:bodyPr wrap="square" lIns="0" tIns="0" rIns="0" bIns="0" rtlCol="0">
              <a:spAutoFit/>
            </a:bodyPr>
            <a:lstStyle/>
            <a:p>
              <a:pPr>
                <a:spcBef>
                  <a:spcPts val="600"/>
                </a:spcBef>
                <a:buSzPct val="100000"/>
              </a:pPr>
              <a:r>
                <a:rPr lang="en-US" sz="1100" dirty="0">
                  <a:solidFill>
                    <a:schemeClr val="bg1"/>
                  </a:solidFill>
                </a:rPr>
                <a:t>Le sport </a:t>
              </a:r>
              <a:r>
                <a:rPr lang="en-US" sz="1100" dirty="0" err="1">
                  <a:solidFill>
                    <a:schemeClr val="bg1"/>
                  </a:solidFill>
                </a:rPr>
                <a:t>d’entreprise</a:t>
              </a:r>
              <a:r>
                <a:rPr lang="en-US" sz="1100" dirty="0">
                  <a:solidFill>
                    <a:schemeClr val="bg1"/>
                  </a:solidFill>
                </a:rPr>
                <a:t> </a:t>
              </a:r>
              <a:r>
                <a:rPr lang="en-US" sz="1100" dirty="0" err="1">
                  <a:solidFill>
                    <a:schemeClr val="bg1"/>
                  </a:solidFill>
                </a:rPr>
                <a:t>montre</a:t>
              </a:r>
              <a:r>
                <a:rPr lang="en-US" sz="1100" dirty="0">
                  <a:solidFill>
                    <a:schemeClr val="bg1"/>
                  </a:solidFill>
                </a:rPr>
                <a:t> un </a:t>
              </a:r>
              <a:r>
                <a:rPr lang="en-US" sz="1100" b="1" dirty="0" err="1">
                  <a:solidFill>
                    <a:schemeClr val="bg1"/>
                  </a:solidFill>
                </a:rPr>
                <a:t>potentiel</a:t>
              </a:r>
              <a:r>
                <a:rPr lang="en-US" sz="1100" b="1" dirty="0">
                  <a:solidFill>
                    <a:schemeClr val="bg1"/>
                  </a:solidFill>
                </a:rPr>
                <a:t> qui </a:t>
              </a:r>
              <a:r>
                <a:rPr lang="en-US" sz="1100" b="1" dirty="0" err="1">
                  <a:solidFill>
                    <a:schemeClr val="bg1"/>
                  </a:solidFill>
                </a:rPr>
                <a:t>reste</a:t>
              </a:r>
              <a:r>
                <a:rPr lang="en-US" sz="1100" b="1" dirty="0">
                  <a:solidFill>
                    <a:schemeClr val="bg1"/>
                  </a:solidFill>
                </a:rPr>
                <a:t> à </a:t>
              </a:r>
              <a:r>
                <a:rPr lang="en-US" sz="1100" b="1" dirty="0" err="1">
                  <a:solidFill>
                    <a:schemeClr val="bg1"/>
                  </a:solidFill>
                </a:rPr>
                <a:t>developper</a:t>
              </a:r>
              <a:r>
                <a:rPr lang="en-US" sz="1100" dirty="0">
                  <a:solidFill>
                    <a:schemeClr val="bg1"/>
                  </a:solidFill>
                </a:rPr>
                <a:t>.</a:t>
              </a:r>
            </a:p>
          </p:txBody>
        </p:sp>
      </p:grpSp>
    </p:spTree>
    <p:extLst>
      <p:ext uri="{BB962C8B-B14F-4D97-AF65-F5344CB8AC3E}">
        <p14:creationId xmlns:p14="http://schemas.microsoft.com/office/powerpoint/2010/main" val="228448767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26A54892-E0ED-580F-1CD2-9F7F8EF2DF87}"/>
              </a:ext>
            </a:extLst>
          </p:cNvPr>
          <p:cNvPicPr>
            <a:picLocks noChangeAspect="1"/>
          </p:cNvPicPr>
          <p:nvPr/>
        </p:nvPicPr>
        <p:blipFill>
          <a:blip r:embed="rId2"/>
          <a:stretch>
            <a:fillRect/>
          </a:stretch>
        </p:blipFill>
        <p:spPr>
          <a:xfrm>
            <a:off x="2142878" y="0"/>
            <a:ext cx="7906244" cy="6858000"/>
          </a:xfrm>
          <a:prstGeom prst="rect">
            <a:avLst/>
          </a:prstGeom>
        </p:spPr>
      </p:pic>
    </p:spTree>
    <p:extLst>
      <p:ext uri="{BB962C8B-B14F-4D97-AF65-F5344CB8AC3E}">
        <p14:creationId xmlns:p14="http://schemas.microsoft.com/office/powerpoint/2010/main" val="12067265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B1C0CF-45BC-86D5-A8E2-879EF7916B05}"/>
              </a:ext>
            </a:extLst>
          </p:cNvPr>
          <p:cNvSpPr>
            <a:spLocks noGrp="1"/>
          </p:cNvSpPr>
          <p:nvPr>
            <p:ph type="title"/>
          </p:nvPr>
        </p:nvSpPr>
        <p:spPr>
          <a:xfrm>
            <a:off x="838200" y="365128"/>
            <a:ext cx="10515600" cy="939238"/>
          </a:xfrm>
        </p:spPr>
        <p:txBody>
          <a:bodyPr/>
          <a:lstStyle/>
          <a:p>
            <a:pPr marL="3810">
              <a:lnSpc>
                <a:spcPts val="2135"/>
              </a:lnSpc>
            </a:pPr>
            <a:r>
              <a:rPr lang="fr-FR" sz="3600" b="1" dirty="0">
                <a:solidFill>
                  <a:srgbClr val="006FC0"/>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rPr>
              <a:t>   10 astuces pour réussir durablement</a:t>
            </a:r>
            <a:br>
              <a:rPr lang="nl-NL" sz="1600" dirty="0">
                <a:effectLst/>
                <a:latin typeface="Calibri" panose="020F0502020204030204" pitchFamily="34" charset="0"/>
                <a:ea typeface="Calibri" panose="020F0502020204030204" pitchFamily="34" charset="0"/>
              </a:rPr>
            </a:br>
            <a:endParaRPr lang="nl-NL" dirty="0"/>
          </a:p>
        </p:txBody>
      </p:sp>
      <p:sp>
        <p:nvSpPr>
          <p:cNvPr id="3" name="Tijdelijke aanduiding voor inhoud 2">
            <a:extLst>
              <a:ext uri="{FF2B5EF4-FFF2-40B4-BE49-F238E27FC236}">
                <a16:creationId xmlns:a16="http://schemas.microsoft.com/office/drawing/2014/main" id="{E87A3EE4-A7A0-82EA-5EF7-6EBBD2B4A972}"/>
              </a:ext>
            </a:extLst>
          </p:cNvPr>
          <p:cNvSpPr>
            <a:spLocks noGrp="1"/>
          </p:cNvSpPr>
          <p:nvPr>
            <p:ph idx="1"/>
          </p:nvPr>
        </p:nvSpPr>
        <p:spPr>
          <a:xfrm>
            <a:off x="838200" y="1398494"/>
            <a:ext cx="10515600" cy="4778469"/>
          </a:xfrm>
        </p:spPr>
        <p:txBody>
          <a:bodyPr/>
          <a:lstStyle/>
          <a:p>
            <a:pPr marL="342900" lvl="0" indent="-342900">
              <a:spcBef>
                <a:spcPts val="230"/>
              </a:spcBef>
              <a:buSzPts val="1650"/>
              <a:buFont typeface="Calibri" panose="020F0502020204030204" pitchFamily="34" charset="0"/>
              <a:buAutoNum type="arabicPeriod"/>
              <a:tabLst>
                <a:tab pos="1365885" algn="l"/>
                <a:tab pos="1366520" algn="l"/>
              </a:tabLst>
            </a:pPr>
            <a:r>
              <a:rPr lang="fr-FR" sz="2400" dirty="0">
                <a:effectLst/>
                <a:latin typeface="Calibri" panose="020F0502020204030204" pitchFamily="34" charset="0"/>
                <a:ea typeface="Calibri" panose="020F0502020204030204" pitchFamily="34" charset="0"/>
              </a:rPr>
              <a:t>Un positionnement clair</a:t>
            </a:r>
            <a:endParaRPr lang="nl-NL" sz="1400" dirty="0">
              <a:effectLst/>
              <a:latin typeface="Calibri" panose="020F0502020204030204" pitchFamily="34" charset="0"/>
              <a:ea typeface="Calibri" panose="020F0502020204030204" pitchFamily="34" charset="0"/>
            </a:endParaRPr>
          </a:p>
          <a:p>
            <a:pPr marL="342900" lvl="0" indent="-342900">
              <a:spcBef>
                <a:spcPts val="230"/>
              </a:spcBef>
              <a:buSzPts val="1650"/>
              <a:buFont typeface="Calibri" panose="020F0502020204030204" pitchFamily="34" charset="0"/>
              <a:buAutoNum type="arabicPeriod"/>
              <a:tabLst>
                <a:tab pos="1365885" algn="l"/>
                <a:tab pos="1366520" algn="l"/>
              </a:tabLst>
            </a:pPr>
            <a:r>
              <a:rPr lang="fr-FR" sz="2400" dirty="0">
                <a:effectLst/>
                <a:latin typeface="Calibri" panose="020F0502020204030204" pitchFamily="34" charset="0"/>
                <a:ea typeface="Calibri" panose="020F0502020204030204" pitchFamily="34" charset="0"/>
              </a:rPr>
              <a:t>L'innovation, garantie par un solide plan de financement</a:t>
            </a:r>
            <a:endParaRPr lang="nl-NL" sz="1400" dirty="0">
              <a:effectLst/>
              <a:latin typeface="Calibri" panose="020F0502020204030204" pitchFamily="34" charset="0"/>
              <a:ea typeface="Calibri" panose="020F0502020204030204" pitchFamily="34" charset="0"/>
            </a:endParaRPr>
          </a:p>
          <a:p>
            <a:pPr marL="342900" lvl="0" indent="-342900">
              <a:spcBef>
                <a:spcPts val="230"/>
              </a:spcBef>
              <a:buSzPts val="1650"/>
              <a:buFont typeface="Calibri" panose="020F0502020204030204" pitchFamily="34" charset="0"/>
              <a:buAutoNum type="arabicPeriod"/>
              <a:tabLst>
                <a:tab pos="1365885" algn="l"/>
                <a:tab pos="1366520" algn="l"/>
              </a:tabLst>
            </a:pPr>
            <a:r>
              <a:rPr lang="fr-FR" sz="2400" dirty="0">
                <a:effectLst/>
                <a:latin typeface="Calibri" panose="020F0502020204030204" pitchFamily="34" charset="0"/>
                <a:ea typeface="Calibri" panose="020F0502020204030204" pitchFamily="34" charset="0"/>
              </a:rPr>
              <a:t>L'expérience client : priorité numéro 1</a:t>
            </a:r>
            <a:endParaRPr lang="nl-NL" sz="1400" dirty="0">
              <a:effectLst/>
              <a:latin typeface="Calibri" panose="020F0502020204030204" pitchFamily="34" charset="0"/>
              <a:ea typeface="Calibri" panose="020F0502020204030204" pitchFamily="34" charset="0"/>
            </a:endParaRPr>
          </a:p>
          <a:p>
            <a:pPr marL="342900" lvl="0" indent="-342900">
              <a:spcBef>
                <a:spcPts val="235"/>
              </a:spcBef>
              <a:buSzPts val="1650"/>
              <a:buFont typeface="Calibri" panose="020F0502020204030204" pitchFamily="34" charset="0"/>
              <a:buAutoNum type="arabicPeriod"/>
              <a:tabLst>
                <a:tab pos="1365885" algn="l"/>
                <a:tab pos="1366520" algn="l"/>
              </a:tabLst>
            </a:pPr>
            <a:r>
              <a:rPr lang="fr-FR" sz="2400" dirty="0">
                <a:effectLst/>
                <a:latin typeface="Calibri" panose="020F0502020204030204" pitchFamily="34" charset="0"/>
                <a:ea typeface="Calibri" panose="020F0502020204030204" pitchFamily="34" charset="0"/>
              </a:rPr>
              <a:t>Les ressources humaines, un domaine à investir</a:t>
            </a:r>
            <a:r>
              <a:rPr lang="fr-FR" sz="1400" dirty="0">
                <a:effectLst/>
                <a:latin typeface="Calibri" panose="020F0502020204030204" pitchFamily="34" charset="0"/>
                <a:ea typeface="Calibri" panose="020F0502020204030204" pitchFamily="34" charset="0"/>
              </a:rPr>
              <a:t> (Équipe satisfaite = Membres satisfaits)</a:t>
            </a:r>
            <a:endParaRPr lang="nl-NL" sz="1400" dirty="0">
              <a:effectLst/>
              <a:latin typeface="Calibri" panose="020F0502020204030204" pitchFamily="34" charset="0"/>
              <a:ea typeface="Calibri" panose="020F0502020204030204" pitchFamily="34" charset="0"/>
            </a:endParaRPr>
          </a:p>
          <a:p>
            <a:pPr marL="342900" lvl="0" indent="-342900">
              <a:spcBef>
                <a:spcPts val="230"/>
              </a:spcBef>
              <a:buSzPts val="1650"/>
              <a:buFont typeface="Calibri" panose="020F0502020204030204" pitchFamily="34" charset="0"/>
              <a:buAutoNum type="arabicPeriod"/>
              <a:tabLst>
                <a:tab pos="1365885" algn="l"/>
                <a:tab pos="1366520" algn="l"/>
              </a:tabLst>
            </a:pPr>
            <a:r>
              <a:rPr lang="fr-FR" sz="2400" dirty="0">
                <a:effectLst/>
                <a:latin typeface="Calibri" panose="020F0502020204030204" pitchFamily="34" charset="0"/>
                <a:ea typeface="Calibri" panose="020F0502020204030204" pitchFamily="34" charset="0"/>
              </a:rPr>
              <a:t>L’intégration de nouveaux membres, au cœur de tout</a:t>
            </a:r>
            <a:r>
              <a:rPr lang="fr-FR" sz="1400" dirty="0">
                <a:effectLst/>
                <a:latin typeface="Calibri" panose="020F0502020204030204" pitchFamily="34" charset="0"/>
                <a:ea typeface="Calibri" panose="020F0502020204030204" pitchFamily="34" charset="0"/>
              </a:rPr>
              <a:t> (les 90 premiers jours sont cruciaux)</a:t>
            </a:r>
            <a:endParaRPr lang="nl-NL" sz="1400" dirty="0">
              <a:effectLst/>
              <a:latin typeface="Calibri" panose="020F0502020204030204" pitchFamily="34" charset="0"/>
              <a:ea typeface="Calibri" panose="020F0502020204030204" pitchFamily="34" charset="0"/>
            </a:endParaRPr>
          </a:p>
          <a:p>
            <a:pPr marL="342900" lvl="0" indent="-342900">
              <a:spcBef>
                <a:spcPts val="230"/>
              </a:spcBef>
              <a:buSzPts val="1650"/>
              <a:buFont typeface="Calibri" panose="020F0502020204030204" pitchFamily="34" charset="0"/>
              <a:buAutoNum type="arabicPeriod"/>
              <a:tabLst>
                <a:tab pos="1365885" algn="l"/>
                <a:tab pos="1366520" algn="l"/>
              </a:tabLst>
            </a:pPr>
            <a:r>
              <a:rPr lang="fr-FR" sz="2400" dirty="0">
                <a:effectLst/>
                <a:latin typeface="Calibri" panose="020F0502020204030204" pitchFamily="34" charset="0"/>
                <a:ea typeface="Calibri" panose="020F0502020204030204" pitchFamily="34" charset="0"/>
              </a:rPr>
              <a:t>L’écoute : révèle ce qu’attendent les personnes </a:t>
            </a:r>
            <a:r>
              <a:rPr lang="fr-FR" sz="1800" dirty="0">
                <a:effectLst/>
                <a:latin typeface="Calibri" panose="020F0502020204030204" pitchFamily="34" charset="0"/>
                <a:ea typeface="Calibri" panose="020F0502020204030204" pitchFamily="34" charset="0"/>
              </a:rPr>
              <a:t>(Enquêtes de consommation)</a:t>
            </a:r>
            <a:endParaRPr lang="nl-NL" sz="1400" dirty="0">
              <a:effectLst/>
              <a:latin typeface="Calibri" panose="020F0502020204030204" pitchFamily="34" charset="0"/>
              <a:ea typeface="Calibri" panose="020F0502020204030204" pitchFamily="34" charset="0"/>
            </a:endParaRPr>
          </a:p>
          <a:p>
            <a:pPr marL="342900" lvl="0" indent="-342900">
              <a:spcBef>
                <a:spcPts val="230"/>
              </a:spcBef>
              <a:buSzPts val="1650"/>
              <a:buFont typeface="Calibri" panose="020F0502020204030204" pitchFamily="34" charset="0"/>
              <a:buAutoNum type="arabicPeriod"/>
              <a:tabLst>
                <a:tab pos="1365885" algn="l"/>
                <a:tab pos="1366520" algn="l"/>
              </a:tabLst>
            </a:pPr>
            <a:r>
              <a:rPr lang="fr-FR" sz="2400" dirty="0">
                <a:effectLst/>
                <a:latin typeface="Calibri" panose="020F0502020204030204" pitchFamily="34" charset="0"/>
                <a:ea typeface="Calibri" panose="020F0502020204030204" pitchFamily="34" charset="0"/>
              </a:rPr>
              <a:t>Un visage pour votre marque - les influenceurs</a:t>
            </a:r>
            <a:endParaRPr lang="nl-NL" sz="1400" dirty="0">
              <a:effectLst/>
              <a:latin typeface="Calibri" panose="020F0502020204030204" pitchFamily="34" charset="0"/>
              <a:ea typeface="Calibri" panose="020F0502020204030204" pitchFamily="34" charset="0"/>
            </a:endParaRPr>
          </a:p>
          <a:p>
            <a:pPr marL="342900" lvl="0" indent="-342900">
              <a:spcBef>
                <a:spcPts val="230"/>
              </a:spcBef>
              <a:buSzPts val="1650"/>
              <a:buFont typeface="Calibri" panose="020F0502020204030204" pitchFamily="34" charset="0"/>
              <a:buAutoNum type="arabicPeriod"/>
              <a:tabLst>
                <a:tab pos="1365885" algn="l"/>
                <a:tab pos="1366520" algn="l"/>
              </a:tabLst>
            </a:pPr>
            <a:r>
              <a:rPr lang="fr-FR" sz="2400" dirty="0">
                <a:effectLst/>
                <a:latin typeface="Calibri" panose="020F0502020204030204" pitchFamily="34" charset="0"/>
                <a:ea typeface="Calibri" panose="020F0502020204030204" pitchFamily="34" charset="0"/>
              </a:rPr>
              <a:t>Une communication client personnalisée ; intelligence artificielle et media sociaux - données !</a:t>
            </a:r>
            <a:endParaRPr lang="nl-NL" sz="1400" dirty="0">
              <a:effectLst/>
              <a:latin typeface="Calibri" panose="020F0502020204030204" pitchFamily="34" charset="0"/>
              <a:ea typeface="Calibri" panose="020F0502020204030204" pitchFamily="34" charset="0"/>
            </a:endParaRPr>
          </a:p>
          <a:p>
            <a:pPr marL="342900" lvl="0" indent="-342900">
              <a:spcBef>
                <a:spcPts val="230"/>
              </a:spcBef>
              <a:buSzPts val="1650"/>
              <a:buFont typeface="Calibri" panose="020F0502020204030204" pitchFamily="34" charset="0"/>
              <a:buAutoNum type="arabicPeriod"/>
              <a:tabLst>
                <a:tab pos="1365885" algn="l"/>
                <a:tab pos="1366520" algn="l"/>
              </a:tabLst>
            </a:pPr>
            <a:r>
              <a:rPr lang="fr-FR" sz="2400" dirty="0">
                <a:effectLst/>
                <a:latin typeface="Calibri" panose="020F0502020204030204" pitchFamily="34" charset="0"/>
                <a:ea typeface="Calibri" panose="020F0502020204030204" pitchFamily="34" charset="0"/>
              </a:rPr>
              <a:t>Une offre complémentaire en ligne de qualité ; hybride</a:t>
            </a:r>
            <a:endParaRPr lang="nl-NL" sz="1400" dirty="0">
              <a:effectLst/>
              <a:latin typeface="Calibri" panose="020F0502020204030204" pitchFamily="34" charset="0"/>
              <a:ea typeface="Calibri" panose="020F0502020204030204" pitchFamily="34" charset="0"/>
            </a:endParaRPr>
          </a:p>
          <a:p>
            <a:pPr marL="342900" lvl="0" indent="-342900">
              <a:spcBef>
                <a:spcPts val="235"/>
              </a:spcBef>
              <a:buSzPts val="1650"/>
              <a:buFont typeface="Calibri" panose="020F0502020204030204" pitchFamily="34" charset="0"/>
              <a:buAutoNum type="arabicPeriod"/>
              <a:tabLst>
                <a:tab pos="1366520" algn="l"/>
              </a:tabLst>
            </a:pPr>
            <a:r>
              <a:rPr lang="fr-FR" sz="2400" dirty="0">
                <a:effectLst/>
                <a:latin typeface="Calibri" panose="020F0502020204030204" pitchFamily="34" charset="0"/>
                <a:ea typeface="Calibri" panose="020F0502020204030204" pitchFamily="34" charset="0"/>
              </a:rPr>
              <a:t>La fidélité récompensée </a:t>
            </a:r>
            <a:r>
              <a:rPr lang="fr-FR" sz="1800" dirty="0">
                <a:effectLst/>
                <a:latin typeface="Calibri" panose="020F0502020204030204" pitchFamily="34" charset="0"/>
                <a:ea typeface="Calibri" panose="020F0502020204030204" pitchFamily="34" charset="0"/>
              </a:rPr>
              <a:t>(</a:t>
            </a:r>
            <a:r>
              <a:rPr lang="fr-FR" sz="1800" dirty="0" err="1">
                <a:effectLst/>
                <a:latin typeface="Calibri" panose="020F0502020204030204" pitchFamily="34" charset="0"/>
                <a:ea typeface="Calibri" panose="020F0502020204030204" pitchFamily="34" charset="0"/>
              </a:rPr>
              <a:t>Trainmore</a:t>
            </a:r>
            <a:r>
              <a:rPr lang="fr-FR" sz="1800" dirty="0">
                <a:effectLst/>
                <a:latin typeface="Calibri" panose="020F0502020204030204" pitchFamily="34" charset="0"/>
                <a:ea typeface="Calibri" panose="020F0502020204030204" pitchFamily="34" charset="0"/>
              </a:rPr>
              <a:t>, Programmes de fidélité des compagnies aériennes, Starbucks)</a:t>
            </a:r>
          </a:p>
          <a:p>
            <a:pPr marL="342900" lvl="0" indent="-342900">
              <a:spcBef>
                <a:spcPts val="235"/>
              </a:spcBef>
              <a:buSzPts val="1650"/>
              <a:buFont typeface="Calibri" panose="020F0502020204030204" pitchFamily="34" charset="0"/>
              <a:buAutoNum type="arabicPeriod"/>
              <a:tabLst>
                <a:tab pos="1366520" algn="l"/>
              </a:tabLst>
            </a:pPr>
            <a:endParaRPr lang="nl-NL" sz="1400" dirty="0">
              <a:effectLst/>
              <a:latin typeface="Calibri" panose="020F0502020204030204" pitchFamily="34" charset="0"/>
              <a:ea typeface="Calibri" panose="020F0502020204030204" pitchFamily="34" charset="0"/>
            </a:endParaRPr>
          </a:p>
          <a:p>
            <a:pPr marL="2492375" indent="0">
              <a:spcBef>
                <a:spcPts val="230"/>
              </a:spcBef>
              <a:spcAft>
                <a:spcPts val="0"/>
              </a:spcAft>
              <a:buNone/>
            </a:pPr>
            <a:r>
              <a:rPr lang="fr-FR" sz="2400" i="1" dirty="0">
                <a:effectLst/>
                <a:latin typeface="Calibri" panose="020F0502020204030204" pitchFamily="34" charset="0"/>
                <a:ea typeface="Calibri" panose="020F0502020204030204" pitchFamily="34" charset="0"/>
              </a:rPr>
              <a:t>« Connais ton client »</a:t>
            </a:r>
            <a:endParaRPr lang="nl-NL" sz="1400" dirty="0">
              <a:effectLst/>
              <a:latin typeface="Calibri" panose="020F0502020204030204" pitchFamily="34" charset="0"/>
              <a:ea typeface="Calibri" panose="020F0502020204030204" pitchFamily="34" charset="0"/>
            </a:endParaRPr>
          </a:p>
          <a:p>
            <a:pPr marL="0" indent="0">
              <a:buNone/>
            </a:pPr>
            <a:endParaRPr lang="nl-NL" dirty="0"/>
          </a:p>
        </p:txBody>
      </p:sp>
    </p:spTree>
    <p:extLst>
      <p:ext uri="{BB962C8B-B14F-4D97-AF65-F5344CB8AC3E}">
        <p14:creationId xmlns:p14="http://schemas.microsoft.com/office/powerpoint/2010/main" val="42159732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fade">
                                      <p:cBhvr>
                                        <p:cTn id="14" dur="1000"/>
                                        <p:tgtEl>
                                          <p:spTgt spid="3">
                                            <p:txEl>
                                              <p:pRg st="0" end="0"/>
                                            </p:txEl>
                                          </p:spTgt>
                                        </p:tgtEl>
                                      </p:cBhvr>
                                    </p:animEffect>
                                    <p:anim calcmode="lin" valueType="num">
                                      <p:cBhvr>
                                        <p:cTn id="15"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1" end="1"/>
                                            </p:txEl>
                                          </p:spTgt>
                                        </p:tgtEl>
                                        <p:attrNameLst>
                                          <p:attrName>style.visibility</p:attrName>
                                        </p:attrNameLst>
                                      </p:cBhvr>
                                      <p:to>
                                        <p:strVal val="visible"/>
                                      </p:to>
                                    </p:set>
                                    <p:animEffect transition="in" filter="fade">
                                      <p:cBhvr>
                                        <p:cTn id="21" dur="1000"/>
                                        <p:tgtEl>
                                          <p:spTgt spid="3">
                                            <p:txEl>
                                              <p:pRg st="1" end="1"/>
                                            </p:txEl>
                                          </p:spTgt>
                                        </p:tgtEl>
                                      </p:cBhvr>
                                    </p:animEffect>
                                    <p:anim calcmode="lin" valueType="num">
                                      <p:cBhvr>
                                        <p:cTn id="22"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2" end="2"/>
                                            </p:txEl>
                                          </p:spTgt>
                                        </p:tgtEl>
                                        <p:attrNameLst>
                                          <p:attrName>style.visibility</p:attrName>
                                        </p:attrNameLst>
                                      </p:cBhvr>
                                      <p:to>
                                        <p:strVal val="visible"/>
                                      </p:to>
                                    </p:set>
                                    <p:animEffect transition="in" filter="fade">
                                      <p:cBhvr>
                                        <p:cTn id="28" dur="1000"/>
                                        <p:tgtEl>
                                          <p:spTgt spid="3">
                                            <p:txEl>
                                              <p:pRg st="2" end="2"/>
                                            </p:txEl>
                                          </p:spTgt>
                                        </p:tgtEl>
                                      </p:cBhvr>
                                    </p:animEffect>
                                    <p:anim calcmode="lin" valueType="num">
                                      <p:cBhvr>
                                        <p:cTn id="29"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3" end="3"/>
                                            </p:txEl>
                                          </p:spTgt>
                                        </p:tgtEl>
                                        <p:attrNameLst>
                                          <p:attrName>style.visibility</p:attrName>
                                        </p:attrNameLst>
                                      </p:cBhvr>
                                      <p:to>
                                        <p:strVal val="visible"/>
                                      </p:to>
                                    </p:set>
                                    <p:animEffect transition="in" filter="fade">
                                      <p:cBhvr>
                                        <p:cTn id="35" dur="1000"/>
                                        <p:tgtEl>
                                          <p:spTgt spid="3">
                                            <p:txEl>
                                              <p:pRg st="3" end="3"/>
                                            </p:txEl>
                                          </p:spTgt>
                                        </p:tgtEl>
                                      </p:cBhvr>
                                    </p:animEffect>
                                    <p:anim calcmode="lin" valueType="num">
                                      <p:cBhvr>
                                        <p:cTn id="36"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4" end="4"/>
                                            </p:txEl>
                                          </p:spTgt>
                                        </p:tgtEl>
                                        <p:attrNameLst>
                                          <p:attrName>style.visibility</p:attrName>
                                        </p:attrNameLst>
                                      </p:cBhvr>
                                      <p:to>
                                        <p:strVal val="visible"/>
                                      </p:to>
                                    </p:set>
                                    <p:animEffect transition="in" filter="fade">
                                      <p:cBhvr>
                                        <p:cTn id="42" dur="1000"/>
                                        <p:tgtEl>
                                          <p:spTgt spid="3">
                                            <p:txEl>
                                              <p:pRg st="4" end="4"/>
                                            </p:txEl>
                                          </p:spTgt>
                                        </p:tgtEl>
                                      </p:cBhvr>
                                    </p:animEffect>
                                    <p:anim calcmode="lin" valueType="num">
                                      <p:cBhvr>
                                        <p:cTn id="43"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3">
                                            <p:txEl>
                                              <p:pRg st="5" end="5"/>
                                            </p:txEl>
                                          </p:spTgt>
                                        </p:tgtEl>
                                        <p:attrNameLst>
                                          <p:attrName>style.visibility</p:attrName>
                                        </p:attrNameLst>
                                      </p:cBhvr>
                                      <p:to>
                                        <p:strVal val="visible"/>
                                      </p:to>
                                    </p:set>
                                    <p:animEffect transition="in" filter="fade">
                                      <p:cBhvr>
                                        <p:cTn id="49" dur="1000"/>
                                        <p:tgtEl>
                                          <p:spTgt spid="3">
                                            <p:txEl>
                                              <p:pRg st="5" end="5"/>
                                            </p:txEl>
                                          </p:spTgt>
                                        </p:tgtEl>
                                      </p:cBhvr>
                                    </p:animEffect>
                                    <p:anim calcmode="lin" valueType="num">
                                      <p:cBhvr>
                                        <p:cTn id="50"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3">
                                            <p:txEl>
                                              <p:pRg st="6" end="6"/>
                                            </p:txEl>
                                          </p:spTgt>
                                        </p:tgtEl>
                                        <p:attrNameLst>
                                          <p:attrName>style.visibility</p:attrName>
                                        </p:attrNameLst>
                                      </p:cBhvr>
                                      <p:to>
                                        <p:strVal val="visible"/>
                                      </p:to>
                                    </p:set>
                                    <p:animEffect transition="in" filter="fade">
                                      <p:cBhvr>
                                        <p:cTn id="56" dur="1000"/>
                                        <p:tgtEl>
                                          <p:spTgt spid="3">
                                            <p:txEl>
                                              <p:pRg st="6" end="6"/>
                                            </p:txEl>
                                          </p:spTgt>
                                        </p:tgtEl>
                                      </p:cBhvr>
                                    </p:animEffect>
                                    <p:anim calcmode="lin" valueType="num">
                                      <p:cBhvr>
                                        <p:cTn id="57"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3">
                                            <p:txEl>
                                              <p:pRg st="7" end="7"/>
                                            </p:txEl>
                                          </p:spTgt>
                                        </p:tgtEl>
                                        <p:attrNameLst>
                                          <p:attrName>style.visibility</p:attrName>
                                        </p:attrNameLst>
                                      </p:cBhvr>
                                      <p:to>
                                        <p:strVal val="visible"/>
                                      </p:to>
                                    </p:set>
                                    <p:animEffect transition="in" filter="fade">
                                      <p:cBhvr>
                                        <p:cTn id="63" dur="1000"/>
                                        <p:tgtEl>
                                          <p:spTgt spid="3">
                                            <p:txEl>
                                              <p:pRg st="7" end="7"/>
                                            </p:txEl>
                                          </p:spTgt>
                                        </p:tgtEl>
                                      </p:cBhvr>
                                    </p:animEffect>
                                    <p:anim calcmode="lin" valueType="num">
                                      <p:cBhvr>
                                        <p:cTn id="64"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65"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3">
                                            <p:txEl>
                                              <p:pRg st="8" end="8"/>
                                            </p:txEl>
                                          </p:spTgt>
                                        </p:tgtEl>
                                        <p:attrNameLst>
                                          <p:attrName>style.visibility</p:attrName>
                                        </p:attrNameLst>
                                      </p:cBhvr>
                                      <p:to>
                                        <p:strVal val="visible"/>
                                      </p:to>
                                    </p:set>
                                    <p:animEffect transition="in" filter="fade">
                                      <p:cBhvr>
                                        <p:cTn id="70" dur="1000"/>
                                        <p:tgtEl>
                                          <p:spTgt spid="3">
                                            <p:txEl>
                                              <p:pRg st="8" end="8"/>
                                            </p:txEl>
                                          </p:spTgt>
                                        </p:tgtEl>
                                      </p:cBhvr>
                                    </p:animEffect>
                                    <p:anim calcmode="lin" valueType="num">
                                      <p:cBhvr>
                                        <p:cTn id="71"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72"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nodeType="clickEffect">
                                  <p:stCondLst>
                                    <p:cond delay="0"/>
                                  </p:stCondLst>
                                  <p:childTnLst>
                                    <p:set>
                                      <p:cBhvr>
                                        <p:cTn id="76" dur="1" fill="hold">
                                          <p:stCondLst>
                                            <p:cond delay="0"/>
                                          </p:stCondLst>
                                        </p:cTn>
                                        <p:tgtEl>
                                          <p:spTgt spid="3">
                                            <p:txEl>
                                              <p:pRg st="9" end="9"/>
                                            </p:txEl>
                                          </p:spTgt>
                                        </p:tgtEl>
                                        <p:attrNameLst>
                                          <p:attrName>style.visibility</p:attrName>
                                        </p:attrNameLst>
                                      </p:cBhvr>
                                      <p:to>
                                        <p:strVal val="visible"/>
                                      </p:to>
                                    </p:set>
                                    <p:animEffect transition="in" filter="fade">
                                      <p:cBhvr>
                                        <p:cTn id="77" dur="1000"/>
                                        <p:tgtEl>
                                          <p:spTgt spid="3">
                                            <p:txEl>
                                              <p:pRg st="9" end="9"/>
                                            </p:txEl>
                                          </p:spTgt>
                                        </p:tgtEl>
                                      </p:cBhvr>
                                    </p:animEffect>
                                    <p:anim calcmode="lin" valueType="num">
                                      <p:cBhvr>
                                        <p:cTn id="78"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79" dur="1000" fill="hold"/>
                                        <p:tgtEl>
                                          <p:spTgt spid="3">
                                            <p:txEl>
                                              <p:pRg st="9" end="9"/>
                                            </p:txEl>
                                          </p:spTgt>
                                        </p:tgtEl>
                                        <p:attrNameLst>
                                          <p:attrName>ppt_y</p:attrName>
                                        </p:attrNameLst>
                                      </p:cBhvr>
                                      <p:tavLst>
                                        <p:tav tm="0">
                                          <p:val>
                                            <p:strVal val="#ppt_y+.1"/>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nodeType="clickEffect">
                                  <p:stCondLst>
                                    <p:cond delay="0"/>
                                  </p:stCondLst>
                                  <p:childTnLst>
                                    <p:set>
                                      <p:cBhvr>
                                        <p:cTn id="83" dur="1" fill="hold">
                                          <p:stCondLst>
                                            <p:cond delay="0"/>
                                          </p:stCondLst>
                                        </p:cTn>
                                        <p:tgtEl>
                                          <p:spTgt spid="3">
                                            <p:txEl>
                                              <p:pRg st="11" end="11"/>
                                            </p:txEl>
                                          </p:spTgt>
                                        </p:tgtEl>
                                        <p:attrNameLst>
                                          <p:attrName>style.visibility</p:attrName>
                                        </p:attrNameLst>
                                      </p:cBhvr>
                                      <p:to>
                                        <p:strVal val="visible"/>
                                      </p:to>
                                    </p:set>
                                    <p:animEffect transition="in" filter="fade">
                                      <p:cBhvr>
                                        <p:cTn id="84" dur="1000"/>
                                        <p:tgtEl>
                                          <p:spTgt spid="3">
                                            <p:txEl>
                                              <p:pRg st="11" end="11"/>
                                            </p:txEl>
                                          </p:spTgt>
                                        </p:tgtEl>
                                      </p:cBhvr>
                                    </p:animEffect>
                                    <p:anim calcmode="lin" valueType="num">
                                      <p:cBhvr>
                                        <p:cTn id="85"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86" dur="1000" fill="hold"/>
                                        <p:tgtEl>
                                          <p:spTgt spid="3">
                                            <p:txEl>
                                              <p:pRg st="11" end="1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extLst>
              <p:ext uri="{D42A27DB-BD31-4B8C-83A1-F6EECF244321}">
                <p14:modId xmlns:p14="http://schemas.microsoft.com/office/powerpoint/2010/main" val="3156635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93" imgH="493" progId="TCLayout.ActiveDocument.1">
                  <p:embed/>
                </p:oleObj>
              </mc:Choice>
              <mc:Fallback>
                <p:oleObj name="think-cell Folie" r:id="rId5" imgW="493" imgH="493" progId="TCLayout.ActiveDocument.1">
                  <p:embed/>
                  <p:pic>
                    <p:nvPicPr>
                      <p:cNvPr id="10" name="Object 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spcBef>
                <a:spcPct val="0"/>
              </a:spcBef>
              <a:spcAft>
                <a:spcPct val="0"/>
              </a:spcAft>
              <a:buFont typeface="Wingdings 2" pitchFamily="18" charset="2"/>
              <a:buNone/>
            </a:pPr>
            <a:endParaRPr lang="en-US" sz="1800" b="1" dirty="0">
              <a:solidFill>
                <a:schemeClr val="bg1"/>
              </a:solidFill>
              <a:latin typeface="Verdana" panose="020B0604030504040204" pitchFamily="34" charset="0"/>
              <a:sym typeface="Verdana" panose="020B0604030504040204" pitchFamily="34" charset="0"/>
            </a:endParaRPr>
          </a:p>
        </p:txBody>
      </p:sp>
      <p:sp>
        <p:nvSpPr>
          <p:cNvPr id="3" name="Title 2"/>
          <p:cNvSpPr>
            <a:spLocks noGrp="1"/>
          </p:cNvSpPr>
          <p:nvPr>
            <p:ph type="ctrTitle"/>
          </p:nvPr>
        </p:nvSpPr>
        <p:spPr>
          <a:xfrm>
            <a:off x="475325" y="5249050"/>
            <a:ext cx="5594349" cy="582086"/>
          </a:xfrm>
        </p:spPr>
        <p:txBody>
          <a:bodyPr vert="horz"/>
          <a:lstStyle/>
          <a:p>
            <a:endParaRPr lang="en-US" noProof="0" dirty="0">
              <a:solidFill>
                <a:schemeClr val="bg1"/>
              </a:solidFill>
            </a:endParaRPr>
          </a:p>
        </p:txBody>
      </p:sp>
      <p:sp>
        <p:nvSpPr>
          <p:cNvPr id="4" name="Subtitle 3"/>
          <p:cNvSpPr>
            <a:spLocks noGrp="1"/>
          </p:cNvSpPr>
          <p:nvPr>
            <p:ph type="subTitle" idx="1"/>
          </p:nvPr>
        </p:nvSpPr>
        <p:spPr>
          <a:xfrm>
            <a:off x="475325" y="5822600"/>
            <a:ext cx="5594348" cy="258759"/>
          </a:xfrm>
        </p:spPr>
        <p:txBody>
          <a:bodyPr/>
          <a:lstStyle/>
          <a:p>
            <a:endParaRPr lang="en-US" noProof="0" dirty="0">
              <a:solidFill>
                <a:schemeClr val="bg1"/>
              </a:solidFill>
            </a:endParaRPr>
          </a:p>
        </p:txBody>
      </p:sp>
      <p:sp>
        <p:nvSpPr>
          <p:cNvPr id="25" name="Title 2"/>
          <p:cNvSpPr txBox="1">
            <a:spLocks/>
          </p:cNvSpPr>
          <p:nvPr/>
        </p:nvSpPr>
        <p:spPr bwMode="gray">
          <a:xfrm>
            <a:off x="3908822" y="3185650"/>
            <a:ext cx="4374356" cy="4867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algn="ctr"/>
            <a:r>
              <a:rPr lang="en-US" sz="2800" dirty="0">
                <a:solidFill>
                  <a:schemeClr val="bg1"/>
                </a:solidFill>
              </a:rPr>
              <a:t>Merci !</a:t>
            </a:r>
          </a:p>
          <a:p>
            <a:pPr algn="ctr"/>
            <a:endParaRPr lang="en-US" sz="2800" dirty="0">
              <a:solidFill>
                <a:schemeClr val="bg1"/>
              </a:solidFill>
            </a:endParaRPr>
          </a:p>
          <a:p>
            <a:pPr algn="ctr"/>
            <a:r>
              <a:rPr lang="en-US" sz="2800" dirty="0">
                <a:solidFill>
                  <a:schemeClr val="bg1"/>
                </a:solidFill>
              </a:rPr>
              <a:t>Des questions ?</a:t>
            </a:r>
          </a:p>
        </p:txBody>
      </p:sp>
      <p:pic>
        <p:nvPicPr>
          <p:cNvPr id="27" name="Picture 2"/>
          <p:cNvPicPr>
            <a:picLocks noChangeAspect="1" noChangeArrowheads="1"/>
          </p:cNvPicPr>
          <p:nvPr/>
        </p:nvPicPr>
        <p:blipFill>
          <a:blip r:embed="rId7" cstate="print">
            <a:clrChange>
              <a:clrFrom>
                <a:srgbClr val="FCFCFC"/>
              </a:clrFrom>
              <a:clrTo>
                <a:srgbClr val="FCFCFC">
                  <a:alpha val="0"/>
                </a:srgbClr>
              </a:clrTo>
            </a:clrChange>
            <a:extLst>
              <a:ext uri="{28A0092B-C50C-407E-A947-70E740481C1C}">
                <a14:useLocalDpi xmlns:a14="http://schemas.microsoft.com/office/drawing/2010/main"/>
              </a:ext>
            </a:extLst>
          </a:blip>
          <a:srcRect/>
          <a:stretch>
            <a:fillRect/>
          </a:stretch>
        </p:blipFill>
        <p:spPr bwMode="auto">
          <a:xfrm>
            <a:off x="8005863" y="1317907"/>
            <a:ext cx="898101" cy="5540093"/>
          </a:xfrm>
          <a:prstGeom prst="rect">
            <a:avLst/>
          </a:prstGeom>
          <a:noFill/>
        </p:spPr>
      </p:pic>
      <p:sp>
        <p:nvSpPr>
          <p:cNvPr id="8" name="Textplatzhalter 7">
            <a:extLst>
              <a:ext uri="{FF2B5EF4-FFF2-40B4-BE49-F238E27FC236}">
                <a16:creationId xmlns:a16="http://schemas.microsoft.com/office/drawing/2014/main" id="{56564DD8-E113-485C-A54F-B65663509D5C}"/>
              </a:ext>
            </a:extLst>
          </p:cNvPr>
          <p:cNvSpPr>
            <a:spLocks noGrp="1"/>
          </p:cNvSpPr>
          <p:nvPr>
            <p:ph type="body" sz="quarter" idx="10"/>
          </p:nvPr>
        </p:nvSpPr>
        <p:spPr/>
        <p:txBody>
          <a:bodyPr/>
          <a:lstStyle/>
          <a:p>
            <a:endParaRPr lang="de-DE" dirty="0"/>
          </a:p>
        </p:txBody>
      </p:sp>
    </p:spTree>
    <p:extLst>
      <p:ext uri="{BB962C8B-B14F-4D97-AF65-F5344CB8AC3E}">
        <p14:creationId xmlns:p14="http://schemas.microsoft.com/office/powerpoint/2010/main" val="1947280438"/>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48E0C3-783C-6C04-5E6F-A1F45B43C5C3}"/>
              </a:ext>
            </a:extLst>
          </p:cNvPr>
          <p:cNvSpPr>
            <a:spLocks noGrp="1"/>
          </p:cNvSpPr>
          <p:nvPr>
            <p:ph type="title"/>
          </p:nvPr>
        </p:nvSpPr>
        <p:spPr>
          <a:xfrm>
            <a:off x="469900" y="402585"/>
            <a:ext cx="11252200" cy="4875386"/>
          </a:xfrm>
        </p:spPr>
        <p:txBody>
          <a:bodyPr/>
          <a:lstStyle/>
          <a:p>
            <a:r>
              <a:rPr lang="nl-NL" sz="2800" b="1" dirty="0" err="1">
                <a:solidFill>
                  <a:srgbClr val="FF0000"/>
                </a:solidFill>
              </a:rPr>
              <a:t>Ordre</a:t>
            </a:r>
            <a:r>
              <a:rPr lang="nl-NL" sz="2800" b="1" dirty="0">
                <a:solidFill>
                  <a:srgbClr val="FF0000"/>
                </a:solidFill>
              </a:rPr>
              <a:t> du jour</a:t>
            </a:r>
            <a:br>
              <a:rPr lang="nl-NL" dirty="0"/>
            </a:br>
            <a:br>
              <a:rPr lang="nl-NL" dirty="0"/>
            </a:br>
            <a:br>
              <a:rPr lang="nl-NL" dirty="0"/>
            </a:br>
            <a:br>
              <a:rPr lang="nl-NL" dirty="0"/>
            </a:br>
            <a:r>
              <a:rPr lang="nl-NL" dirty="0"/>
              <a:t>March</a:t>
            </a:r>
            <a:r>
              <a:rPr lang="nl-NL" sz="2400" dirty="0">
                <a:latin typeface="Calibri" panose="020F0502020204030204" pitchFamily="34" charset="0"/>
                <a:cs typeface="Calibri" panose="020F0502020204030204" pitchFamily="34" charset="0"/>
              </a:rPr>
              <a:t>é</a:t>
            </a:r>
            <a:r>
              <a:rPr lang="nl-NL" dirty="0"/>
              <a:t> </a:t>
            </a:r>
            <a:r>
              <a:rPr lang="nl-NL" dirty="0" err="1"/>
              <a:t>Européen</a:t>
            </a:r>
            <a:r>
              <a:rPr lang="nl-NL" dirty="0"/>
              <a:t> en 2021</a:t>
            </a:r>
            <a:br>
              <a:rPr lang="nl-NL" dirty="0"/>
            </a:br>
            <a:br>
              <a:rPr lang="nl-NL" dirty="0"/>
            </a:br>
            <a:r>
              <a:rPr lang="nl-NL" dirty="0" err="1"/>
              <a:t>Évolutions</a:t>
            </a:r>
            <a:r>
              <a:rPr lang="nl-NL" dirty="0"/>
              <a:t> 2022</a:t>
            </a:r>
            <a:br>
              <a:rPr lang="nl-NL" dirty="0"/>
            </a:br>
            <a:br>
              <a:rPr lang="nl-NL" dirty="0"/>
            </a:br>
            <a:r>
              <a:rPr lang="nl-NL" dirty="0"/>
              <a:t>Enquête </a:t>
            </a:r>
            <a:r>
              <a:rPr lang="nl-NL" dirty="0" err="1"/>
              <a:t>consommateurs</a:t>
            </a:r>
            <a:br>
              <a:rPr lang="nl-NL" dirty="0"/>
            </a:br>
            <a:br>
              <a:rPr lang="nl-NL" dirty="0"/>
            </a:br>
            <a:r>
              <a:rPr lang="nl-NL" dirty="0" err="1"/>
              <a:t>Eurobarometre</a:t>
            </a:r>
            <a:r>
              <a:rPr lang="nl-NL" dirty="0"/>
              <a:t> 2022</a:t>
            </a:r>
            <a:br>
              <a:rPr lang="nl-NL" dirty="0"/>
            </a:br>
            <a:br>
              <a:rPr lang="nl-NL" dirty="0"/>
            </a:br>
            <a:r>
              <a:rPr lang="nl-NL" dirty="0" err="1"/>
              <a:t>Conseils</a:t>
            </a:r>
            <a:r>
              <a:rPr lang="nl-NL" dirty="0"/>
              <a:t> pour </a:t>
            </a:r>
            <a:r>
              <a:rPr lang="nl-NL" dirty="0" err="1"/>
              <a:t>réussir</a:t>
            </a:r>
            <a:br>
              <a:rPr lang="nl-NL" dirty="0"/>
            </a:br>
            <a:br>
              <a:rPr lang="nl-NL" dirty="0"/>
            </a:br>
            <a:r>
              <a:rPr lang="nl-NL" dirty="0" err="1"/>
              <a:t>Questions</a:t>
            </a:r>
            <a:r>
              <a:rPr lang="nl-NL" dirty="0"/>
              <a:t>/</a:t>
            </a:r>
            <a:r>
              <a:rPr lang="nl-NL" dirty="0" err="1"/>
              <a:t>Réponses</a:t>
            </a:r>
            <a:endParaRPr lang="nl-NL" dirty="0"/>
          </a:p>
        </p:txBody>
      </p:sp>
    </p:spTree>
    <p:extLst>
      <p:ext uri="{BB962C8B-B14F-4D97-AF65-F5344CB8AC3E}">
        <p14:creationId xmlns:p14="http://schemas.microsoft.com/office/powerpoint/2010/main" val="1071821550"/>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3" imgH="493" progId="TCLayout.ActiveDocument.1">
                  <p:embed/>
                </p:oleObj>
              </mc:Choice>
              <mc:Fallback>
                <p:oleObj name="think-cell Folie" r:id="rId4" imgW="493" imgH="493"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503" name="Picture 239" descr="https://www.europeactive.eu/sites/default/files/banner-3.jp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1" y="1451321"/>
            <a:ext cx="12192001" cy="3274056"/>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79"/>
          <p:cNvSpPr/>
          <p:nvPr/>
        </p:nvSpPr>
        <p:spPr bwMode="gray">
          <a:xfrm>
            <a:off x="0" y="4700249"/>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 name="Rectangle 4"/>
          <p:cNvSpPr/>
          <p:nvPr/>
        </p:nvSpPr>
        <p:spPr bwMode="gray">
          <a:xfrm>
            <a:off x="0" y="3099279"/>
            <a:ext cx="12192000" cy="1600970"/>
          </a:xfrm>
          <a:prstGeom prst="rect">
            <a:avLst/>
          </a:prstGeom>
          <a:solidFill>
            <a:schemeClr val="accent5">
              <a:lumMod val="50000"/>
              <a:alpha val="7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0" name="Rectangle 19"/>
          <p:cNvSpPr/>
          <p:nvPr/>
        </p:nvSpPr>
        <p:spPr bwMode="gray">
          <a:xfrm>
            <a:off x="0" y="1449659"/>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6" name="Group 5">
            <a:extLst>
              <a:ext uri="{FF2B5EF4-FFF2-40B4-BE49-F238E27FC236}">
                <a16:creationId xmlns:a16="http://schemas.microsoft.com/office/drawing/2014/main" id="{8781160B-C19E-4C11-8CA1-16B926523325}"/>
              </a:ext>
            </a:extLst>
          </p:cNvPr>
          <p:cNvGrpSpPr/>
          <p:nvPr/>
        </p:nvGrpSpPr>
        <p:grpSpPr>
          <a:xfrm>
            <a:off x="3614580" y="2697590"/>
            <a:ext cx="1850140" cy="3166979"/>
            <a:chOff x="2818464" y="2697590"/>
            <a:chExt cx="1850140" cy="3166979"/>
          </a:xfrm>
        </p:grpSpPr>
        <p:grpSp>
          <p:nvGrpSpPr>
            <p:cNvPr id="11584" name="Group 11583"/>
            <p:cNvGrpSpPr/>
            <p:nvPr/>
          </p:nvGrpSpPr>
          <p:grpSpPr>
            <a:xfrm>
              <a:off x="2818464" y="2697590"/>
              <a:ext cx="1850140" cy="2808149"/>
              <a:chOff x="2818464" y="2701400"/>
              <a:chExt cx="1850140" cy="2808149"/>
            </a:xfrm>
          </p:grpSpPr>
          <p:grpSp>
            <p:nvGrpSpPr>
              <p:cNvPr id="68" name="Group 67"/>
              <p:cNvGrpSpPr/>
              <p:nvPr/>
            </p:nvGrpSpPr>
            <p:grpSpPr>
              <a:xfrm>
                <a:off x="2836626" y="2701400"/>
                <a:ext cx="1828338" cy="2590143"/>
                <a:chOff x="565396" y="1866355"/>
                <a:chExt cx="1750030" cy="2479207"/>
              </a:xfrm>
              <a:solidFill>
                <a:schemeClr val="tx1">
                  <a:alpha val="35000"/>
                </a:schemeClr>
              </a:solidFill>
            </p:grpSpPr>
            <p:sp>
              <p:nvSpPr>
                <p:cNvPr id="69" name="Freeform 245"/>
                <p:cNvSpPr>
                  <a:spLocks noEditPoints="1"/>
                </p:cNvSpPr>
                <p:nvPr/>
              </p:nvSpPr>
              <p:spPr bwMode="auto">
                <a:xfrm>
                  <a:off x="565396" y="1866355"/>
                  <a:ext cx="1624610" cy="2371289"/>
                </a:xfrm>
                <a:custGeom>
                  <a:avLst/>
                  <a:gdLst>
                    <a:gd name="T0" fmla="*/ 1337 w 1607"/>
                    <a:gd name="T1" fmla="*/ 964 h 2344"/>
                    <a:gd name="T2" fmla="*/ 866 w 1607"/>
                    <a:gd name="T3" fmla="*/ 825 h 2344"/>
                    <a:gd name="T4" fmla="*/ 394 w 1607"/>
                    <a:gd name="T5" fmla="*/ 964 h 2344"/>
                    <a:gd name="T6" fmla="*/ 309 w 1607"/>
                    <a:gd name="T7" fmla="*/ 742 h 2344"/>
                    <a:gd name="T8" fmla="*/ 866 w 1607"/>
                    <a:gd name="T9" fmla="*/ 323 h 2344"/>
                    <a:gd name="T10" fmla="*/ 1422 w 1607"/>
                    <a:gd name="T11" fmla="*/ 742 h 2344"/>
                    <a:gd name="T12" fmla="*/ 1337 w 1607"/>
                    <a:gd name="T13" fmla="*/ 964 h 2344"/>
                    <a:gd name="T14" fmla="*/ 1509 w 1607"/>
                    <a:gd name="T15" fmla="*/ 1111 h 2344"/>
                    <a:gd name="T16" fmla="*/ 1607 w 1607"/>
                    <a:gd name="T17" fmla="*/ 742 h 2344"/>
                    <a:gd name="T18" fmla="*/ 866 w 1607"/>
                    <a:gd name="T19" fmla="*/ 0 h 2344"/>
                    <a:gd name="T20" fmla="*/ 124 w 1607"/>
                    <a:gd name="T21" fmla="*/ 742 h 2344"/>
                    <a:gd name="T22" fmla="*/ 222 w 1607"/>
                    <a:gd name="T23" fmla="*/ 1111 h 2344"/>
                    <a:gd name="T24" fmla="*/ 0 w 1607"/>
                    <a:gd name="T25" fmla="*/ 1690 h 2344"/>
                    <a:gd name="T26" fmla="*/ 281 w 1607"/>
                    <a:gd name="T27" fmla="*/ 2328 h 2344"/>
                    <a:gd name="T28" fmla="*/ 296 w 1607"/>
                    <a:gd name="T29" fmla="*/ 2344 h 2344"/>
                    <a:gd name="T30" fmla="*/ 1518 w 1607"/>
                    <a:gd name="T31" fmla="*/ 1122 h 2344"/>
                    <a:gd name="T32" fmla="*/ 1509 w 1607"/>
                    <a:gd name="T33" fmla="*/ 1111 h 2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7" h="2344">
                      <a:moveTo>
                        <a:pt x="1337" y="964"/>
                      </a:moveTo>
                      <a:cubicBezTo>
                        <a:pt x="1202" y="876"/>
                        <a:pt x="1039" y="825"/>
                        <a:pt x="866" y="825"/>
                      </a:cubicBezTo>
                      <a:cubicBezTo>
                        <a:pt x="692" y="825"/>
                        <a:pt x="530" y="876"/>
                        <a:pt x="394" y="964"/>
                      </a:cubicBezTo>
                      <a:cubicBezTo>
                        <a:pt x="340" y="900"/>
                        <a:pt x="309" y="824"/>
                        <a:pt x="309" y="742"/>
                      </a:cubicBezTo>
                      <a:cubicBezTo>
                        <a:pt x="309" y="511"/>
                        <a:pt x="558" y="323"/>
                        <a:pt x="866" y="323"/>
                      </a:cubicBezTo>
                      <a:cubicBezTo>
                        <a:pt x="1173" y="323"/>
                        <a:pt x="1422" y="511"/>
                        <a:pt x="1422" y="742"/>
                      </a:cubicBezTo>
                      <a:cubicBezTo>
                        <a:pt x="1422" y="824"/>
                        <a:pt x="1391" y="900"/>
                        <a:pt x="1337" y="964"/>
                      </a:cubicBezTo>
                      <a:moveTo>
                        <a:pt x="1509" y="1111"/>
                      </a:moveTo>
                      <a:cubicBezTo>
                        <a:pt x="1571" y="1002"/>
                        <a:pt x="1607" y="876"/>
                        <a:pt x="1607" y="742"/>
                      </a:cubicBezTo>
                      <a:cubicBezTo>
                        <a:pt x="1607" y="332"/>
                        <a:pt x="1275" y="0"/>
                        <a:pt x="866" y="0"/>
                      </a:cubicBezTo>
                      <a:cubicBezTo>
                        <a:pt x="456" y="0"/>
                        <a:pt x="124" y="332"/>
                        <a:pt x="124" y="742"/>
                      </a:cubicBezTo>
                      <a:cubicBezTo>
                        <a:pt x="124" y="876"/>
                        <a:pt x="159" y="1002"/>
                        <a:pt x="222" y="1111"/>
                      </a:cubicBezTo>
                      <a:cubicBezTo>
                        <a:pt x="84" y="1265"/>
                        <a:pt x="0" y="1467"/>
                        <a:pt x="0" y="1690"/>
                      </a:cubicBezTo>
                      <a:cubicBezTo>
                        <a:pt x="0" y="1943"/>
                        <a:pt x="108" y="2170"/>
                        <a:pt x="281" y="2328"/>
                      </a:cubicBezTo>
                      <a:cubicBezTo>
                        <a:pt x="286" y="2334"/>
                        <a:pt x="291" y="2339"/>
                        <a:pt x="296" y="2344"/>
                      </a:cubicBezTo>
                      <a:lnTo>
                        <a:pt x="1518" y="1122"/>
                      </a:lnTo>
                      <a:cubicBezTo>
                        <a:pt x="1515" y="1118"/>
                        <a:pt x="1512" y="1115"/>
                        <a:pt x="1509" y="1111"/>
                      </a:cubicBezTo>
                    </a:path>
                  </a:pathLst>
                </a:custGeom>
                <a:grpFill/>
                <a:ln>
                  <a:noFill/>
                </a:ln>
                <a:effectLst>
                  <a:softEdge rad="63500"/>
                </a:effectLst>
              </p:spPr>
              <p:txBody>
                <a:bodyPr vert="horz" wrap="square" lIns="91440" tIns="45720" rIns="91440" bIns="45720" numCol="1" anchor="t" anchorCtr="0" compatLnSpc="1">
                  <a:prstTxWarp prst="textNoShape">
                    <a:avLst/>
                  </a:prstTxWarp>
                </a:bodyPr>
                <a:lstStyle/>
                <a:p>
                  <a:endParaRPr lang="en-GB" dirty="0"/>
                </a:p>
              </p:txBody>
            </p:sp>
            <p:sp>
              <p:nvSpPr>
                <p:cNvPr id="70" name="Freeform 246"/>
                <p:cNvSpPr>
                  <a:spLocks/>
                </p:cNvSpPr>
                <p:nvPr/>
              </p:nvSpPr>
              <p:spPr bwMode="auto">
                <a:xfrm>
                  <a:off x="864360" y="3000957"/>
                  <a:ext cx="1451066" cy="1344605"/>
                </a:xfrm>
                <a:custGeom>
                  <a:avLst/>
                  <a:gdLst>
                    <a:gd name="T0" fmla="*/ 1222 w 1435"/>
                    <a:gd name="T1" fmla="*/ 0 h 1328"/>
                    <a:gd name="T2" fmla="*/ 0 w 1435"/>
                    <a:gd name="T3" fmla="*/ 1222 h 1328"/>
                    <a:gd name="T4" fmla="*/ 81 w 1435"/>
                    <a:gd name="T5" fmla="*/ 1282 h 1328"/>
                    <a:gd name="T6" fmla="*/ 257 w 1435"/>
                    <a:gd name="T7" fmla="*/ 1328 h 1328"/>
                    <a:gd name="T8" fmla="*/ 511 w 1435"/>
                    <a:gd name="T9" fmla="*/ 1328 h 1328"/>
                    <a:gd name="T10" fmla="*/ 628 w 1435"/>
                    <a:gd name="T11" fmla="*/ 1328 h 1328"/>
                    <a:gd name="T12" fmla="*/ 882 w 1435"/>
                    <a:gd name="T13" fmla="*/ 1328 h 1328"/>
                    <a:gd name="T14" fmla="*/ 1057 w 1435"/>
                    <a:gd name="T15" fmla="*/ 1283 h 1328"/>
                    <a:gd name="T16" fmla="*/ 1155 w 1435"/>
                    <a:gd name="T17" fmla="*/ 1205 h 1328"/>
                    <a:gd name="T18" fmla="*/ 1435 w 1435"/>
                    <a:gd name="T19" fmla="*/ 568 h 1328"/>
                    <a:gd name="T20" fmla="*/ 1222 w 1435"/>
                    <a:gd name="T21" fmla="*/ 0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5" h="1328">
                      <a:moveTo>
                        <a:pt x="1222" y="0"/>
                      </a:moveTo>
                      <a:lnTo>
                        <a:pt x="0" y="1222"/>
                      </a:lnTo>
                      <a:cubicBezTo>
                        <a:pt x="24" y="1246"/>
                        <a:pt x="51" y="1266"/>
                        <a:pt x="81" y="1282"/>
                      </a:cubicBezTo>
                      <a:cubicBezTo>
                        <a:pt x="133" y="1311"/>
                        <a:pt x="193" y="1328"/>
                        <a:pt x="257" y="1328"/>
                      </a:cubicBezTo>
                      <a:lnTo>
                        <a:pt x="511" y="1328"/>
                      </a:lnTo>
                      <a:lnTo>
                        <a:pt x="628" y="1328"/>
                      </a:lnTo>
                      <a:lnTo>
                        <a:pt x="882" y="1328"/>
                      </a:lnTo>
                      <a:cubicBezTo>
                        <a:pt x="945" y="1328"/>
                        <a:pt x="1005" y="1312"/>
                        <a:pt x="1057" y="1283"/>
                      </a:cubicBezTo>
                      <a:cubicBezTo>
                        <a:pt x="1094" y="1263"/>
                        <a:pt x="1127" y="1237"/>
                        <a:pt x="1155" y="1205"/>
                      </a:cubicBezTo>
                      <a:cubicBezTo>
                        <a:pt x="1327" y="1047"/>
                        <a:pt x="1435" y="820"/>
                        <a:pt x="1435" y="568"/>
                      </a:cubicBezTo>
                      <a:cubicBezTo>
                        <a:pt x="1435" y="351"/>
                        <a:pt x="1355" y="152"/>
                        <a:pt x="1222" y="0"/>
                      </a:cubicBezTo>
                      <a:close/>
                    </a:path>
                  </a:pathLst>
                </a:custGeom>
                <a:grpFill/>
                <a:ln>
                  <a:noFill/>
                </a:ln>
                <a:effectLst>
                  <a:softEdge rad="63500"/>
                </a:effectLst>
              </p:spPr>
              <p:txBody>
                <a:bodyPr vert="horz" wrap="square" lIns="91440" tIns="45720" rIns="91440" bIns="45720" numCol="1" anchor="t" anchorCtr="0" compatLnSpc="1">
                  <a:prstTxWarp prst="textNoShape">
                    <a:avLst/>
                  </a:prstTxWarp>
                </a:bodyPr>
                <a:lstStyle/>
                <a:p>
                  <a:endParaRPr lang="en-GB" dirty="0"/>
                </a:p>
              </p:txBody>
            </p:sp>
          </p:grpSp>
          <p:grpSp>
            <p:nvGrpSpPr>
              <p:cNvPr id="11581" name="Group 11580"/>
              <p:cNvGrpSpPr/>
              <p:nvPr/>
            </p:nvGrpSpPr>
            <p:grpSpPr>
              <a:xfrm>
                <a:off x="2818464" y="2926272"/>
                <a:ext cx="1850140" cy="2583277"/>
                <a:chOff x="2818464" y="2926272"/>
                <a:chExt cx="1850140" cy="2583277"/>
              </a:xfrm>
            </p:grpSpPr>
            <p:sp>
              <p:nvSpPr>
                <p:cNvPr id="28" name="Oval 244"/>
                <p:cNvSpPr>
                  <a:spLocks noChangeArrowheads="1"/>
                </p:cNvSpPr>
                <p:nvPr/>
              </p:nvSpPr>
              <p:spPr bwMode="auto">
                <a:xfrm>
                  <a:off x="2818464" y="5129605"/>
                  <a:ext cx="1850140" cy="379944"/>
                </a:xfrm>
                <a:prstGeom prst="ellipse">
                  <a:avLst/>
                </a:prstGeom>
                <a:gradFill flip="none" rotWithShape="1">
                  <a:gsLst>
                    <a:gs pos="100000">
                      <a:schemeClr val="tx1">
                        <a:alpha val="0"/>
                      </a:schemeClr>
                    </a:gs>
                    <a:gs pos="0">
                      <a:schemeClr val="tx1">
                        <a:lumMod val="75000"/>
                        <a:lumOff val="25000"/>
                      </a:schemeClr>
                    </a:gs>
                  </a:gsLst>
                  <a:path path="shap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GB" dirty="0"/>
                </a:p>
              </p:txBody>
            </p:sp>
            <p:sp>
              <p:nvSpPr>
                <p:cNvPr id="29" name="Freeform 245"/>
                <p:cNvSpPr>
                  <a:spLocks noEditPoints="1"/>
                </p:cNvSpPr>
                <p:nvPr/>
              </p:nvSpPr>
              <p:spPr bwMode="auto">
                <a:xfrm>
                  <a:off x="2920835" y="2926272"/>
                  <a:ext cx="1560508" cy="2277724"/>
                </a:xfrm>
                <a:custGeom>
                  <a:avLst/>
                  <a:gdLst>
                    <a:gd name="T0" fmla="*/ 1337 w 1607"/>
                    <a:gd name="T1" fmla="*/ 964 h 2344"/>
                    <a:gd name="T2" fmla="*/ 866 w 1607"/>
                    <a:gd name="T3" fmla="*/ 825 h 2344"/>
                    <a:gd name="T4" fmla="*/ 394 w 1607"/>
                    <a:gd name="T5" fmla="*/ 964 h 2344"/>
                    <a:gd name="T6" fmla="*/ 309 w 1607"/>
                    <a:gd name="T7" fmla="*/ 742 h 2344"/>
                    <a:gd name="T8" fmla="*/ 866 w 1607"/>
                    <a:gd name="T9" fmla="*/ 323 h 2344"/>
                    <a:gd name="T10" fmla="*/ 1422 w 1607"/>
                    <a:gd name="T11" fmla="*/ 742 h 2344"/>
                    <a:gd name="T12" fmla="*/ 1337 w 1607"/>
                    <a:gd name="T13" fmla="*/ 964 h 2344"/>
                    <a:gd name="T14" fmla="*/ 1509 w 1607"/>
                    <a:gd name="T15" fmla="*/ 1111 h 2344"/>
                    <a:gd name="T16" fmla="*/ 1607 w 1607"/>
                    <a:gd name="T17" fmla="*/ 742 h 2344"/>
                    <a:gd name="T18" fmla="*/ 866 w 1607"/>
                    <a:gd name="T19" fmla="*/ 0 h 2344"/>
                    <a:gd name="T20" fmla="*/ 124 w 1607"/>
                    <a:gd name="T21" fmla="*/ 742 h 2344"/>
                    <a:gd name="T22" fmla="*/ 222 w 1607"/>
                    <a:gd name="T23" fmla="*/ 1111 h 2344"/>
                    <a:gd name="T24" fmla="*/ 0 w 1607"/>
                    <a:gd name="T25" fmla="*/ 1690 h 2344"/>
                    <a:gd name="T26" fmla="*/ 281 w 1607"/>
                    <a:gd name="T27" fmla="*/ 2328 h 2344"/>
                    <a:gd name="T28" fmla="*/ 296 w 1607"/>
                    <a:gd name="T29" fmla="*/ 2344 h 2344"/>
                    <a:gd name="T30" fmla="*/ 1518 w 1607"/>
                    <a:gd name="T31" fmla="*/ 1122 h 2344"/>
                    <a:gd name="T32" fmla="*/ 1509 w 1607"/>
                    <a:gd name="T33" fmla="*/ 1111 h 2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7" h="2344">
                      <a:moveTo>
                        <a:pt x="1337" y="964"/>
                      </a:moveTo>
                      <a:cubicBezTo>
                        <a:pt x="1202" y="876"/>
                        <a:pt x="1039" y="825"/>
                        <a:pt x="866" y="825"/>
                      </a:cubicBezTo>
                      <a:cubicBezTo>
                        <a:pt x="692" y="825"/>
                        <a:pt x="530" y="876"/>
                        <a:pt x="394" y="964"/>
                      </a:cubicBezTo>
                      <a:cubicBezTo>
                        <a:pt x="340" y="900"/>
                        <a:pt x="309" y="824"/>
                        <a:pt x="309" y="742"/>
                      </a:cubicBezTo>
                      <a:cubicBezTo>
                        <a:pt x="309" y="511"/>
                        <a:pt x="558" y="323"/>
                        <a:pt x="866" y="323"/>
                      </a:cubicBezTo>
                      <a:cubicBezTo>
                        <a:pt x="1173" y="323"/>
                        <a:pt x="1422" y="511"/>
                        <a:pt x="1422" y="742"/>
                      </a:cubicBezTo>
                      <a:cubicBezTo>
                        <a:pt x="1422" y="824"/>
                        <a:pt x="1391" y="900"/>
                        <a:pt x="1337" y="964"/>
                      </a:cubicBezTo>
                      <a:moveTo>
                        <a:pt x="1509" y="1111"/>
                      </a:moveTo>
                      <a:cubicBezTo>
                        <a:pt x="1571" y="1002"/>
                        <a:pt x="1607" y="876"/>
                        <a:pt x="1607" y="742"/>
                      </a:cubicBezTo>
                      <a:cubicBezTo>
                        <a:pt x="1607" y="332"/>
                        <a:pt x="1275" y="0"/>
                        <a:pt x="866" y="0"/>
                      </a:cubicBezTo>
                      <a:cubicBezTo>
                        <a:pt x="456" y="0"/>
                        <a:pt x="124" y="332"/>
                        <a:pt x="124" y="742"/>
                      </a:cubicBezTo>
                      <a:cubicBezTo>
                        <a:pt x="124" y="876"/>
                        <a:pt x="159" y="1002"/>
                        <a:pt x="222" y="1111"/>
                      </a:cubicBezTo>
                      <a:cubicBezTo>
                        <a:pt x="84" y="1265"/>
                        <a:pt x="0" y="1467"/>
                        <a:pt x="0" y="1690"/>
                      </a:cubicBezTo>
                      <a:cubicBezTo>
                        <a:pt x="0" y="1943"/>
                        <a:pt x="108" y="2170"/>
                        <a:pt x="281" y="2328"/>
                      </a:cubicBezTo>
                      <a:cubicBezTo>
                        <a:pt x="286" y="2334"/>
                        <a:pt x="291" y="2339"/>
                        <a:pt x="296" y="2344"/>
                      </a:cubicBezTo>
                      <a:lnTo>
                        <a:pt x="1518" y="1122"/>
                      </a:lnTo>
                      <a:cubicBezTo>
                        <a:pt x="1515" y="1118"/>
                        <a:pt x="1512" y="1115"/>
                        <a:pt x="1509" y="1111"/>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0" name="Freeform 246"/>
                <p:cNvSpPr>
                  <a:spLocks/>
                </p:cNvSpPr>
                <p:nvPr/>
              </p:nvSpPr>
              <p:spPr bwMode="auto">
                <a:xfrm>
                  <a:off x="3208003" y="4016105"/>
                  <a:ext cx="1393811" cy="1291551"/>
                </a:xfrm>
                <a:custGeom>
                  <a:avLst/>
                  <a:gdLst>
                    <a:gd name="T0" fmla="*/ 1222 w 1435"/>
                    <a:gd name="T1" fmla="*/ 0 h 1328"/>
                    <a:gd name="T2" fmla="*/ 0 w 1435"/>
                    <a:gd name="T3" fmla="*/ 1222 h 1328"/>
                    <a:gd name="T4" fmla="*/ 81 w 1435"/>
                    <a:gd name="T5" fmla="*/ 1282 h 1328"/>
                    <a:gd name="T6" fmla="*/ 257 w 1435"/>
                    <a:gd name="T7" fmla="*/ 1328 h 1328"/>
                    <a:gd name="T8" fmla="*/ 511 w 1435"/>
                    <a:gd name="T9" fmla="*/ 1328 h 1328"/>
                    <a:gd name="T10" fmla="*/ 628 w 1435"/>
                    <a:gd name="T11" fmla="*/ 1328 h 1328"/>
                    <a:gd name="T12" fmla="*/ 882 w 1435"/>
                    <a:gd name="T13" fmla="*/ 1328 h 1328"/>
                    <a:gd name="T14" fmla="*/ 1057 w 1435"/>
                    <a:gd name="T15" fmla="*/ 1283 h 1328"/>
                    <a:gd name="T16" fmla="*/ 1155 w 1435"/>
                    <a:gd name="T17" fmla="*/ 1205 h 1328"/>
                    <a:gd name="T18" fmla="*/ 1435 w 1435"/>
                    <a:gd name="T19" fmla="*/ 568 h 1328"/>
                    <a:gd name="T20" fmla="*/ 1222 w 1435"/>
                    <a:gd name="T21" fmla="*/ 0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5" h="1328">
                      <a:moveTo>
                        <a:pt x="1222" y="0"/>
                      </a:moveTo>
                      <a:lnTo>
                        <a:pt x="0" y="1222"/>
                      </a:lnTo>
                      <a:cubicBezTo>
                        <a:pt x="24" y="1246"/>
                        <a:pt x="51" y="1266"/>
                        <a:pt x="81" y="1282"/>
                      </a:cubicBezTo>
                      <a:cubicBezTo>
                        <a:pt x="133" y="1311"/>
                        <a:pt x="193" y="1328"/>
                        <a:pt x="257" y="1328"/>
                      </a:cubicBezTo>
                      <a:lnTo>
                        <a:pt x="511" y="1328"/>
                      </a:lnTo>
                      <a:lnTo>
                        <a:pt x="628" y="1328"/>
                      </a:lnTo>
                      <a:lnTo>
                        <a:pt x="882" y="1328"/>
                      </a:lnTo>
                      <a:cubicBezTo>
                        <a:pt x="945" y="1328"/>
                        <a:pt x="1005" y="1312"/>
                        <a:pt x="1057" y="1283"/>
                      </a:cubicBezTo>
                      <a:cubicBezTo>
                        <a:pt x="1094" y="1263"/>
                        <a:pt x="1127" y="1237"/>
                        <a:pt x="1155" y="1205"/>
                      </a:cubicBezTo>
                      <a:cubicBezTo>
                        <a:pt x="1327" y="1047"/>
                        <a:pt x="1435" y="820"/>
                        <a:pt x="1435" y="568"/>
                      </a:cubicBezTo>
                      <a:cubicBezTo>
                        <a:pt x="1435" y="351"/>
                        <a:pt x="1355" y="152"/>
                        <a:pt x="1222" y="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1" name="Freeform 247"/>
                <p:cNvSpPr>
                  <a:spLocks/>
                </p:cNvSpPr>
                <p:nvPr/>
              </p:nvSpPr>
              <p:spPr bwMode="auto">
                <a:xfrm>
                  <a:off x="3024440" y="4093151"/>
                  <a:ext cx="270357" cy="463670"/>
                </a:xfrm>
                <a:custGeom>
                  <a:avLst/>
                  <a:gdLst>
                    <a:gd name="T0" fmla="*/ 161 w 278"/>
                    <a:gd name="T1" fmla="*/ 45 h 477"/>
                    <a:gd name="T2" fmla="*/ 11 w 278"/>
                    <a:gd name="T3" fmla="*/ 413 h 477"/>
                    <a:gd name="T4" fmla="*/ 111 w 278"/>
                    <a:gd name="T5" fmla="*/ 413 h 477"/>
                    <a:gd name="T6" fmla="*/ 232 w 278"/>
                    <a:gd name="T7" fmla="*/ 116 h 477"/>
                    <a:gd name="T8" fmla="*/ 161 w 278"/>
                    <a:gd name="T9" fmla="*/ 45 h 477"/>
                  </a:gdLst>
                  <a:ahLst/>
                  <a:cxnLst>
                    <a:cxn ang="0">
                      <a:pos x="T0" y="T1"/>
                    </a:cxn>
                    <a:cxn ang="0">
                      <a:pos x="T2" y="T3"/>
                    </a:cxn>
                    <a:cxn ang="0">
                      <a:pos x="T4" y="T5"/>
                    </a:cxn>
                    <a:cxn ang="0">
                      <a:pos x="T6" y="T7"/>
                    </a:cxn>
                    <a:cxn ang="0">
                      <a:pos x="T8" y="T9"/>
                    </a:cxn>
                  </a:cxnLst>
                  <a:rect l="0" t="0" r="r" b="b"/>
                  <a:pathLst>
                    <a:path w="278" h="477">
                      <a:moveTo>
                        <a:pt x="161" y="45"/>
                      </a:moveTo>
                      <a:cubicBezTo>
                        <a:pt x="64" y="138"/>
                        <a:pt x="0" y="277"/>
                        <a:pt x="11" y="413"/>
                      </a:cubicBezTo>
                      <a:cubicBezTo>
                        <a:pt x="16" y="477"/>
                        <a:pt x="116" y="477"/>
                        <a:pt x="111" y="413"/>
                      </a:cubicBezTo>
                      <a:cubicBezTo>
                        <a:pt x="102" y="302"/>
                        <a:pt x="152" y="192"/>
                        <a:pt x="232" y="116"/>
                      </a:cubicBezTo>
                      <a:cubicBezTo>
                        <a:pt x="278" y="71"/>
                        <a:pt x="207" y="0"/>
                        <a:pt x="161" y="45"/>
                      </a:cubicBezTo>
                      <a:close/>
                    </a:path>
                  </a:pathLst>
                </a:custGeom>
                <a:solidFill>
                  <a:srgbClr val="FFFFFF">
                    <a:alpha val="36000"/>
                  </a:srgb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2" name="Oval 31"/>
                <p:cNvSpPr/>
                <p:nvPr/>
              </p:nvSpPr>
              <p:spPr bwMode="gray">
                <a:xfrm>
                  <a:off x="3219938" y="4093151"/>
                  <a:ext cx="1043551" cy="1043551"/>
                </a:xfrm>
                <a:prstGeom prst="ellipse">
                  <a:avLst/>
                </a:prstGeom>
                <a:solidFill>
                  <a:schemeClr val="bg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52" name="TextBox 51"/>
            <p:cNvSpPr txBox="1"/>
            <p:nvPr/>
          </p:nvSpPr>
          <p:spPr>
            <a:xfrm>
              <a:off x="2917316" y="5587570"/>
              <a:ext cx="1672830" cy="276999"/>
            </a:xfrm>
            <a:prstGeom prst="rect">
              <a:avLst/>
            </a:prstGeom>
            <a:noFill/>
          </p:spPr>
          <p:txBody>
            <a:bodyPr wrap="none" lIns="0" tIns="0" rIns="0" bIns="0" rtlCol="0">
              <a:spAutoFit/>
            </a:bodyPr>
            <a:lstStyle/>
            <a:p>
              <a:pPr algn="ctr">
                <a:spcBef>
                  <a:spcPts val="600"/>
                </a:spcBef>
                <a:buSzPct val="100000"/>
              </a:pPr>
              <a:r>
                <a:rPr lang="en-GB" sz="1800" spc="100" dirty="0">
                  <a:solidFill>
                    <a:schemeClr val="bg1"/>
                  </a:solidFill>
                </a:rPr>
                <a:t>OPERATEURS</a:t>
              </a:r>
            </a:p>
          </p:txBody>
        </p:sp>
        <p:grpSp>
          <p:nvGrpSpPr>
            <p:cNvPr id="81" name="Group 80"/>
            <p:cNvGrpSpPr/>
            <p:nvPr/>
          </p:nvGrpSpPr>
          <p:grpSpPr>
            <a:xfrm>
              <a:off x="3427635" y="4303079"/>
              <a:ext cx="601220" cy="595312"/>
              <a:chOff x="3405188" y="4284663"/>
              <a:chExt cx="646113" cy="639763"/>
            </a:xfrm>
            <a:solidFill>
              <a:schemeClr val="bg1"/>
            </a:solidFill>
          </p:grpSpPr>
          <p:sp>
            <p:nvSpPr>
              <p:cNvPr id="11517" name="Freeform 275"/>
              <p:cNvSpPr>
                <a:spLocks noEditPoints="1"/>
              </p:cNvSpPr>
              <p:nvPr/>
            </p:nvSpPr>
            <p:spPr bwMode="auto">
              <a:xfrm>
                <a:off x="3405188" y="4284663"/>
                <a:ext cx="646113" cy="639763"/>
              </a:xfrm>
              <a:custGeom>
                <a:avLst/>
                <a:gdLst>
                  <a:gd name="T0" fmla="*/ 672 w 750"/>
                  <a:gd name="T1" fmla="*/ 668 h 743"/>
                  <a:gd name="T2" fmla="*/ 688 w 750"/>
                  <a:gd name="T3" fmla="*/ 468 h 743"/>
                  <a:gd name="T4" fmla="*/ 595 w 750"/>
                  <a:gd name="T5" fmla="*/ 388 h 743"/>
                  <a:gd name="T6" fmla="*/ 688 w 750"/>
                  <a:gd name="T7" fmla="*/ 105 h 743"/>
                  <a:gd name="T8" fmla="*/ 728 w 750"/>
                  <a:gd name="T9" fmla="*/ 71 h 743"/>
                  <a:gd name="T10" fmla="*/ 672 w 750"/>
                  <a:gd name="T11" fmla="*/ 15 h 743"/>
                  <a:gd name="T12" fmla="*/ 488 w 750"/>
                  <a:gd name="T13" fmla="*/ 30 h 743"/>
                  <a:gd name="T14" fmla="*/ 475 w 750"/>
                  <a:gd name="T15" fmla="*/ 46 h 743"/>
                  <a:gd name="T16" fmla="*/ 364 w 750"/>
                  <a:gd name="T17" fmla="*/ 337 h 743"/>
                  <a:gd name="T18" fmla="*/ 197 w 750"/>
                  <a:gd name="T19" fmla="*/ 305 h 743"/>
                  <a:gd name="T20" fmla="*/ 215 w 750"/>
                  <a:gd name="T21" fmla="*/ 212 h 743"/>
                  <a:gd name="T22" fmla="*/ 263 w 750"/>
                  <a:gd name="T23" fmla="*/ 205 h 743"/>
                  <a:gd name="T24" fmla="*/ 263 w 750"/>
                  <a:gd name="T25" fmla="*/ 130 h 743"/>
                  <a:gd name="T26" fmla="*/ 87 w 750"/>
                  <a:gd name="T27" fmla="*/ 143 h 743"/>
                  <a:gd name="T28" fmla="*/ 154 w 750"/>
                  <a:gd name="T29" fmla="*/ 243 h 743"/>
                  <a:gd name="T30" fmla="*/ 98 w 750"/>
                  <a:gd name="T31" fmla="*/ 341 h 743"/>
                  <a:gd name="T32" fmla="*/ 98 w 750"/>
                  <a:gd name="T33" fmla="*/ 595 h 743"/>
                  <a:gd name="T34" fmla="*/ 56 w 750"/>
                  <a:gd name="T35" fmla="*/ 669 h 743"/>
                  <a:gd name="T36" fmla="*/ 12 w 750"/>
                  <a:gd name="T37" fmla="*/ 743 h 743"/>
                  <a:gd name="T38" fmla="*/ 225 w 750"/>
                  <a:gd name="T39" fmla="*/ 730 h 743"/>
                  <a:gd name="T40" fmla="*/ 91 w 750"/>
                  <a:gd name="T41" fmla="*/ 668 h 743"/>
                  <a:gd name="T42" fmla="*/ 200 w 750"/>
                  <a:gd name="T43" fmla="*/ 631 h 743"/>
                  <a:gd name="T44" fmla="*/ 612 w 750"/>
                  <a:gd name="T45" fmla="*/ 545 h 743"/>
                  <a:gd name="T46" fmla="*/ 638 w 750"/>
                  <a:gd name="T47" fmla="*/ 668 h 743"/>
                  <a:gd name="T48" fmla="*/ 587 w 750"/>
                  <a:gd name="T49" fmla="*/ 743 h 743"/>
                  <a:gd name="T50" fmla="*/ 750 w 750"/>
                  <a:gd name="T51" fmla="*/ 730 h 743"/>
                  <a:gd name="T52" fmla="*/ 688 w 750"/>
                  <a:gd name="T53" fmla="*/ 668 h 743"/>
                  <a:gd name="T54" fmla="*/ 113 w 750"/>
                  <a:gd name="T55" fmla="*/ 155 h 743"/>
                  <a:gd name="T56" fmla="*/ 275 w 750"/>
                  <a:gd name="T57" fmla="*/ 168 h 743"/>
                  <a:gd name="T58" fmla="*/ 213 w 750"/>
                  <a:gd name="T59" fmla="*/ 180 h 743"/>
                  <a:gd name="T60" fmla="*/ 194 w 750"/>
                  <a:gd name="T61" fmla="*/ 198 h 743"/>
                  <a:gd name="T62" fmla="*/ 113 w 750"/>
                  <a:gd name="T63" fmla="*/ 173 h 743"/>
                  <a:gd name="T64" fmla="*/ 27 w 750"/>
                  <a:gd name="T65" fmla="*/ 718 h 743"/>
                  <a:gd name="T66" fmla="*/ 163 w 750"/>
                  <a:gd name="T67" fmla="*/ 693 h 743"/>
                  <a:gd name="T68" fmla="*/ 504 w 750"/>
                  <a:gd name="T69" fmla="*/ 55 h 743"/>
                  <a:gd name="T70" fmla="*/ 671 w 750"/>
                  <a:gd name="T71" fmla="*/ 52 h 743"/>
                  <a:gd name="T72" fmla="*/ 710 w 750"/>
                  <a:gd name="T73" fmla="*/ 33 h 743"/>
                  <a:gd name="T74" fmla="*/ 682 w 750"/>
                  <a:gd name="T75" fmla="*/ 80 h 743"/>
                  <a:gd name="T76" fmla="*/ 504 w 750"/>
                  <a:gd name="T77" fmla="*/ 55 h 743"/>
                  <a:gd name="T78" fmla="*/ 567 w 750"/>
                  <a:gd name="T79" fmla="*/ 382 h 743"/>
                  <a:gd name="T80" fmla="*/ 519 w 750"/>
                  <a:gd name="T81" fmla="*/ 205 h 743"/>
                  <a:gd name="T82" fmla="*/ 114 w 750"/>
                  <a:gd name="T83" fmla="*/ 576 h 743"/>
                  <a:gd name="T84" fmla="*/ 114 w 750"/>
                  <a:gd name="T85" fmla="*/ 360 h 743"/>
                  <a:gd name="T86" fmla="*/ 230 w 750"/>
                  <a:gd name="T87" fmla="*/ 333 h 743"/>
                  <a:gd name="T88" fmla="*/ 663 w 750"/>
                  <a:gd name="T89" fmla="*/ 468 h 743"/>
                  <a:gd name="T90" fmla="*/ 230 w 750"/>
                  <a:gd name="T91" fmla="*/ 603 h 743"/>
                  <a:gd name="T92" fmla="*/ 638 w 750"/>
                  <a:gd name="T93" fmla="*/ 693 h 743"/>
                  <a:gd name="T94" fmla="*/ 723 w 750"/>
                  <a:gd name="T95" fmla="*/ 718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0" h="743">
                    <a:moveTo>
                      <a:pt x="688" y="668"/>
                    </a:moveTo>
                    <a:lnTo>
                      <a:pt x="672" y="668"/>
                    </a:lnTo>
                    <a:lnTo>
                      <a:pt x="637" y="539"/>
                    </a:lnTo>
                    <a:cubicBezTo>
                      <a:pt x="666" y="528"/>
                      <a:pt x="688" y="500"/>
                      <a:pt x="688" y="468"/>
                    </a:cubicBezTo>
                    <a:cubicBezTo>
                      <a:pt x="688" y="433"/>
                      <a:pt x="663" y="403"/>
                      <a:pt x="629" y="395"/>
                    </a:cubicBezTo>
                    <a:lnTo>
                      <a:pt x="595" y="388"/>
                    </a:lnTo>
                    <a:lnTo>
                      <a:pt x="518" y="105"/>
                    </a:lnTo>
                    <a:lnTo>
                      <a:pt x="688" y="105"/>
                    </a:lnTo>
                    <a:cubicBezTo>
                      <a:pt x="691" y="105"/>
                      <a:pt x="694" y="104"/>
                      <a:pt x="696" y="102"/>
                    </a:cubicBezTo>
                    <a:lnTo>
                      <a:pt x="728" y="71"/>
                    </a:lnTo>
                    <a:cubicBezTo>
                      <a:pt x="743" y="55"/>
                      <a:pt x="743" y="31"/>
                      <a:pt x="728" y="15"/>
                    </a:cubicBezTo>
                    <a:cubicBezTo>
                      <a:pt x="712" y="0"/>
                      <a:pt x="688" y="0"/>
                      <a:pt x="672" y="15"/>
                    </a:cubicBezTo>
                    <a:lnTo>
                      <a:pt x="657" y="30"/>
                    </a:lnTo>
                    <a:lnTo>
                      <a:pt x="488" y="30"/>
                    </a:lnTo>
                    <a:cubicBezTo>
                      <a:pt x="484" y="30"/>
                      <a:pt x="480" y="32"/>
                      <a:pt x="478" y="35"/>
                    </a:cubicBezTo>
                    <a:cubicBezTo>
                      <a:pt x="475" y="39"/>
                      <a:pt x="474" y="43"/>
                      <a:pt x="475" y="46"/>
                    </a:cubicBezTo>
                    <a:lnTo>
                      <a:pt x="511" y="177"/>
                    </a:lnTo>
                    <a:lnTo>
                      <a:pt x="364" y="337"/>
                    </a:lnTo>
                    <a:lnTo>
                      <a:pt x="236" y="309"/>
                    </a:lnTo>
                    <a:cubicBezTo>
                      <a:pt x="223" y="306"/>
                      <a:pt x="210" y="305"/>
                      <a:pt x="197" y="305"/>
                    </a:cubicBezTo>
                    <a:lnTo>
                      <a:pt x="179" y="239"/>
                    </a:lnTo>
                    <a:cubicBezTo>
                      <a:pt x="194" y="234"/>
                      <a:pt x="206" y="225"/>
                      <a:pt x="215" y="212"/>
                    </a:cubicBezTo>
                    <a:lnTo>
                      <a:pt x="219" y="205"/>
                    </a:lnTo>
                    <a:lnTo>
                      <a:pt x="263" y="205"/>
                    </a:lnTo>
                    <a:cubicBezTo>
                      <a:pt x="283" y="205"/>
                      <a:pt x="300" y="189"/>
                      <a:pt x="300" y="168"/>
                    </a:cubicBezTo>
                    <a:cubicBezTo>
                      <a:pt x="300" y="147"/>
                      <a:pt x="283" y="130"/>
                      <a:pt x="263" y="130"/>
                    </a:cubicBezTo>
                    <a:lnTo>
                      <a:pt x="100" y="130"/>
                    </a:lnTo>
                    <a:cubicBezTo>
                      <a:pt x="93" y="130"/>
                      <a:pt x="87" y="136"/>
                      <a:pt x="87" y="143"/>
                    </a:cubicBezTo>
                    <a:lnTo>
                      <a:pt x="87" y="173"/>
                    </a:lnTo>
                    <a:cubicBezTo>
                      <a:pt x="87" y="211"/>
                      <a:pt x="117" y="241"/>
                      <a:pt x="154" y="243"/>
                    </a:cubicBezTo>
                    <a:lnTo>
                      <a:pt x="172" y="307"/>
                    </a:lnTo>
                    <a:cubicBezTo>
                      <a:pt x="146" y="312"/>
                      <a:pt x="120" y="323"/>
                      <a:pt x="98" y="341"/>
                    </a:cubicBezTo>
                    <a:cubicBezTo>
                      <a:pt x="60" y="372"/>
                      <a:pt x="38" y="418"/>
                      <a:pt x="38" y="468"/>
                    </a:cubicBezTo>
                    <a:cubicBezTo>
                      <a:pt x="38" y="518"/>
                      <a:pt x="60" y="564"/>
                      <a:pt x="98" y="595"/>
                    </a:cubicBezTo>
                    <a:cubicBezTo>
                      <a:pt x="103" y="599"/>
                      <a:pt x="109" y="603"/>
                      <a:pt x="114" y="606"/>
                    </a:cubicBezTo>
                    <a:lnTo>
                      <a:pt x="56" y="669"/>
                    </a:lnTo>
                    <a:cubicBezTo>
                      <a:pt x="25" y="672"/>
                      <a:pt x="0" y="698"/>
                      <a:pt x="0" y="730"/>
                    </a:cubicBezTo>
                    <a:cubicBezTo>
                      <a:pt x="0" y="737"/>
                      <a:pt x="6" y="743"/>
                      <a:pt x="12" y="743"/>
                    </a:cubicBezTo>
                    <a:lnTo>
                      <a:pt x="212" y="743"/>
                    </a:lnTo>
                    <a:cubicBezTo>
                      <a:pt x="219" y="743"/>
                      <a:pt x="225" y="737"/>
                      <a:pt x="225" y="730"/>
                    </a:cubicBezTo>
                    <a:cubicBezTo>
                      <a:pt x="225" y="696"/>
                      <a:pt x="197" y="668"/>
                      <a:pt x="162" y="668"/>
                    </a:cubicBezTo>
                    <a:lnTo>
                      <a:pt x="91" y="668"/>
                    </a:lnTo>
                    <a:lnTo>
                      <a:pt x="137" y="618"/>
                    </a:lnTo>
                    <a:cubicBezTo>
                      <a:pt x="157" y="627"/>
                      <a:pt x="179" y="631"/>
                      <a:pt x="200" y="631"/>
                    </a:cubicBezTo>
                    <a:cubicBezTo>
                      <a:pt x="212" y="631"/>
                      <a:pt x="224" y="630"/>
                      <a:pt x="236" y="627"/>
                    </a:cubicBezTo>
                    <a:lnTo>
                      <a:pt x="612" y="545"/>
                    </a:lnTo>
                    <a:lnTo>
                      <a:pt x="646" y="668"/>
                    </a:lnTo>
                    <a:lnTo>
                      <a:pt x="638" y="668"/>
                    </a:lnTo>
                    <a:cubicBezTo>
                      <a:pt x="603" y="668"/>
                      <a:pt x="575" y="696"/>
                      <a:pt x="575" y="730"/>
                    </a:cubicBezTo>
                    <a:cubicBezTo>
                      <a:pt x="575" y="737"/>
                      <a:pt x="581" y="743"/>
                      <a:pt x="587" y="743"/>
                    </a:cubicBezTo>
                    <a:lnTo>
                      <a:pt x="737" y="743"/>
                    </a:lnTo>
                    <a:cubicBezTo>
                      <a:pt x="744" y="743"/>
                      <a:pt x="750" y="737"/>
                      <a:pt x="750" y="730"/>
                    </a:cubicBezTo>
                    <a:cubicBezTo>
                      <a:pt x="750" y="696"/>
                      <a:pt x="722" y="668"/>
                      <a:pt x="687" y="668"/>
                    </a:cubicBezTo>
                    <a:lnTo>
                      <a:pt x="688" y="668"/>
                    </a:lnTo>
                    <a:close/>
                    <a:moveTo>
                      <a:pt x="113" y="173"/>
                    </a:moveTo>
                    <a:lnTo>
                      <a:pt x="113" y="155"/>
                    </a:lnTo>
                    <a:lnTo>
                      <a:pt x="263" y="155"/>
                    </a:lnTo>
                    <a:cubicBezTo>
                      <a:pt x="269" y="155"/>
                      <a:pt x="275" y="161"/>
                      <a:pt x="275" y="168"/>
                    </a:cubicBezTo>
                    <a:cubicBezTo>
                      <a:pt x="275" y="175"/>
                      <a:pt x="269" y="180"/>
                      <a:pt x="263" y="180"/>
                    </a:cubicBezTo>
                    <a:lnTo>
                      <a:pt x="213" y="180"/>
                    </a:lnTo>
                    <a:cubicBezTo>
                      <a:pt x="208" y="180"/>
                      <a:pt x="204" y="183"/>
                      <a:pt x="202" y="186"/>
                    </a:cubicBezTo>
                    <a:lnTo>
                      <a:pt x="194" y="198"/>
                    </a:lnTo>
                    <a:cubicBezTo>
                      <a:pt x="186" y="211"/>
                      <a:pt x="172" y="218"/>
                      <a:pt x="157" y="218"/>
                    </a:cubicBezTo>
                    <a:cubicBezTo>
                      <a:pt x="132" y="218"/>
                      <a:pt x="113" y="198"/>
                      <a:pt x="113" y="173"/>
                    </a:cubicBezTo>
                    <a:close/>
                    <a:moveTo>
                      <a:pt x="198" y="718"/>
                    </a:moveTo>
                    <a:lnTo>
                      <a:pt x="27" y="718"/>
                    </a:lnTo>
                    <a:cubicBezTo>
                      <a:pt x="32" y="703"/>
                      <a:pt x="46" y="693"/>
                      <a:pt x="63" y="693"/>
                    </a:cubicBezTo>
                    <a:lnTo>
                      <a:pt x="163" y="693"/>
                    </a:lnTo>
                    <a:cubicBezTo>
                      <a:pt x="179" y="693"/>
                      <a:pt x="193" y="703"/>
                      <a:pt x="198" y="718"/>
                    </a:cubicBezTo>
                    <a:close/>
                    <a:moveTo>
                      <a:pt x="504" y="55"/>
                    </a:moveTo>
                    <a:lnTo>
                      <a:pt x="663" y="55"/>
                    </a:lnTo>
                    <a:cubicBezTo>
                      <a:pt x="666" y="55"/>
                      <a:pt x="669" y="54"/>
                      <a:pt x="671" y="52"/>
                    </a:cubicBezTo>
                    <a:lnTo>
                      <a:pt x="690" y="33"/>
                    </a:lnTo>
                    <a:cubicBezTo>
                      <a:pt x="696" y="28"/>
                      <a:pt x="704" y="28"/>
                      <a:pt x="710" y="33"/>
                    </a:cubicBezTo>
                    <a:cubicBezTo>
                      <a:pt x="715" y="39"/>
                      <a:pt x="715" y="47"/>
                      <a:pt x="710" y="53"/>
                    </a:cubicBezTo>
                    <a:lnTo>
                      <a:pt x="682" y="80"/>
                    </a:lnTo>
                    <a:lnTo>
                      <a:pt x="511" y="80"/>
                    </a:lnTo>
                    <a:lnTo>
                      <a:pt x="504" y="55"/>
                    </a:lnTo>
                    <a:close/>
                    <a:moveTo>
                      <a:pt x="519" y="205"/>
                    </a:moveTo>
                    <a:lnTo>
                      <a:pt x="567" y="382"/>
                    </a:lnTo>
                    <a:lnTo>
                      <a:pt x="392" y="343"/>
                    </a:lnTo>
                    <a:lnTo>
                      <a:pt x="519" y="205"/>
                    </a:lnTo>
                    <a:close/>
                    <a:moveTo>
                      <a:pt x="230" y="603"/>
                    </a:moveTo>
                    <a:cubicBezTo>
                      <a:pt x="189" y="612"/>
                      <a:pt x="147" y="602"/>
                      <a:pt x="114" y="576"/>
                    </a:cubicBezTo>
                    <a:cubicBezTo>
                      <a:pt x="81" y="549"/>
                      <a:pt x="63" y="510"/>
                      <a:pt x="63" y="468"/>
                    </a:cubicBezTo>
                    <a:cubicBezTo>
                      <a:pt x="63" y="426"/>
                      <a:pt x="81" y="387"/>
                      <a:pt x="114" y="360"/>
                    </a:cubicBezTo>
                    <a:cubicBezTo>
                      <a:pt x="139" y="340"/>
                      <a:pt x="169" y="330"/>
                      <a:pt x="200" y="330"/>
                    </a:cubicBezTo>
                    <a:cubicBezTo>
                      <a:pt x="210" y="330"/>
                      <a:pt x="220" y="331"/>
                      <a:pt x="230" y="333"/>
                    </a:cubicBezTo>
                    <a:lnTo>
                      <a:pt x="623" y="419"/>
                    </a:lnTo>
                    <a:cubicBezTo>
                      <a:pt x="646" y="424"/>
                      <a:pt x="663" y="445"/>
                      <a:pt x="663" y="468"/>
                    </a:cubicBezTo>
                    <a:cubicBezTo>
                      <a:pt x="663" y="491"/>
                      <a:pt x="646" y="512"/>
                      <a:pt x="623" y="517"/>
                    </a:cubicBezTo>
                    <a:lnTo>
                      <a:pt x="230" y="603"/>
                    </a:lnTo>
                    <a:close/>
                    <a:moveTo>
                      <a:pt x="602" y="718"/>
                    </a:moveTo>
                    <a:cubicBezTo>
                      <a:pt x="607" y="703"/>
                      <a:pt x="621" y="693"/>
                      <a:pt x="638" y="693"/>
                    </a:cubicBezTo>
                    <a:lnTo>
                      <a:pt x="688" y="693"/>
                    </a:lnTo>
                    <a:cubicBezTo>
                      <a:pt x="704" y="693"/>
                      <a:pt x="718" y="703"/>
                      <a:pt x="723" y="718"/>
                    </a:cubicBezTo>
                    <a:lnTo>
                      <a:pt x="602" y="71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18" name="Freeform 276"/>
              <p:cNvSpPr>
                <a:spLocks noEditPoints="1"/>
              </p:cNvSpPr>
              <p:nvPr/>
            </p:nvSpPr>
            <p:spPr bwMode="auto">
              <a:xfrm>
                <a:off x="3814763" y="4654551"/>
                <a:ext cx="107950" cy="65088"/>
              </a:xfrm>
              <a:custGeom>
                <a:avLst/>
                <a:gdLst>
                  <a:gd name="T0" fmla="*/ 88 w 125"/>
                  <a:gd name="T1" fmla="*/ 0 h 75"/>
                  <a:gd name="T2" fmla="*/ 38 w 125"/>
                  <a:gd name="T3" fmla="*/ 0 h 75"/>
                  <a:gd name="T4" fmla="*/ 0 w 125"/>
                  <a:gd name="T5" fmla="*/ 38 h 75"/>
                  <a:gd name="T6" fmla="*/ 38 w 125"/>
                  <a:gd name="T7" fmla="*/ 75 h 75"/>
                  <a:gd name="T8" fmla="*/ 88 w 125"/>
                  <a:gd name="T9" fmla="*/ 75 h 75"/>
                  <a:gd name="T10" fmla="*/ 125 w 125"/>
                  <a:gd name="T11" fmla="*/ 38 h 75"/>
                  <a:gd name="T12" fmla="*/ 88 w 125"/>
                  <a:gd name="T13" fmla="*/ 0 h 75"/>
                  <a:gd name="T14" fmla="*/ 88 w 125"/>
                  <a:gd name="T15" fmla="*/ 50 h 75"/>
                  <a:gd name="T16" fmla="*/ 38 w 125"/>
                  <a:gd name="T17" fmla="*/ 50 h 75"/>
                  <a:gd name="T18" fmla="*/ 25 w 125"/>
                  <a:gd name="T19" fmla="*/ 38 h 75"/>
                  <a:gd name="T20" fmla="*/ 38 w 125"/>
                  <a:gd name="T21" fmla="*/ 25 h 75"/>
                  <a:gd name="T22" fmla="*/ 88 w 125"/>
                  <a:gd name="T23" fmla="*/ 25 h 75"/>
                  <a:gd name="T24" fmla="*/ 100 w 125"/>
                  <a:gd name="T25" fmla="*/ 38 h 75"/>
                  <a:gd name="T26" fmla="*/ 88 w 125"/>
                  <a:gd name="T27" fmla="*/ 5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5">
                    <a:moveTo>
                      <a:pt x="88" y="0"/>
                    </a:moveTo>
                    <a:lnTo>
                      <a:pt x="38" y="0"/>
                    </a:lnTo>
                    <a:cubicBezTo>
                      <a:pt x="17" y="0"/>
                      <a:pt x="0" y="17"/>
                      <a:pt x="0" y="38"/>
                    </a:cubicBezTo>
                    <a:cubicBezTo>
                      <a:pt x="0" y="59"/>
                      <a:pt x="17" y="75"/>
                      <a:pt x="38" y="75"/>
                    </a:cubicBezTo>
                    <a:lnTo>
                      <a:pt x="88" y="75"/>
                    </a:lnTo>
                    <a:cubicBezTo>
                      <a:pt x="108" y="75"/>
                      <a:pt x="125" y="59"/>
                      <a:pt x="125" y="38"/>
                    </a:cubicBezTo>
                    <a:cubicBezTo>
                      <a:pt x="125" y="17"/>
                      <a:pt x="108" y="0"/>
                      <a:pt x="88" y="0"/>
                    </a:cubicBezTo>
                    <a:close/>
                    <a:moveTo>
                      <a:pt x="88" y="50"/>
                    </a:moveTo>
                    <a:lnTo>
                      <a:pt x="38" y="50"/>
                    </a:lnTo>
                    <a:cubicBezTo>
                      <a:pt x="31" y="50"/>
                      <a:pt x="25" y="45"/>
                      <a:pt x="25" y="38"/>
                    </a:cubicBezTo>
                    <a:cubicBezTo>
                      <a:pt x="25" y="31"/>
                      <a:pt x="31" y="25"/>
                      <a:pt x="38" y="25"/>
                    </a:cubicBezTo>
                    <a:lnTo>
                      <a:pt x="88" y="25"/>
                    </a:lnTo>
                    <a:cubicBezTo>
                      <a:pt x="94" y="25"/>
                      <a:pt x="100" y="31"/>
                      <a:pt x="100" y="38"/>
                    </a:cubicBezTo>
                    <a:cubicBezTo>
                      <a:pt x="100" y="45"/>
                      <a:pt x="94" y="50"/>
                      <a:pt x="88" y="5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19" name="Freeform 277"/>
              <p:cNvSpPr>
                <a:spLocks noEditPoints="1"/>
              </p:cNvSpPr>
              <p:nvPr/>
            </p:nvSpPr>
            <p:spPr bwMode="auto">
              <a:xfrm>
                <a:off x="3502026" y="4611688"/>
                <a:ext cx="203200" cy="150813"/>
              </a:xfrm>
              <a:custGeom>
                <a:avLst/>
                <a:gdLst>
                  <a:gd name="T0" fmla="*/ 203 w 236"/>
                  <a:gd name="T1" fmla="*/ 121 h 175"/>
                  <a:gd name="T2" fmla="*/ 172 w 236"/>
                  <a:gd name="T3" fmla="*/ 109 h 175"/>
                  <a:gd name="T4" fmla="*/ 175 w 236"/>
                  <a:gd name="T5" fmla="*/ 88 h 175"/>
                  <a:gd name="T6" fmla="*/ 87 w 236"/>
                  <a:gd name="T7" fmla="*/ 0 h 175"/>
                  <a:gd name="T8" fmla="*/ 0 w 236"/>
                  <a:gd name="T9" fmla="*/ 88 h 175"/>
                  <a:gd name="T10" fmla="*/ 87 w 236"/>
                  <a:gd name="T11" fmla="*/ 175 h 175"/>
                  <a:gd name="T12" fmla="*/ 163 w 236"/>
                  <a:gd name="T13" fmla="*/ 132 h 175"/>
                  <a:gd name="T14" fmla="*/ 194 w 236"/>
                  <a:gd name="T15" fmla="*/ 144 h 175"/>
                  <a:gd name="T16" fmla="*/ 188 w 236"/>
                  <a:gd name="T17" fmla="*/ 158 h 175"/>
                  <a:gd name="T18" fmla="*/ 211 w 236"/>
                  <a:gd name="T19" fmla="*/ 168 h 175"/>
                  <a:gd name="T20" fmla="*/ 236 w 236"/>
                  <a:gd name="T21" fmla="*/ 105 h 175"/>
                  <a:gd name="T22" fmla="*/ 213 w 236"/>
                  <a:gd name="T23" fmla="*/ 96 h 175"/>
                  <a:gd name="T24" fmla="*/ 203 w 236"/>
                  <a:gd name="T25" fmla="*/ 121 h 175"/>
                  <a:gd name="T26" fmla="*/ 87 w 236"/>
                  <a:gd name="T27" fmla="*/ 150 h 175"/>
                  <a:gd name="T28" fmla="*/ 25 w 236"/>
                  <a:gd name="T29" fmla="*/ 88 h 175"/>
                  <a:gd name="T30" fmla="*/ 87 w 236"/>
                  <a:gd name="T31" fmla="*/ 25 h 175"/>
                  <a:gd name="T32" fmla="*/ 150 w 236"/>
                  <a:gd name="T33" fmla="*/ 88 h 175"/>
                  <a:gd name="T34" fmla="*/ 148 w 236"/>
                  <a:gd name="T35" fmla="*/ 99 h 175"/>
                  <a:gd name="T36" fmla="*/ 92 w 236"/>
                  <a:gd name="T37" fmla="*/ 76 h 175"/>
                  <a:gd name="T38" fmla="*/ 82 w 236"/>
                  <a:gd name="T39" fmla="*/ 100 h 175"/>
                  <a:gd name="T40" fmla="*/ 139 w 236"/>
                  <a:gd name="T41" fmla="*/ 122 h 175"/>
                  <a:gd name="T42" fmla="*/ 87 w 236"/>
                  <a:gd name="T43" fmla="*/ 15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6" h="175">
                    <a:moveTo>
                      <a:pt x="203" y="121"/>
                    </a:moveTo>
                    <a:lnTo>
                      <a:pt x="172" y="109"/>
                    </a:lnTo>
                    <a:cubicBezTo>
                      <a:pt x="174" y="102"/>
                      <a:pt x="175" y="95"/>
                      <a:pt x="175" y="88"/>
                    </a:cubicBezTo>
                    <a:cubicBezTo>
                      <a:pt x="175" y="40"/>
                      <a:pt x="135" y="0"/>
                      <a:pt x="87" y="0"/>
                    </a:cubicBezTo>
                    <a:cubicBezTo>
                      <a:pt x="39" y="0"/>
                      <a:pt x="0" y="40"/>
                      <a:pt x="0" y="88"/>
                    </a:cubicBezTo>
                    <a:cubicBezTo>
                      <a:pt x="0" y="136"/>
                      <a:pt x="39" y="175"/>
                      <a:pt x="87" y="175"/>
                    </a:cubicBezTo>
                    <a:cubicBezTo>
                      <a:pt x="119" y="175"/>
                      <a:pt x="148" y="158"/>
                      <a:pt x="163" y="132"/>
                    </a:cubicBezTo>
                    <a:lnTo>
                      <a:pt x="194" y="144"/>
                    </a:lnTo>
                    <a:lnTo>
                      <a:pt x="188" y="158"/>
                    </a:lnTo>
                    <a:lnTo>
                      <a:pt x="211" y="168"/>
                    </a:lnTo>
                    <a:lnTo>
                      <a:pt x="236" y="105"/>
                    </a:lnTo>
                    <a:lnTo>
                      <a:pt x="213" y="96"/>
                    </a:lnTo>
                    <a:lnTo>
                      <a:pt x="203" y="121"/>
                    </a:lnTo>
                    <a:close/>
                    <a:moveTo>
                      <a:pt x="87" y="150"/>
                    </a:moveTo>
                    <a:cubicBezTo>
                      <a:pt x="53" y="150"/>
                      <a:pt x="25" y="122"/>
                      <a:pt x="25" y="88"/>
                    </a:cubicBezTo>
                    <a:cubicBezTo>
                      <a:pt x="25" y="54"/>
                      <a:pt x="53" y="25"/>
                      <a:pt x="87" y="25"/>
                    </a:cubicBezTo>
                    <a:cubicBezTo>
                      <a:pt x="121" y="25"/>
                      <a:pt x="150" y="54"/>
                      <a:pt x="150" y="88"/>
                    </a:cubicBezTo>
                    <a:cubicBezTo>
                      <a:pt x="150" y="92"/>
                      <a:pt x="149" y="95"/>
                      <a:pt x="148" y="99"/>
                    </a:cubicBezTo>
                    <a:lnTo>
                      <a:pt x="92" y="76"/>
                    </a:lnTo>
                    <a:lnTo>
                      <a:pt x="82" y="100"/>
                    </a:lnTo>
                    <a:lnTo>
                      <a:pt x="139" y="122"/>
                    </a:lnTo>
                    <a:cubicBezTo>
                      <a:pt x="128" y="139"/>
                      <a:pt x="109" y="150"/>
                      <a:pt x="87" y="15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1588" name="Group 11587"/>
          <p:cNvGrpSpPr/>
          <p:nvPr/>
        </p:nvGrpSpPr>
        <p:grpSpPr>
          <a:xfrm>
            <a:off x="496820" y="2697590"/>
            <a:ext cx="1857760" cy="3166979"/>
            <a:chOff x="496820" y="2701400"/>
            <a:chExt cx="1857760" cy="3166979"/>
          </a:xfrm>
        </p:grpSpPr>
        <p:grpSp>
          <p:nvGrpSpPr>
            <p:cNvPr id="11583" name="Group 11582"/>
            <p:cNvGrpSpPr/>
            <p:nvPr/>
          </p:nvGrpSpPr>
          <p:grpSpPr>
            <a:xfrm>
              <a:off x="496820" y="2701400"/>
              <a:ext cx="1857760" cy="2808149"/>
              <a:chOff x="496820" y="2701400"/>
              <a:chExt cx="1857760" cy="2808149"/>
            </a:xfrm>
          </p:grpSpPr>
          <p:grpSp>
            <p:nvGrpSpPr>
              <p:cNvPr id="51" name="Group 50"/>
              <p:cNvGrpSpPr/>
              <p:nvPr/>
            </p:nvGrpSpPr>
            <p:grpSpPr>
              <a:xfrm>
                <a:off x="526242" y="2701400"/>
                <a:ext cx="1828338" cy="2590144"/>
                <a:chOff x="565396" y="1866355"/>
                <a:chExt cx="1750030" cy="2479208"/>
              </a:xfrm>
              <a:solidFill>
                <a:schemeClr val="tx1">
                  <a:alpha val="35000"/>
                </a:schemeClr>
              </a:solidFill>
            </p:grpSpPr>
            <p:sp>
              <p:nvSpPr>
                <p:cNvPr id="61" name="Freeform 245"/>
                <p:cNvSpPr>
                  <a:spLocks noEditPoints="1"/>
                </p:cNvSpPr>
                <p:nvPr/>
              </p:nvSpPr>
              <p:spPr bwMode="auto">
                <a:xfrm>
                  <a:off x="565396" y="1866355"/>
                  <a:ext cx="1624610" cy="2371289"/>
                </a:xfrm>
                <a:custGeom>
                  <a:avLst/>
                  <a:gdLst>
                    <a:gd name="T0" fmla="*/ 1337 w 1607"/>
                    <a:gd name="T1" fmla="*/ 964 h 2344"/>
                    <a:gd name="T2" fmla="*/ 866 w 1607"/>
                    <a:gd name="T3" fmla="*/ 825 h 2344"/>
                    <a:gd name="T4" fmla="*/ 394 w 1607"/>
                    <a:gd name="T5" fmla="*/ 964 h 2344"/>
                    <a:gd name="T6" fmla="*/ 309 w 1607"/>
                    <a:gd name="T7" fmla="*/ 742 h 2344"/>
                    <a:gd name="T8" fmla="*/ 866 w 1607"/>
                    <a:gd name="T9" fmla="*/ 323 h 2344"/>
                    <a:gd name="T10" fmla="*/ 1422 w 1607"/>
                    <a:gd name="T11" fmla="*/ 742 h 2344"/>
                    <a:gd name="T12" fmla="*/ 1337 w 1607"/>
                    <a:gd name="T13" fmla="*/ 964 h 2344"/>
                    <a:gd name="T14" fmla="*/ 1509 w 1607"/>
                    <a:gd name="T15" fmla="*/ 1111 h 2344"/>
                    <a:gd name="T16" fmla="*/ 1607 w 1607"/>
                    <a:gd name="T17" fmla="*/ 742 h 2344"/>
                    <a:gd name="T18" fmla="*/ 866 w 1607"/>
                    <a:gd name="T19" fmla="*/ 0 h 2344"/>
                    <a:gd name="T20" fmla="*/ 124 w 1607"/>
                    <a:gd name="T21" fmla="*/ 742 h 2344"/>
                    <a:gd name="T22" fmla="*/ 222 w 1607"/>
                    <a:gd name="T23" fmla="*/ 1111 h 2344"/>
                    <a:gd name="T24" fmla="*/ 0 w 1607"/>
                    <a:gd name="T25" fmla="*/ 1690 h 2344"/>
                    <a:gd name="T26" fmla="*/ 281 w 1607"/>
                    <a:gd name="T27" fmla="*/ 2328 h 2344"/>
                    <a:gd name="T28" fmla="*/ 296 w 1607"/>
                    <a:gd name="T29" fmla="*/ 2344 h 2344"/>
                    <a:gd name="T30" fmla="*/ 1518 w 1607"/>
                    <a:gd name="T31" fmla="*/ 1122 h 2344"/>
                    <a:gd name="T32" fmla="*/ 1509 w 1607"/>
                    <a:gd name="T33" fmla="*/ 1111 h 2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7" h="2344">
                      <a:moveTo>
                        <a:pt x="1337" y="964"/>
                      </a:moveTo>
                      <a:cubicBezTo>
                        <a:pt x="1202" y="876"/>
                        <a:pt x="1039" y="825"/>
                        <a:pt x="866" y="825"/>
                      </a:cubicBezTo>
                      <a:cubicBezTo>
                        <a:pt x="692" y="825"/>
                        <a:pt x="530" y="876"/>
                        <a:pt x="394" y="964"/>
                      </a:cubicBezTo>
                      <a:cubicBezTo>
                        <a:pt x="340" y="900"/>
                        <a:pt x="309" y="824"/>
                        <a:pt x="309" y="742"/>
                      </a:cubicBezTo>
                      <a:cubicBezTo>
                        <a:pt x="309" y="511"/>
                        <a:pt x="558" y="323"/>
                        <a:pt x="866" y="323"/>
                      </a:cubicBezTo>
                      <a:cubicBezTo>
                        <a:pt x="1173" y="323"/>
                        <a:pt x="1422" y="511"/>
                        <a:pt x="1422" y="742"/>
                      </a:cubicBezTo>
                      <a:cubicBezTo>
                        <a:pt x="1422" y="824"/>
                        <a:pt x="1391" y="900"/>
                        <a:pt x="1337" y="964"/>
                      </a:cubicBezTo>
                      <a:moveTo>
                        <a:pt x="1509" y="1111"/>
                      </a:moveTo>
                      <a:cubicBezTo>
                        <a:pt x="1571" y="1002"/>
                        <a:pt x="1607" y="876"/>
                        <a:pt x="1607" y="742"/>
                      </a:cubicBezTo>
                      <a:cubicBezTo>
                        <a:pt x="1607" y="332"/>
                        <a:pt x="1275" y="0"/>
                        <a:pt x="866" y="0"/>
                      </a:cubicBezTo>
                      <a:cubicBezTo>
                        <a:pt x="456" y="0"/>
                        <a:pt x="124" y="332"/>
                        <a:pt x="124" y="742"/>
                      </a:cubicBezTo>
                      <a:cubicBezTo>
                        <a:pt x="124" y="876"/>
                        <a:pt x="159" y="1002"/>
                        <a:pt x="222" y="1111"/>
                      </a:cubicBezTo>
                      <a:cubicBezTo>
                        <a:pt x="84" y="1265"/>
                        <a:pt x="0" y="1467"/>
                        <a:pt x="0" y="1690"/>
                      </a:cubicBezTo>
                      <a:cubicBezTo>
                        <a:pt x="0" y="1943"/>
                        <a:pt x="108" y="2170"/>
                        <a:pt x="281" y="2328"/>
                      </a:cubicBezTo>
                      <a:cubicBezTo>
                        <a:pt x="286" y="2334"/>
                        <a:pt x="291" y="2339"/>
                        <a:pt x="296" y="2344"/>
                      </a:cubicBezTo>
                      <a:lnTo>
                        <a:pt x="1518" y="1122"/>
                      </a:lnTo>
                      <a:cubicBezTo>
                        <a:pt x="1515" y="1118"/>
                        <a:pt x="1512" y="1115"/>
                        <a:pt x="1509" y="1111"/>
                      </a:cubicBezTo>
                    </a:path>
                  </a:pathLst>
                </a:custGeom>
                <a:grpFill/>
                <a:ln>
                  <a:noFill/>
                </a:ln>
                <a:effectLst>
                  <a:softEdge rad="63500"/>
                </a:effectLst>
              </p:spPr>
              <p:txBody>
                <a:bodyPr vert="horz" wrap="square" lIns="91440" tIns="45720" rIns="91440" bIns="45720" numCol="1" anchor="t" anchorCtr="0" compatLnSpc="1">
                  <a:prstTxWarp prst="textNoShape">
                    <a:avLst/>
                  </a:prstTxWarp>
                </a:bodyPr>
                <a:lstStyle/>
                <a:p>
                  <a:endParaRPr lang="en-GB" dirty="0"/>
                </a:p>
              </p:txBody>
            </p:sp>
            <p:sp>
              <p:nvSpPr>
                <p:cNvPr id="62" name="Freeform 246"/>
                <p:cNvSpPr>
                  <a:spLocks/>
                </p:cNvSpPr>
                <p:nvPr/>
              </p:nvSpPr>
              <p:spPr bwMode="auto">
                <a:xfrm>
                  <a:off x="864360" y="3000957"/>
                  <a:ext cx="1451066" cy="1344606"/>
                </a:xfrm>
                <a:custGeom>
                  <a:avLst/>
                  <a:gdLst>
                    <a:gd name="T0" fmla="*/ 1222 w 1435"/>
                    <a:gd name="T1" fmla="*/ 0 h 1328"/>
                    <a:gd name="T2" fmla="*/ 0 w 1435"/>
                    <a:gd name="T3" fmla="*/ 1222 h 1328"/>
                    <a:gd name="T4" fmla="*/ 81 w 1435"/>
                    <a:gd name="T5" fmla="*/ 1282 h 1328"/>
                    <a:gd name="T6" fmla="*/ 257 w 1435"/>
                    <a:gd name="T7" fmla="*/ 1328 h 1328"/>
                    <a:gd name="T8" fmla="*/ 511 w 1435"/>
                    <a:gd name="T9" fmla="*/ 1328 h 1328"/>
                    <a:gd name="T10" fmla="*/ 628 w 1435"/>
                    <a:gd name="T11" fmla="*/ 1328 h 1328"/>
                    <a:gd name="T12" fmla="*/ 882 w 1435"/>
                    <a:gd name="T13" fmla="*/ 1328 h 1328"/>
                    <a:gd name="T14" fmla="*/ 1057 w 1435"/>
                    <a:gd name="T15" fmla="*/ 1283 h 1328"/>
                    <a:gd name="T16" fmla="*/ 1155 w 1435"/>
                    <a:gd name="T17" fmla="*/ 1205 h 1328"/>
                    <a:gd name="T18" fmla="*/ 1435 w 1435"/>
                    <a:gd name="T19" fmla="*/ 568 h 1328"/>
                    <a:gd name="T20" fmla="*/ 1222 w 1435"/>
                    <a:gd name="T21" fmla="*/ 0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5" h="1328">
                      <a:moveTo>
                        <a:pt x="1222" y="0"/>
                      </a:moveTo>
                      <a:lnTo>
                        <a:pt x="0" y="1222"/>
                      </a:lnTo>
                      <a:cubicBezTo>
                        <a:pt x="24" y="1246"/>
                        <a:pt x="51" y="1266"/>
                        <a:pt x="81" y="1282"/>
                      </a:cubicBezTo>
                      <a:cubicBezTo>
                        <a:pt x="133" y="1311"/>
                        <a:pt x="193" y="1328"/>
                        <a:pt x="257" y="1328"/>
                      </a:cubicBezTo>
                      <a:lnTo>
                        <a:pt x="511" y="1328"/>
                      </a:lnTo>
                      <a:lnTo>
                        <a:pt x="628" y="1328"/>
                      </a:lnTo>
                      <a:lnTo>
                        <a:pt x="882" y="1328"/>
                      </a:lnTo>
                      <a:cubicBezTo>
                        <a:pt x="945" y="1328"/>
                        <a:pt x="1005" y="1312"/>
                        <a:pt x="1057" y="1283"/>
                      </a:cubicBezTo>
                      <a:cubicBezTo>
                        <a:pt x="1094" y="1263"/>
                        <a:pt x="1127" y="1237"/>
                        <a:pt x="1155" y="1205"/>
                      </a:cubicBezTo>
                      <a:cubicBezTo>
                        <a:pt x="1327" y="1047"/>
                        <a:pt x="1435" y="820"/>
                        <a:pt x="1435" y="568"/>
                      </a:cubicBezTo>
                      <a:cubicBezTo>
                        <a:pt x="1435" y="351"/>
                        <a:pt x="1355" y="152"/>
                        <a:pt x="1222" y="0"/>
                      </a:cubicBezTo>
                      <a:close/>
                    </a:path>
                  </a:pathLst>
                </a:custGeom>
                <a:grpFill/>
                <a:ln>
                  <a:noFill/>
                </a:ln>
                <a:effectLst>
                  <a:softEdge rad="63500"/>
                </a:effectLst>
              </p:spPr>
              <p:txBody>
                <a:bodyPr vert="horz" wrap="square" lIns="91440" tIns="45720" rIns="91440" bIns="45720" numCol="1" anchor="t" anchorCtr="0" compatLnSpc="1">
                  <a:prstTxWarp prst="textNoShape">
                    <a:avLst/>
                  </a:prstTxWarp>
                </a:bodyPr>
                <a:lstStyle/>
                <a:p>
                  <a:endParaRPr lang="en-GB" dirty="0"/>
                </a:p>
              </p:txBody>
            </p:sp>
          </p:grpSp>
          <p:grpSp>
            <p:nvGrpSpPr>
              <p:cNvPr id="11582" name="Group 11581"/>
              <p:cNvGrpSpPr/>
              <p:nvPr/>
            </p:nvGrpSpPr>
            <p:grpSpPr>
              <a:xfrm>
                <a:off x="496820" y="2926272"/>
                <a:ext cx="1850140" cy="2583277"/>
                <a:chOff x="496820" y="2926272"/>
                <a:chExt cx="1850140" cy="2583277"/>
              </a:xfrm>
            </p:grpSpPr>
            <p:sp>
              <p:nvSpPr>
                <p:cNvPr id="10" name="Oval 244"/>
                <p:cNvSpPr>
                  <a:spLocks noChangeArrowheads="1"/>
                </p:cNvSpPr>
                <p:nvPr/>
              </p:nvSpPr>
              <p:spPr bwMode="auto">
                <a:xfrm>
                  <a:off x="496820" y="5129605"/>
                  <a:ext cx="1850140" cy="379944"/>
                </a:xfrm>
                <a:prstGeom prst="ellipse">
                  <a:avLst/>
                </a:prstGeom>
                <a:gradFill flip="none" rotWithShape="1">
                  <a:gsLst>
                    <a:gs pos="100000">
                      <a:schemeClr val="tx1">
                        <a:alpha val="0"/>
                      </a:schemeClr>
                    </a:gs>
                    <a:gs pos="0">
                      <a:schemeClr val="tx1">
                        <a:lumMod val="75000"/>
                        <a:lumOff val="25000"/>
                      </a:schemeClr>
                    </a:gs>
                  </a:gsLst>
                  <a:path path="shap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GB" dirty="0"/>
                </a:p>
              </p:txBody>
            </p:sp>
            <p:sp>
              <p:nvSpPr>
                <p:cNvPr id="21" name="Freeform 245"/>
                <p:cNvSpPr>
                  <a:spLocks noEditPoints="1"/>
                </p:cNvSpPr>
                <p:nvPr/>
              </p:nvSpPr>
              <p:spPr bwMode="auto">
                <a:xfrm>
                  <a:off x="599191" y="2926272"/>
                  <a:ext cx="1560508" cy="2277724"/>
                </a:xfrm>
                <a:custGeom>
                  <a:avLst/>
                  <a:gdLst>
                    <a:gd name="T0" fmla="*/ 1337 w 1607"/>
                    <a:gd name="T1" fmla="*/ 964 h 2344"/>
                    <a:gd name="T2" fmla="*/ 866 w 1607"/>
                    <a:gd name="T3" fmla="*/ 825 h 2344"/>
                    <a:gd name="T4" fmla="*/ 394 w 1607"/>
                    <a:gd name="T5" fmla="*/ 964 h 2344"/>
                    <a:gd name="T6" fmla="*/ 309 w 1607"/>
                    <a:gd name="T7" fmla="*/ 742 h 2344"/>
                    <a:gd name="T8" fmla="*/ 866 w 1607"/>
                    <a:gd name="T9" fmla="*/ 323 h 2344"/>
                    <a:gd name="T10" fmla="*/ 1422 w 1607"/>
                    <a:gd name="T11" fmla="*/ 742 h 2344"/>
                    <a:gd name="T12" fmla="*/ 1337 w 1607"/>
                    <a:gd name="T13" fmla="*/ 964 h 2344"/>
                    <a:gd name="T14" fmla="*/ 1509 w 1607"/>
                    <a:gd name="T15" fmla="*/ 1111 h 2344"/>
                    <a:gd name="T16" fmla="*/ 1607 w 1607"/>
                    <a:gd name="T17" fmla="*/ 742 h 2344"/>
                    <a:gd name="T18" fmla="*/ 866 w 1607"/>
                    <a:gd name="T19" fmla="*/ 0 h 2344"/>
                    <a:gd name="T20" fmla="*/ 124 w 1607"/>
                    <a:gd name="T21" fmla="*/ 742 h 2344"/>
                    <a:gd name="T22" fmla="*/ 222 w 1607"/>
                    <a:gd name="T23" fmla="*/ 1111 h 2344"/>
                    <a:gd name="T24" fmla="*/ 0 w 1607"/>
                    <a:gd name="T25" fmla="*/ 1690 h 2344"/>
                    <a:gd name="T26" fmla="*/ 281 w 1607"/>
                    <a:gd name="T27" fmla="*/ 2328 h 2344"/>
                    <a:gd name="T28" fmla="*/ 296 w 1607"/>
                    <a:gd name="T29" fmla="*/ 2344 h 2344"/>
                    <a:gd name="T30" fmla="*/ 1518 w 1607"/>
                    <a:gd name="T31" fmla="*/ 1122 h 2344"/>
                    <a:gd name="T32" fmla="*/ 1509 w 1607"/>
                    <a:gd name="T33" fmla="*/ 1111 h 2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7" h="2344">
                      <a:moveTo>
                        <a:pt x="1337" y="964"/>
                      </a:moveTo>
                      <a:cubicBezTo>
                        <a:pt x="1202" y="876"/>
                        <a:pt x="1039" y="825"/>
                        <a:pt x="866" y="825"/>
                      </a:cubicBezTo>
                      <a:cubicBezTo>
                        <a:pt x="692" y="825"/>
                        <a:pt x="530" y="876"/>
                        <a:pt x="394" y="964"/>
                      </a:cubicBezTo>
                      <a:cubicBezTo>
                        <a:pt x="340" y="900"/>
                        <a:pt x="309" y="824"/>
                        <a:pt x="309" y="742"/>
                      </a:cubicBezTo>
                      <a:cubicBezTo>
                        <a:pt x="309" y="511"/>
                        <a:pt x="558" y="323"/>
                        <a:pt x="866" y="323"/>
                      </a:cubicBezTo>
                      <a:cubicBezTo>
                        <a:pt x="1173" y="323"/>
                        <a:pt x="1422" y="511"/>
                        <a:pt x="1422" y="742"/>
                      </a:cubicBezTo>
                      <a:cubicBezTo>
                        <a:pt x="1422" y="824"/>
                        <a:pt x="1391" y="900"/>
                        <a:pt x="1337" y="964"/>
                      </a:cubicBezTo>
                      <a:moveTo>
                        <a:pt x="1509" y="1111"/>
                      </a:moveTo>
                      <a:cubicBezTo>
                        <a:pt x="1571" y="1002"/>
                        <a:pt x="1607" y="876"/>
                        <a:pt x="1607" y="742"/>
                      </a:cubicBezTo>
                      <a:cubicBezTo>
                        <a:pt x="1607" y="332"/>
                        <a:pt x="1275" y="0"/>
                        <a:pt x="866" y="0"/>
                      </a:cubicBezTo>
                      <a:cubicBezTo>
                        <a:pt x="456" y="0"/>
                        <a:pt x="124" y="332"/>
                        <a:pt x="124" y="742"/>
                      </a:cubicBezTo>
                      <a:cubicBezTo>
                        <a:pt x="124" y="876"/>
                        <a:pt x="159" y="1002"/>
                        <a:pt x="222" y="1111"/>
                      </a:cubicBezTo>
                      <a:cubicBezTo>
                        <a:pt x="84" y="1265"/>
                        <a:pt x="0" y="1467"/>
                        <a:pt x="0" y="1690"/>
                      </a:cubicBezTo>
                      <a:cubicBezTo>
                        <a:pt x="0" y="1943"/>
                        <a:pt x="108" y="2170"/>
                        <a:pt x="281" y="2328"/>
                      </a:cubicBezTo>
                      <a:cubicBezTo>
                        <a:pt x="286" y="2334"/>
                        <a:pt x="291" y="2339"/>
                        <a:pt x="296" y="2344"/>
                      </a:cubicBezTo>
                      <a:lnTo>
                        <a:pt x="1518" y="1122"/>
                      </a:lnTo>
                      <a:cubicBezTo>
                        <a:pt x="1515" y="1118"/>
                        <a:pt x="1512" y="1115"/>
                        <a:pt x="1509" y="1111"/>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 name="Freeform 246"/>
                <p:cNvSpPr>
                  <a:spLocks/>
                </p:cNvSpPr>
                <p:nvPr/>
              </p:nvSpPr>
              <p:spPr bwMode="auto">
                <a:xfrm>
                  <a:off x="886359" y="4016105"/>
                  <a:ext cx="1393811" cy="1291551"/>
                </a:xfrm>
                <a:custGeom>
                  <a:avLst/>
                  <a:gdLst>
                    <a:gd name="T0" fmla="*/ 1222 w 1435"/>
                    <a:gd name="T1" fmla="*/ 0 h 1328"/>
                    <a:gd name="T2" fmla="*/ 0 w 1435"/>
                    <a:gd name="T3" fmla="*/ 1222 h 1328"/>
                    <a:gd name="T4" fmla="*/ 81 w 1435"/>
                    <a:gd name="T5" fmla="*/ 1282 h 1328"/>
                    <a:gd name="T6" fmla="*/ 257 w 1435"/>
                    <a:gd name="T7" fmla="*/ 1328 h 1328"/>
                    <a:gd name="T8" fmla="*/ 511 w 1435"/>
                    <a:gd name="T9" fmla="*/ 1328 h 1328"/>
                    <a:gd name="T10" fmla="*/ 628 w 1435"/>
                    <a:gd name="T11" fmla="*/ 1328 h 1328"/>
                    <a:gd name="T12" fmla="*/ 882 w 1435"/>
                    <a:gd name="T13" fmla="*/ 1328 h 1328"/>
                    <a:gd name="T14" fmla="*/ 1057 w 1435"/>
                    <a:gd name="T15" fmla="*/ 1283 h 1328"/>
                    <a:gd name="T16" fmla="*/ 1155 w 1435"/>
                    <a:gd name="T17" fmla="*/ 1205 h 1328"/>
                    <a:gd name="T18" fmla="*/ 1435 w 1435"/>
                    <a:gd name="T19" fmla="*/ 568 h 1328"/>
                    <a:gd name="T20" fmla="*/ 1222 w 1435"/>
                    <a:gd name="T21" fmla="*/ 0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5" h="1328">
                      <a:moveTo>
                        <a:pt x="1222" y="0"/>
                      </a:moveTo>
                      <a:lnTo>
                        <a:pt x="0" y="1222"/>
                      </a:lnTo>
                      <a:cubicBezTo>
                        <a:pt x="24" y="1246"/>
                        <a:pt x="51" y="1266"/>
                        <a:pt x="81" y="1282"/>
                      </a:cubicBezTo>
                      <a:cubicBezTo>
                        <a:pt x="133" y="1311"/>
                        <a:pt x="193" y="1328"/>
                        <a:pt x="257" y="1328"/>
                      </a:cubicBezTo>
                      <a:lnTo>
                        <a:pt x="511" y="1328"/>
                      </a:lnTo>
                      <a:lnTo>
                        <a:pt x="628" y="1328"/>
                      </a:lnTo>
                      <a:lnTo>
                        <a:pt x="882" y="1328"/>
                      </a:lnTo>
                      <a:cubicBezTo>
                        <a:pt x="945" y="1328"/>
                        <a:pt x="1005" y="1312"/>
                        <a:pt x="1057" y="1283"/>
                      </a:cubicBezTo>
                      <a:cubicBezTo>
                        <a:pt x="1094" y="1263"/>
                        <a:pt x="1127" y="1237"/>
                        <a:pt x="1155" y="1205"/>
                      </a:cubicBezTo>
                      <a:cubicBezTo>
                        <a:pt x="1327" y="1047"/>
                        <a:pt x="1435" y="820"/>
                        <a:pt x="1435" y="568"/>
                      </a:cubicBezTo>
                      <a:cubicBezTo>
                        <a:pt x="1435" y="351"/>
                        <a:pt x="1355" y="152"/>
                        <a:pt x="1222" y="0"/>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 name="Freeform 247"/>
                <p:cNvSpPr>
                  <a:spLocks/>
                </p:cNvSpPr>
                <p:nvPr/>
              </p:nvSpPr>
              <p:spPr bwMode="auto">
                <a:xfrm>
                  <a:off x="702796" y="4093151"/>
                  <a:ext cx="270357" cy="463670"/>
                </a:xfrm>
                <a:custGeom>
                  <a:avLst/>
                  <a:gdLst>
                    <a:gd name="T0" fmla="*/ 161 w 278"/>
                    <a:gd name="T1" fmla="*/ 45 h 477"/>
                    <a:gd name="T2" fmla="*/ 11 w 278"/>
                    <a:gd name="T3" fmla="*/ 413 h 477"/>
                    <a:gd name="T4" fmla="*/ 111 w 278"/>
                    <a:gd name="T5" fmla="*/ 413 h 477"/>
                    <a:gd name="T6" fmla="*/ 232 w 278"/>
                    <a:gd name="T7" fmla="*/ 116 h 477"/>
                    <a:gd name="T8" fmla="*/ 161 w 278"/>
                    <a:gd name="T9" fmla="*/ 45 h 477"/>
                  </a:gdLst>
                  <a:ahLst/>
                  <a:cxnLst>
                    <a:cxn ang="0">
                      <a:pos x="T0" y="T1"/>
                    </a:cxn>
                    <a:cxn ang="0">
                      <a:pos x="T2" y="T3"/>
                    </a:cxn>
                    <a:cxn ang="0">
                      <a:pos x="T4" y="T5"/>
                    </a:cxn>
                    <a:cxn ang="0">
                      <a:pos x="T6" y="T7"/>
                    </a:cxn>
                    <a:cxn ang="0">
                      <a:pos x="T8" y="T9"/>
                    </a:cxn>
                  </a:cxnLst>
                  <a:rect l="0" t="0" r="r" b="b"/>
                  <a:pathLst>
                    <a:path w="278" h="477">
                      <a:moveTo>
                        <a:pt x="161" y="45"/>
                      </a:moveTo>
                      <a:cubicBezTo>
                        <a:pt x="64" y="138"/>
                        <a:pt x="0" y="277"/>
                        <a:pt x="11" y="413"/>
                      </a:cubicBezTo>
                      <a:cubicBezTo>
                        <a:pt x="16" y="477"/>
                        <a:pt x="116" y="477"/>
                        <a:pt x="111" y="413"/>
                      </a:cubicBezTo>
                      <a:cubicBezTo>
                        <a:pt x="102" y="302"/>
                        <a:pt x="152" y="192"/>
                        <a:pt x="232" y="116"/>
                      </a:cubicBezTo>
                      <a:cubicBezTo>
                        <a:pt x="278" y="71"/>
                        <a:pt x="207" y="0"/>
                        <a:pt x="161" y="45"/>
                      </a:cubicBezTo>
                      <a:close/>
                    </a:path>
                  </a:pathLst>
                </a:custGeom>
                <a:solidFill>
                  <a:srgbClr val="FFFFFF">
                    <a:alpha val="36000"/>
                  </a:srgb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 name="Oval 23"/>
                <p:cNvSpPr/>
                <p:nvPr/>
              </p:nvSpPr>
              <p:spPr bwMode="gray">
                <a:xfrm>
                  <a:off x="898294" y="4093151"/>
                  <a:ext cx="1043551" cy="1043551"/>
                </a:xfrm>
                <a:prstGeom prst="ellipse">
                  <a:avLst/>
                </a:prstGeom>
                <a:solidFill>
                  <a:schemeClr val="bg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26" name="TextBox 25"/>
            <p:cNvSpPr txBox="1"/>
            <p:nvPr/>
          </p:nvSpPr>
          <p:spPr>
            <a:xfrm>
              <a:off x="758140" y="5591380"/>
              <a:ext cx="1239122" cy="276999"/>
            </a:xfrm>
            <a:prstGeom prst="rect">
              <a:avLst/>
            </a:prstGeom>
            <a:noFill/>
          </p:spPr>
          <p:txBody>
            <a:bodyPr wrap="none" lIns="0" tIns="0" rIns="0" bIns="0" rtlCol="0">
              <a:spAutoFit/>
            </a:bodyPr>
            <a:lstStyle/>
            <a:p>
              <a:pPr algn="ctr">
                <a:spcBef>
                  <a:spcPts val="600"/>
                </a:spcBef>
                <a:buSzPct val="100000"/>
              </a:pPr>
              <a:r>
                <a:rPr lang="en-GB" sz="1800" spc="100" dirty="0">
                  <a:solidFill>
                    <a:schemeClr val="bg1"/>
                  </a:solidFill>
                </a:rPr>
                <a:t>MARCHES</a:t>
              </a:r>
            </a:p>
          </p:txBody>
        </p:sp>
        <p:grpSp>
          <p:nvGrpSpPr>
            <p:cNvPr id="95" name="Group 94"/>
            <p:cNvGrpSpPr/>
            <p:nvPr/>
          </p:nvGrpSpPr>
          <p:grpSpPr>
            <a:xfrm>
              <a:off x="1113124" y="4321431"/>
              <a:ext cx="608996" cy="610486"/>
              <a:chOff x="1098550" y="4298950"/>
              <a:chExt cx="649288" cy="650875"/>
            </a:xfrm>
            <a:solidFill>
              <a:schemeClr val="bg1"/>
            </a:solidFill>
          </p:grpSpPr>
          <p:sp>
            <p:nvSpPr>
              <p:cNvPr id="85" name="Freeform 281"/>
              <p:cNvSpPr>
                <a:spLocks noEditPoints="1"/>
              </p:cNvSpPr>
              <p:nvPr/>
            </p:nvSpPr>
            <p:spPr bwMode="auto">
              <a:xfrm>
                <a:off x="1287463" y="4487863"/>
                <a:ext cx="273050" cy="261938"/>
              </a:xfrm>
              <a:custGeom>
                <a:avLst/>
                <a:gdLst>
                  <a:gd name="T0" fmla="*/ 299 w 325"/>
                  <a:gd name="T1" fmla="*/ 9 h 312"/>
                  <a:gd name="T2" fmla="*/ 38 w 325"/>
                  <a:gd name="T3" fmla="*/ 0 h 312"/>
                  <a:gd name="T4" fmla="*/ 1 w 325"/>
                  <a:gd name="T5" fmla="*/ 84 h 312"/>
                  <a:gd name="T6" fmla="*/ 12 w 325"/>
                  <a:gd name="T7" fmla="*/ 120 h 312"/>
                  <a:gd name="T8" fmla="*/ 25 w 325"/>
                  <a:gd name="T9" fmla="*/ 312 h 312"/>
                  <a:gd name="T10" fmla="*/ 312 w 325"/>
                  <a:gd name="T11" fmla="*/ 300 h 312"/>
                  <a:gd name="T12" fmla="*/ 325 w 325"/>
                  <a:gd name="T13" fmla="*/ 87 h 312"/>
                  <a:gd name="T14" fmla="*/ 175 w 325"/>
                  <a:gd name="T15" fmla="*/ 25 h 312"/>
                  <a:gd name="T16" fmla="*/ 225 w 325"/>
                  <a:gd name="T17" fmla="*/ 88 h 312"/>
                  <a:gd name="T18" fmla="*/ 175 w 325"/>
                  <a:gd name="T19" fmla="*/ 88 h 312"/>
                  <a:gd name="T20" fmla="*/ 100 w 325"/>
                  <a:gd name="T21" fmla="*/ 25 h 312"/>
                  <a:gd name="T22" fmla="*/ 150 w 325"/>
                  <a:gd name="T23" fmla="*/ 88 h 312"/>
                  <a:gd name="T24" fmla="*/ 100 w 325"/>
                  <a:gd name="T25" fmla="*/ 88 h 312"/>
                  <a:gd name="T26" fmla="*/ 25 w 325"/>
                  <a:gd name="T27" fmla="*/ 89 h 312"/>
                  <a:gd name="T28" fmla="*/ 75 w 325"/>
                  <a:gd name="T29" fmla="*/ 25 h 312"/>
                  <a:gd name="T30" fmla="*/ 50 w 325"/>
                  <a:gd name="T31" fmla="*/ 113 h 312"/>
                  <a:gd name="T32" fmla="*/ 125 w 325"/>
                  <a:gd name="T33" fmla="*/ 288 h 312"/>
                  <a:gd name="T34" fmla="*/ 88 w 325"/>
                  <a:gd name="T35" fmla="*/ 238 h 312"/>
                  <a:gd name="T36" fmla="*/ 125 w 325"/>
                  <a:gd name="T37" fmla="*/ 288 h 312"/>
                  <a:gd name="T38" fmla="*/ 213 w 325"/>
                  <a:gd name="T39" fmla="*/ 213 h 312"/>
                  <a:gd name="T40" fmla="*/ 288 w 325"/>
                  <a:gd name="T41" fmla="*/ 188 h 312"/>
                  <a:gd name="T42" fmla="*/ 288 w 325"/>
                  <a:gd name="T43" fmla="*/ 163 h 312"/>
                  <a:gd name="T44" fmla="*/ 188 w 325"/>
                  <a:gd name="T45" fmla="*/ 175 h 312"/>
                  <a:gd name="T46" fmla="*/ 200 w 325"/>
                  <a:gd name="T47" fmla="*/ 238 h 312"/>
                  <a:gd name="T48" fmla="*/ 288 w 325"/>
                  <a:gd name="T49" fmla="*/ 288 h 312"/>
                  <a:gd name="T50" fmla="*/ 150 w 325"/>
                  <a:gd name="T51" fmla="*/ 225 h 312"/>
                  <a:gd name="T52" fmla="*/ 75 w 325"/>
                  <a:gd name="T53" fmla="*/ 213 h 312"/>
                  <a:gd name="T54" fmla="*/ 63 w 325"/>
                  <a:gd name="T55" fmla="*/ 288 h 312"/>
                  <a:gd name="T56" fmla="*/ 38 w 325"/>
                  <a:gd name="T57" fmla="*/ 136 h 312"/>
                  <a:gd name="T58" fmla="*/ 88 w 325"/>
                  <a:gd name="T59" fmla="*/ 120 h 312"/>
                  <a:gd name="T60" fmla="*/ 163 w 325"/>
                  <a:gd name="T61" fmla="*/ 120 h 312"/>
                  <a:gd name="T62" fmla="*/ 238 w 325"/>
                  <a:gd name="T63" fmla="*/ 120 h 312"/>
                  <a:gd name="T64" fmla="*/ 288 w 325"/>
                  <a:gd name="T65" fmla="*/ 136 h 312"/>
                  <a:gd name="T66" fmla="*/ 275 w 325"/>
                  <a:gd name="T67" fmla="*/ 113 h 312"/>
                  <a:gd name="T68" fmla="*/ 250 w 325"/>
                  <a:gd name="T69" fmla="*/ 25 h 312"/>
                  <a:gd name="T70" fmla="*/ 300 w 325"/>
                  <a:gd name="T71" fmla="*/ 8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5" h="312">
                    <a:moveTo>
                      <a:pt x="324" y="84"/>
                    </a:moveTo>
                    <a:lnTo>
                      <a:pt x="299" y="9"/>
                    </a:lnTo>
                    <a:cubicBezTo>
                      <a:pt x="298" y="3"/>
                      <a:pt x="293" y="0"/>
                      <a:pt x="288" y="0"/>
                    </a:cubicBezTo>
                    <a:lnTo>
                      <a:pt x="38" y="0"/>
                    </a:lnTo>
                    <a:cubicBezTo>
                      <a:pt x="32" y="0"/>
                      <a:pt x="27" y="3"/>
                      <a:pt x="26" y="9"/>
                    </a:cubicBezTo>
                    <a:lnTo>
                      <a:pt x="1" y="84"/>
                    </a:lnTo>
                    <a:cubicBezTo>
                      <a:pt x="0" y="85"/>
                      <a:pt x="0" y="86"/>
                      <a:pt x="0" y="87"/>
                    </a:cubicBezTo>
                    <a:cubicBezTo>
                      <a:pt x="0" y="100"/>
                      <a:pt x="5" y="111"/>
                      <a:pt x="12" y="120"/>
                    </a:cubicBezTo>
                    <a:lnTo>
                      <a:pt x="12" y="300"/>
                    </a:lnTo>
                    <a:cubicBezTo>
                      <a:pt x="12" y="307"/>
                      <a:pt x="18" y="312"/>
                      <a:pt x="25" y="312"/>
                    </a:cubicBezTo>
                    <a:lnTo>
                      <a:pt x="300" y="312"/>
                    </a:lnTo>
                    <a:cubicBezTo>
                      <a:pt x="307" y="312"/>
                      <a:pt x="312" y="307"/>
                      <a:pt x="312" y="300"/>
                    </a:cubicBezTo>
                    <a:lnTo>
                      <a:pt x="312" y="120"/>
                    </a:lnTo>
                    <a:cubicBezTo>
                      <a:pt x="320" y="111"/>
                      <a:pt x="325" y="100"/>
                      <a:pt x="325" y="87"/>
                    </a:cubicBezTo>
                    <a:cubicBezTo>
                      <a:pt x="325" y="86"/>
                      <a:pt x="325" y="85"/>
                      <a:pt x="324" y="84"/>
                    </a:cubicBezTo>
                    <a:close/>
                    <a:moveTo>
                      <a:pt x="175" y="25"/>
                    </a:moveTo>
                    <a:lnTo>
                      <a:pt x="225" y="25"/>
                    </a:lnTo>
                    <a:lnTo>
                      <a:pt x="225" y="88"/>
                    </a:lnTo>
                    <a:cubicBezTo>
                      <a:pt x="225" y="101"/>
                      <a:pt x="214" y="113"/>
                      <a:pt x="200" y="113"/>
                    </a:cubicBezTo>
                    <a:cubicBezTo>
                      <a:pt x="186" y="113"/>
                      <a:pt x="175" y="101"/>
                      <a:pt x="175" y="88"/>
                    </a:cubicBezTo>
                    <a:lnTo>
                      <a:pt x="175" y="25"/>
                    </a:lnTo>
                    <a:close/>
                    <a:moveTo>
                      <a:pt x="100" y="25"/>
                    </a:moveTo>
                    <a:lnTo>
                      <a:pt x="150" y="25"/>
                    </a:lnTo>
                    <a:lnTo>
                      <a:pt x="150" y="88"/>
                    </a:lnTo>
                    <a:cubicBezTo>
                      <a:pt x="150" y="101"/>
                      <a:pt x="139" y="113"/>
                      <a:pt x="125" y="113"/>
                    </a:cubicBezTo>
                    <a:cubicBezTo>
                      <a:pt x="111" y="113"/>
                      <a:pt x="100" y="101"/>
                      <a:pt x="100" y="88"/>
                    </a:cubicBezTo>
                    <a:lnTo>
                      <a:pt x="100" y="25"/>
                    </a:lnTo>
                    <a:close/>
                    <a:moveTo>
                      <a:pt x="25" y="89"/>
                    </a:moveTo>
                    <a:lnTo>
                      <a:pt x="47" y="25"/>
                    </a:lnTo>
                    <a:lnTo>
                      <a:pt x="75" y="25"/>
                    </a:lnTo>
                    <a:lnTo>
                      <a:pt x="75" y="88"/>
                    </a:lnTo>
                    <a:cubicBezTo>
                      <a:pt x="75" y="101"/>
                      <a:pt x="64" y="113"/>
                      <a:pt x="50" y="113"/>
                    </a:cubicBezTo>
                    <a:cubicBezTo>
                      <a:pt x="37" y="113"/>
                      <a:pt x="26" y="102"/>
                      <a:pt x="25" y="89"/>
                    </a:cubicBezTo>
                    <a:close/>
                    <a:moveTo>
                      <a:pt x="125" y="288"/>
                    </a:moveTo>
                    <a:lnTo>
                      <a:pt x="88" y="288"/>
                    </a:lnTo>
                    <a:lnTo>
                      <a:pt x="88" y="238"/>
                    </a:lnTo>
                    <a:lnTo>
                      <a:pt x="125" y="238"/>
                    </a:lnTo>
                    <a:lnTo>
                      <a:pt x="125" y="288"/>
                    </a:lnTo>
                    <a:close/>
                    <a:moveTo>
                      <a:pt x="288" y="213"/>
                    </a:moveTo>
                    <a:lnTo>
                      <a:pt x="213" y="213"/>
                    </a:lnTo>
                    <a:lnTo>
                      <a:pt x="213" y="188"/>
                    </a:lnTo>
                    <a:lnTo>
                      <a:pt x="288" y="188"/>
                    </a:lnTo>
                    <a:lnTo>
                      <a:pt x="288" y="213"/>
                    </a:lnTo>
                    <a:close/>
                    <a:moveTo>
                      <a:pt x="288" y="163"/>
                    </a:moveTo>
                    <a:lnTo>
                      <a:pt x="200" y="163"/>
                    </a:lnTo>
                    <a:cubicBezTo>
                      <a:pt x="193" y="163"/>
                      <a:pt x="188" y="168"/>
                      <a:pt x="188" y="175"/>
                    </a:cubicBezTo>
                    <a:lnTo>
                      <a:pt x="188" y="225"/>
                    </a:lnTo>
                    <a:cubicBezTo>
                      <a:pt x="188" y="232"/>
                      <a:pt x="193" y="238"/>
                      <a:pt x="200" y="238"/>
                    </a:cubicBezTo>
                    <a:lnTo>
                      <a:pt x="288" y="238"/>
                    </a:lnTo>
                    <a:lnTo>
                      <a:pt x="288" y="288"/>
                    </a:lnTo>
                    <a:lnTo>
                      <a:pt x="150" y="288"/>
                    </a:lnTo>
                    <a:lnTo>
                      <a:pt x="150" y="225"/>
                    </a:lnTo>
                    <a:cubicBezTo>
                      <a:pt x="150" y="218"/>
                      <a:pt x="144" y="213"/>
                      <a:pt x="138" y="213"/>
                    </a:cubicBezTo>
                    <a:lnTo>
                      <a:pt x="75" y="213"/>
                    </a:lnTo>
                    <a:cubicBezTo>
                      <a:pt x="68" y="213"/>
                      <a:pt x="63" y="218"/>
                      <a:pt x="63" y="225"/>
                    </a:cubicBezTo>
                    <a:lnTo>
                      <a:pt x="63" y="288"/>
                    </a:lnTo>
                    <a:lnTo>
                      <a:pt x="38" y="288"/>
                    </a:lnTo>
                    <a:lnTo>
                      <a:pt x="38" y="136"/>
                    </a:lnTo>
                    <a:cubicBezTo>
                      <a:pt x="42" y="137"/>
                      <a:pt x="46" y="138"/>
                      <a:pt x="50" y="138"/>
                    </a:cubicBezTo>
                    <a:cubicBezTo>
                      <a:pt x="65" y="138"/>
                      <a:pt x="78" y="131"/>
                      <a:pt x="88" y="120"/>
                    </a:cubicBezTo>
                    <a:cubicBezTo>
                      <a:pt x="97" y="131"/>
                      <a:pt x="110" y="138"/>
                      <a:pt x="125" y="138"/>
                    </a:cubicBezTo>
                    <a:cubicBezTo>
                      <a:pt x="140" y="138"/>
                      <a:pt x="153" y="131"/>
                      <a:pt x="163" y="120"/>
                    </a:cubicBezTo>
                    <a:cubicBezTo>
                      <a:pt x="172" y="131"/>
                      <a:pt x="185" y="138"/>
                      <a:pt x="200" y="138"/>
                    </a:cubicBezTo>
                    <a:cubicBezTo>
                      <a:pt x="215" y="138"/>
                      <a:pt x="228" y="131"/>
                      <a:pt x="238" y="120"/>
                    </a:cubicBezTo>
                    <a:cubicBezTo>
                      <a:pt x="247" y="131"/>
                      <a:pt x="260" y="138"/>
                      <a:pt x="275" y="138"/>
                    </a:cubicBezTo>
                    <a:cubicBezTo>
                      <a:pt x="279" y="138"/>
                      <a:pt x="283" y="137"/>
                      <a:pt x="288" y="136"/>
                    </a:cubicBezTo>
                    <a:lnTo>
                      <a:pt x="288" y="163"/>
                    </a:lnTo>
                    <a:close/>
                    <a:moveTo>
                      <a:pt x="275" y="113"/>
                    </a:moveTo>
                    <a:cubicBezTo>
                      <a:pt x="261" y="113"/>
                      <a:pt x="250" y="101"/>
                      <a:pt x="250" y="88"/>
                    </a:cubicBezTo>
                    <a:lnTo>
                      <a:pt x="250" y="25"/>
                    </a:lnTo>
                    <a:lnTo>
                      <a:pt x="278" y="25"/>
                    </a:lnTo>
                    <a:lnTo>
                      <a:pt x="300" y="89"/>
                    </a:lnTo>
                    <a:cubicBezTo>
                      <a:pt x="299" y="102"/>
                      <a:pt x="288" y="113"/>
                      <a:pt x="275" y="11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6" name="Freeform 282"/>
              <p:cNvSpPr>
                <a:spLocks noEditPoints="1"/>
              </p:cNvSpPr>
              <p:nvPr/>
            </p:nvSpPr>
            <p:spPr bwMode="auto">
              <a:xfrm>
                <a:off x="1098550" y="4298950"/>
                <a:ext cx="125413" cy="168275"/>
              </a:xfrm>
              <a:custGeom>
                <a:avLst/>
                <a:gdLst>
                  <a:gd name="T0" fmla="*/ 13 w 150"/>
                  <a:gd name="T1" fmla="*/ 200 h 200"/>
                  <a:gd name="T2" fmla="*/ 138 w 150"/>
                  <a:gd name="T3" fmla="*/ 200 h 200"/>
                  <a:gd name="T4" fmla="*/ 150 w 150"/>
                  <a:gd name="T5" fmla="*/ 188 h 200"/>
                  <a:gd name="T6" fmla="*/ 150 w 150"/>
                  <a:gd name="T7" fmla="*/ 150 h 200"/>
                  <a:gd name="T8" fmla="*/ 111 w 150"/>
                  <a:gd name="T9" fmla="*/ 84 h 200"/>
                  <a:gd name="T10" fmla="*/ 125 w 150"/>
                  <a:gd name="T11" fmla="*/ 50 h 200"/>
                  <a:gd name="T12" fmla="*/ 75 w 150"/>
                  <a:gd name="T13" fmla="*/ 0 h 200"/>
                  <a:gd name="T14" fmla="*/ 25 w 150"/>
                  <a:gd name="T15" fmla="*/ 50 h 200"/>
                  <a:gd name="T16" fmla="*/ 39 w 150"/>
                  <a:gd name="T17" fmla="*/ 84 h 200"/>
                  <a:gd name="T18" fmla="*/ 0 w 150"/>
                  <a:gd name="T19" fmla="*/ 150 h 200"/>
                  <a:gd name="T20" fmla="*/ 0 w 150"/>
                  <a:gd name="T21" fmla="*/ 188 h 200"/>
                  <a:gd name="T22" fmla="*/ 13 w 150"/>
                  <a:gd name="T23" fmla="*/ 200 h 200"/>
                  <a:gd name="T24" fmla="*/ 50 w 150"/>
                  <a:gd name="T25" fmla="*/ 50 h 200"/>
                  <a:gd name="T26" fmla="*/ 75 w 150"/>
                  <a:gd name="T27" fmla="*/ 25 h 200"/>
                  <a:gd name="T28" fmla="*/ 100 w 150"/>
                  <a:gd name="T29" fmla="*/ 50 h 200"/>
                  <a:gd name="T30" fmla="*/ 75 w 150"/>
                  <a:gd name="T31" fmla="*/ 75 h 200"/>
                  <a:gd name="T32" fmla="*/ 50 w 150"/>
                  <a:gd name="T33" fmla="*/ 50 h 200"/>
                  <a:gd name="T34" fmla="*/ 25 w 150"/>
                  <a:gd name="T35" fmla="*/ 150 h 200"/>
                  <a:gd name="T36" fmla="*/ 75 w 150"/>
                  <a:gd name="T37" fmla="*/ 100 h 200"/>
                  <a:gd name="T38" fmla="*/ 125 w 150"/>
                  <a:gd name="T39" fmla="*/ 150 h 200"/>
                  <a:gd name="T40" fmla="*/ 125 w 150"/>
                  <a:gd name="T41" fmla="*/ 175 h 200"/>
                  <a:gd name="T42" fmla="*/ 25 w 150"/>
                  <a:gd name="T43" fmla="*/ 175 h 200"/>
                  <a:gd name="T44" fmla="*/ 25 w 150"/>
                  <a:gd name="T45" fmla="*/ 1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200">
                    <a:moveTo>
                      <a:pt x="13" y="200"/>
                    </a:moveTo>
                    <a:lnTo>
                      <a:pt x="138" y="200"/>
                    </a:lnTo>
                    <a:cubicBezTo>
                      <a:pt x="144" y="200"/>
                      <a:pt x="150" y="194"/>
                      <a:pt x="150" y="188"/>
                    </a:cubicBezTo>
                    <a:lnTo>
                      <a:pt x="150" y="150"/>
                    </a:lnTo>
                    <a:cubicBezTo>
                      <a:pt x="150" y="122"/>
                      <a:pt x="134" y="97"/>
                      <a:pt x="111" y="84"/>
                    </a:cubicBezTo>
                    <a:cubicBezTo>
                      <a:pt x="120" y="75"/>
                      <a:pt x="125" y="63"/>
                      <a:pt x="125" y="50"/>
                    </a:cubicBezTo>
                    <a:cubicBezTo>
                      <a:pt x="125" y="22"/>
                      <a:pt x="103" y="0"/>
                      <a:pt x="75" y="0"/>
                    </a:cubicBezTo>
                    <a:cubicBezTo>
                      <a:pt x="47" y="0"/>
                      <a:pt x="25" y="22"/>
                      <a:pt x="25" y="50"/>
                    </a:cubicBezTo>
                    <a:cubicBezTo>
                      <a:pt x="25" y="63"/>
                      <a:pt x="30" y="75"/>
                      <a:pt x="39" y="84"/>
                    </a:cubicBezTo>
                    <a:cubicBezTo>
                      <a:pt x="16" y="97"/>
                      <a:pt x="0" y="122"/>
                      <a:pt x="0" y="150"/>
                    </a:cubicBezTo>
                    <a:lnTo>
                      <a:pt x="0" y="188"/>
                    </a:lnTo>
                    <a:cubicBezTo>
                      <a:pt x="0" y="194"/>
                      <a:pt x="6" y="200"/>
                      <a:pt x="13" y="200"/>
                    </a:cubicBezTo>
                    <a:close/>
                    <a:moveTo>
                      <a:pt x="50" y="50"/>
                    </a:moveTo>
                    <a:cubicBezTo>
                      <a:pt x="50" y="36"/>
                      <a:pt x="61" y="25"/>
                      <a:pt x="75" y="25"/>
                    </a:cubicBezTo>
                    <a:cubicBezTo>
                      <a:pt x="89" y="25"/>
                      <a:pt x="100" y="36"/>
                      <a:pt x="100" y="50"/>
                    </a:cubicBezTo>
                    <a:cubicBezTo>
                      <a:pt x="100" y="64"/>
                      <a:pt x="89" y="75"/>
                      <a:pt x="75" y="75"/>
                    </a:cubicBezTo>
                    <a:cubicBezTo>
                      <a:pt x="61" y="75"/>
                      <a:pt x="50" y="64"/>
                      <a:pt x="50" y="50"/>
                    </a:cubicBezTo>
                    <a:close/>
                    <a:moveTo>
                      <a:pt x="25" y="150"/>
                    </a:moveTo>
                    <a:cubicBezTo>
                      <a:pt x="25" y="122"/>
                      <a:pt x="47" y="100"/>
                      <a:pt x="75" y="100"/>
                    </a:cubicBezTo>
                    <a:cubicBezTo>
                      <a:pt x="103" y="100"/>
                      <a:pt x="125" y="122"/>
                      <a:pt x="125" y="150"/>
                    </a:cubicBezTo>
                    <a:lnTo>
                      <a:pt x="125" y="175"/>
                    </a:lnTo>
                    <a:lnTo>
                      <a:pt x="25" y="175"/>
                    </a:lnTo>
                    <a:lnTo>
                      <a:pt x="25" y="15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7" name="Freeform 283"/>
              <p:cNvSpPr>
                <a:spLocks noEditPoints="1"/>
              </p:cNvSpPr>
              <p:nvPr/>
            </p:nvSpPr>
            <p:spPr bwMode="auto">
              <a:xfrm>
                <a:off x="1622425" y="4298950"/>
                <a:ext cx="125413" cy="168275"/>
              </a:xfrm>
              <a:custGeom>
                <a:avLst/>
                <a:gdLst>
                  <a:gd name="T0" fmla="*/ 111 w 150"/>
                  <a:gd name="T1" fmla="*/ 84 h 200"/>
                  <a:gd name="T2" fmla="*/ 125 w 150"/>
                  <a:gd name="T3" fmla="*/ 50 h 200"/>
                  <a:gd name="T4" fmla="*/ 75 w 150"/>
                  <a:gd name="T5" fmla="*/ 0 h 200"/>
                  <a:gd name="T6" fmla="*/ 25 w 150"/>
                  <a:gd name="T7" fmla="*/ 50 h 200"/>
                  <a:gd name="T8" fmla="*/ 39 w 150"/>
                  <a:gd name="T9" fmla="*/ 84 h 200"/>
                  <a:gd name="T10" fmla="*/ 0 w 150"/>
                  <a:gd name="T11" fmla="*/ 150 h 200"/>
                  <a:gd name="T12" fmla="*/ 0 w 150"/>
                  <a:gd name="T13" fmla="*/ 188 h 200"/>
                  <a:gd name="T14" fmla="*/ 13 w 150"/>
                  <a:gd name="T15" fmla="*/ 200 h 200"/>
                  <a:gd name="T16" fmla="*/ 138 w 150"/>
                  <a:gd name="T17" fmla="*/ 200 h 200"/>
                  <a:gd name="T18" fmla="*/ 150 w 150"/>
                  <a:gd name="T19" fmla="*/ 188 h 200"/>
                  <a:gd name="T20" fmla="*/ 150 w 150"/>
                  <a:gd name="T21" fmla="*/ 150 h 200"/>
                  <a:gd name="T22" fmla="*/ 111 w 150"/>
                  <a:gd name="T23" fmla="*/ 84 h 200"/>
                  <a:gd name="T24" fmla="*/ 50 w 150"/>
                  <a:gd name="T25" fmla="*/ 50 h 200"/>
                  <a:gd name="T26" fmla="*/ 75 w 150"/>
                  <a:gd name="T27" fmla="*/ 25 h 200"/>
                  <a:gd name="T28" fmla="*/ 100 w 150"/>
                  <a:gd name="T29" fmla="*/ 50 h 200"/>
                  <a:gd name="T30" fmla="*/ 75 w 150"/>
                  <a:gd name="T31" fmla="*/ 75 h 200"/>
                  <a:gd name="T32" fmla="*/ 50 w 150"/>
                  <a:gd name="T33" fmla="*/ 50 h 200"/>
                  <a:gd name="T34" fmla="*/ 125 w 150"/>
                  <a:gd name="T35" fmla="*/ 175 h 200"/>
                  <a:gd name="T36" fmla="*/ 25 w 150"/>
                  <a:gd name="T37" fmla="*/ 175 h 200"/>
                  <a:gd name="T38" fmla="*/ 25 w 150"/>
                  <a:gd name="T39" fmla="*/ 150 h 200"/>
                  <a:gd name="T40" fmla="*/ 75 w 150"/>
                  <a:gd name="T41" fmla="*/ 100 h 200"/>
                  <a:gd name="T42" fmla="*/ 125 w 150"/>
                  <a:gd name="T43" fmla="*/ 150 h 200"/>
                  <a:gd name="T44" fmla="*/ 125 w 150"/>
                  <a:gd name="T45" fmla="*/ 17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200">
                    <a:moveTo>
                      <a:pt x="111" y="84"/>
                    </a:moveTo>
                    <a:cubicBezTo>
                      <a:pt x="120" y="75"/>
                      <a:pt x="125" y="63"/>
                      <a:pt x="125" y="50"/>
                    </a:cubicBezTo>
                    <a:cubicBezTo>
                      <a:pt x="125" y="22"/>
                      <a:pt x="103" y="0"/>
                      <a:pt x="75" y="0"/>
                    </a:cubicBezTo>
                    <a:cubicBezTo>
                      <a:pt x="47" y="0"/>
                      <a:pt x="25" y="22"/>
                      <a:pt x="25" y="50"/>
                    </a:cubicBezTo>
                    <a:cubicBezTo>
                      <a:pt x="25" y="63"/>
                      <a:pt x="30" y="75"/>
                      <a:pt x="39" y="84"/>
                    </a:cubicBezTo>
                    <a:cubicBezTo>
                      <a:pt x="16" y="97"/>
                      <a:pt x="0" y="122"/>
                      <a:pt x="0" y="150"/>
                    </a:cubicBezTo>
                    <a:lnTo>
                      <a:pt x="0" y="188"/>
                    </a:lnTo>
                    <a:cubicBezTo>
                      <a:pt x="0" y="194"/>
                      <a:pt x="6" y="200"/>
                      <a:pt x="13" y="200"/>
                    </a:cubicBezTo>
                    <a:lnTo>
                      <a:pt x="138" y="200"/>
                    </a:lnTo>
                    <a:cubicBezTo>
                      <a:pt x="144" y="200"/>
                      <a:pt x="150" y="194"/>
                      <a:pt x="150" y="188"/>
                    </a:cubicBezTo>
                    <a:lnTo>
                      <a:pt x="150" y="150"/>
                    </a:lnTo>
                    <a:cubicBezTo>
                      <a:pt x="150" y="122"/>
                      <a:pt x="134" y="97"/>
                      <a:pt x="111" y="84"/>
                    </a:cubicBezTo>
                    <a:close/>
                    <a:moveTo>
                      <a:pt x="50" y="50"/>
                    </a:moveTo>
                    <a:cubicBezTo>
                      <a:pt x="50" y="36"/>
                      <a:pt x="61" y="25"/>
                      <a:pt x="75" y="25"/>
                    </a:cubicBezTo>
                    <a:cubicBezTo>
                      <a:pt x="89" y="25"/>
                      <a:pt x="100" y="36"/>
                      <a:pt x="100" y="50"/>
                    </a:cubicBezTo>
                    <a:cubicBezTo>
                      <a:pt x="100" y="64"/>
                      <a:pt x="89" y="75"/>
                      <a:pt x="75" y="75"/>
                    </a:cubicBezTo>
                    <a:cubicBezTo>
                      <a:pt x="61" y="75"/>
                      <a:pt x="50" y="64"/>
                      <a:pt x="50" y="50"/>
                    </a:cubicBezTo>
                    <a:close/>
                    <a:moveTo>
                      <a:pt x="125" y="175"/>
                    </a:moveTo>
                    <a:lnTo>
                      <a:pt x="25" y="175"/>
                    </a:lnTo>
                    <a:lnTo>
                      <a:pt x="25" y="150"/>
                    </a:lnTo>
                    <a:cubicBezTo>
                      <a:pt x="25" y="122"/>
                      <a:pt x="47" y="100"/>
                      <a:pt x="75" y="100"/>
                    </a:cubicBezTo>
                    <a:cubicBezTo>
                      <a:pt x="103" y="100"/>
                      <a:pt x="125" y="122"/>
                      <a:pt x="125" y="150"/>
                    </a:cubicBezTo>
                    <a:lnTo>
                      <a:pt x="125" y="17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8" name="Freeform 284"/>
              <p:cNvSpPr>
                <a:spLocks noEditPoints="1"/>
              </p:cNvSpPr>
              <p:nvPr/>
            </p:nvSpPr>
            <p:spPr bwMode="auto">
              <a:xfrm>
                <a:off x="1098550" y="4781550"/>
                <a:ext cx="125413" cy="168275"/>
              </a:xfrm>
              <a:custGeom>
                <a:avLst/>
                <a:gdLst>
                  <a:gd name="T0" fmla="*/ 111 w 150"/>
                  <a:gd name="T1" fmla="*/ 84 h 200"/>
                  <a:gd name="T2" fmla="*/ 125 w 150"/>
                  <a:gd name="T3" fmla="*/ 50 h 200"/>
                  <a:gd name="T4" fmla="*/ 75 w 150"/>
                  <a:gd name="T5" fmla="*/ 0 h 200"/>
                  <a:gd name="T6" fmla="*/ 25 w 150"/>
                  <a:gd name="T7" fmla="*/ 50 h 200"/>
                  <a:gd name="T8" fmla="*/ 39 w 150"/>
                  <a:gd name="T9" fmla="*/ 84 h 200"/>
                  <a:gd name="T10" fmla="*/ 0 w 150"/>
                  <a:gd name="T11" fmla="*/ 150 h 200"/>
                  <a:gd name="T12" fmla="*/ 0 w 150"/>
                  <a:gd name="T13" fmla="*/ 188 h 200"/>
                  <a:gd name="T14" fmla="*/ 13 w 150"/>
                  <a:gd name="T15" fmla="*/ 200 h 200"/>
                  <a:gd name="T16" fmla="*/ 138 w 150"/>
                  <a:gd name="T17" fmla="*/ 200 h 200"/>
                  <a:gd name="T18" fmla="*/ 150 w 150"/>
                  <a:gd name="T19" fmla="*/ 188 h 200"/>
                  <a:gd name="T20" fmla="*/ 150 w 150"/>
                  <a:gd name="T21" fmla="*/ 150 h 200"/>
                  <a:gd name="T22" fmla="*/ 111 w 150"/>
                  <a:gd name="T23" fmla="*/ 84 h 200"/>
                  <a:gd name="T24" fmla="*/ 50 w 150"/>
                  <a:gd name="T25" fmla="*/ 50 h 200"/>
                  <a:gd name="T26" fmla="*/ 75 w 150"/>
                  <a:gd name="T27" fmla="*/ 25 h 200"/>
                  <a:gd name="T28" fmla="*/ 100 w 150"/>
                  <a:gd name="T29" fmla="*/ 50 h 200"/>
                  <a:gd name="T30" fmla="*/ 75 w 150"/>
                  <a:gd name="T31" fmla="*/ 75 h 200"/>
                  <a:gd name="T32" fmla="*/ 50 w 150"/>
                  <a:gd name="T33" fmla="*/ 50 h 200"/>
                  <a:gd name="T34" fmla="*/ 125 w 150"/>
                  <a:gd name="T35" fmla="*/ 175 h 200"/>
                  <a:gd name="T36" fmla="*/ 25 w 150"/>
                  <a:gd name="T37" fmla="*/ 175 h 200"/>
                  <a:gd name="T38" fmla="*/ 25 w 150"/>
                  <a:gd name="T39" fmla="*/ 150 h 200"/>
                  <a:gd name="T40" fmla="*/ 75 w 150"/>
                  <a:gd name="T41" fmla="*/ 100 h 200"/>
                  <a:gd name="T42" fmla="*/ 125 w 150"/>
                  <a:gd name="T43" fmla="*/ 150 h 200"/>
                  <a:gd name="T44" fmla="*/ 125 w 150"/>
                  <a:gd name="T45" fmla="*/ 17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200">
                    <a:moveTo>
                      <a:pt x="111" y="84"/>
                    </a:moveTo>
                    <a:cubicBezTo>
                      <a:pt x="120" y="75"/>
                      <a:pt x="125" y="63"/>
                      <a:pt x="125" y="50"/>
                    </a:cubicBezTo>
                    <a:cubicBezTo>
                      <a:pt x="125" y="22"/>
                      <a:pt x="103" y="0"/>
                      <a:pt x="75" y="0"/>
                    </a:cubicBezTo>
                    <a:cubicBezTo>
                      <a:pt x="47" y="0"/>
                      <a:pt x="25" y="22"/>
                      <a:pt x="25" y="50"/>
                    </a:cubicBezTo>
                    <a:cubicBezTo>
                      <a:pt x="25" y="63"/>
                      <a:pt x="30" y="75"/>
                      <a:pt x="39" y="84"/>
                    </a:cubicBezTo>
                    <a:cubicBezTo>
                      <a:pt x="16" y="97"/>
                      <a:pt x="0" y="122"/>
                      <a:pt x="0" y="150"/>
                    </a:cubicBezTo>
                    <a:lnTo>
                      <a:pt x="0" y="188"/>
                    </a:lnTo>
                    <a:cubicBezTo>
                      <a:pt x="0" y="194"/>
                      <a:pt x="6" y="200"/>
                      <a:pt x="13" y="200"/>
                    </a:cubicBezTo>
                    <a:lnTo>
                      <a:pt x="138" y="200"/>
                    </a:lnTo>
                    <a:cubicBezTo>
                      <a:pt x="144" y="200"/>
                      <a:pt x="150" y="194"/>
                      <a:pt x="150" y="188"/>
                    </a:cubicBezTo>
                    <a:lnTo>
                      <a:pt x="150" y="150"/>
                    </a:lnTo>
                    <a:cubicBezTo>
                      <a:pt x="150" y="122"/>
                      <a:pt x="134" y="97"/>
                      <a:pt x="111" y="84"/>
                    </a:cubicBezTo>
                    <a:close/>
                    <a:moveTo>
                      <a:pt x="50" y="50"/>
                    </a:moveTo>
                    <a:cubicBezTo>
                      <a:pt x="50" y="36"/>
                      <a:pt x="61" y="25"/>
                      <a:pt x="75" y="25"/>
                    </a:cubicBezTo>
                    <a:cubicBezTo>
                      <a:pt x="89" y="25"/>
                      <a:pt x="100" y="36"/>
                      <a:pt x="100" y="50"/>
                    </a:cubicBezTo>
                    <a:cubicBezTo>
                      <a:pt x="100" y="64"/>
                      <a:pt x="89" y="75"/>
                      <a:pt x="75" y="75"/>
                    </a:cubicBezTo>
                    <a:cubicBezTo>
                      <a:pt x="61" y="75"/>
                      <a:pt x="50" y="64"/>
                      <a:pt x="50" y="50"/>
                    </a:cubicBezTo>
                    <a:close/>
                    <a:moveTo>
                      <a:pt x="125" y="175"/>
                    </a:moveTo>
                    <a:lnTo>
                      <a:pt x="25" y="175"/>
                    </a:lnTo>
                    <a:lnTo>
                      <a:pt x="25" y="150"/>
                    </a:lnTo>
                    <a:cubicBezTo>
                      <a:pt x="25" y="122"/>
                      <a:pt x="47" y="100"/>
                      <a:pt x="75" y="100"/>
                    </a:cubicBezTo>
                    <a:cubicBezTo>
                      <a:pt x="103" y="100"/>
                      <a:pt x="125" y="122"/>
                      <a:pt x="125" y="150"/>
                    </a:cubicBezTo>
                    <a:lnTo>
                      <a:pt x="125" y="17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9" name="Freeform 285"/>
              <p:cNvSpPr>
                <a:spLocks noEditPoints="1"/>
              </p:cNvSpPr>
              <p:nvPr/>
            </p:nvSpPr>
            <p:spPr bwMode="auto">
              <a:xfrm>
                <a:off x="1622425" y="4781550"/>
                <a:ext cx="125413" cy="168275"/>
              </a:xfrm>
              <a:custGeom>
                <a:avLst/>
                <a:gdLst>
                  <a:gd name="T0" fmla="*/ 111 w 150"/>
                  <a:gd name="T1" fmla="*/ 84 h 200"/>
                  <a:gd name="T2" fmla="*/ 125 w 150"/>
                  <a:gd name="T3" fmla="*/ 50 h 200"/>
                  <a:gd name="T4" fmla="*/ 75 w 150"/>
                  <a:gd name="T5" fmla="*/ 0 h 200"/>
                  <a:gd name="T6" fmla="*/ 25 w 150"/>
                  <a:gd name="T7" fmla="*/ 50 h 200"/>
                  <a:gd name="T8" fmla="*/ 39 w 150"/>
                  <a:gd name="T9" fmla="*/ 84 h 200"/>
                  <a:gd name="T10" fmla="*/ 0 w 150"/>
                  <a:gd name="T11" fmla="*/ 150 h 200"/>
                  <a:gd name="T12" fmla="*/ 0 w 150"/>
                  <a:gd name="T13" fmla="*/ 188 h 200"/>
                  <a:gd name="T14" fmla="*/ 13 w 150"/>
                  <a:gd name="T15" fmla="*/ 200 h 200"/>
                  <a:gd name="T16" fmla="*/ 138 w 150"/>
                  <a:gd name="T17" fmla="*/ 200 h 200"/>
                  <a:gd name="T18" fmla="*/ 150 w 150"/>
                  <a:gd name="T19" fmla="*/ 188 h 200"/>
                  <a:gd name="T20" fmla="*/ 150 w 150"/>
                  <a:gd name="T21" fmla="*/ 150 h 200"/>
                  <a:gd name="T22" fmla="*/ 111 w 150"/>
                  <a:gd name="T23" fmla="*/ 84 h 200"/>
                  <a:gd name="T24" fmla="*/ 50 w 150"/>
                  <a:gd name="T25" fmla="*/ 50 h 200"/>
                  <a:gd name="T26" fmla="*/ 75 w 150"/>
                  <a:gd name="T27" fmla="*/ 25 h 200"/>
                  <a:gd name="T28" fmla="*/ 100 w 150"/>
                  <a:gd name="T29" fmla="*/ 50 h 200"/>
                  <a:gd name="T30" fmla="*/ 75 w 150"/>
                  <a:gd name="T31" fmla="*/ 75 h 200"/>
                  <a:gd name="T32" fmla="*/ 50 w 150"/>
                  <a:gd name="T33" fmla="*/ 50 h 200"/>
                  <a:gd name="T34" fmla="*/ 125 w 150"/>
                  <a:gd name="T35" fmla="*/ 175 h 200"/>
                  <a:gd name="T36" fmla="*/ 25 w 150"/>
                  <a:gd name="T37" fmla="*/ 175 h 200"/>
                  <a:gd name="T38" fmla="*/ 25 w 150"/>
                  <a:gd name="T39" fmla="*/ 150 h 200"/>
                  <a:gd name="T40" fmla="*/ 75 w 150"/>
                  <a:gd name="T41" fmla="*/ 100 h 200"/>
                  <a:gd name="T42" fmla="*/ 125 w 150"/>
                  <a:gd name="T43" fmla="*/ 150 h 200"/>
                  <a:gd name="T44" fmla="*/ 125 w 150"/>
                  <a:gd name="T45" fmla="*/ 17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200">
                    <a:moveTo>
                      <a:pt x="111" y="84"/>
                    </a:moveTo>
                    <a:cubicBezTo>
                      <a:pt x="120" y="75"/>
                      <a:pt x="125" y="63"/>
                      <a:pt x="125" y="50"/>
                    </a:cubicBezTo>
                    <a:cubicBezTo>
                      <a:pt x="125" y="22"/>
                      <a:pt x="103" y="0"/>
                      <a:pt x="75" y="0"/>
                    </a:cubicBezTo>
                    <a:cubicBezTo>
                      <a:pt x="47" y="0"/>
                      <a:pt x="25" y="22"/>
                      <a:pt x="25" y="50"/>
                    </a:cubicBezTo>
                    <a:cubicBezTo>
                      <a:pt x="25" y="63"/>
                      <a:pt x="30" y="75"/>
                      <a:pt x="39" y="84"/>
                    </a:cubicBezTo>
                    <a:cubicBezTo>
                      <a:pt x="16" y="97"/>
                      <a:pt x="0" y="122"/>
                      <a:pt x="0" y="150"/>
                    </a:cubicBezTo>
                    <a:lnTo>
                      <a:pt x="0" y="188"/>
                    </a:lnTo>
                    <a:cubicBezTo>
                      <a:pt x="0" y="194"/>
                      <a:pt x="6" y="200"/>
                      <a:pt x="13" y="200"/>
                    </a:cubicBezTo>
                    <a:lnTo>
                      <a:pt x="138" y="200"/>
                    </a:lnTo>
                    <a:cubicBezTo>
                      <a:pt x="144" y="200"/>
                      <a:pt x="150" y="194"/>
                      <a:pt x="150" y="188"/>
                    </a:cubicBezTo>
                    <a:lnTo>
                      <a:pt x="150" y="150"/>
                    </a:lnTo>
                    <a:cubicBezTo>
                      <a:pt x="150" y="122"/>
                      <a:pt x="134" y="97"/>
                      <a:pt x="111" y="84"/>
                    </a:cubicBezTo>
                    <a:close/>
                    <a:moveTo>
                      <a:pt x="50" y="50"/>
                    </a:moveTo>
                    <a:cubicBezTo>
                      <a:pt x="50" y="36"/>
                      <a:pt x="61" y="25"/>
                      <a:pt x="75" y="25"/>
                    </a:cubicBezTo>
                    <a:cubicBezTo>
                      <a:pt x="89" y="25"/>
                      <a:pt x="100" y="36"/>
                      <a:pt x="100" y="50"/>
                    </a:cubicBezTo>
                    <a:cubicBezTo>
                      <a:pt x="100" y="64"/>
                      <a:pt x="89" y="75"/>
                      <a:pt x="75" y="75"/>
                    </a:cubicBezTo>
                    <a:cubicBezTo>
                      <a:pt x="61" y="75"/>
                      <a:pt x="50" y="64"/>
                      <a:pt x="50" y="50"/>
                    </a:cubicBezTo>
                    <a:close/>
                    <a:moveTo>
                      <a:pt x="125" y="175"/>
                    </a:moveTo>
                    <a:lnTo>
                      <a:pt x="25" y="175"/>
                    </a:lnTo>
                    <a:lnTo>
                      <a:pt x="25" y="150"/>
                    </a:lnTo>
                    <a:cubicBezTo>
                      <a:pt x="25" y="122"/>
                      <a:pt x="47" y="100"/>
                      <a:pt x="75" y="100"/>
                    </a:cubicBezTo>
                    <a:cubicBezTo>
                      <a:pt x="103" y="100"/>
                      <a:pt x="125" y="122"/>
                      <a:pt x="125" y="150"/>
                    </a:cubicBezTo>
                    <a:lnTo>
                      <a:pt x="125" y="17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0" name="Freeform 286"/>
              <p:cNvSpPr>
                <a:spLocks noEditPoints="1"/>
              </p:cNvSpPr>
              <p:nvPr/>
            </p:nvSpPr>
            <p:spPr bwMode="auto">
              <a:xfrm>
                <a:off x="1203325" y="4403725"/>
                <a:ext cx="439738" cy="441325"/>
              </a:xfrm>
              <a:custGeom>
                <a:avLst/>
                <a:gdLst>
                  <a:gd name="T0" fmla="*/ 263 w 525"/>
                  <a:gd name="T1" fmla="*/ 0 h 525"/>
                  <a:gd name="T2" fmla="*/ 0 w 525"/>
                  <a:gd name="T3" fmla="*/ 263 h 525"/>
                  <a:gd name="T4" fmla="*/ 263 w 525"/>
                  <a:gd name="T5" fmla="*/ 525 h 525"/>
                  <a:gd name="T6" fmla="*/ 525 w 525"/>
                  <a:gd name="T7" fmla="*/ 263 h 525"/>
                  <a:gd name="T8" fmla="*/ 263 w 525"/>
                  <a:gd name="T9" fmla="*/ 0 h 525"/>
                  <a:gd name="T10" fmla="*/ 263 w 525"/>
                  <a:gd name="T11" fmla="*/ 500 h 525"/>
                  <a:gd name="T12" fmla="*/ 25 w 525"/>
                  <a:gd name="T13" fmla="*/ 263 h 525"/>
                  <a:gd name="T14" fmla="*/ 263 w 525"/>
                  <a:gd name="T15" fmla="*/ 25 h 525"/>
                  <a:gd name="T16" fmla="*/ 500 w 525"/>
                  <a:gd name="T17" fmla="*/ 263 h 525"/>
                  <a:gd name="T18" fmla="*/ 263 w 525"/>
                  <a:gd name="T19" fmla="*/ 50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5" h="525">
                    <a:moveTo>
                      <a:pt x="263" y="0"/>
                    </a:moveTo>
                    <a:cubicBezTo>
                      <a:pt x="118" y="0"/>
                      <a:pt x="0" y="118"/>
                      <a:pt x="0" y="263"/>
                    </a:cubicBezTo>
                    <a:cubicBezTo>
                      <a:pt x="0" y="407"/>
                      <a:pt x="118" y="525"/>
                      <a:pt x="263" y="525"/>
                    </a:cubicBezTo>
                    <a:cubicBezTo>
                      <a:pt x="407" y="525"/>
                      <a:pt x="525" y="407"/>
                      <a:pt x="525" y="263"/>
                    </a:cubicBezTo>
                    <a:cubicBezTo>
                      <a:pt x="525" y="118"/>
                      <a:pt x="407" y="0"/>
                      <a:pt x="263" y="0"/>
                    </a:cubicBezTo>
                    <a:close/>
                    <a:moveTo>
                      <a:pt x="263" y="500"/>
                    </a:moveTo>
                    <a:cubicBezTo>
                      <a:pt x="132" y="500"/>
                      <a:pt x="25" y="393"/>
                      <a:pt x="25" y="263"/>
                    </a:cubicBezTo>
                    <a:cubicBezTo>
                      <a:pt x="25" y="132"/>
                      <a:pt x="132" y="25"/>
                      <a:pt x="263" y="25"/>
                    </a:cubicBezTo>
                    <a:cubicBezTo>
                      <a:pt x="393" y="25"/>
                      <a:pt x="500" y="132"/>
                      <a:pt x="500" y="263"/>
                    </a:cubicBezTo>
                    <a:cubicBezTo>
                      <a:pt x="500" y="393"/>
                      <a:pt x="393" y="500"/>
                      <a:pt x="263" y="5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1" name="Freeform 287"/>
              <p:cNvSpPr>
                <a:spLocks/>
              </p:cNvSpPr>
              <p:nvPr/>
            </p:nvSpPr>
            <p:spPr bwMode="auto">
              <a:xfrm>
                <a:off x="1109663" y="4483100"/>
                <a:ext cx="53975" cy="282575"/>
              </a:xfrm>
              <a:custGeom>
                <a:avLst/>
                <a:gdLst>
                  <a:gd name="T0" fmla="*/ 43 w 65"/>
                  <a:gd name="T1" fmla="*/ 0 h 336"/>
                  <a:gd name="T2" fmla="*/ 0 w 65"/>
                  <a:gd name="T3" fmla="*/ 175 h 336"/>
                  <a:gd name="T4" fmla="*/ 36 w 65"/>
                  <a:gd name="T5" fmla="*/ 336 h 336"/>
                  <a:gd name="T6" fmla="*/ 59 w 65"/>
                  <a:gd name="T7" fmla="*/ 326 h 336"/>
                  <a:gd name="T8" fmla="*/ 25 w 65"/>
                  <a:gd name="T9" fmla="*/ 175 h 336"/>
                  <a:gd name="T10" fmla="*/ 65 w 65"/>
                  <a:gd name="T11" fmla="*/ 12 h 336"/>
                  <a:gd name="T12" fmla="*/ 43 w 65"/>
                  <a:gd name="T13" fmla="*/ 0 h 336"/>
                </a:gdLst>
                <a:ahLst/>
                <a:cxnLst>
                  <a:cxn ang="0">
                    <a:pos x="T0" y="T1"/>
                  </a:cxn>
                  <a:cxn ang="0">
                    <a:pos x="T2" y="T3"/>
                  </a:cxn>
                  <a:cxn ang="0">
                    <a:pos x="T4" y="T5"/>
                  </a:cxn>
                  <a:cxn ang="0">
                    <a:pos x="T6" y="T7"/>
                  </a:cxn>
                  <a:cxn ang="0">
                    <a:pos x="T8" y="T9"/>
                  </a:cxn>
                  <a:cxn ang="0">
                    <a:pos x="T10" y="T11"/>
                  </a:cxn>
                  <a:cxn ang="0">
                    <a:pos x="T12" y="T13"/>
                  </a:cxn>
                </a:cxnLst>
                <a:rect l="0" t="0" r="r" b="b"/>
                <a:pathLst>
                  <a:path w="65" h="336">
                    <a:moveTo>
                      <a:pt x="43" y="0"/>
                    </a:moveTo>
                    <a:cubicBezTo>
                      <a:pt x="14" y="54"/>
                      <a:pt x="0" y="114"/>
                      <a:pt x="0" y="175"/>
                    </a:cubicBezTo>
                    <a:cubicBezTo>
                      <a:pt x="0" y="231"/>
                      <a:pt x="12" y="286"/>
                      <a:pt x="36" y="336"/>
                    </a:cubicBezTo>
                    <a:lnTo>
                      <a:pt x="59" y="326"/>
                    </a:lnTo>
                    <a:cubicBezTo>
                      <a:pt x="36" y="278"/>
                      <a:pt x="25" y="228"/>
                      <a:pt x="25" y="175"/>
                    </a:cubicBezTo>
                    <a:cubicBezTo>
                      <a:pt x="25" y="118"/>
                      <a:pt x="38" y="62"/>
                      <a:pt x="65" y="12"/>
                    </a:cubicBezTo>
                    <a:lnTo>
                      <a:pt x="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2" name="Freeform 288"/>
              <p:cNvSpPr>
                <a:spLocks/>
              </p:cNvSpPr>
              <p:nvPr/>
            </p:nvSpPr>
            <p:spPr bwMode="auto">
              <a:xfrm>
                <a:off x="1239838" y="4867275"/>
                <a:ext cx="368300" cy="77788"/>
              </a:xfrm>
              <a:custGeom>
                <a:avLst/>
                <a:gdLst>
                  <a:gd name="T0" fmla="*/ 220 w 439"/>
                  <a:gd name="T1" fmla="*/ 67 h 92"/>
                  <a:gd name="T2" fmla="*/ 14 w 439"/>
                  <a:gd name="T3" fmla="*/ 0 h 92"/>
                  <a:gd name="T4" fmla="*/ 0 w 439"/>
                  <a:gd name="T5" fmla="*/ 21 h 92"/>
                  <a:gd name="T6" fmla="*/ 220 w 439"/>
                  <a:gd name="T7" fmla="*/ 92 h 92"/>
                  <a:gd name="T8" fmla="*/ 439 w 439"/>
                  <a:gd name="T9" fmla="*/ 21 h 92"/>
                  <a:gd name="T10" fmla="*/ 425 w 439"/>
                  <a:gd name="T11" fmla="*/ 0 h 92"/>
                  <a:gd name="T12" fmla="*/ 220 w 439"/>
                  <a:gd name="T13" fmla="*/ 67 h 92"/>
                </a:gdLst>
                <a:ahLst/>
                <a:cxnLst>
                  <a:cxn ang="0">
                    <a:pos x="T0" y="T1"/>
                  </a:cxn>
                  <a:cxn ang="0">
                    <a:pos x="T2" y="T3"/>
                  </a:cxn>
                  <a:cxn ang="0">
                    <a:pos x="T4" y="T5"/>
                  </a:cxn>
                  <a:cxn ang="0">
                    <a:pos x="T6" y="T7"/>
                  </a:cxn>
                  <a:cxn ang="0">
                    <a:pos x="T8" y="T9"/>
                  </a:cxn>
                  <a:cxn ang="0">
                    <a:pos x="T10" y="T11"/>
                  </a:cxn>
                  <a:cxn ang="0">
                    <a:pos x="T12" y="T13"/>
                  </a:cxn>
                </a:cxnLst>
                <a:rect l="0" t="0" r="r" b="b"/>
                <a:pathLst>
                  <a:path w="439" h="92">
                    <a:moveTo>
                      <a:pt x="220" y="67"/>
                    </a:moveTo>
                    <a:cubicBezTo>
                      <a:pt x="145" y="67"/>
                      <a:pt x="74" y="44"/>
                      <a:pt x="14" y="0"/>
                    </a:cubicBezTo>
                    <a:lnTo>
                      <a:pt x="0" y="21"/>
                    </a:lnTo>
                    <a:cubicBezTo>
                      <a:pt x="64" y="67"/>
                      <a:pt x="140" y="92"/>
                      <a:pt x="220" y="92"/>
                    </a:cubicBezTo>
                    <a:cubicBezTo>
                      <a:pt x="299" y="92"/>
                      <a:pt x="375" y="67"/>
                      <a:pt x="439" y="21"/>
                    </a:cubicBezTo>
                    <a:lnTo>
                      <a:pt x="425" y="0"/>
                    </a:lnTo>
                    <a:cubicBezTo>
                      <a:pt x="365" y="44"/>
                      <a:pt x="294" y="67"/>
                      <a:pt x="220" y="6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3" name="Freeform 289"/>
              <p:cNvSpPr>
                <a:spLocks/>
              </p:cNvSpPr>
              <p:nvPr/>
            </p:nvSpPr>
            <p:spPr bwMode="auto">
              <a:xfrm>
                <a:off x="1682750" y="4483100"/>
                <a:ext cx="55563" cy="282575"/>
              </a:xfrm>
              <a:custGeom>
                <a:avLst/>
                <a:gdLst>
                  <a:gd name="T0" fmla="*/ 29 w 66"/>
                  <a:gd name="T1" fmla="*/ 336 h 336"/>
                  <a:gd name="T2" fmla="*/ 66 w 66"/>
                  <a:gd name="T3" fmla="*/ 175 h 336"/>
                  <a:gd name="T4" fmla="*/ 22 w 66"/>
                  <a:gd name="T5" fmla="*/ 0 h 336"/>
                  <a:gd name="T6" fmla="*/ 0 w 66"/>
                  <a:gd name="T7" fmla="*/ 12 h 336"/>
                  <a:gd name="T8" fmla="*/ 41 w 66"/>
                  <a:gd name="T9" fmla="*/ 175 h 336"/>
                  <a:gd name="T10" fmla="*/ 6 w 66"/>
                  <a:gd name="T11" fmla="*/ 326 h 336"/>
                  <a:gd name="T12" fmla="*/ 29 w 66"/>
                  <a:gd name="T13" fmla="*/ 336 h 336"/>
                </a:gdLst>
                <a:ahLst/>
                <a:cxnLst>
                  <a:cxn ang="0">
                    <a:pos x="T0" y="T1"/>
                  </a:cxn>
                  <a:cxn ang="0">
                    <a:pos x="T2" y="T3"/>
                  </a:cxn>
                  <a:cxn ang="0">
                    <a:pos x="T4" y="T5"/>
                  </a:cxn>
                  <a:cxn ang="0">
                    <a:pos x="T6" y="T7"/>
                  </a:cxn>
                  <a:cxn ang="0">
                    <a:pos x="T8" y="T9"/>
                  </a:cxn>
                  <a:cxn ang="0">
                    <a:pos x="T10" y="T11"/>
                  </a:cxn>
                  <a:cxn ang="0">
                    <a:pos x="T12" y="T13"/>
                  </a:cxn>
                </a:cxnLst>
                <a:rect l="0" t="0" r="r" b="b"/>
                <a:pathLst>
                  <a:path w="66" h="336">
                    <a:moveTo>
                      <a:pt x="29" y="336"/>
                    </a:moveTo>
                    <a:cubicBezTo>
                      <a:pt x="53" y="286"/>
                      <a:pt x="66" y="231"/>
                      <a:pt x="66" y="175"/>
                    </a:cubicBezTo>
                    <a:cubicBezTo>
                      <a:pt x="66" y="114"/>
                      <a:pt x="51" y="54"/>
                      <a:pt x="22" y="0"/>
                    </a:cubicBezTo>
                    <a:lnTo>
                      <a:pt x="0" y="12"/>
                    </a:lnTo>
                    <a:cubicBezTo>
                      <a:pt x="27" y="62"/>
                      <a:pt x="41" y="118"/>
                      <a:pt x="41" y="175"/>
                    </a:cubicBezTo>
                    <a:cubicBezTo>
                      <a:pt x="41" y="228"/>
                      <a:pt x="29" y="278"/>
                      <a:pt x="6" y="326"/>
                    </a:cubicBezTo>
                    <a:lnTo>
                      <a:pt x="29" y="33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4" name="Freeform 290"/>
              <p:cNvSpPr>
                <a:spLocks/>
              </p:cNvSpPr>
              <p:nvPr/>
            </p:nvSpPr>
            <p:spPr bwMode="auto">
              <a:xfrm>
                <a:off x="1228725" y="4314825"/>
                <a:ext cx="388938" cy="84138"/>
              </a:xfrm>
              <a:custGeom>
                <a:avLst/>
                <a:gdLst>
                  <a:gd name="T0" fmla="*/ 0 w 465"/>
                  <a:gd name="T1" fmla="*/ 81 h 100"/>
                  <a:gd name="T2" fmla="*/ 15 w 465"/>
                  <a:gd name="T3" fmla="*/ 100 h 100"/>
                  <a:gd name="T4" fmla="*/ 233 w 465"/>
                  <a:gd name="T5" fmla="*/ 25 h 100"/>
                  <a:gd name="T6" fmla="*/ 450 w 465"/>
                  <a:gd name="T7" fmla="*/ 100 h 100"/>
                  <a:gd name="T8" fmla="*/ 465 w 465"/>
                  <a:gd name="T9" fmla="*/ 81 h 100"/>
                  <a:gd name="T10" fmla="*/ 233 w 465"/>
                  <a:gd name="T11" fmla="*/ 0 h 100"/>
                  <a:gd name="T12" fmla="*/ 0 w 465"/>
                  <a:gd name="T13" fmla="*/ 81 h 100"/>
                </a:gdLst>
                <a:ahLst/>
                <a:cxnLst>
                  <a:cxn ang="0">
                    <a:pos x="T0" y="T1"/>
                  </a:cxn>
                  <a:cxn ang="0">
                    <a:pos x="T2" y="T3"/>
                  </a:cxn>
                  <a:cxn ang="0">
                    <a:pos x="T4" y="T5"/>
                  </a:cxn>
                  <a:cxn ang="0">
                    <a:pos x="T6" y="T7"/>
                  </a:cxn>
                  <a:cxn ang="0">
                    <a:pos x="T8" y="T9"/>
                  </a:cxn>
                  <a:cxn ang="0">
                    <a:pos x="T10" y="T11"/>
                  </a:cxn>
                  <a:cxn ang="0">
                    <a:pos x="T12" y="T13"/>
                  </a:cxn>
                </a:cxnLst>
                <a:rect l="0" t="0" r="r" b="b"/>
                <a:pathLst>
                  <a:path w="465" h="100">
                    <a:moveTo>
                      <a:pt x="0" y="81"/>
                    </a:moveTo>
                    <a:lnTo>
                      <a:pt x="15" y="100"/>
                    </a:lnTo>
                    <a:cubicBezTo>
                      <a:pt x="78" y="51"/>
                      <a:pt x="153" y="25"/>
                      <a:pt x="233" y="25"/>
                    </a:cubicBezTo>
                    <a:cubicBezTo>
                      <a:pt x="312" y="25"/>
                      <a:pt x="387" y="51"/>
                      <a:pt x="450" y="100"/>
                    </a:cubicBezTo>
                    <a:lnTo>
                      <a:pt x="465" y="81"/>
                    </a:lnTo>
                    <a:cubicBezTo>
                      <a:pt x="398" y="28"/>
                      <a:pt x="318" y="0"/>
                      <a:pt x="233" y="0"/>
                    </a:cubicBezTo>
                    <a:cubicBezTo>
                      <a:pt x="147" y="0"/>
                      <a:pt x="67" y="28"/>
                      <a:pt x="0" y="8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sp>
        <p:nvSpPr>
          <p:cNvPr id="148" name="Freeform 147"/>
          <p:cNvSpPr/>
          <p:nvPr/>
        </p:nvSpPr>
        <p:spPr bwMode="gray">
          <a:xfrm>
            <a:off x="2864001" y="5081179"/>
            <a:ext cx="331470" cy="190500"/>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sp>
        <p:nvSpPr>
          <p:cNvPr id="149" name="Freeform 148"/>
          <p:cNvSpPr/>
          <p:nvPr/>
        </p:nvSpPr>
        <p:spPr bwMode="gray">
          <a:xfrm>
            <a:off x="6005804" y="5079574"/>
            <a:ext cx="331470" cy="190500"/>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grpSp>
        <p:nvGrpSpPr>
          <p:cNvPr id="3" name="Group 2">
            <a:extLst>
              <a:ext uri="{FF2B5EF4-FFF2-40B4-BE49-F238E27FC236}">
                <a16:creationId xmlns:a16="http://schemas.microsoft.com/office/drawing/2014/main" id="{848189D4-E30E-4933-ACCE-263EF68F9833}"/>
              </a:ext>
            </a:extLst>
          </p:cNvPr>
          <p:cNvGrpSpPr/>
          <p:nvPr/>
        </p:nvGrpSpPr>
        <p:grpSpPr>
          <a:xfrm>
            <a:off x="9594476" y="2697590"/>
            <a:ext cx="2420471" cy="3443978"/>
            <a:chOff x="7221369" y="2697590"/>
            <a:chExt cx="2420471" cy="3443978"/>
          </a:xfrm>
        </p:grpSpPr>
        <p:grpSp>
          <p:nvGrpSpPr>
            <p:cNvPr id="11586" name="Group 11585"/>
            <p:cNvGrpSpPr/>
            <p:nvPr/>
          </p:nvGrpSpPr>
          <p:grpSpPr>
            <a:xfrm>
              <a:off x="7461752" y="2697590"/>
              <a:ext cx="1850140" cy="2808149"/>
              <a:chOff x="7461752" y="2701400"/>
              <a:chExt cx="1850140" cy="2808149"/>
            </a:xfrm>
          </p:grpSpPr>
          <p:grpSp>
            <p:nvGrpSpPr>
              <p:cNvPr id="74" name="Group 73"/>
              <p:cNvGrpSpPr/>
              <p:nvPr/>
            </p:nvGrpSpPr>
            <p:grpSpPr>
              <a:xfrm>
                <a:off x="7478662" y="2701400"/>
                <a:ext cx="1828338" cy="2590143"/>
                <a:chOff x="565396" y="1866355"/>
                <a:chExt cx="1750030" cy="2479207"/>
              </a:xfrm>
              <a:solidFill>
                <a:schemeClr val="tx1">
                  <a:alpha val="35000"/>
                </a:schemeClr>
              </a:solidFill>
            </p:grpSpPr>
            <p:sp>
              <p:nvSpPr>
                <p:cNvPr id="75" name="Freeform 245"/>
                <p:cNvSpPr>
                  <a:spLocks noEditPoints="1"/>
                </p:cNvSpPr>
                <p:nvPr/>
              </p:nvSpPr>
              <p:spPr bwMode="auto">
                <a:xfrm>
                  <a:off x="565396" y="1866355"/>
                  <a:ext cx="1624610" cy="2371289"/>
                </a:xfrm>
                <a:custGeom>
                  <a:avLst/>
                  <a:gdLst>
                    <a:gd name="T0" fmla="*/ 1337 w 1607"/>
                    <a:gd name="T1" fmla="*/ 964 h 2344"/>
                    <a:gd name="T2" fmla="*/ 866 w 1607"/>
                    <a:gd name="T3" fmla="*/ 825 h 2344"/>
                    <a:gd name="T4" fmla="*/ 394 w 1607"/>
                    <a:gd name="T5" fmla="*/ 964 h 2344"/>
                    <a:gd name="T6" fmla="*/ 309 w 1607"/>
                    <a:gd name="T7" fmla="*/ 742 h 2344"/>
                    <a:gd name="T8" fmla="*/ 866 w 1607"/>
                    <a:gd name="T9" fmla="*/ 323 h 2344"/>
                    <a:gd name="T10" fmla="*/ 1422 w 1607"/>
                    <a:gd name="T11" fmla="*/ 742 h 2344"/>
                    <a:gd name="T12" fmla="*/ 1337 w 1607"/>
                    <a:gd name="T13" fmla="*/ 964 h 2344"/>
                    <a:gd name="T14" fmla="*/ 1509 w 1607"/>
                    <a:gd name="T15" fmla="*/ 1111 h 2344"/>
                    <a:gd name="T16" fmla="*/ 1607 w 1607"/>
                    <a:gd name="T17" fmla="*/ 742 h 2344"/>
                    <a:gd name="T18" fmla="*/ 866 w 1607"/>
                    <a:gd name="T19" fmla="*/ 0 h 2344"/>
                    <a:gd name="T20" fmla="*/ 124 w 1607"/>
                    <a:gd name="T21" fmla="*/ 742 h 2344"/>
                    <a:gd name="T22" fmla="*/ 222 w 1607"/>
                    <a:gd name="T23" fmla="*/ 1111 h 2344"/>
                    <a:gd name="T24" fmla="*/ 0 w 1607"/>
                    <a:gd name="T25" fmla="*/ 1690 h 2344"/>
                    <a:gd name="T26" fmla="*/ 281 w 1607"/>
                    <a:gd name="T27" fmla="*/ 2328 h 2344"/>
                    <a:gd name="T28" fmla="*/ 296 w 1607"/>
                    <a:gd name="T29" fmla="*/ 2344 h 2344"/>
                    <a:gd name="T30" fmla="*/ 1518 w 1607"/>
                    <a:gd name="T31" fmla="*/ 1122 h 2344"/>
                    <a:gd name="T32" fmla="*/ 1509 w 1607"/>
                    <a:gd name="T33" fmla="*/ 1111 h 2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7" h="2344">
                      <a:moveTo>
                        <a:pt x="1337" y="964"/>
                      </a:moveTo>
                      <a:cubicBezTo>
                        <a:pt x="1202" y="876"/>
                        <a:pt x="1039" y="825"/>
                        <a:pt x="866" y="825"/>
                      </a:cubicBezTo>
                      <a:cubicBezTo>
                        <a:pt x="692" y="825"/>
                        <a:pt x="530" y="876"/>
                        <a:pt x="394" y="964"/>
                      </a:cubicBezTo>
                      <a:cubicBezTo>
                        <a:pt x="340" y="900"/>
                        <a:pt x="309" y="824"/>
                        <a:pt x="309" y="742"/>
                      </a:cubicBezTo>
                      <a:cubicBezTo>
                        <a:pt x="309" y="511"/>
                        <a:pt x="558" y="323"/>
                        <a:pt x="866" y="323"/>
                      </a:cubicBezTo>
                      <a:cubicBezTo>
                        <a:pt x="1173" y="323"/>
                        <a:pt x="1422" y="511"/>
                        <a:pt x="1422" y="742"/>
                      </a:cubicBezTo>
                      <a:cubicBezTo>
                        <a:pt x="1422" y="824"/>
                        <a:pt x="1391" y="900"/>
                        <a:pt x="1337" y="964"/>
                      </a:cubicBezTo>
                      <a:moveTo>
                        <a:pt x="1509" y="1111"/>
                      </a:moveTo>
                      <a:cubicBezTo>
                        <a:pt x="1571" y="1002"/>
                        <a:pt x="1607" y="876"/>
                        <a:pt x="1607" y="742"/>
                      </a:cubicBezTo>
                      <a:cubicBezTo>
                        <a:pt x="1607" y="332"/>
                        <a:pt x="1275" y="0"/>
                        <a:pt x="866" y="0"/>
                      </a:cubicBezTo>
                      <a:cubicBezTo>
                        <a:pt x="456" y="0"/>
                        <a:pt x="124" y="332"/>
                        <a:pt x="124" y="742"/>
                      </a:cubicBezTo>
                      <a:cubicBezTo>
                        <a:pt x="124" y="876"/>
                        <a:pt x="159" y="1002"/>
                        <a:pt x="222" y="1111"/>
                      </a:cubicBezTo>
                      <a:cubicBezTo>
                        <a:pt x="84" y="1265"/>
                        <a:pt x="0" y="1467"/>
                        <a:pt x="0" y="1690"/>
                      </a:cubicBezTo>
                      <a:cubicBezTo>
                        <a:pt x="0" y="1943"/>
                        <a:pt x="108" y="2170"/>
                        <a:pt x="281" y="2328"/>
                      </a:cubicBezTo>
                      <a:cubicBezTo>
                        <a:pt x="286" y="2334"/>
                        <a:pt x="291" y="2339"/>
                        <a:pt x="296" y="2344"/>
                      </a:cubicBezTo>
                      <a:lnTo>
                        <a:pt x="1518" y="1122"/>
                      </a:lnTo>
                      <a:cubicBezTo>
                        <a:pt x="1515" y="1118"/>
                        <a:pt x="1512" y="1115"/>
                        <a:pt x="1509" y="1111"/>
                      </a:cubicBezTo>
                    </a:path>
                  </a:pathLst>
                </a:custGeom>
                <a:grpFill/>
                <a:ln>
                  <a:noFill/>
                </a:ln>
                <a:effectLst>
                  <a:softEdge rad="63500"/>
                </a:effectLst>
              </p:spPr>
              <p:txBody>
                <a:bodyPr vert="horz" wrap="square" lIns="91440" tIns="45720" rIns="91440" bIns="45720" numCol="1" anchor="t" anchorCtr="0" compatLnSpc="1">
                  <a:prstTxWarp prst="textNoShape">
                    <a:avLst/>
                  </a:prstTxWarp>
                </a:bodyPr>
                <a:lstStyle/>
                <a:p>
                  <a:endParaRPr lang="en-GB" dirty="0"/>
                </a:p>
              </p:txBody>
            </p:sp>
            <p:sp>
              <p:nvSpPr>
                <p:cNvPr id="76" name="Freeform 246"/>
                <p:cNvSpPr>
                  <a:spLocks/>
                </p:cNvSpPr>
                <p:nvPr/>
              </p:nvSpPr>
              <p:spPr bwMode="auto">
                <a:xfrm>
                  <a:off x="864360" y="3000957"/>
                  <a:ext cx="1451066" cy="1344605"/>
                </a:xfrm>
                <a:custGeom>
                  <a:avLst/>
                  <a:gdLst>
                    <a:gd name="T0" fmla="*/ 1222 w 1435"/>
                    <a:gd name="T1" fmla="*/ 0 h 1328"/>
                    <a:gd name="T2" fmla="*/ 0 w 1435"/>
                    <a:gd name="T3" fmla="*/ 1222 h 1328"/>
                    <a:gd name="T4" fmla="*/ 81 w 1435"/>
                    <a:gd name="T5" fmla="*/ 1282 h 1328"/>
                    <a:gd name="T6" fmla="*/ 257 w 1435"/>
                    <a:gd name="T7" fmla="*/ 1328 h 1328"/>
                    <a:gd name="T8" fmla="*/ 511 w 1435"/>
                    <a:gd name="T9" fmla="*/ 1328 h 1328"/>
                    <a:gd name="T10" fmla="*/ 628 w 1435"/>
                    <a:gd name="T11" fmla="*/ 1328 h 1328"/>
                    <a:gd name="T12" fmla="*/ 882 w 1435"/>
                    <a:gd name="T13" fmla="*/ 1328 h 1328"/>
                    <a:gd name="T14" fmla="*/ 1057 w 1435"/>
                    <a:gd name="T15" fmla="*/ 1283 h 1328"/>
                    <a:gd name="T16" fmla="*/ 1155 w 1435"/>
                    <a:gd name="T17" fmla="*/ 1205 h 1328"/>
                    <a:gd name="T18" fmla="*/ 1435 w 1435"/>
                    <a:gd name="T19" fmla="*/ 568 h 1328"/>
                    <a:gd name="T20" fmla="*/ 1222 w 1435"/>
                    <a:gd name="T21" fmla="*/ 0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5" h="1328">
                      <a:moveTo>
                        <a:pt x="1222" y="0"/>
                      </a:moveTo>
                      <a:lnTo>
                        <a:pt x="0" y="1222"/>
                      </a:lnTo>
                      <a:cubicBezTo>
                        <a:pt x="24" y="1246"/>
                        <a:pt x="51" y="1266"/>
                        <a:pt x="81" y="1282"/>
                      </a:cubicBezTo>
                      <a:cubicBezTo>
                        <a:pt x="133" y="1311"/>
                        <a:pt x="193" y="1328"/>
                        <a:pt x="257" y="1328"/>
                      </a:cubicBezTo>
                      <a:lnTo>
                        <a:pt x="511" y="1328"/>
                      </a:lnTo>
                      <a:lnTo>
                        <a:pt x="628" y="1328"/>
                      </a:lnTo>
                      <a:lnTo>
                        <a:pt x="882" y="1328"/>
                      </a:lnTo>
                      <a:cubicBezTo>
                        <a:pt x="945" y="1328"/>
                        <a:pt x="1005" y="1312"/>
                        <a:pt x="1057" y="1283"/>
                      </a:cubicBezTo>
                      <a:cubicBezTo>
                        <a:pt x="1094" y="1263"/>
                        <a:pt x="1127" y="1237"/>
                        <a:pt x="1155" y="1205"/>
                      </a:cubicBezTo>
                      <a:cubicBezTo>
                        <a:pt x="1327" y="1047"/>
                        <a:pt x="1435" y="820"/>
                        <a:pt x="1435" y="568"/>
                      </a:cubicBezTo>
                      <a:cubicBezTo>
                        <a:pt x="1435" y="351"/>
                        <a:pt x="1355" y="152"/>
                        <a:pt x="1222" y="0"/>
                      </a:cubicBezTo>
                      <a:close/>
                    </a:path>
                  </a:pathLst>
                </a:custGeom>
                <a:grpFill/>
                <a:ln>
                  <a:noFill/>
                </a:ln>
                <a:effectLst>
                  <a:softEdge rad="63500"/>
                </a:effectLst>
              </p:spPr>
              <p:txBody>
                <a:bodyPr vert="horz" wrap="square" lIns="91440" tIns="45720" rIns="91440" bIns="45720" numCol="1" anchor="t" anchorCtr="0" compatLnSpc="1">
                  <a:prstTxWarp prst="textNoShape">
                    <a:avLst/>
                  </a:prstTxWarp>
                </a:bodyPr>
                <a:lstStyle/>
                <a:p>
                  <a:endParaRPr lang="en-GB" dirty="0"/>
                </a:p>
              </p:txBody>
            </p:sp>
          </p:grpSp>
          <p:grpSp>
            <p:nvGrpSpPr>
              <p:cNvPr id="11579" name="Group 11578"/>
              <p:cNvGrpSpPr/>
              <p:nvPr/>
            </p:nvGrpSpPr>
            <p:grpSpPr>
              <a:xfrm>
                <a:off x="7461752" y="2926272"/>
                <a:ext cx="1850140" cy="2583277"/>
                <a:chOff x="7461752" y="2926272"/>
                <a:chExt cx="1850140" cy="2583277"/>
              </a:xfrm>
            </p:grpSpPr>
            <p:sp>
              <p:nvSpPr>
                <p:cNvPr id="40" name="Oval 244"/>
                <p:cNvSpPr>
                  <a:spLocks noChangeArrowheads="1"/>
                </p:cNvSpPr>
                <p:nvPr/>
              </p:nvSpPr>
              <p:spPr bwMode="auto">
                <a:xfrm>
                  <a:off x="7461752" y="5129605"/>
                  <a:ext cx="1850140" cy="379944"/>
                </a:xfrm>
                <a:prstGeom prst="ellipse">
                  <a:avLst/>
                </a:prstGeom>
                <a:gradFill flip="none" rotWithShape="1">
                  <a:gsLst>
                    <a:gs pos="100000">
                      <a:schemeClr val="tx1">
                        <a:alpha val="0"/>
                      </a:schemeClr>
                    </a:gs>
                    <a:gs pos="0">
                      <a:schemeClr val="tx1">
                        <a:lumMod val="75000"/>
                        <a:lumOff val="25000"/>
                      </a:schemeClr>
                    </a:gs>
                  </a:gsLst>
                  <a:path path="shap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GB" dirty="0"/>
                </a:p>
              </p:txBody>
            </p:sp>
            <p:sp>
              <p:nvSpPr>
                <p:cNvPr id="41" name="Freeform 245"/>
                <p:cNvSpPr>
                  <a:spLocks noEditPoints="1"/>
                </p:cNvSpPr>
                <p:nvPr/>
              </p:nvSpPr>
              <p:spPr bwMode="auto">
                <a:xfrm>
                  <a:off x="7564123" y="2926272"/>
                  <a:ext cx="1560508" cy="2277724"/>
                </a:xfrm>
                <a:custGeom>
                  <a:avLst/>
                  <a:gdLst>
                    <a:gd name="T0" fmla="*/ 1337 w 1607"/>
                    <a:gd name="T1" fmla="*/ 964 h 2344"/>
                    <a:gd name="T2" fmla="*/ 866 w 1607"/>
                    <a:gd name="T3" fmla="*/ 825 h 2344"/>
                    <a:gd name="T4" fmla="*/ 394 w 1607"/>
                    <a:gd name="T5" fmla="*/ 964 h 2344"/>
                    <a:gd name="T6" fmla="*/ 309 w 1607"/>
                    <a:gd name="T7" fmla="*/ 742 h 2344"/>
                    <a:gd name="T8" fmla="*/ 866 w 1607"/>
                    <a:gd name="T9" fmla="*/ 323 h 2344"/>
                    <a:gd name="T10" fmla="*/ 1422 w 1607"/>
                    <a:gd name="T11" fmla="*/ 742 h 2344"/>
                    <a:gd name="T12" fmla="*/ 1337 w 1607"/>
                    <a:gd name="T13" fmla="*/ 964 h 2344"/>
                    <a:gd name="T14" fmla="*/ 1509 w 1607"/>
                    <a:gd name="T15" fmla="*/ 1111 h 2344"/>
                    <a:gd name="T16" fmla="*/ 1607 w 1607"/>
                    <a:gd name="T17" fmla="*/ 742 h 2344"/>
                    <a:gd name="T18" fmla="*/ 866 w 1607"/>
                    <a:gd name="T19" fmla="*/ 0 h 2344"/>
                    <a:gd name="T20" fmla="*/ 124 w 1607"/>
                    <a:gd name="T21" fmla="*/ 742 h 2344"/>
                    <a:gd name="T22" fmla="*/ 222 w 1607"/>
                    <a:gd name="T23" fmla="*/ 1111 h 2344"/>
                    <a:gd name="T24" fmla="*/ 0 w 1607"/>
                    <a:gd name="T25" fmla="*/ 1690 h 2344"/>
                    <a:gd name="T26" fmla="*/ 281 w 1607"/>
                    <a:gd name="T27" fmla="*/ 2328 h 2344"/>
                    <a:gd name="T28" fmla="*/ 296 w 1607"/>
                    <a:gd name="T29" fmla="*/ 2344 h 2344"/>
                    <a:gd name="T30" fmla="*/ 1518 w 1607"/>
                    <a:gd name="T31" fmla="*/ 1122 h 2344"/>
                    <a:gd name="T32" fmla="*/ 1509 w 1607"/>
                    <a:gd name="T33" fmla="*/ 1111 h 2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7" h="2344">
                      <a:moveTo>
                        <a:pt x="1337" y="964"/>
                      </a:moveTo>
                      <a:cubicBezTo>
                        <a:pt x="1202" y="876"/>
                        <a:pt x="1039" y="825"/>
                        <a:pt x="866" y="825"/>
                      </a:cubicBezTo>
                      <a:cubicBezTo>
                        <a:pt x="692" y="825"/>
                        <a:pt x="530" y="876"/>
                        <a:pt x="394" y="964"/>
                      </a:cubicBezTo>
                      <a:cubicBezTo>
                        <a:pt x="340" y="900"/>
                        <a:pt x="309" y="824"/>
                        <a:pt x="309" y="742"/>
                      </a:cubicBezTo>
                      <a:cubicBezTo>
                        <a:pt x="309" y="511"/>
                        <a:pt x="558" y="323"/>
                        <a:pt x="866" y="323"/>
                      </a:cubicBezTo>
                      <a:cubicBezTo>
                        <a:pt x="1173" y="323"/>
                        <a:pt x="1422" y="511"/>
                        <a:pt x="1422" y="742"/>
                      </a:cubicBezTo>
                      <a:cubicBezTo>
                        <a:pt x="1422" y="824"/>
                        <a:pt x="1391" y="900"/>
                        <a:pt x="1337" y="964"/>
                      </a:cubicBezTo>
                      <a:moveTo>
                        <a:pt x="1509" y="1111"/>
                      </a:moveTo>
                      <a:cubicBezTo>
                        <a:pt x="1571" y="1002"/>
                        <a:pt x="1607" y="876"/>
                        <a:pt x="1607" y="742"/>
                      </a:cubicBezTo>
                      <a:cubicBezTo>
                        <a:pt x="1607" y="332"/>
                        <a:pt x="1275" y="0"/>
                        <a:pt x="866" y="0"/>
                      </a:cubicBezTo>
                      <a:cubicBezTo>
                        <a:pt x="456" y="0"/>
                        <a:pt x="124" y="332"/>
                        <a:pt x="124" y="742"/>
                      </a:cubicBezTo>
                      <a:cubicBezTo>
                        <a:pt x="124" y="876"/>
                        <a:pt x="159" y="1002"/>
                        <a:pt x="222" y="1111"/>
                      </a:cubicBezTo>
                      <a:cubicBezTo>
                        <a:pt x="84" y="1265"/>
                        <a:pt x="0" y="1467"/>
                        <a:pt x="0" y="1690"/>
                      </a:cubicBezTo>
                      <a:cubicBezTo>
                        <a:pt x="0" y="1943"/>
                        <a:pt x="108" y="2170"/>
                        <a:pt x="281" y="2328"/>
                      </a:cubicBezTo>
                      <a:cubicBezTo>
                        <a:pt x="286" y="2334"/>
                        <a:pt x="291" y="2339"/>
                        <a:pt x="296" y="2344"/>
                      </a:cubicBezTo>
                      <a:lnTo>
                        <a:pt x="1518" y="1122"/>
                      </a:lnTo>
                      <a:cubicBezTo>
                        <a:pt x="1515" y="1118"/>
                        <a:pt x="1512" y="1115"/>
                        <a:pt x="1509" y="1111"/>
                      </a:cubicBezTo>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2" name="Freeform 246"/>
                <p:cNvSpPr>
                  <a:spLocks/>
                </p:cNvSpPr>
                <p:nvPr/>
              </p:nvSpPr>
              <p:spPr bwMode="auto">
                <a:xfrm>
                  <a:off x="7851291" y="4016105"/>
                  <a:ext cx="1393811" cy="1291551"/>
                </a:xfrm>
                <a:custGeom>
                  <a:avLst/>
                  <a:gdLst>
                    <a:gd name="T0" fmla="*/ 1222 w 1435"/>
                    <a:gd name="T1" fmla="*/ 0 h 1328"/>
                    <a:gd name="T2" fmla="*/ 0 w 1435"/>
                    <a:gd name="T3" fmla="*/ 1222 h 1328"/>
                    <a:gd name="T4" fmla="*/ 81 w 1435"/>
                    <a:gd name="T5" fmla="*/ 1282 h 1328"/>
                    <a:gd name="T6" fmla="*/ 257 w 1435"/>
                    <a:gd name="T7" fmla="*/ 1328 h 1328"/>
                    <a:gd name="T8" fmla="*/ 511 w 1435"/>
                    <a:gd name="T9" fmla="*/ 1328 h 1328"/>
                    <a:gd name="T10" fmla="*/ 628 w 1435"/>
                    <a:gd name="T11" fmla="*/ 1328 h 1328"/>
                    <a:gd name="T12" fmla="*/ 882 w 1435"/>
                    <a:gd name="T13" fmla="*/ 1328 h 1328"/>
                    <a:gd name="T14" fmla="*/ 1057 w 1435"/>
                    <a:gd name="T15" fmla="*/ 1283 h 1328"/>
                    <a:gd name="T16" fmla="*/ 1155 w 1435"/>
                    <a:gd name="T17" fmla="*/ 1205 h 1328"/>
                    <a:gd name="T18" fmla="*/ 1435 w 1435"/>
                    <a:gd name="T19" fmla="*/ 568 h 1328"/>
                    <a:gd name="T20" fmla="*/ 1222 w 1435"/>
                    <a:gd name="T21" fmla="*/ 0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5" h="1328">
                      <a:moveTo>
                        <a:pt x="1222" y="0"/>
                      </a:moveTo>
                      <a:lnTo>
                        <a:pt x="0" y="1222"/>
                      </a:lnTo>
                      <a:cubicBezTo>
                        <a:pt x="24" y="1246"/>
                        <a:pt x="51" y="1266"/>
                        <a:pt x="81" y="1282"/>
                      </a:cubicBezTo>
                      <a:cubicBezTo>
                        <a:pt x="133" y="1311"/>
                        <a:pt x="193" y="1328"/>
                        <a:pt x="257" y="1328"/>
                      </a:cubicBezTo>
                      <a:lnTo>
                        <a:pt x="511" y="1328"/>
                      </a:lnTo>
                      <a:lnTo>
                        <a:pt x="628" y="1328"/>
                      </a:lnTo>
                      <a:lnTo>
                        <a:pt x="882" y="1328"/>
                      </a:lnTo>
                      <a:cubicBezTo>
                        <a:pt x="945" y="1328"/>
                        <a:pt x="1005" y="1312"/>
                        <a:pt x="1057" y="1283"/>
                      </a:cubicBezTo>
                      <a:cubicBezTo>
                        <a:pt x="1094" y="1263"/>
                        <a:pt x="1127" y="1237"/>
                        <a:pt x="1155" y="1205"/>
                      </a:cubicBezTo>
                      <a:cubicBezTo>
                        <a:pt x="1327" y="1047"/>
                        <a:pt x="1435" y="820"/>
                        <a:pt x="1435" y="568"/>
                      </a:cubicBezTo>
                      <a:cubicBezTo>
                        <a:pt x="1435" y="351"/>
                        <a:pt x="1355" y="152"/>
                        <a:pt x="1222" y="0"/>
                      </a:cubicBez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3" name="Freeform 247"/>
                <p:cNvSpPr>
                  <a:spLocks/>
                </p:cNvSpPr>
                <p:nvPr/>
              </p:nvSpPr>
              <p:spPr bwMode="auto">
                <a:xfrm>
                  <a:off x="7667728" y="4093151"/>
                  <a:ext cx="270357" cy="463670"/>
                </a:xfrm>
                <a:custGeom>
                  <a:avLst/>
                  <a:gdLst>
                    <a:gd name="T0" fmla="*/ 161 w 278"/>
                    <a:gd name="T1" fmla="*/ 45 h 477"/>
                    <a:gd name="T2" fmla="*/ 11 w 278"/>
                    <a:gd name="T3" fmla="*/ 413 h 477"/>
                    <a:gd name="T4" fmla="*/ 111 w 278"/>
                    <a:gd name="T5" fmla="*/ 413 h 477"/>
                    <a:gd name="T6" fmla="*/ 232 w 278"/>
                    <a:gd name="T7" fmla="*/ 116 h 477"/>
                    <a:gd name="T8" fmla="*/ 161 w 278"/>
                    <a:gd name="T9" fmla="*/ 45 h 477"/>
                  </a:gdLst>
                  <a:ahLst/>
                  <a:cxnLst>
                    <a:cxn ang="0">
                      <a:pos x="T0" y="T1"/>
                    </a:cxn>
                    <a:cxn ang="0">
                      <a:pos x="T2" y="T3"/>
                    </a:cxn>
                    <a:cxn ang="0">
                      <a:pos x="T4" y="T5"/>
                    </a:cxn>
                    <a:cxn ang="0">
                      <a:pos x="T6" y="T7"/>
                    </a:cxn>
                    <a:cxn ang="0">
                      <a:pos x="T8" y="T9"/>
                    </a:cxn>
                  </a:cxnLst>
                  <a:rect l="0" t="0" r="r" b="b"/>
                  <a:pathLst>
                    <a:path w="278" h="477">
                      <a:moveTo>
                        <a:pt x="161" y="45"/>
                      </a:moveTo>
                      <a:cubicBezTo>
                        <a:pt x="64" y="138"/>
                        <a:pt x="0" y="277"/>
                        <a:pt x="11" y="413"/>
                      </a:cubicBezTo>
                      <a:cubicBezTo>
                        <a:pt x="16" y="477"/>
                        <a:pt x="116" y="477"/>
                        <a:pt x="111" y="413"/>
                      </a:cubicBezTo>
                      <a:cubicBezTo>
                        <a:pt x="102" y="302"/>
                        <a:pt x="152" y="192"/>
                        <a:pt x="232" y="116"/>
                      </a:cubicBezTo>
                      <a:cubicBezTo>
                        <a:pt x="278" y="71"/>
                        <a:pt x="207" y="0"/>
                        <a:pt x="161" y="45"/>
                      </a:cubicBezTo>
                      <a:close/>
                    </a:path>
                  </a:pathLst>
                </a:custGeom>
                <a:solidFill>
                  <a:srgbClr val="FFFFFF">
                    <a:alpha val="36000"/>
                  </a:srgb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4" name="Oval 43"/>
                <p:cNvSpPr/>
                <p:nvPr/>
              </p:nvSpPr>
              <p:spPr bwMode="gray">
                <a:xfrm>
                  <a:off x="7863226" y="4093151"/>
                  <a:ext cx="1043551" cy="1043551"/>
                </a:xfrm>
                <a:prstGeom prst="ellipse">
                  <a:avLst/>
                </a:prstGeom>
                <a:solidFill>
                  <a:schemeClr val="bg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54" name="TextBox 53"/>
            <p:cNvSpPr txBox="1"/>
            <p:nvPr/>
          </p:nvSpPr>
          <p:spPr>
            <a:xfrm>
              <a:off x="7221369" y="5587570"/>
              <a:ext cx="2420471" cy="553998"/>
            </a:xfrm>
            <a:prstGeom prst="rect">
              <a:avLst/>
            </a:prstGeom>
            <a:noFill/>
          </p:spPr>
          <p:txBody>
            <a:bodyPr wrap="square" lIns="0" tIns="0" rIns="0" bIns="0" rtlCol="0">
              <a:spAutoFit/>
            </a:bodyPr>
            <a:lstStyle/>
            <a:p>
              <a:pPr algn="ctr">
                <a:spcBef>
                  <a:spcPts val="600"/>
                </a:spcBef>
                <a:buSzPct val="100000"/>
              </a:pPr>
              <a:r>
                <a:rPr lang="en-GB" sz="1800" spc="100" dirty="0">
                  <a:solidFill>
                    <a:schemeClr val="bg1"/>
                  </a:solidFill>
                </a:rPr>
                <a:t>LE “NOUVEAU” CONSOMMATEUR</a:t>
              </a:r>
            </a:p>
          </p:txBody>
        </p:sp>
        <p:sp>
          <p:nvSpPr>
            <p:cNvPr id="11523" name="Freeform 295"/>
            <p:cNvSpPr>
              <a:spLocks noEditPoints="1"/>
            </p:cNvSpPr>
            <p:nvPr/>
          </p:nvSpPr>
          <p:spPr bwMode="auto">
            <a:xfrm>
              <a:off x="8066887" y="4359101"/>
              <a:ext cx="638202" cy="510910"/>
            </a:xfrm>
            <a:custGeom>
              <a:avLst/>
              <a:gdLst>
                <a:gd name="T0" fmla="*/ 812 w 875"/>
                <a:gd name="T1" fmla="*/ 0 h 700"/>
                <a:gd name="T2" fmla="*/ 750 w 875"/>
                <a:gd name="T3" fmla="*/ 63 h 700"/>
                <a:gd name="T4" fmla="*/ 768 w 875"/>
                <a:gd name="T5" fmla="*/ 106 h 700"/>
                <a:gd name="T6" fmla="*/ 586 w 875"/>
                <a:gd name="T7" fmla="*/ 380 h 700"/>
                <a:gd name="T8" fmla="*/ 562 w 875"/>
                <a:gd name="T9" fmla="*/ 375 h 700"/>
                <a:gd name="T10" fmla="*/ 518 w 875"/>
                <a:gd name="T11" fmla="*/ 394 h 700"/>
                <a:gd name="T12" fmla="*/ 371 w 875"/>
                <a:gd name="T13" fmla="*/ 310 h 700"/>
                <a:gd name="T14" fmla="*/ 375 w 875"/>
                <a:gd name="T15" fmla="*/ 288 h 700"/>
                <a:gd name="T16" fmla="*/ 312 w 875"/>
                <a:gd name="T17" fmla="*/ 225 h 700"/>
                <a:gd name="T18" fmla="*/ 250 w 875"/>
                <a:gd name="T19" fmla="*/ 288 h 700"/>
                <a:gd name="T20" fmla="*/ 268 w 875"/>
                <a:gd name="T21" fmla="*/ 331 h 700"/>
                <a:gd name="T22" fmla="*/ 87 w 875"/>
                <a:gd name="T23" fmla="*/ 580 h 700"/>
                <a:gd name="T24" fmla="*/ 86 w 875"/>
                <a:gd name="T25" fmla="*/ 580 h 700"/>
                <a:gd name="T26" fmla="*/ 63 w 875"/>
                <a:gd name="T27" fmla="*/ 575 h 700"/>
                <a:gd name="T28" fmla="*/ 0 w 875"/>
                <a:gd name="T29" fmla="*/ 638 h 700"/>
                <a:gd name="T30" fmla="*/ 63 w 875"/>
                <a:gd name="T31" fmla="*/ 700 h 700"/>
                <a:gd name="T32" fmla="*/ 125 w 875"/>
                <a:gd name="T33" fmla="*/ 638 h 700"/>
                <a:gd name="T34" fmla="*/ 107 w 875"/>
                <a:gd name="T35" fmla="*/ 594 h 700"/>
                <a:gd name="T36" fmla="*/ 288 w 875"/>
                <a:gd name="T37" fmla="*/ 345 h 700"/>
                <a:gd name="T38" fmla="*/ 312 w 875"/>
                <a:gd name="T39" fmla="*/ 350 h 700"/>
                <a:gd name="T40" fmla="*/ 357 w 875"/>
                <a:gd name="T41" fmla="*/ 331 h 700"/>
                <a:gd name="T42" fmla="*/ 505 w 875"/>
                <a:gd name="T43" fmla="*/ 415 h 700"/>
                <a:gd name="T44" fmla="*/ 500 w 875"/>
                <a:gd name="T45" fmla="*/ 438 h 700"/>
                <a:gd name="T46" fmla="*/ 563 w 875"/>
                <a:gd name="T47" fmla="*/ 500 h 700"/>
                <a:gd name="T48" fmla="*/ 625 w 875"/>
                <a:gd name="T49" fmla="*/ 438 h 700"/>
                <a:gd name="T50" fmla="*/ 607 w 875"/>
                <a:gd name="T51" fmla="*/ 393 h 700"/>
                <a:gd name="T52" fmla="*/ 789 w 875"/>
                <a:gd name="T53" fmla="*/ 120 h 700"/>
                <a:gd name="T54" fmla="*/ 813 w 875"/>
                <a:gd name="T55" fmla="*/ 125 h 700"/>
                <a:gd name="T56" fmla="*/ 875 w 875"/>
                <a:gd name="T57" fmla="*/ 62 h 700"/>
                <a:gd name="T58" fmla="*/ 813 w 875"/>
                <a:gd name="T59" fmla="*/ 0 h 700"/>
                <a:gd name="T60" fmla="*/ 812 w 875"/>
                <a:gd name="T61" fmla="*/ 0 h 700"/>
                <a:gd name="T62" fmla="*/ 812 w 875"/>
                <a:gd name="T63" fmla="*/ 25 h 700"/>
                <a:gd name="T64" fmla="*/ 850 w 875"/>
                <a:gd name="T65" fmla="*/ 63 h 700"/>
                <a:gd name="T66" fmla="*/ 812 w 875"/>
                <a:gd name="T67" fmla="*/ 100 h 700"/>
                <a:gd name="T68" fmla="*/ 775 w 875"/>
                <a:gd name="T69" fmla="*/ 63 h 700"/>
                <a:gd name="T70" fmla="*/ 812 w 875"/>
                <a:gd name="T71" fmla="*/ 25 h 700"/>
                <a:gd name="T72" fmla="*/ 312 w 875"/>
                <a:gd name="T73" fmla="*/ 250 h 700"/>
                <a:gd name="T74" fmla="*/ 350 w 875"/>
                <a:gd name="T75" fmla="*/ 288 h 700"/>
                <a:gd name="T76" fmla="*/ 312 w 875"/>
                <a:gd name="T77" fmla="*/ 325 h 700"/>
                <a:gd name="T78" fmla="*/ 275 w 875"/>
                <a:gd name="T79" fmla="*/ 288 h 700"/>
                <a:gd name="T80" fmla="*/ 312 w 875"/>
                <a:gd name="T81" fmla="*/ 250 h 700"/>
                <a:gd name="T82" fmla="*/ 562 w 875"/>
                <a:gd name="T83" fmla="*/ 400 h 700"/>
                <a:gd name="T84" fmla="*/ 600 w 875"/>
                <a:gd name="T85" fmla="*/ 438 h 700"/>
                <a:gd name="T86" fmla="*/ 562 w 875"/>
                <a:gd name="T87" fmla="*/ 475 h 700"/>
                <a:gd name="T88" fmla="*/ 525 w 875"/>
                <a:gd name="T89" fmla="*/ 438 h 700"/>
                <a:gd name="T90" fmla="*/ 562 w 875"/>
                <a:gd name="T91" fmla="*/ 400 h 700"/>
                <a:gd name="T92" fmla="*/ 62 w 875"/>
                <a:gd name="T93" fmla="*/ 600 h 700"/>
                <a:gd name="T94" fmla="*/ 100 w 875"/>
                <a:gd name="T95" fmla="*/ 638 h 700"/>
                <a:gd name="T96" fmla="*/ 62 w 875"/>
                <a:gd name="T97" fmla="*/ 675 h 700"/>
                <a:gd name="T98" fmla="*/ 25 w 875"/>
                <a:gd name="T99" fmla="*/ 638 h 700"/>
                <a:gd name="T100" fmla="*/ 62 w 875"/>
                <a:gd name="T101" fmla="*/ 60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75" h="700">
                  <a:moveTo>
                    <a:pt x="812" y="0"/>
                  </a:moveTo>
                  <a:cubicBezTo>
                    <a:pt x="778" y="0"/>
                    <a:pt x="750" y="28"/>
                    <a:pt x="750" y="63"/>
                  </a:cubicBezTo>
                  <a:cubicBezTo>
                    <a:pt x="750" y="79"/>
                    <a:pt x="757" y="95"/>
                    <a:pt x="768" y="106"/>
                  </a:cubicBezTo>
                  <a:lnTo>
                    <a:pt x="586" y="380"/>
                  </a:lnTo>
                  <a:cubicBezTo>
                    <a:pt x="578" y="377"/>
                    <a:pt x="571" y="375"/>
                    <a:pt x="562" y="375"/>
                  </a:cubicBezTo>
                  <a:cubicBezTo>
                    <a:pt x="545" y="375"/>
                    <a:pt x="529" y="382"/>
                    <a:pt x="518" y="394"/>
                  </a:cubicBezTo>
                  <a:lnTo>
                    <a:pt x="371" y="310"/>
                  </a:lnTo>
                  <a:cubicBezTo>
                    <a:pt x="373" y="303"/>
                    <a:pt x="375" y="295"/>
                    <a:pt x="375" y="288"/>
                  </a:cubicBezTo>
                  <a:cubicBezTo>
                    <a:pt x="375" y="253"/>
                    <a:pt x="347" y="225"/>
                    <a:pt x="312" y="225"/>
                  </a:cubicBezTo>
                  <a:cubicBezTo>
                    <a:pt x="278" y="225"/>
                    <a:pt x="250" y="253"/>
                    <a:pt x="250" y="288"/>
                  </a:cubicBezTo>
                  <a:cubicBezTo>
                    <a:pt x="250" y="304"/>
                    <a:pt x="257" y="320"/>
                    <a:pt x="268" y="331"/>
                  </a:cubicBezTo>
                  <a:lnTo>
                    <a:pt x="87" y="580"/>
                  </a:lnTo>
                  <a:lnTo>
                    <a:pt x="86" y="580"/>
                  </a:lnTo>
                  <a:cubicBezTo>
                    <a:pt x="79" y="577"/>
                    <a:pt x="71" y="575"/>
                    <a:pt x="63" y="575"/>
                  </a:cubicBezTo>
                  <a:cubicBezTo>
                    <a:pt x="28" y="575"/>
                    <a:pt x="0" y="603"/>
                    <a:pt x="0" y="638"/>
                  </a:cubicBezTo>
                  <a:cubicBezTo>
                    <a:pt x="0" y="672"/>
                    <a:pt x="28" y="700"/>
                    <a:pt x="63" y="700"/>
                  </a:cubicBezTo>
                  <a:cubicBezTo>
                    <a:pt x="97" y="700"/>
                    <a:pt x="125" y="672"/>
                    <a:pt x="125" y="638"/>
                  </a:cubicBezTo>
                  <a:cubicBezTo>
                    <a:pt x="125" y="621"/>
                    <a:pt x="118" y="605"/>
                    <a:pt x="107" y="594"/>
                  </a:cubicBezTo>
                  <a:lnTo>
                    <a:pt x="288" y="345"/>
                  </a:lnTo>
                  <a:cubicBezTo>
                    <a:pt x="295" y="349"/>
                    <a:pt x="304" y="350"/>
                    <a:pt x="312" y="350"/>
                  </a:cubicBezTo>
                  <a:cubicBezTo>
                    <a:pt x="330" y="350"/>
                    <a:pt x="346" y="343"/>
                    <a:pt x="357" y="331"/>
                  </a:cubicBezTo>
                  <a:lnTo>
                    <a:pt x="505" y="415"/>
                  </a:lnTo>
                  <a:cubicBezTo>
                    <a:pt x="502" y="422"/>
                    <a:pt x="500" y="429"/>
                    <a:pt x="500" y="438"/>
                  </a:cubicBezTo>
                  <a:cubicBezTo>
                    <a:pt x="500" y="472"/>
                    <a:pt x="528" y="500"/>
                    <a:pt x="563" y="500"/>
                  </a:cubicBezTo>
                  <a:cubicBezTo>
                    <a:pt x="597" y="500"/>
                    <a:pt x="625" y="472"/>
                    <a:pt x="625" y="438"/>
                  </a:cubicBezTo>
                  <a:cubicBezTo>
                    <a:pt x="625" y="420"/>
                    <a:pt x="618" y="405"/>
                    <a:pt x="607" y="393"/>
                  </a:cubicBezTo>
                  <a:lnTo>
                    <a:pt x="789" y="120"/>
                  </a:lnTo>
                  <a:cubicBezTo>
                    <a:pt x="796" y="123"/>
                    <a:pt x="804" y="125"/>
                    <a:pt x="813" y="125"/>
                  </a:cubicBezTo>
                  <a:cubicBezTo>
                    <a:pt x="847" y="125"/>
                    <a:pt x="875" y="97"/>
                    <a:pt x="875" y="62"/>
                  </a:cubicBezTo>
                  <a:cubicBezTo>
                    <a:pt x="875" y="28"/>
                    <a:pt x="847" y="0"/>
                    <a:pt x="813" y="0"/>
                  </a:cubicBezTo>
                  <a:lnTo>
                    <a:pt x="812" y="0"/>
                  </a:lnTo>
                  <a:close/>
                  <a:moveTo>
                    <a:pt x="812" y="25"/>
                  </a:moveTo>
                  <a:cubicBezTo>
                    <a:pt x="833" y="25"/>
                    <a:pt x="850" y="42"/>
                    <a:pt x="850" y="63"/>
                  </a:cubicBezTo>
                  <a:cubicBezTo>
                    <a:pt x="850" y="83"/>
                    <a:pt x="833" y="100"/>
                    <a:pt x="812" y="100"/>
                  </a:cubicBezTo>
                  <a:cubicBezTo>
                    <a:pt x="792" y="100"/>
                    <a:pt x="775" y="83"/>
                    <a:pt x="775" y="63"/>
                  </a:cubicBezTo>
                  <a:cubicBezTo>
                    <a:pt x="775" y="42"/>
                    <a:pt x="792" y="25"/>
                    <a:pt x="812" y="25"/>
                  </a:cubicBezTo>
                  <a:close/>
                  <a:moveTo>
                    <a:pt x="312" y="250"/>
                  </a:moveTo>
                  <a:cubicBezTo>
                    <a:pt x="333" y="250"/>
                    <a:pt x="350" y="267"/>
                    <a:pt x="350" y="288"/>
                  </a:cubicBezTo>
                  <a:cubicBezTo>
                    <a:pt x="350" y="308"/>
                    <a:pt x="333" y="325"/>
                    <a:pt x="312" y="325"/>
                  </a:cubicBezTo>
                  <a:cubicBezTo>
                    <a:pt x="292" y="325"/>
                    <a:pt x="275" y="308"/>
                    <a:pt x="275" y="288"/>
                  </a:cubicBezTo>
                  <a:cubicBezTo>
                    <a:pt x="275" y="267"/>
                    <a:pt x="292" y="250"/>
                    <a:pt x="312" y="250"/>
                  </a:cubicBezTo>
                  <a:close/>
                  <a:moveTo>
                    <a:pt x="562" y="400"/>
                  </a:moveTo>
                  <a:cubicBezTo>
                    <a:pt x="583" y="400"/>
                    <a:pt x="600" y="417"/>
                    <a:pt x="600" y="438"/>
                  </a:cubicBezTo>
                  <a:cubicBezTo>
                    <a:pt x="600" y="458"/>
                    <a:pt x="583" y="475"/>
                    <a:pt x="562" y="475"/>
                  </a:cubicBezTo>
                  <a:cubicBezTo>
                    <a:pt x="542" y="475"/>
                    <a:pt x="525" y="458"/>
                    <a:pt x="525" y="438"/>
                  </a:cubicBezTo>
                  <a:cubicBezTo>
                    <a:pt x="525" y="417"/>
                    <a:pt x="542" y="400"/>
                    <a:pt x="562" y="400"/>
                  </a:cubicBezTo>
                  <a:close/>
                  <a:moveTo>
                    <a:pt x="62" y="600"/>
                  </a:moveTo>
                  <a:cubicBezTo>
                    <a:pt x="83" y="600"/>
                    <a:pt x="100" y="617"/>
                    <a:pt x="100" y="638"/>
                  </a:cubicBezTo>
                  <a:cubicBezTo>
                    <a:pt x="100" y="658"/>
                    <a:pt x="83" y="675"/>
                    <a:pt x="62" y="675"/>
                  </a:cubicBezTo>
                  <a:cubicBezTo>
                    <a:pt x="42" y="675"/>
                    <a:pt x="25" y="658"/>
                    <a:pt x="25" y="638"/>
                  </a:cubicBezTo>
                  <a:cubicBezTo>
                    <a:pt x="25" y="617"/>
                    <a:pt x="42" y="600"/>
                    <a:pt x="62" y="600"/>
                  </a:cubicBezTo>
                  <a:close/>
                </a:path>
              </a:pathLst>
            </a:custGeom>
            <a:solidFill>
              <a:schemeClr val="bg1"/>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50" name="Freeform 149"/>
          <p:cNvSpPr/>
          <p:nvPr/>
        </p:nvSpPr>
        <p:spPr bwMode="gray">
          <a:xfrm>
            <a:off x="9066867" y="5079574"/>
            <a:ext cx="331470" cy="190500"/>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grpSp>
        <p:nvGrpSpPr>
          <p:cNvPr id="4" name="Group 3">
            <a:extLst>
              <a:ext uri="{FF2B5EF4-FFF2-40B4-BE49-F238E27FC236}">
                <a16:creationId xmlns:a16="http://schemas.microsoft.com/office/drawing/2014/main" id="{B474615C-BC62-45A5-9E4E-B96C3895D1BE}"/>
              </a:ext>
            </a:extLst>
          </p:cNvPr>
          <p:cNvGrpSpPr/>
          <p:nvPr/>
        </p:nvGrpSpPr>
        <p:grpSpPr>
          <a:xfrm>
            <a:off x="6717208" y="2697590"/>
            <a:ext cx="1926810" cy="3520922"/>
            <a:chOff x="5132596" y="2697590"/>
            <a:chExt cx="1926810" cy="3520922"/>
          </a:xfrm>
        </p:grpSpPr>
        <p:grpSp>
          <p:nvGrpSpPr>
            <p:cNvPr id="11585" name="Group 11584"/>
            <p:cNvGrpSpPr/>
            <p:nvPr/>
          </p:nvGrpSpPr>
          <p:grpSpPr>
            <a:xfrm>
              <a:off x="5140108" y="2697590"/>
              <a:ext cx="1850140" cy="2808149"/>
              <a:chOff x="5140108" y="2701400"/>
              <a:chExt cx="1850140" cy="2808149"/>
            </a:xfrm>
          </p:grpSpPr>
          <p:grpSp>
            <p:nvGrpSpPr>
              <p:cNvPr id="71" name="Group 70"/>
              <p:cNvGrpSpPr/>
              <p:nvPr/>
            </p:nvGrpSpPr>
            <p:grpSpPr>
              <a:xfrm>
                <a:off x="5149114" y="2701400"/>
                <a:ext cx="1828338" cy="2590143"/>
                <a:chOff x="565396" y="1866355"/>
                <a:chExt cx="1750030" cy="2479207"/>
              </a:xfrm>
              <a:solidFill>
                <a:schemeClr val="tx1">
                  <a:alpha val="35000"/>
                </a:schemeClr>
              </a:solidFill>
            </p:grpSpPr>
            <p:sp>
              <p:nvSpPr>
                <p:cNvPr id="72" name="Freeform 245"/>
                <p:cNvSpPr>
                  <a:spLocks noEditPoints="1"/>
                </p:cNvSpPr>
                <p:nvPr/>
              </p:nvSpPr>
              <p:spPr bwMode="auto">
                <a:xfrm>
                  <a:off x="565396" y="1866355"/>
                  <a:ext cx="1624610" cy="2371289"/>
                </a:xfrm>
                <a:custGeom>
                  <a:avLst/>
                  <a:gdLst>
                    <a:gd name="T0" fmla="*/ 1337 w 1607"/>
                    <a:gd name="T1" fmla="*/ 964 h 2344"/>
                    <a:gd name="T2" fmla="*/ 866 w 1607"/>
                    <a:gd name="T3" fmla="*/ 825 h 2344"/>
                    <a:gd name="T4" fmla="*/ 394 w 1607"/>
                    <a:gd name="T5" fmla="*/ 964 h 2344"/>
                    <a:gd name="T6" fmla="*/ 309 w 1607"/>
                    <a:gd name="T7" fmla="*/ 742 h 2344"/>
                    <a:gd name="T8" fmla="*/ 866 w 1607"/>
                    <a:gd name="T9" fmla="*/ 323 h 2344"/>
                    <a:gd name="T10" fmla="*/ 1422 w 1607"/>
                    <a:gd name="T11" fmla="*/ 742 h 2344"/>
                    <a:gd name="T12" fmla="*/ 1337 w 1607"/>
                    <a:gd name="T13" fmla="*/ 964 h 2344"/>
                    <a:gd name="T14" fmla="*/ 1509 w 1607"/>
                    <a:gd name="T15" fmla="*/ 1111 h 2344"/>
                    <a:gd name="T16" fmla="*/ 1607 w 1607"/>
                    <a:gd name="T17" fmla="*/ 742 h 2344"/>
                    <a:gd name="T18" fmla="*/ 866 w 1607"/>
                    <a:gd name="T19" fmla="*/ 0 h 2344"/>
                    <a:gd name="T20" fmla="*/ 124 w 1607"/>
                    <a:gd name="T21" fmla="*/ 742 h 2344"/>
                    <a:gd name="T22" fmla="*/ 222 w 1607"/>
                    <a:gd name="T23" fmla="*/ 1111 h 2344"/>
                    <a:gd name="T24" fmla="*/ 0 w 1607"/>
                    <a:gd name="T25" fmla="*/ 1690 h 2344"/>
                    <a:gd name="T26" fmla="*/ 281 w 1607"/>
                    <a:gd name="T27" fmla="*/ 2328 h 2344"/>
                    <a:gd name="T28" fmla="*/ 296 w 1607"/>
                    <a:gd name="T29" fmla="*/ 2344 h 2344"/>
                    <a:gd name="T30" fmla="*/ 1518 w 1607"/>
                    <a:gd name="T31" fmla="*/ 1122 h 2344"/>
                    <a:gd name="T32" fmla="*/ 1509 w 1607"/>
                    <a:gd name="T33" fmla="*/ 1111 h 2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7" h="2344">
                      <a:moveTo>
                        <a:pt x="1337" y="964"/>
                      </a:moveTo>
                      <a:cubicBezTo>
                        <a:pt x="1202" y="876"/>
                        <a:pt x="1039" y="825"/>
                        <a:pt x="866" y="825"/>
                      </a:cubicBezTo>
                      <a:cubicBezTo>
                        <a:pt x="692" y="825"/>
                        <a:pt x="530" y="876"/>
                        <a:pt x="394" y="964"/>
                      </a:cubicBezTo>
                      <a:cubicBezTo>
                        <a:pt x="340" y="900"/>
                        <a:pt x="309" y="824"/>
                        <a:pt x="309" y="742"/>
                      </a:cubicBezTo>
                      <a:cubicBezTo>
                        <a:pt x="309" y="511"/>
                        <a:pt x="558" y="323"/>
                        <a:pt x="866" y="323"/>
                      </a:cubicBezTo>
                      <a:cubicBezTo>
                        <a:pt x="1173" y="323"/>
                        <a:pt x="1422" y="511"/>
                        <a:pt x="1422" y="742"/>
                      </a:cubicBezTo>
                      <a:cubicBezTo>
                        <a:pt x="1422" y="824"/>
                        <a:pt x="1391" y="900"/>
                        <a:pt x="1337" y="964"/>
                      </a:cubicBezTo>
                      <a:moveTo>
                        <a:pt x="1509" y="1111"/>
                      </a:moveTo>
                      <a:cubicBezTo>
                        <a:pt x="1571" y="1002"/>
                        <a:pt x="1607" y="876"/>
                        <a:pt x="1607" y="742"/>
                      </a:cubicBezTo>
                      <a:cubicBezTo>
                        <a:pt x="1607" y="332"/>
                        <a:pt x="1275" y="0"/>
                        <a:pt x="866" y="0"/>
                      </a:cubicBezTo>
                      <a:cubicBezTo>
                        <a:pt x="456" y="0"/>
                        <a:pt x="124" y="332"/>
                        <a:pt x="124" y="742"/>
                      </a:cubicBezTo>
                      <a:cubicBezTo>
                        <a:pt x="124" y="876"/>
                        <a:pt x="159" y="1002"/>
                        <a:pt x="222" y="1111"/>
                      </a:cubicBezTo>
                      <a:cubicBezTo>
                        <a:pt x="84" y="1265"/>
                        <a:pt x="0" y="1467"/>
                        <a:pt x="0" y="1690"/>
                      </a:cubicBezTo>
                      <a:cubicBezTo>
                        <a:pt x="0" y="1943"/>
                        <a:pt x="108" y="2170"/>
                        <a:pt x="281" y="2328"/>
                      </a:cubicBezTo>
                      <a:cubicBezTo>
                        <a:pt x="286" y="2334"/>
                        <a:pt x="291" y="2339"/>
                        <a:pt x="296" y="2344"/>
                      </a:cubicBezTo>
                      <a:lnTo>
                        <a:pt x="1518" y="1122"/>
                      </a:lnTo>
                      <a:cubicBezTo>
                        <a:pt x="1515" y="1118"/>
                        <a:pt x="1512" y="1115"/>
                        <a:pt x="1509" y="1111"/>
                      </a:cubicBezTo>
                    </a:path>
                  </a:pathLst>
                </a:custGeom>
                <a:grpFill/>
                <a:ln>
                  <a:noFill/>
                </a:ln>
                <a:effectLst>
                  <a:softEdge rad="63500"/>
                </a:effectLst>
              </p:spPr>
              <p:txBody>
                <a:bodyPr vert="horz" wrap="square" lIns="91440" tIns="45720" rIns="91440" bIns="45720" numCol="1" anchor="t" anchorCtr="0" compatLnSpc="1">
                  <a:prstTxWarp prst="textNoShape">
                    <a:avLst/>
                  </a:prstTxWarp>
                </a:bodyPr>
                <a:lstStyle/>
                <a:p>
                  <a:endParaRPr lang="en-GB" dirty="0"/>
                </a:p>
              </p:txBody>
            </p:sp>
            <p:sp>
              <p:nvSpPr>
                <p:cNvPr id="73" name="Freeform 246"/>
                <p:cNvSpPr>
                  <a:spLocks/>
                </p:cNvSpPr>
                <p:nvPr/>
              </p:nvSpPr>
              <p:spPr bwMode="auto">
                <a:xfrm>
                  <a:off x="864360" y="3000957"/>
                  <a:ext cx="1451066" cy="1344605"/>
                </a:xfrm>
                <a:custGeom>
                  <a:avLst/>
                  <a:gdLst>
                    <a:gd name="T0" fmla="*/ 1222 w 1435"/>
                    <a:gd name="T1" fmla="*/ 0 h 1328"/>
                    <a:gd name="T2" fmla="*/ 0 w 1435"/>
                    <a:gd name="T3" fmla="*/ 1222 h 1328"/>
                    <a:gd name="T4" fmla="*/ 81 w 1435"/>
                    <a:gd name="T5" fmla="*/ 1282 h 1328"/>
                    <a:gd name="T6" fmla="*/ 257 w 1435"/>
                    <a:gd name="T7" fmla="*/ 1328 h 1328"/>
                    <a:gd name="T8" fmla="*/ 511 w 1435"/>
                    <a:gd name="T9" fmla="*/ 1328 h 1328"/>
                    <a:gd name="T10" fmla="*/ 628 w 1435"/>
                    <a:gd name="T11" fmla="*/ 1328 h 1328"/>
                    <a:gd name="T12" fmla="*/ 882 w 1435"/>
                    <a:gd name="T13" fmla="*/ 1328 h 1328"/>
                    <a:gd name="T14" fmla="*/ 1057 w 1435"/>
                    <a:gd name="T15" fmla="*/ 1283 h 1328"/>
                    <a:gd name="T16" fmla="*/ 1155 w 1435"/>
                    <a:gd name="T17" fmla="*/ 1205 h 1328"/>
                    <a:gd name="T18" fmla="*/ 1435 w 1435"/>
                    <a:gd name="T19" fmla="*/ 568 h 1328"/>
                    <a:gd name="T20" fmla="*/ 1222 w 1435"/>
                    <a:gd name="T21" fmla="*/ 0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5" h="1328">
                      <a:moveTo>
                        <a:pt x="1222" y="0"/>
                      </a:moveTo>
                      <a:lnTo>
                        <a:pt x="0" y="1222"/>
                      </a:lnTo>
                      <a:cubicBezTo>
                        <a:pt x="24" y="1246"/>
                        <a:pt x="51" y="1266"/>
                        <a:pt x="81" y="1282"/>
                      </a:cubicBezTo>
                      <a:cubicBezTo>
                        <a:pt x="133" y="1311"/>
                        <a:pt x="193" y="1328"/>
                        <a:pt x="257" y="1328"/>
                      </a:cubicBezTo>
                      <a:lnTo>
                        <a:pt x="511" y="1328"/>
                      </a:lnTo>
                      <a:lnTo>
                        <a:pt x="628" y="1328"/>
                      </a:lnTo>
                      <a:lnTo>
                        <a:pt x="882" y="1328"/>
                      </a:lnTo>
                      <a:cubicBezTo>
                        <a:pt x="945" y="1328"/>
                        <a:pt x="1005" y="1312"/>
                        <a:pt x="1057" y="1283"/>
                      </a:cubicBezTo>
                      <a:cubicBezTo>
                        <a:pt x="1094" y="1263"/>
                        <a:pt x="1127" y="1237"/>
                        <a:pt x="1155" y="1205"/>
                      </a:cubicBezTo>
                      <a:cubicBezTo>
                        <a:pt x="1327" y="1047"/>
                        <a:pt x="1435" y="820"/>
                        <a:pt x="1435" y="568"/>
                      </a:cubicBezTo>
                      <a:cubicBezTo>
                        <a:pt x="1435" y="351"/>
                        <a:pt x="1355" y="152"/>
                        <a:pt x="1222" y="0"/>
                      </a:cubicBezTo>
                      <a:close/>
                    </a:path>
                  </a:pathLst>
                </a:custGeom>
                <a:grpFill/>
                <a:ln>
                  <a:noFill/>
                </a:ln>
                <a:effectLst>
                  <a:softEdge rad="63500"/>
                </a:effectLst>
              </p:spPr>
              <p:txBody>
                <a:bodyPr vert="horz" wrap="square" lIns="91440" tIns="45720" rIns="91440" bIns="45720" numCol="1" anchor="t" anchorCtr="0" compatLnSpc="1">
                  <a:prstTxWarp prst="textNoShape">
                    <a:avLst/>
                  </a:prstTxWarp>
                </a:bodyPr>
                <a:lstStyle/>
                <a:p>
                  <a:endParaRPr lang="en-GB" dirty="0"/>
                </a:p>
              </p:txBody>
            </p:sp>
          </p:grpSp>
          <p:grpSp>
            <p:nvGrpSpPr>
              <p:cNvPr id="11580" name="Group 11579"/>
              <p:cNvGrpSpPr/>
              <p:nvPr/>
            </p:nvGrpSpPr>
            <p:grpSpPr>
              <a:xfrm>
                <a:off x="5140108" y="2926272"/>
                <a:ext cx="1850140" cy="2583277"/>
                <a:chOff x="5140108" y="2926272"/>
                <a:chExt cx="1850140" cy="2583277"/>
              </a:xfrm>
            </p:grpSpPr>
            <p:sp>
              <p:nvSpPr>
                <p:cNvPr id="34" name="Oval 244"/>
                <p:cNvSpPr>
                  <a:spLocks noChangeArrowheads="1"/>
                </p:cNvSpPr>
                <p:nvPr/>
              </p:nvSpPr>
              <p:spPr bwMode="auto">
                <a:xfrm>
                  <a:off x="5140108" y="5129605"/>
                  <a:ext cx="1850140" cy="379944"/>
                </a:xfrm>
                <a:prstGeom prst="ellipse">
                  <a:avLst/>
                </a:prstGeom>
                <a:gradFill flip="none" rotWithShape="1">
                  <a:gsLst>
                    <a:gs pos="100000">
                      <a:schemeClr val="tx1">
                        <a:alpha val="0"/>
                      </a:schemeClr>
                    </a:gs>
                    <a:gs pos="0">
                      <a:schemeClr val="tx1">
                        <a:lumMod val="75000"/>
                        <a:lumOff val="25000"/>
                      </a:schemeClr>
                    </a:gs>
                  </a:gsLst>
                  <a:path path="shape">
                    <a:fillToRect l="50000" t="50000" r="50000" b="50000"/>
                  </a:path>
                  <a:tileRect/>
                </a:gradFill>
                <a:ln>
                  <a:noFill/>
                </a:ln>
              </p:spPr>
              <p:txBody>
                <a:bodyPr vert="horz" wrap="square" lIns="91440" tIns="45720" rIns="91440" bIns="45720" numCol="1" anchor="t" anchorCtr="0" compatLnSpc="1">
                  <a:prstTxWarp prst="textNoShape">
                    <a:avLst/>
                  </a:prstTxWarp>
                </a:bodyPr>
                <a:lstStyle/>
                <a:p>
                  <a:endParaRPr lang="en-GB" dirty="0"/>
                </a:p>
              </p:txBody>
            </p:sp>
            <p:sp>
              <p:nvSpPr>
                <p:cNvPr id="35" name="Freeform 245"/>
                <p:cNvSpPr>
                  <a:spLocks noEditPoints="1"/>
                </p:cNvSpPr>
                <p:nvPr/>
              </p:nvSpPr>
              <p:spPr bwMode="auto">
                <a:xfrm>
                  <a:off x="5242479" y="2926272"/>
                  <a:ext cx="1560508" cy="2277724"/>
                </a:xfrm>
                <a:custGeom>
                  <a:avLst/>
                  <a:gdLst>
                    <a:gd name="T0" fmla="*/ 1337 w 1607"/>
                    <a:gd name="T1" fmla="*/ 964 h 2344"/>
                    <a:gd name="T2" fmla="*/ 866 w 1607"/>
                    <a:gd name="T3" fmla="*/ 825 h 2344"/>
                    <a:gd name="T4" fmla="*/ 394 w 1607"/>
                    <a:gd name="T5" fmla="*/ 964 h 2344"/>
                    <a:gd name="T6" fmla="*/ 309 w 1607"/>
                    <a:gd name="T7" fmla="*/ 742 h 2344"/>
                    <a:gd name="T8" fmla="*/ 866 w 1607"/>
                    <a:gd name="T9" fmla="*/ 323 h 2344"/>
                    <a:gd name="T10" fmla="*/ 1422 w 1607"/>
                    <a:gd name="T11" fmla="*/ 742 h 2344"/>
                    <a:gd name="T12" fmla="*/ 1337 w 1607"/>
                    <a:gd name="T13" fmla="*/ 964 h 2344"/>
                    <a:gd name="T14" fmla="*/ 1509 w 1607"/>
                    <a:gd name="T15" fmla="*/ 1111 h 2344"/>
                    <a:gd name="T16" fmla="*/ 1607 w 1607"/>
                    <a:gd name="T17" fmla="*/ 742 h 2344"/>
                    <a:gd name="T18" fmla="*/ 866 w 1607"/>
                    <a:gd name="T19" fmla="*/ 0 h 2344"/>
                    <a:gd name="T20" fmla="*/ 124 w 1607"/>
                    <a:gd name="T21" fmla="*/ 742 h 2344"/>
                    <a:gd name="T22" fmla="*/ 222 w 1607"/>
                    <a:gd name="T23" fmla="*/ 1111 h 2344"/>
                    <a:gd name="T24" fmla="*/ 0 w 1607"/>
                    <a:gd name="T25" fmla="*/ 1690 h 2344"/>
                    <a:gd name="T26" fmla="*/ 281 w 1607"/>
                    <a:gd name="T27" fmla="*/ 2328 h 2344"/>
                    <a:gd name="T28" fmla="*/ 296 w 1607"/>
                    <a:gd name="T29" fmla="*/ 2344 h 2344"/>
                    <a:gd name="T30" fmla="*/ 1518 w 1607"/>
                    <a:gd name="T31" fmla="*/ 1122 h 2344"/>
                    <a:gd name="T32" fmla="*/ 1509 w 1607"/>
                    <a:gd name="T33" fmla="*/ 1111 h 2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07" h="2344">
                      <a:moveTo>
                        <a:pt x="1337" y="964"/>
                      </a:moveTo>
                      <a:cubicBezTo>
                        <a:pt x="1202" y="876"/>
                        <a:pt x="1039" y="825"/>
                        <a:pt x="866" y="825"/>
                      </a:cubicBezTo>
                      <a:cubicBezTo>
                        <a:pt x="692" y="825"/>
                        <a:pt x="530" y="876"/>
                        <a:pt x="394" y="964"/>
                      </a:cubicBezTo>
                      <a:cubicBezTo>
                        <a:pt x="340" y="900"/>
                        <a:pt x="309" y="824"/>
                        <a:pt x="309" y="742"/>
                      </a:cubicBezTo>
                      <a:cubicBezTo>
                        <a:pt x="309" y="511"/>
                        <a:pt x="558" y="323"/>
                        <a:pt x="866" y="323"/>
                      </a:cubicBezTo>
                      <a:cubicBezTo>
                        <a:pt x="1173" y="323"/>
                        <a:pt x="1422" y="511"/>
                        <a:pt x="1422" y="742"/>
                      </a:cubicBezTo>
                      <a:cubicBezTo>
                        <a:pt x="1422" y="824"/>
                        <a:pt x="1391" y="900"/>
                        <a:pt x="1337" y="964"/>
                      </a:cubicBezTo>
                      <a:moveTo>
                        <a:pt x="1509" y="1111"/>
                      </a:moveTo>
                      <a:cubicBezTo>
                        <a:pt x="1571" y="1002"/>
                        <a:pt x="1607" y="876"/>
                        <a:pt x="1607" y="742"/>
                      </a:cubicBezTo>
                      <a:cubicBezTo>
                        <a:pt x="1607" y="332"/>
                        <a:pt x="1275" y="0"/>
                        <a:pt x="866" y="0"/>
                      </a:cubicBezTo>
                      <a:cubicBezTo>
                        <a:pt x="456" y="0"/>
                        <a:pt x="124" y="332"/>
                        <a:pt x="124" y="742"/>
                      </a:cubicBezTo>
                      <a:cubicBezTo>
                        <a:pt x="124" y="876"/>
                        <a:pt x="159" y="1002"/>
                        <a:pt x="222" y="1111"/>
                      </a:cubicBezTo>
                      <a:cubicBezTo>
                        <a:pt x="84" y="1265"/>
                        <a:pt x="0" y="1467"/>
                        <a:pt x="0" y="1690"/>
                      </a:cubicBezTo>
                      <a:cubicBezTo>
                        <a:pt x="0" y="1943"/>
                        <a:pt x="108" y="2170"/>
                        <a:pt x="281" y="2328"/>
                      </a:cubicBezTo>
                      <a:cubicBezTo>
                        <a:pt x="286" y="2334"/>
                        <a:pt x="291" y="2339"/>
                        <a:pt x="296" y="2344"/>
                      </a:cubicBezTo>
                      <a:lnTo>
                        <a:pt x="1518" y="1122"/>
                      </a:lnTo>
                      <a:cubicBezTo>
                        <a:pt x="1515" y="1118"/>
                        <a:pt x="1512" y="1115"/>
                        <a:pt x="1509" y="1111"/>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Freeform 246"/>
                <p:cNvSpPr>
                  <a:spLocks/>
                </p:cNvSpPr>
                <p:nvPr/>
              </p:nvSpPr>
              <p:spPr bwMode="auto">
                <a:xfrm>
                  <a:off x="5529647" y="4016105"/>
                  <a:ext cx="1393811" cy="1291551"/>
                </a:xfrm>
                <a:custGeom>
                  <a:avLst/>
                  <a:gdLst>
                    <a:gd name="T0" fmla="*/ 1222 w 1435"/>
                    <a:gd name="T1" fmla="*/ 0 h 1328"/>
                    <a:gd name="T2" fmla="*/ 0 w 1435"/>
                    <a:gd name="T3" fmla="*/ 1222 h 1328"/>
                    <a:gd name="T4" fmla="*/ 81 w 1435"/>
                    <a:gd name="T5" fmla="*/ 1282 h 1328"/>
                    <a:gd name="T6" fmla="*/ 257 w 1435"/>
                    <a:gd name="T7" fmla="*/ 1328 h 1328"/>
                    <a:gd name="T8" fmla="*/ 511 w 1435"/>
                    <a:gd name="T9" fmla="*/ 1328 h 1328"/>
                    <a:gd name="T10" fmla="*/ 628 w 1435"/>
                    <a:gd name="T11" fmla="*/ 1328 h 1328"/>
                    <a:gd name="T12" fmla="*/ 882 w 1435"/>
                    <a:gd name="T13" fmla="*/ 1328 h 1328"/>
                    <a:gd name="T14" fmla="*/ 1057 w 1435"/>
                    <a:gd name="T15" fmla="*/ 1283 h 1328"/>
                    <a:gd name="T16" fmla="*/ 1155 w 1435"/>
                    <a:gd name="T17" fmla="*/ 1205 h 1328"/>
                    <a:gd name="T18" fmla="*/ 1435 w 1435"/>
                    <a:gd name="T19" fmla="*/ 568 h 1328"/>
                    <a:gd name="T20" fmla="*/ 1222 w 1435"/>
                    <a:gd name="T21" fmla="*/ 0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5" h="1328">
                      <a:moveTo>
                        <a:pt x="1222" y="0"/>
                      </a:moveTo>
                      <a:lnTo>
                        <a:pt x="0" y="1222"/>
                      </a:lnTo>
                      <a:cubicBezTo>
                        <a:pt x="24" y="1246"/>
                        <a:pt x="51" y="1266"/>
                        <a:pt x="81" y="1282"/>
                      </a:cubicBezTo>
                      <a:cubicBezTo>
                        <a:pt x="133" y="1311"/>
                        <a:pt x="193" y="1328"/>
                        <a:pt x="257" y="1328"/>
                      </a:cubicBezTo>
                      <a:lnTo>
                        <a:pt x="511" y="1328"/>
                      </a:lnTo>
                      <a:lnTo>
                        <a:pt x="628" y="1328"/>
                      </a:lnTo>
                      <a:lnTo>
                        <a:pt x="882" y="1328"/>
                      </a:lnTo>
                      <a:cubicBezTo>
                        <a:pt x="945" y="1328"/>
                        <a:pt x="1005" y="1312"/>
                        <a:pt x="1057" y="1283"/>
                      </a:cubicBezTo>
                      <a:cubicBezTo>
                        <a:pt x="1094" y="1263"/>
                        <a:pt x="1127" y="1237"/>
                        <a:pt x="1155" y="1205"/>
                      </a:cubicBezTo>
                      <a:cubicBezTo>
                        <a:pt x="1327" y="1047"/>
                        <a:pt x="1435" y="820"/>
                        <a:pt x="1435" y="568"/>
                      </a:cubicBezTo>
                      <a:cubicBezTo>
                        <a:pt x="1435" y="351"/>
                        <a:pt x="1355" y="152"/>
                        <a:pt x="1222" y="0"/>
                      </a:cubicBez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 name="Freeform 247"/>
                <p:cNvSpPr>
                  <a:spLocks/>
                </p:cNvSpPr>
                <p:nvPr/>
              </p:nvSpPr>
              <p:spPr bwMode="auto">
                <a:xfrm>
                  <a:off x="5346084" y="4093151"/>
                  <a:ext cx="270357" cy="463670"/>
                </a:xfrm>
                <a:custGeom>
                  <a:avLst/>
                  <a:gdLst>
                    <a:gd name="T0" fmla="*/ 161 w 278"/>
                    <a:gd name="T1" fmla="*/ 45 h 477"/>
                    <a:gd name="T2" fmla="*/ 11 w 278"/>
                    <a:gd name="T3" fmla="*/ 413 h 477"/>
                    <a:gd name="T4" fmla="*/ 111 w 278"/>
                    <a:gd name="T5" fmla="*/ 413 h 477"/>
                    <a:gd name="T6" fmla="*/ 232 w 278"/>
                    <a:gd name="T7" fmla="*/ 116 h 477"/>
                    <a:gd name="T8" fmla="*/ 161 w 278"/>
                    <a:gd name="T9" fmla="*/ 45 h 477"/>
                  </a:gdLst>
                  <a:ahLst/>
                  <a:cxnLst>
                    <a:cxn ang="0">
                      <a:pos x="T0" y="T1"/>
                    </a:cxn>
                    <a:cxn ang="0">
                      <a:pos x="T2" y="T3"/>
                    </a:cxn>
                    <a:cxn ang="0">
                      <a:pos x="T4" y="T5"/>
                    </a:cxn>
                    <a:cxn ang="0">
                      <a:pos x="T6" y="T7"/>
                    </a:cxn>
                    <a:cxn ang="0">
                      <a:pos x="T8" y="T9"/>
                    </a:cxn>
                  </a:cxnLst>
                  <a:rect l="0" t="0" r="r" b="b"/>
                  <a:pathLst>
                    <a:path w="278" h="477">
                      <a:moveTo>
                        <a:pt x="161" y="45"/>
                      </a:moveTo>
                      <a:cubicBezTo>
                        <a:pt x="64" y="138"/>
                        <a:pt x="0" y="277"/>
                        <a:pt x="11" y="413"/>
                      </a:cubicBezTo>
                      <a:cubicBezTo>
                        <a:pt x="16" y="477"/>
                        <a:pt x="116" y="477"/>
                        <a:pt x="111" y="413"/>
                      </a:cubicBezTo>
                      <a:cubicBezTo>
                        <a:pt x="102" y="302"/>
                        <a:pt x="152" y="192"/>
                        <a:pt x="232" y="116"/>
                      </a:cubicBezTo>
                      <a:cubicBezTo>
                        <a:pt x="278" y="71"/>
                        <a:pt x="207" y="0"/>
                        <a:pt x="161" y="45"/>
                      </a:cubicBezTo>
                      <a:close/>
                    </a:path>
                  </a:pathLst>
                </a:custGeom>
                <a:solidFill>
                  <a:srgbClr val="FFFFFF">
                    <a:alpha val="36000"/>
                  </a:srgb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 name="Oval 37"/>
                <p:cNvSpPr/>
                <p:nvPr/>
              </p:nvSpPr>
              <p:spPr bwMode="gray">
                <a:xfrm>
                  <a:off x="5541582" y="4093151"/>
                  <a:ext cx="1043551" cy="1043551"/>
                </a:xfrm>
                <a:prstGeom prst="ellipse">
                  <a:avLst/>
                </a:prstGeom>
                <a:solidFill>
                  <a:schemeClr val="bg1">
                    <a:alpha val="2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grpSp>
        <p:sp>
          <p:nvSpPr>
            <p:cNvPr id="53" name="TextBox 52"/>
            <p:cNvSpPr txBox="1"/>
            <p:nvPr/>
          </p:nvSpPr>
          <p:spPr>
            <a:xfrm>
              <a:off x="5132596" y="5587570"/>
              <a:ext cx="1926810" cy="630942"/>
            </a:xfrm>
            <a:prstGeom prst="rect">
              <a:avLst/>
            </a:prstGeom>
            <a:noFill/>
          </p:spPr>
          <p:txBody>
            <a:bodyPr wrap="none" lIns="0" tIns="0" rIns="0" bIns="0" rtlCol="0">
              <a:spAutoFit/>
            </a:bodyPr>
            <a:lstStyle/>
            <a:p>
              <a:pPr algn="ctr">
                <a:spcBef>
                  <a:spcPts val="600"/>
                </a:spcBef>
                <a:buSzPct val="100000"/>
              </a:pPr>
              <a:r>
                <a:rPr lang="en-GB" sz="1800" spc="100" dirty="0">
                  <a:solidFill>
                    <a:schemeClr val="bg1"/>
                  </a:solidFill>
                </a:rPr>
                <a:t>FUSIONS </a:t>
              </a:r>
            </a:p>
            <a:p>
              <a:pPr algn="ctr">
                <a:spcBef>
                  <a:spcPts val="600"/>
                </a:spcBef>
                <a:buSzPct val="100000"/>
              </a:pPr>
              <a:r>
                <a:rPr lang="en-GB" sz="1800" spc="100" dirty="0">
                  <a:solidFill>
                    <a:schemeClr val="bg1"/>
                  </a:solidFill>
                </a:rPr>
                <a:t>ACQUISITIONS</a:t>
              </a:r>
            </a:p>
          </p:txBody>
        </p:sp>
        <p:grpSp>
          <p:nvGrpSpPr>
            <p:cNvPr id="11513" name="Group 11512"/>
            <p:cNvGrpSpPr/>
            <p:nvPr/>
          </p:nvGrpSpPr>
          <p:grpSpPr>
            <a:xfrm>
              <a:off x="5672456" y="4442787"/>
              <a:ext cx="784224" cy="423210"/>
              <a:chOff x="5592762" y="4421188"/>
              <a:chExt cx="920751" cy="496888"/>
            </a:xfrm>
            <a:solidFill>
              <a:schemeClr val="bg1"/>
            </a:solidFill>
          </p:grpSpPr>
          <p:sp>
            <p:nvSpPr>
              <p:cNvPr id="11495" name="Freeform 255"/>
              <p:cNvSpPr>
                <a:spLocks/>
              </p:cNvSpPr>
              <p:nvPr/>
            </p:nvSpPr>
            <p:spPr bwMode="auto">
              <a:xfrm>
                <a:off x="6249988" y="4483100"/>
                <a:ext cx="166688" cy="269875"/>
              </a:xfrm>
              <a:custGeom>
                <a:avLst/>
                <a:gdLst>
                  <a:gd name="T0" fmla="*/ 134 w 253"/>
                  <a:gd name="T1" fmla="*/ 409 h 409"/>
                  <a:gd name="T2" fmla="*/ 126 w 253"/>
                  <a:gd name="T3" fmla="*/ 407 h 409"/>
                  <a:gd name="T4" fmla="*/ 114 w 253"/>
                  <a:gd name="T5" fmla="*/ 394 h 409"/>
                  <a:gd name="T6" fmla="*/ 4 w 253"/>
                  <a:gd name="T7" fmla="*/ 84 h 409"/>
                  <a:gd name="T8" fmla="*/ 13 w 253"/>
                  <a:gd name="T9" fmla="*/ 58 h 409"/>
                  <a:gd name="T10" fmla="*/ 106 w 253"/>
                  <a:gd name="T11" fmla="*/ 6 h 409"/>
                  <a:gd name="T12" fmla="*/ 135 w 253"/>
                  <a:gd name="T13" fmla="*/ 14 h 409"/>
                  <a:gd name="T14" fmla="*/ 127 w 253"/>
                  <a:gd name="T15" fmla="*/ 44 h 409"/>
                  <a:gd name="T16" fmla="*/ 50 w 253"/>
                  <a:gd name="T17" fmla="*/ 87 h 409"/>
                  <a:gd name="T18" fmla="*/ 146 w 253"/>
                  <a:gd name="T19" fmla="*/ 357 h 409"/>
                  <a:gd name="T20" fmla="*/ 219 w 253"/>
                  <a:gd name="T21" fmla="*/ 320 h 409"/>
                  <a:gd name="T22" fmla="*/ 248 w 253"/>
                  <a:gd name="T23" fmla="*/ 330 h 409"/>
                  <a:gd name="T24" fmla="*/ 238 w 253"/>
                  <a:gd name="T25" fmla="*/ 359 h 409"/>
                  <a:gd name="T26" fmla="*/ 144 w 253"/>
                  <a:gd name="T27" fmla="*/ 406 h 409"/>
                  <a:gd name="T28" fmla="*/ 134 w 253"/>
                  <a:gd name="T29" fmla="*/ 409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3" h="409">
                    <a:moveTo>
                      <a:pt x="134" y="409"/>
                    </a:moveTo>
                    <a:cubicBezTo>
                      <a:pt x="132" y="409"/>
                      <a:pt x="129" y="408"/>
                      <a:pt x="126" y="407"/>
                    </a:cubicBezTo>
                    <a:cubicBezTo>
                      <a:pt x="121" y="405"/>
                      <a:pt x="116" y="400"/>
                      <a:pt x="114" y="394"/>
                    </a:cubicBezTo>
                    <a:lnTo>
                      <a:pt x="4" y="84"/>
                    </a:lnTo>
                    <a:cubicBezTo>
                      <a:pt x="0" y="74"/>
                      <a:pt x="4" y="63"/>
                      <a:pt x="13" y="58"/>
                    </a:cubicBezTo>
                    <a:lnTo>
                      <a:pt x="106" y="6"/>
                    </a:lnTo>
                    <a:cubicBezTo>
                      <a:pt x="116" y="0"/>
                      <a:pt x="129" y="4"/>
                      <a:pt x="135" y="14"/>
                    </a:cubicBezTo>
                    <a:cubicBezTo>
                      <a:pt x="141" y="25"/>
                      <a:pt x="137" y="38"/>
                      <a:pt x="127" y="44"/>
                    </a:cubicBezTo>
                    <a:lnTo>
                      <a:pt x="50" y="87"/>
                    </a:lnTo>
                    <a:lnTo>
                      <a:pt x="146" y="357"/>
                    </a:lnTo>
                    <a:lnTo>
                      <a:pt x="219" y="320"/>
                    </a:lnTo>
                    <a:cubicBezTo>
                      <a:pt x="229" y="315"/>
                      <a:pt x="242" y="319"/>
                      <a:pt x="248" y="330"/>
                    </a:cubicBezTo>
                    <a:cubicBezTo>
                      <a:pt x="253" y="341"/>
                      <a:pt x="249" y="353"/>
                      <a:pt x="238" y="359"/>
                    </a:cubicBezTo>
                    <a:lnTo>
                      <a:pt x="144" y="406"/>
                    </a:lnTo>
                    <a:cubicBezTo>
                      <a:pt x="141" y="408"/>
                      <a:pt x="138" y="409"/>
                      <a:pt x="134" y="40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496" name="Freeform 256"/>
              <p:cNvSpPr>
                <a:spLocks/>
              </p:cNvSpPr>
              <p:nvPr/>
            </p:nvSpPr>
            <p:spPr bwMode="auto">
              <a:xfrm>
                <a:off x="6310313" y="4421188"/>
                <a:ext cx="203200" cy="330200"/>
              </a:xfrm>
              <a:custGeom>
                <a:avLst/>
                <a:gdLst>
                  <a:gd name="T0" fmla="*/ 152 w 308"/>
                  <a:gd name="T1" fmla="*/ 501 h 501"/>
                  <a:gd name="T2" fmla="*/ 143 w 308"/>
                  <a:gd name="T3" fmla="*/ 499 h 501"/>
                  <a:gd name="T4" fmla="*/ 132 w 308"/>
                  <a:gd name="T5" fmla="*/ 486 h 501"/>
                  <a:gd name="T6" fmla="*/ 4 w 308"/>
                  <a:gd name="T7" fmla="*/ 127 h 501"/>
                  <a:gd name="T8" fmla="*/ 15 w 308"/>
                  <a:gd name="T9" fmla="*/ 101 h 501"/>
                  <a:gd name="T10" fmla="*/ 218 w 308"/>
                  <a:gd name="T11" fmla="*/ 5 h 501"/>
                  <a:gd name="T12" fmla="*/ 247 w 308"/>
                  <a:gd name="T13" fmla="*/ 15 h 501"/>
                  <a:gd name="T14" fmla="*/ 237 w 308"/>
                  <a:gd name="T15" fmla="*/ 44 h 501"/>
                  <a:gd name="T16" fmla="*/ 51 w 308"/>
                  <a:gd name="T17" fmla="*/ 131 h 501"/>
                  <a:gd name="T18" fmla="*/ 165 w 308"/>
                  <a:gd name="T19" fmla="*/ 451 h 501"/>
                  <a:gd name="T20" fmla="*/ 276 w 308"/>
                  <a:gd name="T21" fmla="*/ 408 h 501"/>
                  <a:gd name="T22" fmla="*/ 303 w 308"/>
                  <a:gd name="T23" fmla="*/ 420 h 501"/>
                  <a:gd name="T24" fmla="*/ 291 w 308"/>
                  <a:gd name="T25" fmla="*/ 448 h 501"/>
                  <a:gd name="T26" fmla="*/ 160 w 308"/>
                  <a:gd name="T27" fmla="*/ 499 h 501"/>
                  <a:gd name="T28" fmla="*/ 152 w 308"/>
                  <a:gd name="T29" fmla="*/ 501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501">
                    <a:moveTo>
                      <a:pt x="152" y="501"/>
                    </a:moveTo>
                    <a:cubicBezTo>
                      <a:pt x="149" y="501"/>
                      <a:pt x="146" y="500"/>
                      <a:pt x="143" y="499"/>
                    </a:cubicBezTo>
                    <a:cubicBezTo>
                      <a:pt x="138" y="496"/>
                      <a:pt x="134" y="492"/>
                      <a:pt x="132" y="486"/>
                    </a:cubicBezTo>
                    <a:lnTo>
                      <a:pt x="4" y="127"/>
                    </a:lnTo>
                    <a:cubicBezTo>
                      <a:pt x="0" y="117"/>
                      <a:pt x="5" y="105"/>
                      <a:pt x="15" y="101"/>
                    </a:cubicBezTo>
                    <a:lnTo>
                      <a:pt x="218" y="5"/>
                    </a:lnTo>
                    <a:cubicBezTo>
                      <a:pt x="229" y="0"/>
                      <a:pt x="242" y="5"/>
                      <a:pt x="247" y="15"/>
                    </a:cubicBezTo>
                    <a:cubicBezTo>
                      <a:pt x="252" y="26"/>
                      <a:pt x="247" y="39"/>
                      <a:pt x="237" y="44"/>
                    </a:cubicBezTo>
                    <a:lnTo>
                      <a:pt x="51" y="131"/>
                    </a:lnTo>
                    <a:lnTo>
                      <a:pt x="165" y="451"/>
                    </a:lnTo>
                    <a:lnTo>
                      <a:pt x="276" y="408"/>
                    </a:lnTo>
                    <a:cubicBezTo>
                      <a:pt x="287" y="403"/>
                      <a:pt x="299" y="409"/>
                      <a:pt x="303" y="420"/>
                    </a:cubicBezTo>
                    <a:cubicBezTo>
                      <a:pt x="308" y="431"/>
                      <a:pt x="302" y="443"/>
                      <a:pt x="291" y="448"/>
                    </a:cubicBezTo>
                    <a:lnTo>
                      <a:pt x="160" y="499"/>
                    </a:lnTo>
                    <a:cubicBezTo>
                      <a:pt x="158" y="500"/>
                      <a:pt x="155" y="501"/>
                      <a:pt x="152" y="50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497" name="Freeform 257"/>
              <p:cNvSpPr>
                <a:spLocks noEditPoints="1"/>
              </p:cNvSpPr>
              <p:nvPr/>
            </p:nvSpPr>
            <p:spPr bwMode="auto">
              <a:xfrm>
                <a:off x="6413500" y="4606925"/>
                <a:ext cx="73025" cy="71438"/>
              </a:xfrm>
              <a:custGeom>
                <a:avLst/>
                <a:gdLst>
                  <a:gd name="T0" fmla="*/ 54 w 111"/>
                  <a:gd name="T1" fmla="*/ 107 h 107"/>
                  <a:gd name="T2" fmla="*/ 24 w 111"/>
                  <a:gd name="T3" fmla="*/ 97 h 107"/>
                  <a:gd name="T4" fmla="*/ 3 w 111"/>
                  <a:gd name="T5" fmla="*/ 63 h 107"/>
                  <a:gd name="T6" fmla="*/ 11 w 111"/>
                  <a:gd name="T7" fmla="*/ 24 h 107"/>
                  <a:gd name="T8" fmla="*/ 45 w 111"/>
                  <a:gd name="T9" fmla="*/ 3 h 107"/>
                  <a:gd name="T10" fmla="*/ 84 w 111"/>
                  <a:gd name="T11" fmla="*/ 12 h 107"/>
                  <a:gd name="T12" fmla="*/ 106 w 111"/>
                  <a:gd name="T13" fmla="*/ 45 h 107"/>
                  <a:gd name="T14" fmla="*/ 63 w 111"/>
                  <a:gd name="T15" fmla="*/ 106 h 107"/>
                  <a:gd name="T16" fmla="*/ 54 w 111"/>
                  <a:gd name="T17" fmla="*/ 107 h 107"/>
                  <a:gd name="T18" fmla="*/ 54 w 111"/>
                  <a:gd name="T19" fmla="*/ 45 h 107"/>
                  <a:gd name="T20" fmla="*/ 52 w 111"/>
                  <a:gd name="T21" fmla="*/ 45 h 107"/>
                  <a:gd name="T22" fmla="*/ 47 w 111"/>
                  <a:gd name="T23" fmla="*/ 49 h 107"/>
                  <a:gd name="T24" fmla="*/ 45 w 111"/>
                  <a:gd name="T25" fmla="*/ 56 h 107"/>
                  <a:gd name="T26" fmla="*/ 49 w 111"/>
                  <a:gd name="T27" fmla="*/ 62 h 107"/>
                  <a:gd name="T28" fmla="*/ 56 w 111"/>
                  <a:gd name="T29" fmla="*/ 63 h 107"/>
                  <a:gd name="T30" fmla="*/ 63 w 111"/>
                  <a:gd name="T31" fmla="*/ 53 h 107"/>
                  <a:gd name="T32" fmla="*/ 59 w 111"/>
                  <a:gd name="T33" fmla="*/ 47 h 107"/>
                  <a:gd name="T34" fmla="*/ 54 w 111"/>
                  <a:gd name="T35"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07">
                    <a:moveTo>
                      <a:pt x="54" y="107"/>
                    </a:moveTo>
                    <a:cubicBezTo>
                      <a:pt x="43" y="107"/>
                      <a:pt x="33" y="103"/>
                      <a:pt x="24" y="97"/>
                    </a:cubicBezTo>
                    <a:cubicBezTo>
                      <a:pt x="13" y="89"/>
                      <a:pt x="5" y="77"/>
                      <a:pt x="3" y="63"/>
                    </a:cubicBezTo>
                    <a:cubicBezTo>
                      <a:pt x="0" y="50"/>
                      <a:pt x="3" y="36"/>
                      <a:pt x="11" y="24"/>
                    </a:cubicBezTo>
                    <a:cubicBezTo>
                      <a:pt x="19" y="13"/>
                      <a:pt x="31" y="5"/>
                      <a:pt x="45" y="3"/>
                    </a:cubicBezTo>
                    <a:cubicBezTo>
                      <a:pt x="59" y="0"/>
                      <a:pt x="73" y="4"/>
                      <a:pt x="84" y="12"/>
                    </a:cubicBezTo>
                    <a:cubicBezTo>
                      <a:pt x="95" y="20"/>
                      <a:pt x="103" y="32"/>
                      <a:pt x="106" y="45"/>
                    </a:cubicBezTo>
                    <a:cubicBezTo>
                      <a:pt x="111" y="74"/>
                      <a:pt x="92" y="101"/>
                      <a:pt x="63" y="106"/>
                    </a:cubicBezTo>
                    <a:cubicBezTo>
                      <a:pt x="60" y="106"/>
                      <a:pt x="57" y="107"/>
                      <a:pt x="54" y="107"/>
                    </a:cubicBezTo>
                    <a:close/>
                    <a:moveTo>
                      <a:pt x="54" y="45"/>
                    </a:moveTo>
                    <a:cubicBezTo>
                      <a:pt x="54" y="45"/>
                      <a:pt x="53" y="45"/>
                      <a:pt x="52" y="45"/>
                    </a:cubicBezTo>
                    <a:cubicBezTo>
                      <a:pt x="49" y="46"/>
                      <a:pt x="47" y="48"/>
                      <a:pt x="47" y="49"/>
                    </a:cubicBezTo>
                    <a:cubicBezTo>
                      <a:pt x="46" y="50"/>
                      <a:pt x="44" y="53"/>
                      <a:pt x="45" y="56"/>
                    </a:cubicBezTo>
                    <a:cubicBezTo>
                      <a:pt x="46" y="59"/>
                      <a:pt x="48" y="61"/>
                      <a:pt x="49" y="62"/>
                    </a:cubicBezTo>
                    <a:cubicBezTo>
                      <a:pt x="50" y="63"/>
                      <a:pt x="52" y="64"/>
                      <a:pt x="56" y="63"/>
                    </a:cubicBezTo>
                    <a:cubicBezTo>
                      <a:pt x="61" y="62"/>
                      <a:pt x="64" y="58"/>
                      <a:pt x="63" y="53"/>
                    </a:cubicBezTo>
                    <a:cubicBezTo>
                      <a:pt x="63" y="49"/>
                      <a:pt x="60" y="48"/>
                      <a:pt x="59" y="47"/>
                    </a:cubicBezTo>
                    <a:cubicBezTo>
                      <a:pt x="58" y="46"/>
                      <a:pt x="57" y="45"/>
                      <a:pt x="54" y="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498" name="Freeform 258"/>
              <p:cNvSpPr>
                <a:spLocks/>
              </p:cNvSpPr>
              <p:nvPr/>
            </p:nvSpPr>
            <p:spPr bwMode="auto">
              <a:xfrm>
                <a:off x="5680075" y="4481513"/>
                <a:ext cx="166688" cy="269875"/>
              </a:xfrm>
              <a:custGeom>
                <a:avLst/>
                <a:gdLst>
                  <a:gd name="T0" fmla="*/ 119 w 253"/>
                  <a:gd name="T1" fmla="*/ 408 h 408"/>
                  <a:gd name="T2" fmla="*/ 109 w 253"/>
                  <a:gd name="T3" fmla="*/ 406 h 408"/>
                  <a:gd name="T4" fmla="*/ 15 w 253"/>
                  <a:gd name="T5" fmla="*/ 359 h 408"/>
                  <a:gd name="T6" fmla="*/ 6 w 253"/>
                  <a:gd name="T7" fmla="*/ 330 h 408"/>
                  <a:gd name="T8" fmla="*/ 35 w 253"/>
                  <a:gd name="T9" fmla="*/ 320 h 408"/>
                  <a:gd name="T10" fmla="*/ 107 w 253"/>
                  <a:gd name="T11" fmla="*/ 357 h 408"/>
                  <a:gd name="T12" fmla="*/ 203 w 253"/>
                  <a:gd name="T13" fmla="*/ 86 h 408"/>
                  <a:gd name="T14" fmla="*/ 126 w 253"/>
                  <a:gd name="T15" fmla="*/ 43 h 408"/>
                  <a:gd name="T16" fmla="*/ 118 w 253"/>
                  <a:gd name="T17" fmla="*/ 14 h 408"/>
                  <a:gd name="T18" fmla="*/ 148 w 253"/>
                  <a:gd name="T19" fmla="*/ 6 h 408"/>
                  <a:gd name="T20" fmla="*/ 240 w 253"/>
                  <a:gd name="T21" fmla="*/ 58 h 408"/>
                  <a:gd name="T22" fmla="*/ 250 w 253"/>
                  <a:gd name="T23" fmla="*/ 84 h 408"/>
                  <a:gd name="T24" fmla="*/ 139 w 253"/>
                  <a:gd name="T25" fmla="*/ 394 h 408"/>
                  <a:gd name="T26" fmla="*/ 127 w 253"/>
                  <a:gd name="T27" fmla="*/ 407 h 408"/>
                  <a:gd name="T28" fmla="*/ 119 w 253"/>
                  <a:gd name="T29"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3" h="408">
                    <a:moveTo>
                      <a:pt x="119" y="408"/>
                    </a:moveTo>
                    <a:cubicBezTo>
                      <a:pt x="116" y="408"/>
                      <a:pt x="112" y="408"/>
                      <a:pt x="109" y="406"/>
                    </a:cubicBezTo>
                    <a:lnTo>
                      <a:pt x="15" y="359"/>
                    </a:lnTo>
                    <a:cubicBezTo>
                      <a:pt x="5" y="353"/>
                      <a:pt x="0" y="340"/>
                      <a:pt x="6" y="330"/>
                    </a:cubicBezTo>
                    <a:cubicBezTo>
                      <a:pt x="11" y="319"/>
                      <a:pt x="24" y="315"/>
                      <a:pt x="35" y="320"/>
                    </a:cubicBezTo>
                    <a:lnTo>
                      <a:pt x="107" y="357"/>
                    </a:lnTo>
                    <a:lnTo>
                      <a:pt x="203" y="86"/>
                    </a:lnTo>
                    <a:lnTo>
                      <a:pt x="126" y="43"/>
                    </a:lnTo>
                    <a:cubicBezTo>
                      <a:pt x="116" y="38"/>
                      <a:pt x="112" y="25"/>
                      <a:pt x="118" y="14"/>
                    </a:cubicBezTo>
                    <a:cubicBezTo>
                      <a:pt x="124" y="4"/>
                      <a:pt x="137" y="0"/>
                      <a:pt x="148" y="6"/>
                    </a:cubicBezTo>
                    <a:lnTo>
                      <a:pt x="240" y="58"/>
                    </a:lnTo>
                    <a:cubicBezTo>
                      <a:pt x="249" y="63"/>
                      <a:pt x="253" y="74"/>
                      <a:pt x="250" y="84"/>
                    </a:cubicBezTo>
                    <a:lnTo>
                      <a:pt x="139" y="394"/>
                    </a:lnTo>
                    <a:cubicBezTo>
                      <a:pt x="137" y="400"/>
                      <a:pt x="133" y="405"/>
                      <a:pt x="127" y="407"/>
                    </a:cubicBezTo>
                    <a:cubicBezTo>
                      <a:pt x="124" y="408"/>
                      <a:pt x="122" y="408"/>
                      <a:pt x="119" y="4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499" name="Freeform 259"/>
              <p:cNvSpPr>
                <a:spLocks/>
              </p:cNvSpPr>
              <p:nvPr/>
            </p:nvSpPr>
            <p:spPr bwMode="auto">
              <a:xfrm>
                <a:off x="5592762" y="4430713"/>
                <a:ext cx="193675" cy="319088"/>
              </a:xfrm>
              <a:custGeom>
                <a:avLst/>
                <a:gdLst>
                  <a:gd name="T0" fmla="*/ 141 w 293"/>
                  <a:gd name="T1" fmla="*/ 484 h 484"/>
                  <a:gd name="T2" fmla="*/ 133 w 293"/>
                  <a:gd name="T3" fmla="*/ 483 h 484"/>
                  <a:gd name="T4" fmla="*/ 16 w 293"/>
                  <a:gd name="T5" fmla="*/ 433 h 484"/>
                  <a:gd name="T6" fmla="*/ 5 w 293"/>
                  <a:gd name="T7" fmla="*/ 405 h 484"/>
                  <a:gd name="T8" fmla="*/ 33 w 293"/>
                  <a:gd name="T9" fmla="*/ 394 h 484"/>
                  <a:gd name="T10" fmla="*/ 128 w 293"/>
                  <a:gd name="T11" fmla="*/ 434 h 484"/>
                  <a:gd name="T12" fmla="*/ 242 w 293"/>
                  <a:gd name="T13" fmla="*/ 115 h 484"/>
                  <a:gd name="T14" fmla="*/ 95 w 293"/>
                  <a:gd name="T15" fmla="*/ 44 h 484"/>
                  <a:gd name="T16" fmla="*/ 85 w 293"/>
                  <a:gd name="T17" fmla="*/ 16 h 484"/>
                  <a:gd name="T18" fmla="*/ 113 w 293"/>
                  <a:gd name="T19" fmla="*/ 5 h 484"/>
                  <a:gd name="T20" fmla="*/ 278 w 293"/>
                  <a:gd name="T21" fmla="*/ 84 h 484"/>
                  <a:gd name="T22" fmla="*/ 289 w 293"/>
                  <a:gd name="T23" fmla="*/ 111 h 484"/>
                  <a:gd name="T24" fmla="*/ 161 w 293"/>
                  <a:gd name="T25" fmla="*/ 470 h 484"/>
                  <a:gd name="T26" fmla="*/ 150 w 293"/>
                  <a:gd name="T27" fmla="*/ 483 h 484"/>
                  <a:gd name="T28" fmla="*/ 141 w 293"/>
                  <a:gd name="T29" fmla="*/ 484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3" h="484">
                    <a:moveTo>
                      <a:pt x="141" y="484"/>
                    </a:moveTo>
                    <a:cubicBezTo>
                      <a:pt x="138" y="484"/>
                      <a:pt x="135" y="484"/>
                      <a:pt x="133" y="483"/>
                    </a:cubicBezTo>
                    <a:lnTo>
                      <a:pt x="16" y="433"/>
                    </a:lnTo>
                    <a:cubicBezTo>
                      <a:pt x="5" y="429"/>
                      <a:pt x="0" y="416"/>
                      <a:pt x="5" y="405"/>
                    </a:cubicBezTo>
                    <a:cubicBezTo>
                      <a:pt x="9" y="394"/>
                      <a:pt x="22" y="389"/>
                      <a:pt x="33" y="394"/>
                    </a:cubicBezTo>
                    <a:lnTo>
                      <a:pt x="128" y="434"/>
                    </a:lnTo>
                    <a:lnTo>
                      <a:pt x="242" y="115"/>
                    </a:lnTo>
                    <a:lnTo>
                      <a:pt x="95" y="44"/>
                    </a:lnTo>
                    <a:cubicBezTo>
                      <a:pt x="84" y="39"/>
                      <a:pt x="80" y="26"/>
                      <a:pt x="85" y="16"/>
                    </a:cubicBezTo>
                    <a:cubicBezTo>
                      <a:pt x="90" y="5"/>
                      <a:pt x="103" y="0"/>
                      <a:pt x="113" y="5"/>
                    </a:cubicBezTo>
                    <a:lnTo>
                      <a:pt x="278" y="84"/>
                    </a:lnTo>
                    <a:cubicBezTo>
                      <a:pt x="288" y="89"/>
                      <a:pt x="293" y="101"/>
                      <a:pt x="289" y="111"/>
                    </a:cubicBezTo>
                    <a:lnTo>
                      <a:pt x="161" y="470"/>
                    </a:lnTo>
                    <a:cubicBezTo>
                      <a:pt x="159" y="476"/>
                      <a:pt x="155" y="480"/>
                      <a:pt x="150" y="483"/>
                    </a:cubicBezTo>
                    <a:cubicBezTo>
                      <a:pt x="147" y="484"/>
                      <a:pt x="144" y="484"/>
                      <a:pt x="141" y="48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00" name="Freeform 260"/>
              <p:cNvSpPr>
                <a:spLocks/>
              </p:cNvSpPr>
              <p:nvPr/>
            </p:nvSpPr>
            <p:spPr bwMode="auto">
              <a:xfrm>
                <a:off x="6284913" y="4684713"/>
                <a:ext cx="52388" cy="39688"/>
              </a:xfrm>
              <a:custGeom>
                <a:avLst/>
                <a:gdLst>
                  <a:gd name="T0" fmla="*/ 35 w 81"/>
                  <a:gd name="T1" fmla="*/ 61 h 61"/>
                  <a:gd name="T2" fmla="*/ 36 w 81"/>
                  <a:gd name="T3" fmla="*/ 60 h 61"/>
                  <a:gd name="T4" fmla="*/ 0 w 81"/>
                  <a:gd name="T5" fmla="*/ 36 h 61"/>
                  <a:gd name="T6" fmla="*/ 49 w 81"/>
                  <a:gd name="T7" fmla="*/ 4 h 61"/>
                  <a:gd name="T8" fmla="*/ 77 w 81"/>
                  <a:gd name="T9" fmla="*/ 16 h 61"/>
                  <a:gd name="T10" fmla="*/ 64 w 81"/>
                  <a:gd name="T11" fmla="*/ 44 h 61"/>
                  <a:gd name="T12" fmla="*/ 35 w 81"/>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81" h="61">
                    <a:moveTo>
                      <a:pt x="35" y="61"/>
                    </a:moveTo>
                    <a:cubicBezTo>
                      <a:pt x="36" y="60"/>
                      <a:pt x="36" y="60"/>
                      <a:pt x="36" y="60"/>
                    </a:cubicBezTo>
                    <a:lnTo>
                      <a:pt x="0" y="36"/>
                    </a:lnTo>
                    <a:cubicBezTo>
                      <a:pt x="3" y="32"/>
                      <a:pt x="14" y="17"/>
                      <a:pt x="49" y="4"/>
                    </a:cubicBezTo>
                    <a:cubicBezTo>
                      <a:pt x="60" y="0"/>
                      <a:pt x="72" y="5"/>
                      <a:pt x="77" y="16"/>
                    </a:cubicBezTo>
                    <a:cubicBezTo>
                      <a:pt x="81" y="27"/>
                      <a:pt x="75" y="40"/>
                      <a:pt x="64" y="44"/>
                    </a:cubicBezTo>
                    <a:cubicBezTo>
                      <a:pt x="42" y="52"/>
                      <a:pt x="35" y="61"/>
                      <a:pt x="35" y="6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01" name="Freeform 261"/>
              <p:cNvSpPr>
                <a:spLocks noEditPoints="1"/>
              </p:cNvSpPr>
              <p:nvPr/>
            </p:nvSpPr>
            <p:spPr bwMode="auto">
              <a:xfrm>
                <a:off x="5911850" y="4476750"/>
                <a:ext cx="369888" cy="233363"/>
              </a:xfrm>
              <a:custGeom>
                <a:avLst/>
                <a:gdLst>
                  <a:gd name="T0" fmla="*/ 75 w 561"/>
                  <a:gd name="T1" fmla="*/ 353 h 353"/>
                  <a:gd name="T2" fmla="*/ 7 w 561"/>
                  <a:gd name="T3" fmla="*/ 319 h 353"/>
                  <a:gd name="T4" fmla="*/ 7 w 561"/>
                  <a:gd name="T5" fmla="*/ 291 h 353"/>
                  <a:gd name="T6" fmla="*/ 40 w 561"/>
                  <a:gd name="T7" fmla="*/ 189 h 353"/>
                  <a:gd name="T8" fmla="*/ 52 w 561"/>
                  <a:gd name="T9" fmla="*/ 141 h 353"/>
                  <a:gd name="T10" fmla="*/ 100 w 561"/>
                  <a:gd name="T11" fmla="*/ 105 h 353"/>
                  <a:gd name="T12" fmla="*/ 142 w 561"/>
                  <a:gd name="T13" fmla="*/ 78 h 353"/>
                  <a:gd name="T14" fmla="*/ 178 w 561"/>
                  <a:gd name="T15" fmla="*/ 49 h 353"/>
                  <a:gd name="T16" fmla="*/ 238 w 561"/>
                  <a:gd name="T17" fmla="*/ 11 h 353"/>
                  <a:gd name="T18" fmla="*/ 544 w 561"/>
                  <a:gd name="T19" fmla="*/ 66 h 353"/>
                  <a:gd name="T20" fmla="*/ 557 w 561"/>
                  <a:gd name="T21" fmla="*/ 93 h 353"/>
                  <a:gd name="T22" fmla="*/ 529 w 561"/>
                  <a:gd name="T23" fmla="*/ 106 h 353"/>
                  <a:gd name="T24" fmla="*/ 246 w 561"/>
                  <a:gd name="T25" fmla="*/ 53 h 353"/>
                  <a:gd name="T26" fmla="*/ 206 w 561"/>
                  <a:gd name="T27" fmla="*/ 81 h 353"/>
                  <a:gd name="T28" fmla="*/ 167 w 561"/>
                  <a:gd name="T29" fmla="*/ 113 h 353"/>
                  <a:gd name="T30" fmla="*/ 122 w 561"/>
                  <a:gd name="T31" fmla="*/ 142 h 353"/>
                  <a:gd name="T32" fmla="*/ 86 w 561"/>
                  <a:gd name="T33" fmla="*/ 168 h 353"/>
                  <a:gd name="T34" fmla="*/ 83 w 561"/>
                  <a:gd name="T35" fmla="*/ 192 h 353"/>
                  <a:gd name="T36" fmla="*/ 52 w 561"/>
                  <a:gd name="T37" fmla="*/ 303 h 353"/>
                  <a:gd name="T38" fmla="*/ 79 w 561"/>
                  <a:gd name="T39" fmla="*/ 310 h 353"/>
                  <a:gd name="T40" fmla="*/ 152 w 561"/>
                  <a:gd name="T41" fmla="*/ 233 h 353"/>
                  <a:gd name="T42" fmla="*/ 177 w 561"/>
                  <a:gd name="T43" fmla="*/ 214 h 353"/>
                  <a:gd name="T44" fmla="*/ 205 w 561"/>
                  <a:gd name="T45" fmla="*/ 202 h 353"/>
                  <a:gd name="T46" fmla="*/ 246 w 561"/>
                  <a:gd name="T47" fmla="*/ 185 h 353"/>
                  <a:gd name="T48" fmla="*/ 274 w 561"/>
                  <a:gd name="T49" fmla="*/ 196 h 353"/>
                  <a:gd name="T50" fmla="*/ 262 w 561"/>
                  <a:gd name="T51" fmla="*/ 225 h 353"/>
                  <a:gd name="T52" fmla="*/ 189 w 561"/>
                  <a:gd name="T53" fmla="*/ 255 h 353"/>
                  <a:gd name="T54" fmla="*/ 84 w 561"/>
                  <a:gd name="T55" fmla="*/ 352 h 353"/>
                  <a:gd name="T56" fmla="*/ 75 w 561"/>
                  <a:gd name="T57" fmla="*/ 353 h 353"/>
                  <a:gd name="T58" fmla="*/ 86 w 561"/>
                  <a:gd name="T59" fmla="*/ 168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1" h="353">
                    <a:moveTo>
                      <a:pt x="75" y="353"/>
                    </a:moveTo>
                    <a:cubicBezTo>
                      <a:pt x="49" y="353"/>
                      <a:pt x="25" y="341"/>
                      <a:pt x="7" y="319"/>
                    </a:cubicBezTo>
                    <a:cubicBezTo>
                      <a:pt x="0" y="311"/>
                      <a:pt x="0" y="299"/>
                      <a:pt x="7" y="291"/>
                    </a:cubicBezTo>
                    <a:cubicBezTo>
                      <a:pt x="36" y="259"/>
                      <a:pt x="38" y="219"/>
                      <a:pt x="40" y="189"/>
                    </a:cubicBezTo>
                    <a:cubicBezTo>
                      <a:pt x="42" y="169"/>
                      <a:pt x="43" y="152"/>
                      <a:pt x="52" y="141"/>
                    </a:cubicBezTo>
                    <a:cubicBezTo>
                      <a:pt x="64" y="127"/>
                      <a:pt x="81" y="117"/>
                      <a:pt x="100" y="105"/>
                    </a:cubicBezTo>
                    <a:cubicBezTo>
                      <a:pt x="112" y="98"/>
                      <a:pt x="127" y="89"/>
                      <a:pt x="142" y="78"/>
                    </a:cubicBezTo>
                    <a:cubicBezTo>
                      <a:pt x="156" y="68"/>
                      <a:pt x="167" y="58"/>
                      <a:pt x="178" y="49"/>
                    </a:cubicBezTo>
                    <a:cubicBezTo>
                      <a:pt x="198" y="31"/>
                      <a:pt x="216" y="15"/>
                      <a:pt x="238" y="11"/>
                    </a:cubicBezTo>
                    <a:cubicBezTo>
                      <a:pt x="295" y="0"/>
                      <a:pt x="432" y="25"/>
                      <a:pt x="544" y="66"/>
                    </a:cubicBezTo>
                    <a:cubicBezTo>
                      <a:pt x="555" y="70"/>
                      <a:pt x="561" y="82"/>
                      <a:pt x="557" y="93"/>
                    </a:cubicBezTo>
                    <a:cubicBezTo>
                      <a:pt x="553" y="104"/>
                      <a:pt x="541" y="110"/>
                      <a:pt x="529" y="106"/>
                    </a:cubicBezTo>
                    <a:cubicBezTo>
                      <a:pt x="416" y="65"/>
                      <a:pt x="289" y="45"/>
                      <a:pt x="246" y="53"/>
                    </a:cubicBezTo>
                    <a:cubicBezTo>
                      <a:pt x="235" y="55"/>
                      <a:pt x="222" y="67"/>
                      <a:pt x="206" y="81"/>
                    </a:cubicBezTo>
                    <a:cubicBezTo>
                      <a:pt x="195" y="91"/>
                      <a:pt x="183" y="102"/>
                      <a:pt x="167" y="113"/>
                    </a:cubicBezTo>
                    <a:cubicBezTo>
                      <a:pt x="150" y="125"/>
                      <a:pt x="136" y="134"/>
                      <a:pt x="122" y="142"/>
                    </a:cubicBezTo>
                    <a:cubicBezTo>
                      <a:pt x="106" y="152"/>
                      <a:pt x="94" y="160"/>
                      <a:pt x="86" y="168"/>
                    </a:cubicBezTo>
                    <a:cubicBezTo>
                      <a:pt x="85" y="172"/>
                      <a:pt x="84" y="184"/>
                      <a:pt x="83" y="192"/>
                    </a:cubicBezTo>
                    <a:cubicBezTo>
                      <a:pt x="81" y="222"/>
                      <a:pt x="78" y="264"/>
                      <a:pt x="52" y="303"/>
                    </a:cubicBezTo>
                    <a:cubicBezTo>
                      <a:pt x="59" y="308"/>
                      <a:pt x="68" y="311"/>
                      <a:pt x="79" y="310"/>
                    </a:cubicBezTo>
                    <a:cubicBezTo>
                      <a:pt x="104" y="307"/>
                      <a:pt x="130" y="280"/>
                      <a:pt x="152" y="233"/>
                    </a:cubicBezTo>
                    <a:cubicBezTo>
                      <a:pt x="155" y="223"/>
                      <a:pt x="165" y="219"/>
                      <a:pt x="177" y="214"/>
                    </a:cubicBezTo>
                    <a:cubicBezTo>
                      <a:pt x="184" y="211"/>
                      <a:pt x="193" y="207"/>
                      <a:pt x="205" y="202"/>
                    </a:cubicBezTo>
                    <a:cubicBezTo>
                      <a:pt x="226" y="193"/>
                      <a:pt x="246" y="185"/>
                      <a:pt x="246" y="185"/>
                    </a:cubicBezTo>
                    <a:cubicBezTo>
                      <a:pt x="257" y="180"/>
                      <a:pt x="269" y="185"/>
                      <a:pt x="274" y="196"/>
                    </a:cubicBezTo>
                    <a:cubicBezTo>
                      <a:pt x="279" y="207"/>
                      <a:pt x="273" y="220"/>
                      <a:pt x="262" y="225"/>
                    </a:cubicBezTo>
                    <a:cubicBezTo>
                      <a:pt x="234" y="236"/>
                      <a:pt x="202" y="250"/>
                      <a:pt x="189" y="255"/>
                    </a:cubicBezTo>
                    <a:cubicBezTo>
                      <a:pt x="168" y="298"/>
                      <a:pt x="133" y="346"/>
                      <a:pt x="84" y="352"/>
                    </a:cubicBezTo>
                    <a:cubicBezTo>
                      <a:pt x="81" y="353"/>
                      <a:pt x="78" y="353"/>
                      <a:pt x="75" y="353"/>
                    </a:cubicBezTo>
                    <a:close/>
                    <a:moveTo>
                      <a:pt x="86" y="168"/>
                    </a:move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02" name="Freeform 262"/>
              <p:cNvSpPr>
                <a:spLocks/>
              </p:cNvSpPr>
              <p:nvPr/>
            </p:nvSpPr>
            <p:spPr bwMode="auto">
              <a:xfrm>
                <a:off x="6064250" y="4597400"/>
                <a:ext cx="246063" cy="195263"/>
              </a:xfrm>
              <a:custGeom>
                <a:avLst/>
                <a:gdLst>
                  <a:gd name="T0" fmla="*/ 267 w 375"/>
                  <a:gd name="T1" fmla="*/ 296 h 296"/>
                  <a:gd name="T2" fmla="*/ 205 w 375"/>
                  <a:gd name="T3" fmla="*/ 287 h 296"/>
                  <a:gd name="T4" fmla="*/ 98 w 375"/>
                  <a:gd name="T5" fmla="*/ 239 h 296"/>
                  <a:gd name="T6" fmla="*/ 92 w 375"/>
                  <a:gd name="T7" fmla="*/ 209 h 296"/>
                  <a:gd name="T8" fmla="*/ 122 w 375"/>
                  <a:gd name="T9" fmla="*/ 204 h 296"/>
                  <a:gd name="T10" fmla="*/ 122 w 375"/>
                  <a:gd name="T11" fmla="*/ 204 h 296"/>
                  <a:gd name="T12" fmla="*/ 217 w 375"/>
                  <a:gd name="T13" fmla="*/ 245 h 296"/>
                  <a:gd name="T14" fmla="*/ 323 w 375"/>
                  <a:gd name="T15" fmla="*/ 228 h 296"/>
                  <a:gd name="T16" fmla="*/ 321 w 375"/>
                  <a:gd name="T17" fmla="*/ 210 h 296"/>
                  <a:gd name="T18" fmla="*/ 109 w 375"/>
                  <a:gd name="T19" fmla="*/ 103 h 296"/>
                  <a:gd name="T20" fmla="*/ 19 w 375"/>
                  <a:gd name="T21" fmla="*/ 45 h 296"/>
                  <a:gd name="T22" fmla="*/ 2 w 375"/>
                  <a:gd name="T23" fmla="*/ 20 h 296"/>
                  <a:gd name="T24" fmla="*/ 27 w 375"/>
                  <a:gd name="T25" fmla="*/ 2 h 296"/>
                  <a:gd name="T26" fmla="*/ 141 w 375"/>
                  <a:gd name="T27" fmla="*/ 75 h 296"/>
                  <a:gd name="T28" fmla="*/ 332 w 375"/>
                  <a:gd name="T29" fmla="*/ 168 h 296"/>
                  <a:gd name="T30" fmla="*/ 341 w 375"/>
                  <a:gd name="T31" fmla="*/ 171 h 296"/>
                  <a:gd name="T32" fmla="*/ 362 w 375"/>
                  <a:gd name="T33" fmla="*/ 246 h 296"/>
                  <a:gd name="T34" fmla="*/ 267 w 375"/>
                  <a:gd name="T35" fmla="*/ 29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5" h="296">
                    <a:moveTo>
                      <a:pt x="267" y="296"/>
                    </a:moveTo>
                    <a:cubicBezTo>
                      <a:pt x="249" y="296"/>
                      <a:pt x="228" y="293"/>
                      <a:pt x="205" y="287"/>
                    </a:cubicBezTo>
                    <a:cubicBezTo>
                      <a:pt x="141" y="268"/>
                      <a:pt x="100" y="240"/>
                      <a:pt x="98" y="239"/>
                    </a:cubicBezTo>
                    <a:cubicBezTo>
                      <a:pt x="88" y="232"/>
                      <a:pt x="86" y="219"/>
                      <a:pt x="92" y="209"/>
                    </a:cubicBezTo>
                    <a:cubicBezTo>
                      <a:pt x="99" y="199"/>
                      <a:pt x="112" y="197"/>
                      <a:pt x="122" y="204"/>
                    </a:cubicBezTo>
                    <a:lnTo>
                      <a:pt x="122" y="204"/>
                    </a:lnTo>
                    <a:cubicBezTo>
                      <a:pt x="123" y="204"/>
                      <a:pt x="160" y="229"/>
                      <a:pt x="217" y="245"/>
                    </a:cubicBezTo>
                    <a:cubicBezTo>
                      <a:pt x="277" y="263"/>
                      <a:pt x="314" y="249"/>
                      <a:pt x="323" y="228"/>
                    </a:cubicBezTo>
                    <a:cubicBezTo>
                      <a:pt x="324" y="226"/>
                      <a:pt x="328" y="217"/>
                      <a:pt x="321" y="210"/>
                    </a:cubicBezTo>
                    <a:cubicBezTo>
                      <a:pt x="188" y="192"/>
                      <a:pt x="144" y="143"/>
                      <a:pt x="109" y="103"/>
                    </a:cubicBezTo>
                    <a:cubicBezTo>
                      <a:pt x="85" y="76"/>
                      <a:pt x="66" y="54"/>
                      <a:pt x="19" y="45"/>
                    </a:cubicBezTo>
                    <a:cubicBezTo>
                      <a:pt x="7" y="43"/>
                      <a:pt x="0" y="31"/>
                      <a:pt x="2" y="20"/>
                    </a:cubicBezTo>
                    <a:cubicBezTo>
                      <a:pt x="4" y="8"/>
                      <a:pt x="15" y="0"/>
                      <a:pt x="27" y="2"/>
                    </a:cubicBezTo>
                    <a:cubicBezTo>
                      <a:pt x="88" y="14"/>
                      <a:pt x="115" y="45"/>
                      <a:pt x="141" y="75"/>
                    </a:cubicBezTo>
                    <a:cubicBezTo>
                      <a:pt x="175" y="113"/>
                      <a:pt x="211" y="153"/>
                      <a:pt x="332" y="168"/>
                    </a:cubicBezTo>
                    <a:cubicBezTo>
                      <a:pt x="335" y="169"/>
                      <a:pt x="338" y="170"/>
                      <a:pt x="341" y="171"/>
                    </a:cubicBezTo>
                    <a:cubicBezTo>
                      <a:pt x="366" y="187"/>
                      <a:pt x="375" y="218"/>
                      <a:pt x="362" y="246"/>
                    </a:cubicBezTo>
                    <a:cubicBezTo>
                      <a:pt x="351" y="272"/>
                      <a:pt x="320" y="296"/>
                      <a:pt x="267" y="29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04" name="Freeform 263"/>
              <p:cNvSpPr>
                <a:spLocks/>
              </p:cNvSpPr>
              <p:nvPr/>
            </p:nvSpPr>
            <p:spPr bwMode="auto">
              <a:xfrm>
                <a:off x="6088063" y="4765675"/>
                <a:ext cx="179388" cy="84138"/>
              </a:xfrm>
              <a:custGeom>
                <a:avLst/>
                <a:gdLst>
                  <a:gd name="T0" fmla="*/ 178 w 273"/>
                  <a:gd name="T1" fmla="*/ 129 h 129"/>
                  <a:gd name="T2" fmla="*/ 143 w 273"/>
                  <a:gd name="T3" fmla="*/ 125 h 129"/>
                  <a:gd name="T4" fmla="*/ 11 w 273"/>
                  <a:gd name="T5" fmla="*/ 63 h 129"/>
                  <a:gd name="T6" fmla="*/ 7 w 273"/>
                  <a:gd name="T7" fmla="*/ 33 h 129"/>
                  <a:gd name="T8" fmla="*/ 37 w 273"/>
                  <a:gd name="T9" fmla="*/ 29 h 129"/>
                  <a:gd name="T10" fmla="*/ 37 w 273"/>
                  <a:gd name="T11" fmla="*/ 29 h 129"/>
                  <a:gd name="T12" fmla="*/ 154 w 273"/>
                  <a:gd name="T13" fmla="*/ 83 h 129"/>
                  <a:gd name="T14" fmla="*/ 221 w 273"/>
                  <a:gd name="T15" fmla="*/ 66 h 129"/>
                  <a:gd name="T16" fmla="*/ 221 w 273"/>
                  <a:gd name="T17" fmla="*/ 37 h 129"/>
                  <a:gd name="T18" fmla="*/ 224 w 273"/>
                  <a:gd name="T19" fmla="*/ 7 h 129"/>
                  <a:gd name="T20" fmla="*/ 254 w 273"/>
                  <a:gd name="T21" fmla="*/ 11 h 129"/>
                  <a:gd name="T22" fmla="*/ 257 w 273"/>
                  <a:gd name="T23" fmla="*/ 90 h 129"/>
                  <a:gd name="T24" fmla="*/ 178 w 273"/>
                  <a:gd name="T2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129">
                    <a:moveTo>
                      <a:pt x="178" y="129"/>
                    </a:moveTo>
                    <a:cubicBezTo>
                      <a:pt x="167" y="129"/>
                      <a:pt x="156" y="128"/>
                      <a:pt x="143" y="125"/>
                    </a:cubicBezTo>
                    <a:cubicBezTo>
                      <a:pt x="70" y="106"/>
                      <a:pt x="14" y="65"/>
                      <a:pt x="11" y="63"/>
                    </a:cubicBezTo>
                    <a:cubicBezTo>
                      <a:pt x="2" y="56"/>
                      <a:pt x="0" y="43"/>
                      <a:pt x="7" y="33"/>
                    </a:cubicBezTo>
                    <a:cubicBezTo>
                      <a:pt x="14" y="24"/>
                      <a:pt x="27" y="22"/>
                      <a:pt x="37" y="29"/>
                    </a:cubicBezTo>
                    <a:lnTo>
                      <a:pt x="37" y="29"/>
                    </a:lnTo>
                    <a:cubicBezTo>
                      <a:pt x="37" y="29"/>
                      <a:pt x="89" y="67"/>
                      <a:pt x="154" y="83"/>
                    </a:cubicBezTo>
                    <a:cubicBezTo>
                      <a:pt x="189" y="92"/>
                      <a:pt x="212" y="80"/>
                      <a:pt x="221" y="66"/>
                    </a:cubicBezTo>
                    <a:cubicBezTo>
                      <a:pt x="227" y="57"/>
                      <a:pt x="227" y="46"/>
                      <a:pt x="221" y="37"/>
                    </a:cubicBezTo>
                    <a:cubicBezTo>
                      <a:pt x="213" y="28"/>
                      <a:pt x="215" y="15"/>
                      <a:pt x="224" y="7"/>
                    </a:cubicBezTo>
                    <a:cubicBezTo>
                      <a:pt x="234" y="0"/>
                      <a:pt x="247" y="1"/>
                      <a:pt x="254" y="11"/>
                    </a:cubicBezTo>
                    <a:cubicBezTo>
                      <a:pt x="272" y="34"/>
                      <a:pt x="273" y="65"/>
                      <a:pt x="257" y="90"/>
                    </a:cubicBezTo>
                    <a:cubicBezTo>
                      <a:pt x="243" y="111"/>
                      <a:pt x="217" y="129"/>
                      <a:pt x="178" y="12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05" name="Freeform 264"/>
              <p:cNvSpPr>
                <a:spLocks/>
              </p:cNvSpPr>
              <p:nvPr/>
            </p:nvSpPr>
            <p:spPr bwMode="auto">
              <a:xfrm>
                <a:off x="6064250" y="4821238"/>
                <a:ext cx="150813" cy="73025"/>
              </a:xfrm>
              <a:custGeom>
                <a:avLst/>
                <a:gdLst>
                  <a:gd name="T0" fmla="*/ 135 w 228"/>
                  <a:gd name="T1" fmla="*/ 111 h 111"/>
                  <a:gd name="T2" fmla="*/ 114 w 228"/>
                  <a:gd name="T3" fmla="*/ 109 h 111"/>
                  <a:gd name="T4" fmla="*/ 14 w 228"/>
                  <a:gd name="T5" fmla="*/ 69 h 111"/>
                  <a:gd name="T6" fmla="*/ 6 w 228"/>
                  <a:gd name="T7" fmla="*/ 40 h 111"/>
                  <a:gd name="T8" fmla="*/ 35 w 228"/>
                  <a:gd name="T9" fmla="*/ 31 h 111"/>
                  <a:gd name="T10" fmla="*/ 123 w 228"/>
                  <a:gd name="T11" fmla="*/ 67 h 111"/>
                  <a:gd name="T12" fmla="*/ 171 w 228"/>
                  <a:gd name="T13" fmla="*/ 53 h 111"/>
                  <a:gd name="T14" fmla="*/ 180 w 228"/>
                  <a:gd name="T15" fmla="*/ 29 h 111"/>
                  <a:gd name="T16" fmla="*/ 196 w 228"/>
                  <a:gd name="T17" fmla="*/ 3 h 111"/>
                  <a:gd name="T18" fmla="*/ 222 w 228"/>
                  <a:gd name="T19" fmla="*/ 18 h 111"/>
                  <a:gd name="T20" fmla="*/ 202 w 228"/>
                  <a:gd name="T21" fmla="*/ 83 h 111"/>
                  <a:gd name="T22" fmla="*/ 135 w 228"/>
                  <a:gd name="T23"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 h="111">
                    <a:moveTo>
                      <a:pt x="135" y="111"/>
                    </a:moveTo>
                    <a:cubicBezTo>
                      <a:pt x="128" y="111"/>
                      <a:pt x="121" y="110"/>
                      <a:pt x="114" y="109"/>
                    </a:cubicBezTo>
                    <a:cubicBezTo>
                      <a:pt x="70" y="100"/>
                      <a:pt x="17" y="70"/>
                      <a:pt x="14" y="69"/>
                    </a:cubicBezTo>
                    <a:cubicBezTo>
                      <a:pt x="4" y="63"/>
                      <a:pt x="0" y="50"/>
                      <a:pt x="6" y="40"/>
                    </a:cubicBezTo>
                    <a:cubicBezTo>
                      <a:pt x="12" y="29"/>
                      <a:pt x="25" y="25"/>
                      <a:pt x="35" y="31"/>
                    </a:cubicBezTo>
                    <a:cubicBezTo>
                      <a:pt x="36" y="32"/>
                      <a:pt x="85" y="59"/>
                      <a:pt x="123" y="67"/>
                    </a:cubicBezTo>
                    <a:cubicBezTo>
                      <a:pt x="141" y="70"/>
                      <a:pt x="159" y="65"/>
                      <a:pt x="171" y="53"/>
                    </a:cubicBezTo>
                    <a:cubicBezTo>
                      <a:pt x="179" y="45"/>
                      <a:pt x="182" y="36"/>
                      <a:pt x="180" y="29"/>
                    </a:cubicBezTo>
                    <a:cubicBezTo>
                      <a:pt x="178" y="17"/>
                      <a:pt x="185" y="6"/>
                      <a:pt x="196" y="3"/>
                    </a:cubicBezTo>
                    <a:cubicBezTo>
                      <a:pt x="208" y="0"/>
                      <a:pt x="219" y="7"/>
                      <a:pt x="222" y="18"/>
                    </a:cubicBezTo>
                    <a:cubicBezTo>
                      <a:pt x="228" y="40"/>
                      <a:pt x="220" y="64"/>
                      <a:pt x="202" y="83"/>
                    </a:cubicBezTo>
                    <a:cubicBezTo>
                      <a:pt x="185" y="101"/>
                      <a:pt x="160" y="111"/>
                      <a:pt x="135" y="11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06" name="Freeform 265"/>
              <p:cNvSpPr>
                <a:spLocks/>
              </p:cNvSpPr>
              <p:nvPr/>
            </p:nvSpPr>
            <p:spPr bwMode="auto">
              <a:xfrm>
                <a:off x="6011863" y="4859338"/>
                <a:ext cx="133350" cy="58738"/>
              </a:xfrm>
              <a:custGeom>
                <a:avLst/>
                <a:gdLst>
                  <a:gd name="T0" fmla="*/ 118 w 202"/>
                  <a:gd name="T1" fmla="*/ 88 h 88"/>
                  <a:gd name="T2" fmla="*/ 13 w 202"/>
                  <a:gd name="T3" fmla="*/ 54 h 88"/>
                  <a:gd name="T4" fmla="*/ 7 w 202"/>
                  <a:gd name="T5" fmla="*/ 24 h 88"/>
                  <a:gd name="T6" fmla="*/ 36 w 202"/>
                  <a:gd name="T7" fmla="*/ 18 h 88"/>
                  <a:gd name="T8" fmla="*/ 143 w 202"/>
                  <a:gd name="T9" fmla="*/ 40 h 88"/>
                  <a:gd name="T10" fmla="*/ 158 w 202"/>
                  <a:gd name="T11" fmla="*/ 21 h 88"/>
                  <a:gd name="T12" fmla="*/ 182 w 202"/>
                  <a:gd name="T13" fmla="*/ 2 h 88"/>
                  <a:gd name="T14" fmla="*/ 201 w 202"/>
                  <a:gd name="T15" fmla="*/ 26 h 88"/>
                  <a:gd name="T16" fmla="*/ 161 w 202"/>
                  <a:gd name="T17" fmla="*/ 79 h 88"/>
                  <a:gd name="T18" fmla="*/ 118 w 202"/>
                  <a:gd name="T1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2" h="88">
                    <a:moveTo>
                      <a:pt x="118" y="88"/>
                    </a:moveTo>
                    <a:cubicBezTo>
                      <a:pt x="85" y="88"/>
                      <a:pt x="46" y="76"/>
                      <a:pt x="13" y="54"/>
                    </a:cubicBezTo>
                    <a:cubicBezTo>
                      <a:pt x="3" y="47"/>
                      <a:pt x="0" y="34"/>
                      <a:pt x="7" y="24"/>
                    </a:cubicBezTo>
                    <a:cubicBezTo>
                      <a:pt x="13" y="14"/>
                      <a:pt x="27" y="11"/>
                      <a:pt x="36" y="18"/>
                    </a:cubicBezTo>
                    <a:cubicBezTo>
                      <a:pt x="72" y="42"/>
                      <a:pt x="119" y="51"/>
                      <a:pt x="143" y="40"/>
                    </a:cubicBezTo>
                    <a:cubicBezTo>
                      <a:pt x="152" y="36"/>
                      <a:pt x="157" y="30"/>
                      <a:pt x="158" y="21"/>
                    </a:cubicBezTo>
                    <a:cubicBezTo>
                      <a:pt x="160" y="9"/>
                      <a:pt x="170" y="0"/>
                      <a:pt x="182" y="2"/>
                    </a:cubicBezTo>
                    <a:cubicBezTo>
                      <a:pt x="194" y="4"/>
                      <a:pt x="202" y="14"/>
                      <a:pt x="201" y="26"/>
                    </a:cubicBezTo>
                    <a:cubicBezTo>
                      <a:pt x="197" y="50"/>
                      <a:pt x="183" y="69"/>
                      <a:pt x="161" y="79"/>
                    </a:cubicBezTo>
                    <a:cubicBezTo>
                      <a:pt x="149" y="85"/>
                      <a:pt x="134" y="88"/>
                      <a:pt x="118" y="8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07" name="Freeform 266"/>
              <p:cNvSpPr>
                <a:spLocks/>
              </p:cNvSpPr>
              <p:nvPr/>
            </p:nvSpPr>
            <p:spPr bwMode="auto">
              <a:xfrm>
                <a:off x="5753100" y="4695825"/>
                <a:ext cx="76200" cy="50800"/>
              </a:xfrm>
              <a:custGeom>
                <a:avLst/>
                <a:gdLst>
                  <a:gd name="T0" fmla="*/ 91 w 115"/>
                  <a:gd name="T1" fmla="*/ 77 h 77"/>
                  <a:gd name="T2" fmla="*/ 76 w 115"/>
                  <a:gd name="T3" fmla="*/ 70 h 77"/>
                  <a:gd name="T4" fmla="*/ 21 w 115"/>
                  <a:gd name="T5" fmla="*/ 44 h 77"/>
                  <a:gd name="T6" fmla="*/ 0 w 115"/>
                  <a:gd name="T7" fmla="*/ 21 h 77"/>
                  <a:gd name="T8" fmla="*/ 23 w 115"/>
                  <a:gd name="T9" fmla="*/ 1 h 77"/>
                  <a:gd name="T10" fmla="*/ 107 w 115"/>
                  <a:gd name="T11" fmla="*/ 41 h 77"/>
                  <a:gd name="T12" fmla="*/ 106 w 115"/>
                  <a:gd name="T13" fmla="*/ 71 h 77"/>
                  <a:gd name="T14" fmla="*/ 91 w 115"/>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77">
                    <a:moveTo>
                      <a:pt x="91" y="77"/>
                    </a:moveTo>
                    <a:cubicBezTo>
                      <a:pt x="85" y="77"/>
                      <a:pt x="80" y="75"/>
                      <a:pt x="76" y="70"/>
                    </a:cubicBezTo>
                    <a:cubicBezTo>
                      <a:pt x="52" y="45"/>
                      <a:pt x="22" y="44"/>
                      <a:pt x="21" y="44"/>
                    </a:cubicBezTo>
                    <a:cubicBezTo>
                      <a:pt x="9" y="43"/>
                      <a:pt x="0" y="33"/>
                      <a:pt x="0" y="21"/>
                    </a:cubicBezTo>
                    <a:cubicBezTo>
                      <a:pt x="1" y="10"/>
                      <a:pt x="11" y="0"/>
                      <a:pt x="23" y="1"/>
                    </a:cubicBezTo>
                    <a:cubicBezTo>
                      <a:pt x="24" y="1"/>
                      <a:pt x="71" y="2"/>
                      <a:pt x="107" y="41"/>
                    </a:cubicBezTo>
                    <a:cubicBezTo>
                      <a:pt x="115" y="49"/>
                      <a:pt x="115" y="63"/>
                      <a:pt x="106" y="71"/>
                    </a:cubicBezTo>
                    <a:cubicBezTo>
                      <a:pt x="102" y="75"/>
                      <a:pt x="96" y="77"/>
                      <a:pt x="91" y="7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08" name="Freeform 267"/>
              <p:cNvSpPr>
                <a:spLocks/>
              </p:cNvSpPr>
              <p:nvPr/>
            </p:nvSpPr>
            <p:spPr bwMode="auto">
              <a:xfrm>
                <a:off x="5815013" y="4492625"/>
                <a:ext cx="242888" cy="66675"/>
              </a:xfrm>
              <a:custGeom>
                <a:avLst/>
                <a:gdLst>
                  <a:gd name="T0" fmla="*/ 83 w 369"/>
                  <a:gd name="T1" fmla="*/ 99 h 99"/>
                  <a:gd name="T2" fmla="*/ 14 w 369"/>
                  <a:gd name="T3" fmla="*/ 78 h 99"/>
                  <a:gd name="T4" fmla="*/ 6 w 369"/>
                  <a:gd name="T5" fmla="*/ 49 h 99"/>
                  <a:gd name="T6" fmla="*/ 36 w 369"/>
                  <a:gd name="T7" fmla="*/ 41 h 99"/>
                  <a:gd name="T8" fmla="*/ 134 w 369"/>
                  <a:gd name="T9" fmla="*/ 42 h 99"/>
                  <a:gd name="T10" fmla="*/ 150 w 369"/>
                  <a:gd name="T11" fmla="*/ 36 h 99"/>
                  <a:gd name="T12" fmla="*/ 353 w 369"/>
                  <a:gd name="T13" fmla="*/ 16 h 99"/>
                  <a:gd name="T14" fmla="*/ 364 w 369"/>
                  <a:gd name="T15" fmla="*/ 44 h 99"/>
                  <a:gd name="T16" fmla="*/ 335 w 369"/>
                  <a:gd name="T17" fmla="*/ 55 h 99"/>
                  <a:gd name="T18" fmla="*/ 164 w 369"/>
                  <a:gd name="T19" fmla="*/ 76 h 99"/>
                  <a:gd name="T20" fmla="*/ 150 w 369"/>
                  <a:gd name="T21" fmla="*/ 82 h 99"/>
                  <a:gd name="T22" fmla="*/ 83 w 369"/>
                  <a:gd name="T2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9" h="99">
                    <a:moveTo>
                      <a:pt x="83" y="99"/>
                    </a:moveTo>
                    <a:cubicBezTo>
                      <a:pt x="62" y="99"/>
                      <a:pt x="39" y="93"/>
                      <a:pt x="14" y="78"/>
                    </a:cubicBezTo>
                    <a:cubicBezTo>
                      <a:pt x="3" y="72"/>
                      <a:pt x="0" y="59"/>
                      <a:pt x="6" y="49"/>
                    </a:cubicBezTo>
                    <a:cubicBezTo>
                      <a:pt x="12" y="38"/>
                      <a:pt x="25" y="35"/>
                      <a:pt x="36" y="41"/>
                    </a:cubicBezTo>
                    <a:cubicBezTo>
                      <a:pt x="77" y="65"/>
                      <a:pt x="103" y="54"/>
                      <a:pt x="134" y="42"/>
                    </a:cubicBezTo>
                    <a:cubicBezTo>
                      <a:pt x="139" y="40"/>
                      <a:pt x="144" y="38"/>
                      <a:pt x="150" y="36"/>
                    </a:cubicBezTo>
                    <a:cubicBezTo>
                      <a:pt x="219" y="10"/>
                      <a:pt x="317" y="0"/>
                      <a:pt x="353" y="16"/>
                    </a:cubicBezTo>
                    <a:cubicBezTo>
                      <a:pt x="364" y="20"/>
                      <a:pt x="369" y="33"/>
                      <a:pt x="364" y="44"/>
                    </a:cubicBezTo>
                    <a:cubicBezTo>
                      <a:pt x="359" y="55"/>
                      <a:pt x="346" y="60"/>
                      <a:pt x="335" y="55"/>
                    </a:cubicBezTo>
                    <a:cubicBezTo>
                      <a:pt x="317" y="47"/>
                      <a:pt x="234" y="50"/>
                      <a:pt x="164" y="76"/>
                    </a:cubicBezTo>
                    <a:cubicBezTo>
                      <a:pt x="160" y="78"/>
                      <a:pt x="155" y="80"/>
                      <a:pt x="150" y="82"/>
                    </a:cubicBezTo>
                    <a:cubicBezTo>
                      <a:pt x="132" y="89"/>
                      <a:pt x="109" y="99"/>
                      <a:pt x="83"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09" name="Freeform 268"/>
              <p:cNvSpPr>
                <a:spLocks/>
              </p:cNvSpPr>
              <p:nvPr/>
            </p:nvSpPr>
            <p:spPr bwMode="auto">
              <a:xfrm>
                <a:off x="5954713" y="4811713"/>
                <a:ext cx="98425" cy="96838"/>
              </a:xfrm>
              <a:custGeom>
                <a:avLst/>
                <a:gdLst>
                  <a:gd name="T0" fmla="*/ 72 w 149"/>
                  <a:gd name="T1" fmla="*/ 146 h 146"/>
                  <a:gd name="T2" fmla="*/ 65 w 149"/>
                  <a:gd name="T3" fmla="*/ 145 h 146"/>
                  <a:gd name="T4" fmla="*/ 2 w 149"/>
                  <a:gd name="T5" fmla="*/ 93 h 146"/>
                  <a:gd name="T6" fmla="*/ 21 w 149"/>
                  <a:gd name="T7" fmla="*/ 69 h 146"/>
                  <a:gd name="T8" fmla="*/ 45 w 149"/>
                  <a:gd name="T9" fmla="*/ 88 h 146"/>
                  <a:gd name="T10" fmla="*/ 69 w 149"/>
                  <a:gd name="T11" fmla="*/ 103 h 146"/>
                  <a:gd name="T12" fmla="*/ 98 w 149"/>
                  <a:gd name="T13" fmla="*/ 85 h 146"/>
                  <a:gd name="T14" fmla="*/ 93 w 149"/>
                  <a:gd name="T15" fmla="*/ 51 h 146"/>
                  <a:gd name="T16" fmla="*/ 63 w 149"/>
                  <a:gd name="T17" fmla="*/ 53 h 146"/>
                  <a:gd name="T18" fmla="*/ 34 w 149"/>
                  <a:gd name="T19" fmla="*/ 45 h 146"/>
                  <a:gd name="T20" fmla="*/ 42 w 149"/>
                  <a:gd name="T21" fmla="*/ 15 h 146"/>
                  <a:gd name="T22" fmla="*/ 120 w 149"/>
                  <a:gd name="T23" fmla="*/ 17 h 146"/>
                  <a:gd name="T24" fmla="*/ 139 w 149"/>
                  <a:gd name="T25" fmla="*/ 98 h 146"/>
                  <a:gd name="T26" fmla="*/ 72 w 149"/>
                  <a:gd name="T2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146">
                    <a:moveTo>
                      <a:pt x="72" y="146"/>
                    </a:moveTo>
                    <a:cubicBezTo>
                      <a:pt x="70" y="146"/>
                      <a:pt x="67" y="146"/>
                      <a:pt x="65" y="145"/>
                    </a:cubicBezTo>
                    <a:cubicBezTo>
                      <a:pt x="31" y="142"/>
                      <a:pt x="5" y="121"/>
                      <a:pt x="2" y="93"/>
                    </a:cubicBezTo>
                    <a:cubicBezTo>
                      <a:pt x="0" y="81"/>
                      <a:pt x="9" y="70"/>
                      <a:pt x="21" y="69"/>
                    </a:cubicBezTo>
                    <a:cubicBezTo>
                      <a:pt x="32" y="67"/>
                      <a:pt x="43" y="76"/>
                      <a:pt x="45" y="88"/>
                    </a:cubicBezTo>
                    <a:cubicBezTo>
                      <a:pt x="45" y="95"/>
                      <a:pt x="56" y="101"/>
                      <a:pt x="69" y="103"/>
                    </a:cubicBezTo>
                    <a:cubicBezTo>
                      <a:pt x="75" y="103"/>
                      <a:pt x="92" y="103"/>
                      <a:pt x="98" y="85"/>
                    </a:cubicBezTo>
                    <a:cubicBezTo>
                      <a:pt x="102" y="70"/>
                      <a:pt x="100" y="57"/>
                      <a:pt x="93" y="51"/>
                    </a:cubicBezTo>
                    <a:cubicBezTo>
                      <a:pt x="86" y="45"/>
                      <a:pt x="76" y="46"/>
                      <a:pt x="63" y="53"/>
                    </a:cubicBezTo>
                    <a:cubicBezTo>
                      <a:pt x="53" y="59"/>
                      <a:pt x="40" y="55"/>
                      <a:pt x="34" y="45"/>
                    </a:cubicBezTo>
                    <a:cubicBezTo>
                      <a:pt x="28" y="34"/>
                      <a:pt x="32" y="21"/>
                      <a:pt x="42" y="15"/>
                    </a:cubicBezTo>
                    <a:cubicBezTo>
                      <a:pt x="70" y="0"/>
                      <a:pt x="99" y="1"/>
                      <a:pt x="120" y="17"/>
                    </a:cubicBezTo>
                    <a:cubicBezTo>
                      <a:pt x="141" y="35"/>
                      <a:pt x="149" y="66"/>
                      <a:pt x="139" y="98"/>
                    </a:cubicBezTo>
                    <a:cubicBezTo>
                      <a:pt x="130" y="128"/>
                      <a:pt x="104" y="146"/>
                      <a:pt x="72" y="14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10" name="Freeform 269"/>
              <p:cNvSpPr>
                <a:spLocks noEditPoints="1"/>
              </p:cNvSpPr>
              <p:nvPr/>
            </p:nvSpPr>
            <p:spPr bwMode="auto">
              <a:xfrm>
                <a:off x="5784850" y="4700588"/>
                <a:ext cx="114300" cy="101600"/>
              </a:xfrm>
              <a:custGeom>
                <a:avLst/>
                <a:gdLst>
                  <a:gd name="T0" fmla="*/ 70 w 173"/>
                  <a:gd name="T1" fmla="*/ 156 h 156"/>
                  <a:gd name="T2" fmla="*/ 12 w 173"/>
                  <a:gd name="T3" fmla="*/ 120 h 156"/>
                  <a:gd name="T4" fmla="*/ 12 w 173"/>
                  <a:gd name="T5" fmla="*/ 55 h 156"/>
                  <a:gd name="T6" fmla="*/ 81 w 173"/>
                  <a:gd name="T7" fmla="*/ 6 h 156"/>
                  <a:gd name="T8" fmla="*/ 155 w 173"/>
                  <a:gd name="T9" fmla="*/ 32 h 156"/>
                  <a:gd name="T10" fmla="*/ 163 w 173"/>
                  <a:gd name="T11" fmla="*/ 96 h 156"/>
                  <a:gd name="T12" fmla="*/ 143 w 173"/>
                  <a:gd name="T13" fmla="*/ 87 h 156"/>
                  <a:gd name="T14" fmla="*/ 163 w 173"/>
                  <a:gd name="T15" fmla="*/ 96 h 156"/>
                  <a:gd name="T16" fmla="*/ 71 w 173"/>
                  <a:gd name="T17" fmla="*/ 156 h 156"/>
                  <a:gd name="T18" fmla="*/ 70 w 173"/>
                  <a:gd name="T19" fmla="*/ 156 h 156"/>
                  <a:gd name="T20" fmla="*/ 96 w 173"/>
                  <a:gd name="T21" fmla="*/ 47 h 156"/>
                  <a:gd name="T22" fmla="*/ 89 w 173"/>
                  <a:gd name="T23" fmla="*/ 48 h 156"/>
                  <a:gd name="T24" fmla="*/ 49 w 173"/>
                  <a:gd name="T25" fmla="*/ 77 h 156"/>
                  <a:gd name="T26" fmla="*/ 50 w 173"/>
                  <a:gd name="T27" fmla="*/ 99 h 156"/>
                  <a:gd name="T28" fmla="*/ 70 w 173"/>
                  <a:gd name="T29" fmla="*/ 113 h 156"/>
                  <a:gd name="T30" fmla="*/ 70 w 173"/>
                  <a:gd name="T31" fmla="*/ 113 h 156"/>
                  <a:gd name="T32" fmla="*/ 124 w 173"/>
                  <a:gd name="T33" fmla="*/ 78 h 156"/>
                  <a:gd name="T34" fmla="*/ 121 w 173"/>
                  <a:gd name="T35" fmla="*/ 59 h 156"/>
                  <a:gd name="T36" fmla="*/ 96 w 173"/>
                  <a:gd name="T37" fmla="*/ 4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3" h="156">
                    <a:moveTo>
                      <a:pt x="70" y="156"/>
                    </a:moveTo>
                    <a:cubicBezTo>
                      <a:pt x="47" y="156"/>
                      <a:pt x="25" y="142"/>
                      <a:pt x="12" y="120"/>
                    </a:cubicBezTo>
                    <a:cubicBezTo>
                      <a:pt x="0" y="99"/>
                      <a:pt x="0" y="75"/>
                      <a:pt x="12" y="55"/>
                    </a:cubicBezTo>
                    <a:cubicBezTo>
                      <a:pt x="29" y="28"/>
                      <a:pt x="52" y="11"/>
                      <a:pt x="81" y="6"/>
                    </a:cubicBezTo>
                    <a:cubicBezTo>
                      <a:pt x="110" y="0"/>
                      <a:pt x="139" y="10"/>
                      <a:pt x="155" y="32"/>
                    </a:cubicBezTo>
                    <a:cubicBezTo>
                      <a:pt x="170" y="51"/>
                      <a:pt x="173" y="75"/>
                      <a:pt x="163" y="96"/>
                    </a:cubicBezTo>
                    <a:lnTo>
                      <a:pt x="143" y="87"/>
                    </a:lnTo>
                    <a:lnTo>
                      <a:pt x="163" y="96"/>
                    </a:lnTo>
                    <a:cubicBezTo>
                      <a:pt x="145" y="134"/>
                      <a:pt x="113" y="156"/>
                      <a:pt x="71" y="156"/>
                    </a:cubicBezTo>
                    <a:lnTo>
                      <a:pt x="70" y="156"/>
                    </a:lnTo>
                    <a:close/>
                    <a:moveTo>
                      <a:pt x="96" y="47"/>
                    </a:moveTo>
                    <a:cubicBezTo>
                      <a:pt x="94" y="47"/>
                      <a:pt x="92" y="48"/>
                      <a:pt x="89" y="48"/>
                    </a:cubicBezTo>
                    <a:cubicBezTo>
                      <a:pt x="72" y="51"/>
                      <a:pt x="59" y="60"/>
                      <a:pt x="49" y="77"/>
                    </a:cubicBezTo>
                    <a:cubicBezTo>
                      <a:pt x="44" y="86"/>
                      <a:pt x="47" y="94"/>
                      <a:pt x="50" y="99"/>
                    </a:cubicBezTo>
                    <a:cubicBezTo>
                      <a:pt x="54" y="107"/>
                      <a:pt x="63" y="113"/>
                      <a:pt x="70" y="113"/>
                    </a:cubicBezTo>
                    <a:lnTo>
                      <a:pt x="70" y="113"/>
                    </a:lnTo>
                    <a:cubicBezTo>
                      <a:pt x="96" y="113"/>
                      <a:pt x="113" y="101"/>
                      <a:pt x="124" y="78"/>
                    </a:cubicBezTo>
                    <a:cubicBezTo>
                      <a:pt x="128" y="70"/>
                      <a:pt x="125" y="63"/>
                      <a:pt x="121" y="59"/>
                    </a:cubicBezTo>
                    <a:cubicBezTo>
                      <a:pt x="117" y="53"/>
                      <a:pt x="108" y="47"/>
                      <a:pt x="96" y="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11" name="Freeform 270"/>
              <p:cNvSpPr>
                <a:spLocks/>
              </p:cNvSpPr>
              <p:nvPr/>
            </p:nvSpPr>
            <p:spPr bwMode="auto">
              <a:xfrm>
                <a:off x="5888038" y="4765675"/>
                <a:ext cx="117475" cy="130175"/>
              </a:xfrm>
              <a:custGeom>
                <a:avLst/>
                <a:gdLst>
                  <a:gd name="T0" fmla="*/ 82 w 180"/>
                  <a:gd name="T1" fmla="*/ 196 h 196"/>
                  <a:gd name="T2" fmla="*/ 38 w 180"/>
                  <a:gd name="T3" fmla="*/ 183 h 196"/>
                  <a:gd name="T4" fmla="*/ 9 w 180"/>
                  <a:gd name="T5" fmla="*/ 105 h 196"/>
                  <a:gd name="T6" fmla="*/ 35 w 180"/>
                  <a:gd name="T7" fmla="*/ 90 h 196"/>
                  <a:gd name="T8" fmla="*/ 50 w 180"/>
                  <a:gd name="T9" fmla="*/ 116 h 196"/>
                  <a:gd name="T10" fmla="*/ 60 w 180"/>
                  <a:gd name="T11" fmla="*/ 147 h 196"/>
                  <a:gd name="T12" fmla="*/ 100 w 180"/>
                  <a:gd name="T13" fmla="*/ 147 h 196"/>
                  <a:gd name="T14" fmla="*/ 133 w 180"/>
                  <a:gd name="T15" fmla="*/ 80 h 196"/>
                  <a:gd name="T16" fmla="*/ 120 w 180"/>
                  <a:gd name="T17" fmla="*/ 50 h 196"/>
                  <a:gd name="T18" fmla="*/ 98 w 180"/>
                  <a:gd name="T19" fmla="*/ 50 h 196"/>
                  <a:gd name="T20" fmla="*/ 69 w 180"/>
                  <a:gd name="T21" fmla="*/ 43 h 196"/>
                  <a:gd name="T22" fmla="*/ 76 w 180"/>
                  <a:gd name="T23" fmla="*/ 13 h 196"/>
                  <a:gd name="T24" fmla="*/ 144 w 180"/>
                  <a:gd name="T25" fmla="*/ 14 h 196"/>
                  <a:gd name="T26" fmla="*/ 176 w 180"/>
                  <a:gd name="T27" fmla="*/ 86 h 196"/>
                  <a:gd name="T28" fmla="*/ 128 w 180"/>
                  <a:gd name="T29" fmla="*/ 179 h 196"/>
                  <a:gd name="T30" fmla="*/ 82 w 180"/>
                  <a:gd name="T3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96">
                    <a:moveTo>
                      <a:pt x="82" y="196"/>
                    </a:moveTo>
                    <a:cubicBezTo>
                      <a:pt x="67" y="196"/>
                      <a:pt x="51" y="191"/>
                      <a:pt x="38" y="183"/>
                    </a:cubicBezTo>
                    <a:cubicBezTo>
                      <a:pt x="10" y="166"/>
                      <a:pt x="0" y="137"/>
                      <a:pt x="9" y="105"/>
                    </a:cubicBezTo>
                    <a:cubicBezTo>
                      <a:pt x="12" y="93"/>
                      <a:pt x="24" y="87"/>
                      <a:pt x="35" y="90"/>
                    </a:cubicBezTo>
                    <a:cubicBezTo>
                      <a:pt x="47" y="93"/>
                      <a:pt x="54" y="105"/>
                      <a:pt x="50" y="116"/>
                    </a:cubicBezTo>
                    <a:cubicBezTo>
                      <a:pt x="46" y="130"/>
                      <a:pt x="50" y="140"/>
                      <a:pt x="60" y="147"/>
                    </a:cubicBezTo>
                    <a:cubicBezTo>
                      <a:pt x="74" y="155"/>
                      <a:pt x="92" y="154"/>
                      <a:pt x="100" y="147"/>
                    </a:cubicBezTo>
                    <a:cubicBezTo>
                      <a:pt x="118" y="131"/>
                      <a:pt x="129" y="108"/>
                      <a:pt x="133" y="80"/>
                    </a:cubicBezTo>
                    <a:cubicBezTo>
                      <a:pt x="135" y="69"/>
                      <a:pt x="129" y="56"/>
                      <a:pt x="120" y="50"/>
                    </a:cubicBezTo>
                    <a:cubicBezTo>
                      <a:pt x="113" y="45"/>
                      <a:pt x="106" y="45"/>
                      <a:pt x="98" y="50"/>
                    </a:cubicBezTo>
                    <a:cubicBezTo>
                      <a:pt x="88" y="56"/>
                      <a:pt x="75" y="53"/>
                      <a:pt x="69" y="43"/>
                    </a:cubicBezTo>
                    <a:cubicBezTo>
                      <a:pt x="63" y="33"/>
                      <a:pt x="66" y="19"/>
                      <a:pt x="76" y="13"/>
                    </a:cubicBezTo>
                    <a:cubicBezTo>
                      <a:pt x="99" y="0"/>
                      <a:pt x="123" y="0"/>
                      <a:pt x="144" y="14"/>
                    </a:cubicBezTo>
                    <a:cubicBezTo>
                      <a:pt x="167" y="29"/>
                      <a:pt x="180" y="58"/>
                      <a:pt x="176" y="86"/>
                    </a:cubicBezTo>
                    <a:cubicBezTo>
                      <a:pt x="170" y="125"/>
                      <a:pt x="154" y="156"/>
                      <a:pt x="128" y="179"/>
                    </a:cubicBezTo>
                    <a:cubicBezTo>
                      <a:pt x="117" y="190"/>
                      <a:pt x="99" y="196"/>
                      <a:pt x="82" y="1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12" name="Freeform 271"/>
              <p:cNvSpPr>
                <a:spLocks noEditPoints="1"/>
              </p:cNvSpPr>
              <p:nvPr/>
            </p:nvSpPr>
            <p:spPr bwMode="auto">
              <a:xfrm>
                <a:off x="5838825" y="4729163"/>
                <a:ext cx="123825" cy="128588"/>
              </a:xfrm>
              <a:custGeom>
                <a:avLst/>
                <a:gdLst>
                  <a:gd name="T0" fmla="*/ 75 w 189"/>
                  <a:gd name="T1" fmla="*/ 195 h 195"/>
                  <a:gd name="T2" fmla="*/ 26 w 189"/>
                  <a:gd name="T3" fmla="*/ 176 h 195"/>
                  <a:gd name="T4" fmla="*/ 3 w 189"/>
                  <a:gd name="T5" fmla="*/ 131 h 195"/>
                  <a:gd name="T6" fmla="*/ 19 w 189"/>
                  <a:gd name="T7" fmla="*/ 76 h 195"/>
                  <a:gd name="T8" fmla="*/ 82 w 189"/>
                  <a:gd name="T9" fmla="*/ 16 h 195"/>
                  <a:gd name="T10" fmla="*/ 82 w 189"/>
                  <a:gd name="T11" fmla="*/ 16 h 195"/>
                  <a:gd name="T12" fmla="*/ 163 w 189"/>
                  <a:gd name="T13" fmla="*/ 25 h 195"/>
                  <a:gd name="T14" fmla="*/ 171 w 189"/>
                  <a:gd name="T15" fmla="*/ 113 h 195"/>
                  <a:gd name="T16" fmla="*/ 169 w 189"/>
                  <a:gd name="T17" fmla="*/ 116 h 195"/>
                  <a:gd name="T18" fmla="*/ 122 w 189"/>
                  <a:gd name="T19" fmla="*/ 177 h 195"/>
                  <a:gd name="T20" fmla="*/ 75 w 189"/>
                  <a:gd name="T21" fmla="*/ 195 h 195"/>
                  <a:gd name="T22" fmla="*/ 104 w 189"/>
                  <a:gd name="T23" fmla="*/ 53 h 195"/>
                  <a:gd name="T24" fmla="*/ 53 w 189"/>
                  <a:gd name="T25" fmla="*/ 102 h 195"/>
                  <a:gd name="T26" fmla="*/ 55 w 189"/>
                  <a:gd name="T27" fmla="*/ 144 h 195"/>
                  <a:gd name="T28" fmla="*/ 93 w 189"/>
                  <a:gd name="T29" fmla="*/ 145 h 195"/>
                  <a:gd name="T30" fmla="*/ 132 w 189"/>
                  <a:gd name="T31" fmla="*/ 94 h 195"/>
                  <a:gd name="T32" fmla="*/ 134 w 189"/>
                  <a:gd name="T33" fmla="*/ 90 h 195"/>
                  <a:gd name="T34" fmla="*/ 133 w 189"/>
                  <a:gd name="T35" fmla="*/ 56 h 195"/>
                  <a:gd name="T36" fmla="*/ 104 w 189"/>
                  <a:gd name="T37" fmla="*/ 5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9" h="195">
                    <a:moveTo>
                      <a:pt x="75" y="195"/>
                    </a:moveTo>
                    <a:cubicBezTo>
                      <a:pt x="59" y="195"/>
                      <a:pt x="42" y="190"/>
                      <a:pt x="26" y="176"/>
                    </a:cubicBezTo>
                    <a:cubicBezTo>
                      <a:pt x="13" y="164"/>
                      <a:pt x="5" y="148"/>
                      <a:pt x="3" y="131"/>
                    </a:cubicBezTo>
                    <a:cubicBezTo>
                      <a:pt x="0" y="112"/>
                      <a:pt x="6" y="93"/>
                      <a:pt x="19" y="76"/>
                    </a:cubicBezTo>
                    <a:cubicBezTo>
                      <a:pt x="38" y="51"/>
                      <a:pt x="56" y="32"/>
                      <a:pt x="82" y="16"/>
                    </a:cubicBezTo>
                    <a:lnTo>
                      <a:pt x="82" y="16"/>
                    </a:lnTo>
                    <a:cubicBezTo>
                      <a:pt x="109" y="0"/>
                      <a:pt x="141" y="4"/>
                      <a:pt x="163" y="25"/>
                    </a:cubicBezTo>
                    <a:cubicBezTo>
                      <a:pt x="186" y="48"/>
                      <a:pt x="189" y="83"/>
                      <a:pt x="171" y="113"/>
                    </a:cubicBezTo>
                    <a:lnTo>
                      <a:pt x="169" y="116"/>
                    </a:lnTo>
                    <a:cubicBezTo>
                      <a:pt x="159" y="132"/>
                      <a:pt x="145" y="155"/>
                      <a:pt x="122" y="177"/>
                    </a:cubicBezTo>
                    <a:cubicBezTo>
                      <a:pt x="110" y="188"/>
                      <a:pt x="93" y="195"/>
                      <a:pt x="75" y="195"/>
                    </a:cubicBezTo>
                    <a:close/>
                    <a:moveTo>
                      <a:pt x="104" y="53"/>
                    </a:moveTo>
                    <a:cubicBezTo>
                      <a:pt x="84" y="66"/>
                      <a:pt x="70" y="80"/>
                      <a:pt x="53" y="102"/>
                    </a:cubicBezTo>
                    <a:cubicBezTo>
                      <a:pt x="36" y="124"/>
                      <a:pt x="51" y="140"/>
                      <a:pt x="55" y="144"/>
                    </a:cubicBezTo>
                    <a:cubicBezTo>
                      <a:pt x="63" y="151"/>
                      <a:pt x="79" y="158"/>
                      <a:pt x="93" y="145"/>
                    </a:cubicBezTo>
                    <a:cubicBezTo>
                      <a:pt x="112" y="128"/>
                      <a:pt x="123" y="109"/>
                      <a:pt x="132" y="94"/>
                    </a:cubicBezTo>
                    <a:lnTo>
                      <a:pt x="134" y="90"/>
                    </a:lnTo>
                    <a:cubicBezTo>
                      <a:pt x="146" y="71"/>
                      <a:pt x="136" y="59"/>
                      <a:pt x="133" y="56"/>
                    </a:cubicBezTo>
                    <a:cubicBezTo>
                      <a:pt x="127" y="50"/>
                      <a:pt x="116" y="46"/>
                      <a:pt x="104" y="5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3188867972"/>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8" imgW="493" imgH="493" progId="TCLayout.ActiveDocument.1">
                  <p:embed/>
                </p:oleObj>
              </mc:Choice>
              <mc:Fallback>
                <p:oleObj name="think-cell Folie" r:id="rId78" imgW="493" imgH="493" progId="TCLayout.ActiveDocument.1">
                  <p:embed/>
                  <p:pic>
                    <p:nvPicPr>
                      <p:cNvPr id="2" name="Object 1" hidden="1"/>
                      <p:cNvPicPr/>
                      <p:nvPr/>
                    </p:nvPicPr>
                    <p:blipFill>
                      <a:blip r:embed="rId79"/>
                      <a:stretch>
                        <a:fillRect/>
                      </a:stretch>
                    </p:blipFill>
                    <p:spPr>
                      <a:xfrm>
                        <a:off x="1588" y="1588"/>
                        <a:ext cx="1588" cy="1588"/>
                      </a:xfrm>
                      <a:prstGeom prst="rect">
                        <a:avLst/>
                      </a:prstGeom>
                    </p:spPr>
                  </p:pic>
                </p:oleObj>
              </mc:Fallback>
            </mc:AlternateContent>
          </a:graphicData>
        </a:graphic>
      </p:graphicFrame>
      <p:sp>
        <p:nvSpPr>
          <p:cNvPr id="381" name="Rectangle 380"/>
          <p:cNvSpPr/>
          <p:nvPr/>
        </p:nvSpPr>
        <p:spPr bwMode="gray">
          <a:xfrm>
            <a:off x="19050" y="1450370"/>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82" name="Rectangle 381"/>
          <p:cNvSpPr/>
          <p:nvPr/>
        </p:nvSpPr>
        <p:spPr bwMode="gray">
          <a:xfrm>
            <a:off x="0" y="6057583"/>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 name="Rectangle 3"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buFont typeface="Wingdings 2" pitchFamily="18" charset="2"/>
              <a:buNone/>
            </a:pPr>
            <a:endParaRPr lang="en-GB" sz="2000" dirty="0">
              <a:solidFill>
                <a:schemeClr val="bg1"/>
              </a:solidFill>
              <a:latin typeface="Verdana" panose="020B0604030504040204" pitchFamily="34" charset="0"/>
              <a:ea typeface="+mj-ea"/>
              <a:cs typeface="+mj-cs"/>
              <a:sym typeface="Verdana" panose="020B0604030504040204" pitchFamily="34" charset="0"/>
            </a:endParaRPr>
          </a:p>
        </p:txBody>
      </p:sp>
      <p:sp>
        <p:nvSpPr>
          <p:cNvPr id="13" name="Title 1"/>
          <p:cNvSpPr>
            <a:spLocks noGrp="1"/>
          </p:cNvSpPr>
          <p:nvPr>
            <p:ph type="title"/>
          </p:nvPr>
        </p:nvSpPr>
        <p:spPr/>
        <p:txBody>
          <a:bodyPr vert="horz"/>
          <a:lstStyle/>
          <a:p>
            <a:r>
              <a:rPr lang="en-GB" dirty="0">
                <a:solidFill>
                  <a:schemeClr val="bg1"/>
                </a:solidFill>
              </a:rPr>
              <a:t>Après le </a:t>
            </a:r>
            <a:r>
              <a:rPr lang="en-GB" dirty="0" err="1">
                <a:solidFill>
                  <a:schemeClr val="bg1"/>
                </a:solidFill>
              </a:rPr>
              <a:t>déclin</a:t>
            </a:r>
            <a:r>
              <a:rPr lang="en-GB" dirty="0">
                <a:solidFill>
                  <a:schemeClr val="bg1"/>
                </a:solidFill>
              </a:rPr>
              <a:t> </a:t>
            </a:r>
            <a:r>
              <a:rPr lang="en-GB" dirty="0" err="1">
                <a:solidFill>
                  <a:schemeClr val="bg1"/>
                </a:solidFill>
              </a:rPr>
              <a:t>lié</a:t>
            </a:r>
            <a:r>
              <a:rPr lang="en-GB" dirty="0">
                <a:solidFill>
                  <a:schemeClr val="bg1"/>
                </a:solidFill>
              </a:rPr>
              <a:t> au COVID-19 </a:t>
            </a:r>
            <a:r>
              <a:rPr lang="en-GB" dirty="0" err="1">
                <a:solidFill>
                  <a:schemeClr val="bg1"/>
                </a:solidFill>
              </a:rPr>
              <a:t>en</a:t>
            </a:r>
            <a:r>
              <a:rPr lang="en-GB" dirty="0">
                <a:solidFill>
                  <a:schemeClr val="bg1"/>
                </a:solidFill>
              </a:rPr>
              <a:t> 2020, le </a:t>
            </a:r>
            <a:r>
              <a:rPr lang="en-GB" dirty="0" err="1">
                <a:solidFill>
                  <a:schemeClr val="bg1"/>
                </a:solidFill>
              </a:rPr>
              <a:t>marché</a:t>
            </a:r>
            <a:r>
              <a:rPr lang="en-GB" dirty="0">
                <a:solidFill>
                  <a:schemeClr val="bg1"/>
                </a:solidFill>
              </a:rPr>
              <a:t> </a:t>
            </a:r>
            <a:r>
              <a:rPr lang="en-GB" dirty="0" err="1">
                <a:solidFill>
                  <a:schemeClr val="bg1"/>
                </a:solidFill>
              </a:rPr>
              <a:t>europée</a:t>
            </a:r>
            <a:r>
              <a:rPr lang="en-GB" dirty="0" err="1"/>
              <a:t>n</a:t>
            </a:r>
            <a:r>
              <a:rPr lang="en-GB" dirty="0"/>
              <a:t> du fitness </a:t>
            </a:r>
            <a:r>
              <a:rPr lang="en-GB" dirty="0" err="1"/>
              <a:t>s’est</a:t>
            </a:r>
            <a:r>
              <a:rPr lang="en-GB" dirty="0"/>
              <a:t> </a:t>
            </a:r>
            <a:r>
              <a:rPr lang="en-GB" dirty="0" err="1"/>
              <a:t>stabilisé</a:t>
            </a:r>
            <a:r>
              <a:rPr lang="en-GB" dirty="0"/>
              <a:t> </a:t>
            </a:r>
            <a:r>
              <a:rPr lang="en-GB" dirty="0" err="1"/>
              <a:t>en</a:t>
            </a:r>
            <a:r>
              <a:rPr lang="en-GB" dirty="0"/>
              <a:t> </a:t>
            </a:r>
            <a:r>
              <a:rPr lang="en-GB" dirty="0" err="1"/>
              <a:t>termes</a:t>
            </a:r>
            <a:r>
              <a:rPr lang="en-GB" dirty="0"/>
              <a:t> de </a:t>
            </a:r>
            <a:r>
              <a:rPr lang="en-GB" dirty="0" err="1"/>
              <a:t>membres</a:t>
            </a:r>
            <a:r>
              <a:rPr lang="en-GB" dirty="0"/>
              <a:t> et </a:t>
            </a:r>
            <a:r>
              <a:rPr lang="en-GB" dirty="0" err="1"/>
              <a:t>nombres</a:t>
            </a:r>
            <a:r>
              <a:rPr lang="en-GB" dirty="0"/>
              <a:t> de clubs, </a:t>
            </a:r>
            <a:r>
              <a:rPr lang="en-GB" dirty="0" err="1"/>
              <a:t>alors</a:t>
            </a:r>
            <a:r>
              <a:rPr lang="en-GB" dirty="0"/>
              <a:t> que les </a:t>
            </a:r>
            <a:r>
              <a:rPr lang="en-GB" dirty="0" err="1"/>
              <a:t>revenus</a:t>
            </a:r>
            <a:r>
              <a:rPr lang="en-GB" dirty="0"/>
              <a:t> </a:t>
            </a:r>
            <a:r>
              <a:rPr lang="en-GB" dirty="0" err="1"/>
              <a:t>ont</a:t>
            </a:r>
            <a:r>
              <a:rPr lang="en-GB" dirty="0"/>
              <a:t> encore </a:t>
            </a:r>
            <a:r>
              <a:rPr lang="en-GB" dirty="0" err="1"/>
              <a:t>baissé</a:t>
            </a:r>
            <a:endParaRPr lang="en-GB" dirty="0">
              <a:solidFill>
                <a:schemeClr val="bg1"/>
              </a:solidFill>
            </a:endParaRPr>
          </a:p>
        </p:txBody>
      </p:sp>
      <p:grpSp>
        <p:nvGrpSpPr>
          <p:cNvPr id="43" name="Group 42"/>
          <p:cNvGrpSpPr/>
          <p:nvPr/>
        </p:nvGrpSpPr>
        <p:grpSpPr>
          <a:xfrm>
            <a:off x="0" y="1112402"/>
            <a:ext cx="1872351" cy="233523"/>
            <a:chOff x="0" y="1112402"/>
            <a:chExt cx="1872351" cy="233523"/>
          </a:xfrm>
        </p:grpSpPr>
        <p:sp>
          <p:nvSpPr>
            <p:cNvPr id="44" name="Freeform 43"/>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round/>
              <a:headEnd/>
              <a:tailEnd/>
            </a:ln>
          </p:spPr>
          <p:txBody>
            <a:bodyPr rtlCol="0" anchor="ctr"/>
            <a:lstStyle/>
            <a:p>
              <a:pPr algn="ctr"/>
              <a:endParaRPr lang="en-GB" dirty="0"/>
            </a:p>
          </p:txBody>
        </p:sp>
        <p:cxnSp>
          <p:nvCxnSpPr>
            <p:cNvPr id="45" name="Straight Connector 44"/>
            <p:cNvCxnSpPr/>
            <p:nvPr/>
          </p:nvCxnSpPr>
          <p:spPr>
            <a:xfrm flipH="1">
              <a:off x="0" y="1261745"/>
              <a:ext cx="1290315" cy="0"/>
            </a:xfrm>
            <a:prstGeom prst="line">
              <a:avLst/>
            </a:prstGeom>
            <a:ln w="19050">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1651705" y="1259840"/>
              <a:ext cx="220646" cy="0"/>
            </a:xfrm>
            <a:prstGeom prst="line">
              <a:avLst/>
            </a:prstGeom>
            <a:ln w="19050">
              <a:solidFill>
                <a:schemeClr val="accent1"/>
              </a:solidFill>
              <a:round/>
              <a:headEnd type="oval" w="sm" len="sm"/>
            </a:ln>
          </p:spPr>
          <p:style>
            <a:lnRef idx="1">
              <a:schemeClr val="accent1"/>
            </a:lnRef>
            <a:fillRef idx="0">
              <a:schemeClr val="accent1"/>
            </a:fillRef>
            <a:effectRef idx="0">
              <a:schemeClr val="accent1"/>
            </a:effectRef>
            <a:fontRef idx="minor">
              <a:schemeClr val="tx1"/>
            </a:fontRef>
          </p:style>
        </p:cxnSp>
      </p:grpSp>
      <p:grpSp>
        <p:nvGrpSpPr>
          <p:cNvPr id="47" name="Group 46"/>
          <p:cNvGrpSpPr/>
          <p:nvPr/>
        </p:nvGrpSpPr>
        <p:grpSpPr>
          <a:xfrm flipH="1">
            <a:off x="10319649" y="6223855"/>
            <a:ext cx="1872351" cy="233523"/>
            <a:chOff x="0" y="1112402"/>
            <a:chExt cx="1872351" cy="233523"/>
          </a:xfrm>
        </p:grpSpPr>
        <p:sp>
          <p:nvSpPr>
            <p:cNvPr id="48" name="Freeform 47"/>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cxnSp>
          <p:nvCxnSpPr>
            <p:cNvPr id="49" name="Straight Connector 48"/>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sp>
        <p:nvSpPr>
          <p:cNvPr id="51" name="TextBox 50"/>
          <p:cNvSpPr txBox="1"/>
          <p:nvPr/>
        </p:nvSpPr>
        <p:spPr>
          <a:xfrm>
            <a:off x="469900" y="6182386"/>
            <a:ext cx="9566721" cy="258276"/>
          </a:xfrm>
          <a:prstGeom prst="rect">
            <a:avLst/>
          </a:prstGeom>
          <a:noFill/>
        </p:spPr>
        <p:txBody>
          <a:bodyPr wrap="none" lIns="0" tIns="0" rIns="0" bIns="0" rtlCol="0" anchor="b">
            <a:spAutoFit/>
          </a:bodyPr>
          <a:lstStyle/>
          <a:p>
            <a:pPr eaLnBrk="0" fontAlgn="base" hangingPunct="0">
              <a:lnSpc>
                <a:spcPct val="110000"/>
              </a:lnSpc>
              <a:spcBef>
                <a:spcPct val="0"/>
              </a:spcBef>
              <a:spcAft>
                <a:spcPct val="0"/>
              </a:spcAft>
            </a:pPr>
            <a:r>
              <a:rPr lang="en-GB" sz="800" dirty="0">
                <a:solidFill>
                  <a:schemeClr val="bg1"/>
                </a:solidFill>
                <a:latin typeface="+mj-lt"/>
              </a:rPr>
              <a:t>Note: 1) Les chiffres des </a:t>
            </a:r>
            <a:r>
              <a:rPr lang="en-GB" sz="800" dirty="0" err="1">
                <a:solidFill>
                  <a:schemeClr val="bg1"/>
                </a:solidFill>
                <a:latin typeface="+mj-lt"/>
              </a:rPr>
              <a:t>revenus</a:t>
            </a:r>
            <a:r>
              <a:rPr lang="en-GB" sz="800" dirty="0">
                <a:solidFill>
                  <a:schemeClr val="bg1"/>
                </a:solidFill>
                <a:latin typeface="+mj-lt"/>
              </a:rPr>
              <a:t> </a:t>
            </a:r>
            <a:r>
              <a:rPr lang="en-GB" sz="800" dirty="0" err="1">
                <a:solidFill>
                  <a:schemeClr val="bg1"/>
                </a:solidFill>
                <a:latin typeface="+mj-lt"/>
              </a:rPr>
              <a:t>historiques</a:t>
            </a:r>
            <a:r>
              <a:rPr lang="en-GB" sz="800" dirty="0">
                <a:solidFill>
                  <a:schemeClr val="bg1"/>
                </a:solidFill>
                <a:latin typeface="+mj-lt"/>
              </a:rPr>
              <a:t>, </a:t>
            </a:r>
            <a:r>
              <a:rPr lang="en-GB" sz="800" dirty="0" err="1">
                <a:solidFill>
                  <a:schemeClr val="bg1"/>
                </a:solidFill>
                <a:latin typeface="+mj-lt"/>
              </a:rPr>
              <a:t>nombre</a:t>
            </a:r>
            <a:r>
              <a:rPr lang="en-GB" sz="800" dirty="0">
                <a:solidFill>
                  <a:schemeClr val="bg1"/>
                </a:solidFill>
                <a:latin typeface="+mj-lt"/>
              </a:rPr>
              <a:t> de clubs et </a:t>
            </a:r>
            <a:r>
              <a:rPr lang="en-GB" sz="800" dirty="0" err="1">
                <a:solidFill>
                  <a:schemeClr val="bg1"/>
                </a:solidFill>
                <a:latin typeface="+mj-lt"/>
              </a:rPr>
              <a:t>d’adherents</a:t>
            </a:r>
            <a:r>
              <a:rPr lang="en-GB" sz="800" dirty="0">
                <a:solidFill>
                  <a:schemeClr val="bg1"/>
                </a:solidFill>
                <a:latin typeface="+mj-lt"/>
              </a:rPr>
              <a:t>, different </a:t>
            </a:r>
            <a:r>
              <a:rPr lang="en-GB" sz="800" dirty="0" err="1">
                <a:solidFill>
                  <a:schemeClr val="bg1"/>
                </a:solidFill>
                <a:latin typeface="+mj-lt"/>
              </a:rPr>
              <a:t>légérement</a:t>
            </a:r>
            <a:r>
              <a:rPr lang="en-GB" sz="800" dirty="0">
                <a:solidFill>
                  <a:schemeClr val="bg1"/>
                </a:solidFill>
                <a:latin typeface="+mj-lt"/>
              </a:rPr>
              <a:t> des </a:t>
            </a:r>
            <a:r>
              <a:rPr lang="en-GB" sz="800" dirty="0" err="1">
                <a:solidFill>
                  <a:schemeClr val="bg1"/>
                </a:solidFill>
                <a:latin typeface="+mj-lt"/>
              </a:rPr>
              <a:t>précédents</a:t>
            </a:r>
            <a:r>
              <a:rPr lang="en-GB" sz="800" dirty="0">
                <a:solidFill>
                  <a:schemeClr val="bg1"/>
                </a:solidFill>
                <a:latin typeface="+mj-lt"/>
              </a:rPr>
              <a:t> rapports car </a:t>
            </a:r>
            <a:r>
              <a:rPr lang="en-GB" sz="800" dirty="0" err="1">
                <a:solidFill>
                  <a:schemeClr val="bg1"/>
                </a:solidFill>
                <a:latin typeface="+mj-lt"/>
              </a:rPr>
              <a:t>ils</a:t>
            </a:r>
            <a:r>
              <a:rPr lang="en-GB" sz="800" dirty="0">
                <a:solidFill>
                  <a:schemeClr val="bg1"/>
                </a:solidFill>
                <a:latin typeface="+mj-lt"/>
              </a:rPr>
              <a:t> </a:t>
            </a:r>
            <a:r>
              <a:rPr lang="en-GB" sz="800" dirty="0" err="1">
                <a:solidFill>
                  <a:schemeClr val="bg1"/>
                </a:solidFill>
                <a:latin typeface="+mj-lt"/>
              </a:rPr>
              <a:t>incluent</a:t>
            </a:r>
            <a:r>
              <a:rPr lang="en-GB" sz="800" dirty="0">
                <a:solidFill>
                  <a:schemeClr val="bg1"/>
                </a:solidFill>
                <a:latin typeface="+mj-lt"/>
              </a:rPr>
              <a:t> les </a:t>
            </a:r>
            <a:r>
              <a:rPr lang="en-GB" sz="800" dirty="0" err="1">
                <a:solidFill>
                  <a:schemeClr val="bg1"/>
                </a:solidFill>
                <a:latin typeface="+mj-lt"/>
              </a:rPr>
              <a:t>informations</a:t>
            </a:r>
            <a:r>
              <a:rPr lang="en-GB" sz="800" dirty="0">
                <a:solidFill>
                  <a:schemeClr val="bg1"/>
                </a:solidFill>
                <a:latin typeface="+mj-lt"/>
              </a:rPr>
              <a:t> des Associations </a:t>
            </a:r>
            <a:r>
              <a:rPr lang="en-GB" sz="800" dirty="0" err="1">
                <a:solidFill>
                  <a:schemeClr val="bg1"/>
                </a:solidFill>
                <a:latin typeface="+mj-lt"/>
              </a:rPr>
              <a:t>Nationales</a:t>
            </a:r>
            <a:br>
              <a:rPr lang="en-GB" sz="800" dirty="0">
                <a:solidFill>
                  <a:schemeClr val="bg1"/>
                </a:solidFill>
                <a:latin typeface="+mj-lt"/>
              </a:rPr>
            </a:br>
            <a:r>
              <a:rPr lang="en-GB" sz="800" dirty="0">
                <a:solidFill>
                  <a:schemeClr val="bg1"/>
                </a:solidFill>
                <a:latin typeface="+mj-lt"/>
              </a:rPr>
              <a:t>Sources: EuropeActive, Deloitte.</a:t>
            </a:r>
          </a:p>
        </p:txBody>
      </p:sp>
      <p:graphicFrame>
        <p:nvGraphicFramePr>
          <p:cNvPr id="176" name="Chart 175">
            <a:extLst>
              <a:ext uri="{FF2B5EF4-FFF2-40B4-BE49-F238E27FC236}">
                <a16:creationId xmlns:a16="http://schemas.microsoft.com/office/drawing/2014/main" id="{E75ABD9D-6B53-4FC0-A25C-D054A17BE2E5}"/>
              </a:ext>
            </a:extLst>
          </p:cNvPr>
          <p:cNvGraphicFramePr/>
          <p:nvPr>
            <p:custDataLst>
              <p:tags r:id="rId3"/>
            </p:custDataLst>
          </p:nvPr>
        </p:nvGraphicFramePr>
        <p:xfrm>
          <a:off x="655638" y="3251200"/>
          <a:ext cx="3143250" cy="2435225"/>
        </p:xfrm>
        <a:graphic>
          <a:graphicData uri="http://schemas.openxmlformats.org/drawingml/2006/chart">
            <c:chart xmlns:c="http://schemas.openxmlformats.org/drawingml/2006/chart" xmlns:r="http://schemas.openxmlformats.org/officeDocument/2006/relationships" r:id="rId80"/>
          </a:graphicData>
        </a:graphic>
      </p:graphicFrame>
      <p:cxnSp>
        <p:nvCxnSpPr>
          <p:cNvPr id="675" name="Straight Connector 674">
            <a:extLst>
              <a:ext uri="{FF2B5EF4-FFF2-40B4-BE49-F238E27FC236}">
                <a16:creationId xmlns:a16="http://schemas.microsoft.com/office/drawing/2014/main" id="{839AD6D0-9D2A-4B4C-8232-134F71017516}"/>
              </a:ext>
            </a:extLst>
          </p:cNvPr>
          <p:cNvCxnSpPr/>
          <p:nvPr>
            <p:custDataLst>
              <p:tags r:id="rId4"/>
            </p:custDataLst>
          </p:nvPr>
        </p:nvCxnSpPr>
        <p:spPr bwMode="grayWhite">
          <a:xfrm>
            <a:off x="2071688" y="2840038"/>
            <a:ext cx="269875" cy="0"/>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076BAF91-F26E-4569-A8F0-6BC9F00F7072}"/>
              </a:ext>
            </a:extLst>
          </p:cNvPr>
          <p:cNvCxnSpPr/>
          <p:nvPr>
            <p:custDataLst>
              <p:tags r:id="rId5"/>
            </p:custDataLst>
          </p:nvPr>
        </p:nvCxnSpPr>
        <p:spPr bwMode="grayWhite">
          <a:xfrm flipV="1">
            <a:off x="1304925" y="2840038"/>
            <a:ext cx="0" cy="598488"/>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4" name="Straight Connector 673">
            <a:extLst>
              <a:ext uri="{FF2B5EF4-FFF2-40B4-BE49-F238E27FC236}">
                <a16:creationId xmlns:a16="http://schemas.microsoft.com/office/drawing/2014/main" id="{48350372-9DB8-40FF-A7F4-8394F374781F}"/>
              </a:ext>
            </a:extLst>
          </p:cNvPr>
          <p:cNvCxnSpPr/>
          <p:nvPr>
            <p:custDataLst>
              <p:tags r:id="rId6"/>
            </p:custDataLst>
          </p:nvPr>
        </p:nvCxnSpPr>
        <p:spPr bwMode="grayWhite">
          <a:xfrm>
            <a:off x="1304925" y="2840038"/>
            <a:ext cx="268288" cy="0"/>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5BF2D9BE-A33B-4149-A77C-6194F708263F}"/>
              </a:ext>
            </a:extLst>
          </p:cNvPr>
          <p:cNvCxnSpPr/>
          <p:nvPr>
            <p:custDataLst>
              <p:tags r:id="rId7"/>
            </p:custDataLst>
          </p:nvPr>
        </p:nvCxnSpPr>
        <p:spPr bwMode="grayWhite">
          <a:xfrm>
            <a:off x="2341563" y="2840038"/>
            <a:ext cx="0" cy="444500"/>
          </a:xfrm>
          <a:prstGeom prst="line">
            <a:avLst/>
          </a:prstGeom>
          <a:ln w="6350" cap="flat" cmpd="sng" algn="ctr">
            <a:solidFill>
              <a:srgbClr val="FFFFFF"/>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60" name="Straight Connector 359">
            <a:extLst>
              <a:ext uri="{FF2B5EF4-FFF2-40B4-BE49-F238E27FC236}">
                <a16:creationId xmlns:a16="http://schemas.microsoft.com/office/drawing/2014/main" id="{E48707E5-2E26-4F04-BA2E-323CF6806874}"/>
              </a:ext>
            </a:extLst>
          </p:cNvPr>
          <p:cNvCxnSpPr/>
          <p:nvPr>
            <p:custDataLst>
              <p:tags r:id="rId8"/>
            </p:custDataLst>
          </p:nvPr>
        </p:nvCxnSpPr>
        <p:spPr bwMode="grayWhite">
          <a:xfrm flipV="1">
            <a:off x="2413000" y="3100388"/>
            <a:ext cx="0" cy="184150"/>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61">
            <a:extLst>
              <a:ext uri="{FF2B5EF4-FFF2-40B4-BE49-F238E27FC236}">
                <a16:creationId xmlns:a16="http://schemas.microsoft.com/office/drawing/2014/main" id="{BC42ED04-5132-4862-811D-FE936BCE7C45}"/>
              </a:ext>
            </a:extLst>
          </p:cNvPr>
          <p:cNvCxnSpPr/>
          <p:nvPr>
            <p:custDataLst>
              <p:tags r:id="rId9"/>
            </p:custDataLst>
          </p:nvPr>
        </p:nvCxnSpPr>
        <p:spPr bwMode="grayWhite">
          <a:xfrm>
            <a:off x="2876550" y="3100388"/>
            <a:ext cx="0" cy="506413"/>
          </a:xfrm>
          <a:prstGeom prst="line">
            <a:avLst/>
          </a:prstGeom>
          <a:ln w="6350" cap="flat" cmpd="sng" algn="ctr">
            <a:solidFill>
              <a:srgbClr val="FFFFFF"/>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42" name="Straight Connector 341">
            <a:extLst>
              <a:ext uri="{FF2B5EF4-FFF2-40B4-BE49-F238E27FC236}">
                <a16:creationId xmlns:a16="http://schemas.microsoft.com/office/drawing/2014/main" id="{CD2FE703-97C2-45A1-9495-BB8766186B49}"/>
              </a:ext>
            </a:extLst>
          </p:cNvPr>
          <p:cNvCxnSpPr/>
          <p:nvPr>
            <p:custDataLst>
              <p:tags r:id="rId10"/>
            </p:custDataLst>
          </p:nvPr>
        </p:nvCxnSpPr>
        <p:spPr bwMode="grayWhite">
          <a:xfrm flipV="1">
            <a:off x="2949575" y="2808288"/>
            <a:ext cx="0" cy="798513"/>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6" name="Straight Connector 345">
            <a:extLst>
              <a:ext uri="{FF2B5EF4-FFF2-40B4-BE49-F238E27FC236}">
                <a16:creationId xmlns:a16="http://schemas.microsoft.com/office/drawing/2014/main" id="{977D41FE-2D5E-4AE9-8EA8-6D0C0C89CFA3}"/>
              </a:ext>
            </a:extLst>
          </p:cNvPr>
          <p:cNvCxnSpPr/>
          <p:nvPr>
            <p:custDataLst>
              <p:tags r:id="rId11"/>
            </p:custDataLst>
          </p:nvPr>
        </p:nvCxnSpPr>
        <p:spPr bwMode="grayWhite">
          <a:xfrm>
            <a:off x="3448050" y="2808288"/>
            <a:ext cx="0" cy="763588"/>
          </a:xfrm>
          <a:prstGeom prst="line">
            <a:avLst/>
          </a:prstGeom>
          <a:ln w="6350" cap="flat" cmpd="sng" algn="ctr">
            <a:solidFill>
              <a:srgbClr val="FFFFFF"/>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6" name="Text Placeholder 18">
            <a:extLst>
              <a:ext uri="{FF2B5EF4-FFF2-40B4-BE49-F238E27FC236}">
                <a16:creationId xmlns:a16="http://schemas.microsoft.com/office/drawing/2014/main" id="{E5B756AB-85DA-4D58-9BD6-C51E14B4B710}"/>
              </a:ext>
            </a:extLst>
          </p:cNvPr>
          <p:cNvSpPr>
            <a:spLocks noGrp="1"/>
          </p:cNvSpPr>
          <p:nvPr>
            <p:custDataLst>
              <p:tags r:id="rId12"/>
            </p:custDataLst>
          </p:nvPr>
        </p:nvSpPr>
        <p:spPr bwMode="auto">
          <a:xfrm>
            <a:off x="3279775" y="5673725"/>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36962FFA-E304-44F8-9E41-A4CBFD7C51F9}" type="datetime'''''''''''''''2''0''''''''''''2''''''''''''''''''''''1'''">
              <a:rPr lang="de-DE" altLang="en-US" sz="1000" smtClean="0">
                <a:solidFill>
                  <a:schemeClr val="bg1"/>
                </a:solidFill>
              </a:rPr>
              <a:pPr/>
              <a:t>2021</a:t>
            </a:fld>
            <a:endParaRPr lang="de-DE" sz="1000" noProof="0" dirty="0">
              <a:solidFill>
                <a:schemeClr val="bg1"/>
              </a:solidFill>
            </a:endParaRPr>
          </a:p>
        </p:txBody>
      </p:sp>
      <p:sp>
        <p:nvSpPr>
          <p:cNvPr id="419" name="Text Placeholder 18">
            <a:extLst>
              <a:ext uri="{FF2B5EF4-FFF2-40B4-BE49-F238E27FC236}">
                <a16:creationId xmlns:a16="http://schemas.microsoft.com/office/drawing/2014/main" id="{C808F41D-6998-4C7E-AE49-1C932C0D8205}"/>
              </a:ext>
            </a:extLst>
          </p:cNvPr>
          <p:cNvSpPr>
            <a:spLocks noGrp="1"/>
          </p:cNvSpPr>
          <p:nvPr>
            <p:custDataLst>
              <p:tags r:id="rId13"/>
            </p:custDataLst>
          </p:nvPr>
        </p:nvSpPr>
        <p:spPr bwMode="auto">
          <a:xfrm>
            <a:off x="493713" y="3825875"/>
            <a:ext cx="152400" cy="1287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r>
              <a:rPr lang="de-DE" altLang="en-US" sz="1000" dirty="0">
                <a:solidFill>
                  <a:srgbClr val="FFFFFF"/>
                </a:solidFill>
              </a:rPr>
              <a:t>Memberships (in m)</a:t>
            </a:r>
            <a:endParaRPr lang="de-DE" sz="1000" noProof="0" dirty="0">
              <a:solidFill>
                <a:srgbClr val="FFFFFF"/>
              </a:solidFill>
            </a:endParaRPr>
          </a:p>
        </p:txBody>
      </p:sp>
      <p:sp>
        <p:nvSpPr>
          <p:cNvPr id="57" name="Text Placeholder 18">
            <a:extLst>
              <a:ext uri="{FF2B5EF4-FFF2-40B4-BE49-F238E27FC236}">
                <a16:creationId xmlns:a16="http://schemas.microsoft.com/office/drawing/2014/main" id="{D2537B78-1C11-421A-8B8C-F01380B31651}"/>
              </a:ext>
            </a:extLst>
          </p:cNvPr>
          <p:cNvSpPr>
            <a:spLocks noGrp="1"/>
          </p:cNvSpPr>
          <p:nvPr>
            <p:custDataLst>
              <p:tags r:id="rId14"/>
            </p:custDataLst>
          </p:nvPr>
        </p:nvSpPr>
        <p:spPr bwMode="auto">
          <a:xfrm>
            <a:off x="2208213" y="5673725"/>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18F95828-BDD4-40EC-855C-564ED9BF95E6}" type="datetime'''''''2''''''''''''''''0''''1''9'''''''''''''''">
              <a:rPr lang="de-DE" altLang="en-US" sz="1000" smtClean="0">
                <a:solidFill>
                  <a:schemeClr val="bg1"/>
                </a:solidFill>
              </a:rPr>
              <a:pPr/>
              <a:t>2019</a:t>
            </a:fld>
            <a:endParaRPr lang="de-DE" sz="1000" noProof="0" dirty="0">
              <a:solidFill>
                <a:schemeClr val="bg1"/>
              </a:solidFill>
            </a:endParaRPr>
          </a:p>
        </p:txBody>
      </p:sp>
      <p:sp>
        <p:nvSpPr>
          <p:cNvPr id="39" name="Text Placeholder 18">
            <a:extLst>
              <a:ext uri="{FF2B5EF4-FFF2-40B4-BE49-F238E27FC236}">
                <a16:creationId xmlns:a16="http://schemas.microsoft.com/office/drawing/2014/main" id="{A3BDD244-AE7F-4A67-84B3-D731633B766E}"/>
              </a:ext>
            </a:extLst>
          </p:cNvPr>
          <p:cNvSpPr>
            <a:spLocks noGrp="1"/>
          </p:cNvSpPr>
          <p:nvPr>
            <p:custDataLst>
              <p:tags r:id="rId15"/>
            </p:custDataLst>
          </p:nvPr>
        </p:nvSpPr>
        <p:spPr bwMode="auto">
          <a:xfrm>
            <a:off x="1136650" y="5673725"/>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8396F0FB-EA9B-4D82-A0BD-2EE6BE7AF5E9}" type="datetime'''''''''''''2''''''''''''''''''01''''7'''''">
              <a:rPr lang="de-DE" altLang="en-US" sz="1000" smtClean="0">
                <a:solidFill>
                  <a:schemeClr val="bg1"/>
                </a:solidFill>
              </a:rPr>
              <a:pPr/>
              <a:t>2017</a:t>
            </a:fld>
            <a:endParaRPr lang="de-DE" sz="1000" noProof="0" dirty="0">
              <a:solidFill>
                <a:schemeClr val="bg1"/>
              </a:solidFill>
            </a:endParaRPr>
          </a:p>
        </p:txBody>
      </p:sp>
      <p:sp>
        <p:nvSpPr>
          <p:cNvPr id="40" name="Text Placeholder 18">
            <a:extLst>
              <a:ext uri="{FF2B5EF4-FFF2-40B4-BE49-F238E27FC236}">
                <a16:creationId xmlns:a16="http://schemas.microsoft.com/office/drawing/2014/main" id="{9B663B6A-168B-4582-ABFE-7C33ED2C42C9}"/>
              </a:ext>
            </a:extLst>
          </p:cNvPr>
          <p:cNvSpPr>
            <a:spLocks noGrp="1"/>
          </p:cNvSpPr>
          <p:nvPr>
            <p:custDataLst>
              <p:tags r:id="rId16"/>
            </p:custDataLst>
          </p:nvPr>
        </p:nvSpPr>
        <p:spPr bwMode="auto">
          <a:xfrm>
            <a:off x="1673225" y="5673725"/>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DBE10789-736D-4AD6-831A-E960BD3B2B23}" type="datetime'''2''''''''01''8'''''">
              <a:rPr lang="de-DE" altLang="en-US" sz="1000" smtClean="0">
                <a:solidFill>
                  <a:schemeClr val="bg1"/>
                </a:solidFill>
              </a:rPr>
              <a:pPr/>
              <a:t>2018</a:t>
            </a:fld>
            <a:endParaRPr lang="de-DE" sz="1000" noProof="0" dirty="0">
              <a:solidFill>
                <a:schemeClr val="bg1"/>
              </a:solidFill>
            </a:endParaRPr>
          </a:p>
        </p:txBody>
      </p:sp>
      <p:sp>
        <p:nvSpPr>
          <p:cNvPr id="58" name="Text Placeholder 18">
            <a:extLst>
              <a:ext uri="{FF2B5EF4-FFF2-40B4-BE49-F238E27FC236}">
                <a16:creationId xmlns:a16="http://schemas.microsoft.com/office/drawing/2014/main" id="{6C60804D-B909-4180-B456-8FB71E11D251}"/>
              </a:ext>
            </a:extLst>
          </p:cNvPr>
          <p:cNvSpPr>
            <a:spLocks noGrp="1"/>
          </p:cNvSpPr>
          <p:nvPr>
            <p:custDataLst>
              <p:tags r:id="rId17"/>
            </p:custDataLst>
          </p:nvPr>
        </p:nvSpPr>
        <p:spPr bwMode="auto">
          <a:xfrm>
            <a:off x="2744788" y="5673725"/>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77081530-7C66-4B06-94B3-C4B10E7F5040}" type="datetime'''''''20''''''''''''''''''''''''''''''''2''''''''''''0'''">
              <a:rPr lang="de-DE" altLang="en-US" sz="1000" smtClean="0">
                <a:solidFill>
                  <a:schemeClr val="bg1"/>
                </a:solidFill>
              </a:rPr>
              <a:pPr/>
              <a:t>2020</a:t>
            </a:fld>
            <a:endParaRPr lang="de-DE" sz="1000" noProof="0" dirty="0">
              <a:solidFill>
                <a:schemeClr val="bg1"/>
              </a:solidFill>
            </a:endParaRPr>
          </a:p>
        </p:txBody>
      </p:sp>
      <p:sp>
        <p:nvSpPr>
          <p:cNvPr id="1255" name="Text Placeholder 18">
            <a:extLst>
              <a:ext uri="{FF2B5EF4-FFF2-40B4-BE49-F238E27FC236}">
                <a16:creationId xmlns:a16="http://schemas.microsoft.com/office/drawing/2014/main" id="{B65CC584-3223-4D23-B29C-F47D5C1976D0}"/>
              </a:ext>
            </a:extLst>
          </p:cNvPr>
          <p:cNvSpPr>
            <a:spLocks noGrp="1"/>
          </p:cNvSpPr>
          <p:nvPr>
            <p:custDataLst>
              <p:tags r:id="rId18"/>
            </p:custDataLst>
          </p:nvPr>
        </p:nvSpPr>
        <p:spPr bwMode="gray">
          <a:xfrm>
            <a:off x="3268663" y="3609975"/>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E582384C-0CE4-4237-BB28-CD86D3225F0A}" type="datetime'''''''''''''''''''''''''5''''6''''''''''''''''''''.3'''''''''">
              <a:rPr lang="de-DE" altLang="en-US" sz="1000" b="1" smtClean="0">
                <a:solidFill>
                  <a:srgbClr val="FFFFFF"/>
                </a:solidFill>
                <a:effectLst/>
              </a:rPr>
              <a:pPr algn="ctr">
                <a:spcBef>
                  <a:spcPct val="0"/>
                </a:spcBef>
                <a:spcAft>
                  <a:spcPct val="0"/>
                </a:spcAft>
              </a:pPr>
              <a:t>56.3</a:t>
            </a:fld>
            <a:endParaRPr lang="de-DE" sz="1000" b="1" noProof="0" dirty="0">
              <a:solidFill>
                <a:srgbClr val="FFFFFF"/>
              </a:solidFill>
            </a:endParaRPr>
          </a:p>
        </p:txBody>
      </p:sp>
      <p:sp>
        <p:nvSpPr>
          <p:cNvPr id="1253" name="Text Placeholder 18">
            <a:extLst>
              <a:ext uri="{FF2B5EF4-FFF2-40B4-BE49-F238E27FC236}">
                <a16:creationId xmlns:a16="http://schemas.microsoft.com/office/drawing/2014/main" id="{757D23FF-157F-4B74-B08D-24C8B52A3A7B}"/>
              </a:ext>
            </a:extLst>
          </p:cNvPr>
          <p:cNvSpPr>
            <a:spLocks noGrp="1"/>
          </p:cNvSpPr>
          <p:nvPr>
            <p:custDataLst>
              <p:tags r:id="rId19"/>
            </p:custDataLst>
          </p:nvPr>
        </p:nvSpPr>
        <p:spPr bwMode="gray">
          <a:xfrm>
            <a:off x="2211388" y="3322638"/>
            <a:ext cx="3302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FC6FA4AE-BCC3-432A-B7A8-7854E24BCB49}" type="datetime'''''''''6''''''''''''''''5''''''''.''''''''''''''''3'''''''''">
              <a:rPr lang="de-DE" altLang="en-US" sz="1000" smtClean="0">
                <a:effectLst/>
              </a:rPr>
              <a:pPr algn="ctr">
                <a:spcBef>
                  <a:spcPct val="0"/>
                </a:spcBef>
                <a:spcAft>
                  <a:spcPct val="0"/>
                </a:spcAft>
              </a:pPr>
              <a:t>65.3</a:t>
            </a:fld>
            <a:endParaRPr lang="de-DE" sz="1000" noProof="0" dirty="0"/>
          </a:p>
        </p:txBody>
      </p:sp>
      <p:sp>
        <p:nvSpPr>
          <p:cNvPr id="1251" name="Text Placeholder 18">
            <a:extLst>
              <a:ext uri="{FF2B5EF4-FFF2-40B4-BE49-F238E27FC236}">
                <a16:creationId xmlns:a16="http://schemas.microsoft.com/office/drawing/2014/main" id="{2DC82F45-37EF-411D-B154-3EF1CAC18443}"/>
              </a:ext>
            </a:extLst>
          </p:cNvPr>
          <p:cNvSpPr>
            <a:spLocks noGrp="1"/>
          </p:cNvSpPr>
          <p:nvPr>
            <p:custDataLst>
              <p:tags r:id="rId20"/>
            </p:custDataLst>
          </p:nvPr>
        </p:nvSpPr>
        <p:spPr bwMode="gray">
          <a:xfrm>
            <a:off x="1139825" y="3476625"/>
            <a:ext cx="3302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F414DF0D-8C31-471D-829C-FFBD55ECA44C}" type="datetime'''''''''''''''''''''60.''5'''">
              <a:rPr lang="de-DE" altLang="en-US" sz="1000" smtClean="0">
                <a:effectLst/>
              </a:rPr>
              <a:pPr algn="ctr">
                <a:spcBef>
                  <a:spcPct val="0"/>
                </a:spcBef>
                <a:spcAft>
                  <a:spcPct val="0"/>
                </a:spcAft>
              </a:pPr>
              <a:t>60.5</a:t>
            </a:fld>
            <a:endParaRPr lang="de-DE" sz="1000" noProof="0" dirty="0"/>
          </a:p>
        </p:txBody>
      </p:sp>
      <p:sp>
        <p:nvSpPr>
          <p:cNvPr id="1252" name="Text Placeholder 18">
            <a:extLst>
              <a:ext uri="{FF2B5EF4-FFF2-40B4-BE49-F238E27FC236}">
                <a16:creationId xmlns:a16="http://schemas.microsoft.com/office/drawing/2014/main" id="{56479307-7A49-4FAB-AF3F-7C79637AAE96}"/>
              </a:ext>
            </a:extLst>
          </p:cNvPr>
          <p:cNvSpPr>
            <a:spLocks noGrp="1"/>
          </p:cNvSpPr>
          <p:nvPr>
            <p:custDataLst>
              <p:tags r:id="rId21"/>
            </p:custDataLst>
          </p:nvPr>
        </p:nvSpPr>
        <p:spPr bwMode="gray">
          <a:xfrm>
            <a:off x="1676400" y="3405188"/>
            <a:ext cx="3302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BD47C556-BF7E-40B2-B3C1-49FE29718EFA}" type="datetime'''''''''''''''''''6''''''''''2.''''7'''''''''">
              <a:rPr lang="de-DE" altLang="en-US" sz="1000" smtClean="0">
                <a:effectLst/>
              </a:rPr>
              <a:pPr algn="ctr">
                <a:spcBef>
                  <a:spcPct val="0"/>
                </a:spcBef>
                <a:spcAft>
                  <a:spcPct val="0"/>
                </a:spcAft>
              </a:pPr>
              <a:t>62.7</a:t>
            </a:fld>
            <a:endParaRPr lang="de-DE" sz="1000" noProof="0" dirty="0"/>
          </a:p>
        </p:txBody>
      </p:sp>
      <p:sp>
        <p:nvSpPr>
          <p:cNvPr id="1254" name="Text Placeholder 18">
            <a:extLst>
              <a:ext uri="{FF2B5EF4-FFF2-40B4-BE49-F238E27FC236}">
                <a16:creationId xmlns:a16="http://schemas.microsoft.com/office/drawing/2014/main" id="{823D1A72-B794-4502-BDD1-76941C7F7AA0}"/>
              </a:ext>
            </a:extLst>
          </p:cNvPr>
          <p:cNvSpPr>
            <a:spLocks noGrp="1"/>
          </p:cNvSpPr>
          <p:nvPr>
            <p:custDataLst>
              <p:tags r:id="rId22"/>
            </p:custDataLst>
          </p:nvPr>
        </p:nvSpPr>
        <p:spPr bwMode="gray">
          <a:xfrm>
            <a:off x="2733675" y="3644900"/>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F0B40B95-9485-4F21-B3BC-1576B99BBB68}" type="datetime'''''5''''''5''''''''''''''''''''''''''''''''''''''''.''''2'''">
              <a:rPr lang="de-DE" altLang="en-US" sz="1000" b="1" smtClean="0">
                <a:solidFill>
                  <a:srgbClr val="000000"/>
                </a:solidFill>
                <a:effectLst/>
              </a:rPr>
              <a:pPr algn="ctr">
                <a:spcBef>
                  <a:spcPct val="0"/>
                </a:spcBef>
                <a:spcAft>
                  <a:spcPct val="0"/>
                </a:spcAft>
              </a:pPr>
              <a:t>55.2</a:t>
            </a:fld>
            <a:endParaRPr lang="de-DE" sz="1000" b="1" noProof="0" dirty="0">
              <a:solidFill>
                <a:srgbClr val="000000"/>
              </a:solidFill>
            </a:endParaRPr>
          </a:p>
        </p:txBody>
      </p:sp>
      <p:sp>
        <p:nvSpPr>
          <p:cNvPr id="315" name="Text Placeholder 18">
            <a:extLst>
              <a:ext uri="{FF2B5EF4-FFF2-40B4-BE49-F238E27FC236}">
                <a16:creationId xmlns:a16="http://schemas.microsoft.com/office/drawing/2014/main" id="{C5A32B4D-CD37-4006-86FC-D06B4EE7C480}"/>
              </a:ext>
            </a:extLst>
          </p:cNvPr>
          <p:cNvSpPr>
            <a:spLocks noGrp="1"/>
          </p:cNvSpPr>
          <p:nvPr>
            <p:custDataLst>
              <p:tags r:id="rId23"/>
            </p:custDataLst>
          </p:nvPr>
        </p:nvSpPr>
        <p:spPr bwMode="auto">
          <a:xfrm>
            <a:off x="1506538" y="2732088"/>
            <a:ext cx="633413"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r>
              <a:rPr lang="de-DE" altLang="en-US" sz="1000" dirty="0">
                <a:solidFill>
                  <a:srgbClr val="FFFFFF"/>
                </a:solidFill>
              </a:rPr>
              <a:t>+3.9%</a:t>
            </a:r>
            <a:endParaRPr lang="de-DE" sz="1000" noProof="0" dirty="0">
              <a:solidFill>
                <a:srgbClr val="FFFFFF"/>
              </a:solidFill>
            </a:endParaRPr>
          </a:p>
        </p:txBody>
      </p:sp>
      <p:sp>
        <p:nvSpPr>
          <p:cNvPr id="367" name="Text Placeholder 18">
            <a:extLst>
              <a:ext uri="{FF2B5EF4-FFF2-40B4-BE49-F238E27FC236}">
                <a16:creationId xmlns:a16="http://schemas.microsoft.com/office/drawing/2014/main" id="{61445E29-F140-4803-B5BE-6B144865AC7D}"/>
              </a:ext>
            </a:extLst>
          </p:cNvPr>
          <p:cNvSpPr>
            <a:spLocks noGrp="1"/>
          </p:cNvSpPr>
          <p:nvPr>
            <p:custDataLst>
              <p:tags r:id="rId24"/>
            </p:custDataLst>
          </p:nvPr>
        </p:nvSpPr>
        <p:spPr bwMode="auto">
          <a:xfrm>
            <a:off x="2303463" y="2916238"/>
            <a:ext cx="682625"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4A0EADB8-D9F2-40AD-924A-33CF08617B26}" type="datetime'''''''-''''''''1''''5''''''''.4''''''%'">
              <a:rPr lang="de-DE" altLang="en-US" sz="1000" smtClean="0">
                <a:solidFill>
                  <a:srgbClr val="FFFFFF"/>
                </a:solidFill>
              </a:rPr>
              <a:pPr/>
              <a:t>-15.4%</a:t>
            </a:fld>
            <a:endParaRPr lang="de-DE" sz="1000" noProof="0" dirty="0">
              <a:solidFill>
                <a:srgbClr val="FFFFFF"/>
              </a:solidFill>
            </a:endParaRPr>
          </a:p>
        </p:txBody>
      </p:sp>
      <p:sp>
        <p:nvSpPr>
          <p:cNvPr id="351" name="Text Placeholder 18">
            <a:extLst>
              <a:ext uri="{FF2B5EF4-FFF2-40B4-BE49-F238E27FC236}">
                <a16:creationId xmlns:a16="http://schemas.microsoft.com/office/drawing/2014/main" id="{3E77A44E-2598-423E-8C2B-6D7D26D3755E}"/>
              </a:ext>
            </a:extLst>
          </p:cNvPr>
          <p:cNvSpPr>
            <a:spLocks noGrp="1"/>
          </p:cNvSpPr>
          <p:nvPr>
            <p:custDataLst>
              <p:tags r:id="rId25"/>
            </p:custDataLst>
          </p:nvPr>
        </p:nvSpPr>
        <p:spPr bwMode="auto">
          <a:xfrm>
            <a:off x="2882900" y="2624138"/>
            <a:ext cx="633413"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3EE53B70-BC2B-4F44-8A1B-03E2C4AF1F8F}" type="datetime'''''''''''''''''''''''+''''''''''2''''.''''0%'''''''''''">
              <a:rPr lang="de-DE" altLang="en-US" sz="1000" smtClean="0">
                <a:solidFill>
                  <a:srgbClr val="FFFFFF"/>
                </a:solidFill>
              </a:rPr>
              <a:pPr/>
              <a:t>+2.0%</a:t>
            </a:fld>
            <a:endParaRPr lang="de-DE" sz="1000" noProof="0" dirty="0">
              <a:solidFill>
                <a:srgbClr val="FFFFFF"/>
              </a:solidFill>
            </a:endParaRPr>
          </a:p>
        </p:txBody>
      </p:sp>
      <p:sp>
        <p:nvSpPr>
          <p:cNvPr id="271" name="Rectangle 270" hidden="1">
            <a:extLst>
              <a:ext uri="{FF2B5EF4-FFF2-40B4-BE49-F238E27FC236}">
                <a16:creationId xmlns:a16="http://schemas.microsoft.com/office/drawing/2014/main" id="{21E2E4C3-983E-4A91-87FF-2724B0C24A98}"/>
              </a:ext>
            </a:extLst>
          </p:cNvPr>
          <p:cNvSpPr/>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pPr>
            <a:endParaRPr lang="de-DE" sz="1200" dirty="0">
              <a:solidFill>
                <a:schemeClr val="bg1"/>
              </a:solidFill>
            </a:endParaRPr>
          </a:p>
        </p:txBody>
      </p:sp>
      <p:sp>
        <p:nvSpPr>
          <p:cNvPr id="6" name="Rectangle 5" hidden="1"/>
          <p:cNvSpPr/>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de-DE" sz="1000" dirty="0">
              <a:solidFill>
                <a:schemeClr val="bg1"/>
              </a:solidFill>
            </a:endParaRPr>
          </a:p>
        </p:txBody>
      </p:sp>
      <p:graphicFrame>
        <p:nvGraphicFramePr>
          <p:cNvPr id="177" name="Chart 176">
            <a:extLst>
              <a:ext uri="{FF2B5EF4-FFF2-40B4-BE49-F238E27FC236}">
                <a16:creationId xmlns:a16="http://schemas.microsoft.com/office/drawing/2014/main" id="{8D58C5B9-8180-4569-89EE-553B13C5D84A}"/>
              </a:ext>
            </a:extLst>
          </p:cNvPr>
          <p:cNvGraphicFramePr/>
          <p:nvPr>
            <p:custDataLst>
              <p:tags r:id="rId26"/>
            </p:custDataLst>
          </p:nvPr>
        </p:nvGraphicFramePr>
        <p:xfrm>
          <a:off x="4545013" y="3235325"/>
          <a:ext cx="3260725" cy="2451100"/>
        </p:xfrm>
        <a:graphic>
          <a:graphicData uri="http://schemas.openxmlformats.org/drawingml/2006/chart">
            <c:chart xmlns:c="http://schemas.openxmlformats.org/drawingml/2006/chart" xmlns:r="http://schemas.openxmlformats.org/officeDocument/2006/relationships" r:id="rId81"/>
          </a:graphicData>
        </a:graphic>
      </p:graphicFrame>
      <p:cxnSp>
        <p:nvCxnSpPr>
          <p:cNvPr id="562" name="Straight Connector 561">
            <a:extLst>
              <a:ext uri="{FF2B5EF4-FFF2-40B4-BE49-F238E27FC236}">
                <a16:creationId xmlns:a16="http://schemas.microsoft.com/office/drawing/2014/main" id="{EB8EFCD9-A839-404E-A2AC-05119A6706B1}"/>
              </a:ext>
            </a:extLst>
          </p:cNvPr>
          <p:cNvCxnSpPr/>
          <p:nvPr>
            <p:custDataLst>
              <p:tags r:id="rId27"/>
            </p:custDataLst>
          </p:nvPr>
        </p:nvCxnSpPr>
        <p:spPr bwMode="grayWhite">
          <a:xfrm flipV="1">
            <a:off x="5205413" y="3160713"/>
            <a:ext cx="0" cy="287338"/>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4" name="Straight Connector 563">
            <a:extLst>
              <a:ext uri="{FF2B5EF4-FFF2-40B4-BE49-F238E27FC236}">
                <a16:creationId xmlns:a16="http://schemas.microsoft.com/office/drawing/2014/main" id="{CC38093B-D31D-48B0-A5E2-EDF543B9DE78}"/>
              </a:ext>
            </a:extLst>
          </p:cNvPr>
          <p:cNvCxnSpPr/>
          <p:nvPr>
            <p:custDataLst>
              <p:tags r:id="rId28"/>
            </p:custDataLst>
          </p:nvPr>
        </p:nvCxnSpPr>
        <p:spPr bwMode="grayWhite">
          <a:xfrm>
            <a:off x="6286500" y="3160713"/>
            <a:ext cx="0" cy="152400"/>
          </a:xfrm>
          <a:prstGeom prst="line">
            <a:avLst/>
          </a:prstGeom>
          <a:ln w="6350" cap="flat" cmpd="sng" algn="ctr">
            <a:solidFill>
              <a:srgbClr val="FFFFFF"/>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73" name="Straight Connector 872">
            <a:extLst>
              <a:ext uri="{FF2B5EF4-FFF2-40B4-BE49-F238E27FC236}">
                <a16:creationId xmlns:a16="http://schemas.microsoft.com/office/drawing/2014/main" id="{04314CDC-8BBC-4FDB-A6E5-BCE1831CFBE5}"/>
              </a:ext>
            </a:extLst>
          </p:cNvPr>
          <p:cNvCxnSpPr/>
          <p:nvPr>
            <p:custDataLst>
              <p:tags r:id="rId29"/>
            </p:custDataLst>
          </p:nvPr>
        </p:nvCxnSpPr>
        <p:spPr bwMode="grayWhite">
          <a:xfrm>
            <a:off x="5205413" y="3160713"/>
            <a:ext cx="290513" cy="0"/>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4" name="Straight Connector 873">
            <a:extLst>
              <a:ext uri="{FF2B5EF4-FFF2-40B4-BE49-F238E27FC236}">
                <a16:creationId xmlns:a16="http://schemas.microsoft.com/office/drawing/2014/main" id="{07A40DA0-E5D7-410F-B696-05229FDA07BB}"/>
              </a:ext>
            </a:extLst>
          </p:cNvPr>
          <p:cNvCxnSpPr/>
          <p:nvPr>
            <p:custDataLst>
              <p:tags r:id="rId30"/>
            </p:custDataLst>
          </p:nvPr>
        </p:nvCxnSpPr>
        <p:spPr bwMode="grayWhite">
          <a:xfrm>
            <a:off x="5994400" y="3160713"/>
            <a:ext cx="292100" cy="0"/>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8" name="Straight Connector 1027">
            <a:extLst>
              <a:ext uri="{FF2B5EF4-FFF2-40B4-BE49-F238E27FC236}">
                <a16:creationId xmlns:a16="http://schemas.microsoft.com/office/drawing/2014/main" id="{7234055C-FFD2-4167-B172-E8AA57720ACA}"/>
              </a:ext>
            </a:extLst>
          </p:cNvPr>
          <p:cNvCxnSpPr/>
          <p:nvPr>
            <p:custDataLst>
              <p:tags r:id="rId31"/>
            </p:custDataLst>
          </p:nvPr>
        </p:nvCxnSpPr>
        <p:spPr bwMode="grayWhite">
          <a:xfrm>
            <a:off x="6846888" y="3052763"/>
            <a:ext cx="0" cy="288925"/>
          </a:xfrm>
          <a:prstGeom prst="line">
            <a:avLst/>
          </a:prstGeom>
          <a:ln w="6350" cap="flat" cmpd="sng" algn="ctr">
            <a:solidFill>
              <a:srgbClr val="FFFFFF"/>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37" name="Straight Connector 1236">
            <a:extLst>
              <a:ext uri="{FF2B5EF4-FFF2-40B4-BE49-F238E27FC236}">
                <a16:creationId xmlns:a16="http://schemas.microsoft.com/office/drawing/2014/main" id="{C0F90805-E8C6-446E-9279-30157C6A2862}"/>
              </a:ext>
            </a:extLst>
          </p:cNvPr>
          <p:cNvCxnSpPr/>
          <p:nvPr>
            <p:custDataLst>
              <p:tags r:id="rId32"/>
            </p:custDataLst>
          </p:nvPr>
        </p:nvCxnSpPr>
        <p:spPr bwMode="grayWhite">
          <a:xfrm>
            <a:off x="6831013" y="3052763"/>
            <a:ext cx="15875" cy="0"/>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6" name="Straight Connector 1015">
            <a:extLst>
              <a:ext uri="{FF2B5EF4-FFF2-40B4-BE49-F238E27FC236}">
                <a16:creationId xmlns:a16="http://schemas.microsoft.com/office/drawing/2014/main" id="{A1E97063-A5B2-4FBB-A976-48F438CAA601}"/>
              </a:ext>
            </a:extLst>
          </p:cNvPr>
          <p:cNvCxnSpPr>
            <a:cxnSpLocks/>
          </p:cNvCxnSpPr>
          <p:nvPr>
            <p:custDataLst>
              <p:tags r:id="rId33"/>
            </p:custDataLst>
          </p:nvPr>
        </p:nvCxnSpPr>
        <p:spPr bwMode="grayWhite">
          <a:xfrm flipV="1">
            <a:off x="6362700" y="3052763"/>
            <a:ext cx="0" cy="260350"/>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6" name="Straight Connector 1235">
            <a:extLst>
              <a:ext uri="{FF2B5EF4-FFF2-40B4-BE49-F238E27FC236}">
                <a16:creationId xmlns:a16="http://schemas.microsoft.com/office/drawing/2014/main" id="{7CAAE2F3-A584-41F5-9987-CF2EBF53E359}"/>
              </a:ext>
            </a:extLst>
          </p:cNvPr>
          <p:cNvCxnSpPr/>
          <p:nvPr>
            <p:custDataLst>
              <p:tags r:id="rId34"/>
            </p:custDataLst>
          </p:nvPr>
        </p:nvCxnSpPr>
        <p:spPr bwMode="grayWhite">
          <a:xfrm>
            <a:off x="6362700" y="3052763"/>
            <a:ext cx="15875" cy="0"/>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4" name="Straight Connector 1033">
            <a:extLst>
              <a:ext uri="{FF2B5EF4-FFF2-40B4-BE49-F238E27FC236}">
                <a16:creationId xmlns:a16="http://schemas.microsoft.com/office/drawing/2014/main" id="{C0223738-A73E-4905-B215-BB7F34AB709A}"/>
              </a:ext>
            </a:extLst>
          </p:cNvPr>
          <p:cNvCxnSpPr/>
          <p:nvPr>
            <p:custDataLst>
              <p:tags r:id="rId35"/>
            </p:custDataLst>
          </p:nvPr>
        </p:nvCxnSpPr>
        <p:spPr bwMode="grayWhite">
          <a:xfrm>
            <a:off x="7442200" y="2760663"/>
            <a:ext cx="0" cy="576263"/>
          </a:xfrm>
          <a:prstGeom prst="line">
            <a:avLst/>
          </a:prstGeom>
          <a:ln w="6350" cap="flat" cmpd="sng" algn="ctr">
            <a:solidFill>
              <a:srgbClr val="FFFFFF"/>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32" name="Straight Connector 1031">
            <a:extLst>
              <a:ext uri="{FF2B5EF4-FFF2-40B4-BE49-F238E27FC236}">
                <a16:creationId xmlns:a16="http://schemas.microsoft.com/office/drawing/2014/main" id="{A79015C6-14A0-48B3-AB7E-8DECF80671EC}"/>
              </a:ext>
            </a:extLst>
          </p:cNvPr>
          <p:cNvCxnSpPr/>
          <p:nvPr>
            <p:custDataLst>
              <p:tags r:id="rId36"/>
            </p:custDataLst>
          </p:nvPr>
        </p:nvCxnSpPr>
        <p:spPr bwMode="grayWhite">
          <a:xfrm flipV="1">
            <a:off x="6921500" y="2760663"/>
            <a:ext cx="0" cy="581025"/>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8" name="Straight Connector 1237">
            <a:extLst>
              <a:ext uri="{FF2B5EF4-FFF2-40B4-BE49-F238E27FC236}">
                <a16:creationId xmlns:a16="http://schemas.microsoft.com/office/drawing/2014/main" id="{40E11DB0-19AF-4D90-AC1A-FEAC3A60DE9F}"/>
              </a:ext>
            </a:extLst>
          </p:cNvPr>
          <p:cNvCxnSpPr/>
          <p:nvPr>
            <p:custDataLst>
              <p:tags r:id="rId37"/>
            </p:custDataLst>
          </p:nvPr>
        </p:nvCxnSpPr>
        <p:spPr bwMode="grayWhite">
          <a:xfrm>
            <a:off x="6921500" y="2760663"/>
            <a:ext cx="11113" cy="0"/>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9" name="Straight Connector 1238">
            <a:extLst>
              <a:ext uri="{FF2B5EF4-FFF2-40B4-BE49-F238E27FC236}">
                <a16:creationId xmlns:a16="http://schemas.microsoft.com/office/drawing/2014/main" id="{A63B0F4A-6343-4E24-864A-47E3756F6534}"/>
              </a:ext>
            </a:extLst>
          </p:cNvPr>
          <p:cNvCxnSpPr/>
          <p:nvPr>
            <p:custDataLst>
              <p:tags r:id="rId38"/>
            </p:custDataLst>
          </p:nvPr>
        </p:nvCxnSpPr>
        <p:spPr bwMode="grayWhite">
          <a:xfrm>
            <a:off x="7431088" y="2760663"/>
            <a:ext cx="11113" cy="0"/>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3" name="Text Placeholder 18">
            <a:extLst>
              <a:ext uri="{FF2B5EF4-FFF2-40B4-BE49-F238E27FC236}">
                <a16:creationId xmlns:a16="http://schemas.microsoft.com/office/drawing/2014/main" id="{877034E1-A9F3-4FFD-9BB3-247C995CEE6A}"/>
              </a:ext>
            </a:extLst>
          </p:cNvPr>
          <p:cNvSpPr>
            <a:spLocks noGrp="1"/>
          </p:cNvSpPr>
          <p:nvPr>
            <p:custDataLst>
              <p:tags r:id="rId39"/>
            </p:custDataLst>
          </p:nvPr>
        </p:nvSpPr>
        <p:spPr bwMode="auto">
          <a:xfrm>
            <a:off x="7273925" y="5673725"/>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C1395B3D-3753-418A-94FC-E2351EEC15F9}" type="datetime'''''2''0''''''''2''''''''''1'''''''''''''''''''">
              <a:rPr lang="de-DE" altLang="en-US" sz="1000" smtClean="0">
                <a:solidFill>
                  <a:srgbClr val="FFFFFF"/>
                </a:solidFill>
              </a:rPr>
              <a:pPr/>
              <a:t>2021</a:t>
            </a:fld>
            <a:endParaRPr lang="de-DE" sz="1000" noProof="0" dirty="0">
              <a:solidFill>
                <a:srgbClr val="FFFFFF"/>
              </a:solidFill>
            </a:endParaRPr>
          </a:p>
        </p:txBody>
      </p:sp>
      <p:sp>
        <p:nvSpPr>
          <p:cNvPr id="898" name="Text Placeholder 18">
            <a:extLst>
              <a:ext uri="{FF2B5EF4-FFF2-40B4-BE49-F238E27FC236}">
                <a16:creationId xmlns:a16="http://schemas.microsoft.com/office/drawing/2014/main" id="{5E9D7E9C-988F-42C5-8A4B-81155D83BD09}"/>
              </a:ext>
            </a:extLst>
          </p:cNvPr>
          <p:cNvSpPr>
            <a:spLocks noGrp="1"/>
          </p:cNvSpPr>
          <p:nvPr>
            <p:custDataLst>
              <p:tags r:id="rId40"/>
            </p:custDataLst>
          </p:nvPr>
        </p:nvSpPr>
        <p:spPr bwMode="auto">
          <a:xfrm>
            <a:off x="4383088" y="4014788"/>
            <a:ext cx="152400" cy="892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r>
              <a:rPr lang="de-DE" altLang="en-US" sz="1000" dirty="0">
                <a:solidFill>
                  <a:srgbClr val="FFFFFF"/>
                </a:solidFill>
              </a:rPr>
              <a:t># </a:t>
            </a:r>
            <a:r>
              <a:rPr lang="de-DE" altLang="en-US" sz="1000" dirty="0">
                <a:solidFill>
                  <a:srgbClr val="FFFFFF"/>
                </a:solidFill>
                <a:effectLst/>
              </a:rPr>
              <a:t>Clubs (in k)</a:t>
            </a:r>
            <a:endParaRPr lang="de-DE" sz="1000" noProof="0" dirty="0">
              <a:solidFill>
                <a:srgbClr val="FFFFFF"/>
              </a:solidFill>
            </a:endParaRPr>
          </a:p>
        </p:txBody>
      </p:sp>
      <p:sp>
        <p:nvSpPr>
          <p:cNvPr id="156" name="Text Placeholder 18">
            <a:extLst>
              <a:ext uri="{FF2B5EF4-FFF2-40B4-BE49-F238E27FC236}">
                <a16:creationId xmlns:a16="http://schemas.microsoft.com/office/drawing/2014/main" id="{EA565F19-AB7C-4C46-AA9B-634547E86605}"/>
              </a:ext>
            </a:extLst>
          </p:cNvPr>
          <p:cNvSpPr>
            <a:spLocks noGrp="1"/>
          </p:cNvSpPr>
          <p:nvPr>
            <p:custDataLst>
              <p:tags r:id="rId41"/>
            </p:custDataLst>
          </p:nvPr>
        </p:nvSpPr>
        <p:spPr bwMode="auto">
          <a:xfrm>
            <a:off x="5037138" y="5673725"/>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6FF30551-3DF4-4292-B9BF-00BAF3ACB04B}" type="datetime'''201''''''''7'''">
              <a:rPr lang="de-DE" altLang="en-US" sz="1000" smtClean="0">
                <a:solidFill>
                  <a:srgbClr val="FFFFFF"/>
                </a:solidFill>
              </a:rPr>
              <a:pPr/>
              <a:t>2017</a:t>
            </a:fld>
            <a:endParaRPr lang="de-DE" sz="1000" noProof="0" dirty="0">
              <a:solidFill>
                <a:srgbClr val="FFFFFF"/>
              </a:solidFill>
            </a:endParaRPr>
          </a:p>
        </p:txBody>
      </p:sp>
      <p:sp>
        <p:nvSpPr>
          <p:cNvPr id="157" name="Text Placeholder 18">
            <a:extLst>
              <a:ext uri="{FF2B5EF4-FFF2-40B4-BE49-F238E27FC236}">
                <a16:creationId xmlns:a16="http://schemas.microsoft.com/office/drawing/2014/main" id="{AF72D543-2852-4A7E-B0B0-FC5FC0516312}"/>
              </a:ext>
            </a:extLst>
          </p:cNvPr>
          <p:cNvSpPr>
            <a:spLocks noGrp="1"/>
          </p:cNvSpPr>
          <p:nvPr>
            <p:custDataLst>
              <p:tags r:id="rId42"/>
            </p:custDataLst>
          </p:nvPr>
        </p:nvSpPr>
        <p:spPr bwMode="auto">
          <a:xfrm>
            <a:off x="5595938" y="5673725"/>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12FCC553-43D2-45BD-A8CF-2435C0896DA9}" type="datetime'''''''''''''''''''''''''''2''0''''''''1''8'''">
              <a:rPr lang="de-DE" altLang="en-US" sz="1000" smtClean="0">
                <a:solidFill>
                  <a:srgbClr val="FFFFFF"/>
                </a:solidFill>
              </a:rPr>
              <a:pPr/>
              <a:t>2018</a:t>
            </a:fld>
            <a:endParaRPr lang="de-DE" sz="1000" noProof="0" dirty="0">
              <a:solidFill>
                <a:srgbClr val="FFFFFF"/>
              </a:solidFill>
            </a:endParaRPr>
          </a:p>
        </p:txBody>
      </p:sp>
      <p:sp>
        <p:nvSpPr>
          <p:cNvPr id="1267" name="Text Placeholder 18">
            <a:extLst>
              <a:ext uri="{FF2B5EF4-FFF2-40B4-BE49-F238E27FC236}">
                <a16:creationId xmlns:a16="http://schemas.microsoft.com/office/drawing/2014/main" id="{259EE27B-4CBD-4A24-9351-3F80814851F6}"/>
              </a:ext>
            </a:extLst>
          </p:cNvPr>
          <p:cNvSpPr>
            <a:spLocks noGrp="1"/>
          </p:cNvSpPr>
          <p:nvPr>
            <p:custDataLst>
              <p:tags r:id="rId43"/>
            </p:custDataLst>
          </p:nvPr>
        </p:nvSpPr>
        <p:spPr bwMode="gray">
          <a:xfrm>
            <a:off x="5040313" y="3486150"/>
            <a:ext cx="3302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FB274D1A-27C5-4A2A-9569-91E19874329C}" type="datetime'''''''''''''''''''''''5''''''''''''''9.8'''''''''''''''">
              <a:rPr lang="de-DE" altLang="en-US" sz="1000" smtClean="0">
                <a:effectLst/>
              </a:rPr>
              <a:pPr algn="ctr">
                <a:spcBef>
                  <a:spcPct val="0"/>
                </a:spcBef>
                <a:spcAft>
                  <a:spcPct val="0"/>
                </a:spcAft>
              </a:pPr>
              <a:t>59.8</a:t>
            </a:fld>
            <a:endParaRPr lang="de-DE" sz="1000" noProof="0" dirty="0"/>
          </a:p>
        </p:txBody>
      </p:sp>
      <p:sp>
        <p:nvSpPr>
          <p:cNvPr id="158" name="Text Placeholder 18">
            <a:extLst>
              <a:ext uri="{FF2B5EF4-FFF2-40B4-BE49-F238E27FC236}">
                <a16:creationId xmlns:a16="http://schemas.microsoft.com/office/drawing/2014/main" id="{B565D583-90D6-43FE-8263-4D63E3E97A18}"/>
              </a:ext>
            </a:extLst>
          </p:cNvPr>
          <p:cNvSpPr>
            <a:spLocks noGrp="1"/>
          </p:cNvSpPr>
          <p:nvPr>
            <p:custDataLst>
              <p:tags r:id="rId44"/>
            </p:custDataLst>
          </p:nvPr>
        </p:nvSpPr>
        <p:spPr bwMode="auto">
          <a:xfrm>
            <a:off x="6156325" y="5673725"/>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541C7A44-9270-49C1-9C66-D150D1278A22}" type="datetime'''''''''2''''''''''''''''''''''''''''01''9'''">
              <a:rPr lang="de-DE" altLang="en-US" sz="1000" smtClean="0">
                <a:solidFill>
                  <a:srgbClr val="FFFFFF"/>
                </a:solidFill>
              </a:rPr>
              <a:pPr/>
              <a:t>2019</a:t>
            </a:fld>
            <a:endParaRPr lang="de-DE" sz="1000" noProof="0" dirty="0">
              <a:solidFill>
                <a:srgbClr val="FFFFFF"/>
              </a:solidFill>
            </a:endParaRPr>
          </a:p>
        </p:txBody>
      </p:sp>
      <p:sp>
        <p:nvSpPr>
          <p:cNvPr id="162" name="Text Placeholder 18">
            <a:extLst>
              <a:ext uri="{FF2B5EF4-FFF2-40B4-BE49-F238E27FC236}">
                <a16:creationId xmlns:a16="http://schemas.microsoft.com/office/drawing/2014/main" id="{C70DD2D1-3B4E-4C61-B592-01259379F933}"/>
              </a:ext>
            </a:extLst>
          </p:cNvPr>
          <p:cNvSpPr>
            <a:spLocks noGrp="1"/>
          </p:cNvSpPr>
          <p:nvPr>
            <p:custDataLst>
              <p:tags r:id="rId45"/>
            </p:custDataLst>
          </p:nvPr>
        </p:nvSpPr>
        <p:spPr bwMode="auto">
          <a:xfrm>
            <a:off x="6715125" y="5673725"/>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6AF6E9A3-0E4B-4C23-A4EE-86180CD0D376}" type="datetime'''''''2''''''''''''''''''''0''''''''2''''''''''''''0'">
              <a:rPr lang="de-DE" altLang="en-US" sz="1000" smtClean="0">
                <a:solidFill>
                  <a:srgbClr val="FFFFFF"/>
                </a:solidFill>
              </a:rPr>
              <a:pPr/>
              <a:t>2020</a:t>
            </a:fld>
            <a:endParaRPr lang="de-DE" sz="1000" noProof="0" dirty="0">
              <a:solidFill>
                <a:srgbClr val="FFFFFF"/>
              </a:solidFill>
            </a:endParaRPr>
          </a:p>
        </p:txBody>
      </p:sp>
      <p:sp>
        <p:nvSpPr>
          <p:cNvPr id="1269" name="Text Placeholder 18">
            <a:extLst>
              <a:ext uri="{FF2B5EF4-FFF2-40B4-BE49-F238E27FC236}">
                <a16:creationId xmlns:a16="http://schemas.microsoft.com/office/drawing/2014/main" id="{308E4763-69E1-4478-90DD-C9843709761F}"/>
              </a:ext>
            </a:extLst>
          </p:cNvPr>
          <p:cNvSpPr>
            <a:spLocks noGrp="1"/>
          </p:cNvSpPr>
          <p:nvPr>
            <p:custDataLst>
              <p:tags r:id="rId46"/>
            </p:custDataLst>
          </p:nvPr>
        </p:nvSpPr>
        <p:spPr bwMode="gray">
          <a:xfrm>
            <a:off x="6159500" y="3351213"/>
            <a:ext cx="3302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E5878505-AB98-4710-9A71-21AA4FA61019}" type="datetime'''''6''''''''''''''''''''''''3''.''''''''''''9'''''''''''">
              <a:rPr lang="de-DE" altLang="en-US" sz="1000" smtClean="0">
                <a:effectLst/>
              </a:rPr>
              <a:pPr algn="ctr">
                <a:spcBef>
                  <a:spcPct val="0"/>
                </a:spcBef>
                <a:spcAft>
                  <a:spcPct val="0"/>
                </a:spcAft>
              </a:pPr>
              <a:t>63.9</a:t>
            </a:fld>
            <a:endParaRPr lang="de-DE" sz="1000" noProof="0" dirty="0"/>
          </a:p>
        </p:txBody>
      </p:sp>
      <p:sp>
        <p:nvSpPr>
          <p:cNvPr id="1271" name="Text Placeholder 18">
            <a:extLst>
              <a:ext uri="{FF2B5EF4-FFF2-40B4-BE49-F238E27FC236}">
                <a16:creationId xmlns:a16="http://schemas.microsoft.com/office/drawing/2014/main" id="{22B3A425-60A9-4953-BCAA-800A51A90669}"/>
              </a:ext>
            </a:extLst>
          </p:cNvPr>
          <p:cNvSpPr>
            <a:spLocks noGrp="1"/>
          </p:cNvSpPr>
          <p:nvPr>
            <p:custDataLst>
              <p:tags r:id="rId47"/>
            </p:custDataLst>
          </p:nvPr>
        </p:nvSpPr>
        <p:spPr bwMode="gray">
          <a:xfrm>
            <a:off x="7262813" y="3375025"/>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53922073-AFFE-46A2-A03B-BCFD6199DE22}" type="datetime'''''''''''''''6''''''''''''3''''''''.''''''''''''''''2'''''''">
              <a:rPr lang="de-DE" altLang="en-US" sz="1000" b="1" smtClean="0">
                <a:solidFill>
                  <a:srgbClr val="FFFFFF"/>
                </a:solidFill>
                <a:effectLst/>
              </a:rPr>
              <a:pPr algn="ctr">
                <a:spcBef>
                  <a:spcPct val="0"/>
                </a:spcBef>
                <a:spcAft>
                  <a:spcPct val="0"/>
                </a:spcAft>
              </a:pPr>
              <a:t>63.2</a:t>
            </a:fld>
            <a:endParaRPr lang="de-DE" sz="1000" b="1" noProof="0" dirty="0">
              <a:solidFill>
                <a:srgbClr val="FFFFFF"/>
              </a:solidFill>
            </a:endParaRPr>
          </a:p>
        </p:txBody>
      </p:sp>
      <p:sp>
        <p:nvSpPr>
          <p:cNvPr id="1270" name="Text Placeholder 18">
            <a:extLst>
              <a:ext uri="{FF2B5EF4-FFF2-40B4-BE49-F238E27FC236}">
                <a16:creationId xmlns:a16="http://schemas.microsoft.com/office/drawing/2014/main" id="{84FD0D25-1724-4260-BBBC-139775F025C0}"/>
              </a:ext>
            </a:extLst>
          </p:cNvPr>
          <p:cNvSpPr>
            <a:spLocks noGrp="1"/>
          </p:cNvSpPr>
          <p:nvPr>
            <p:custDataLst>
              <p:tags r:id="rId48"/>
            </p:custDataLst>
          </p:nvPr>
        </p:nvSpPr>
        <p:spPr bwMode="gray">
          <a:xfrm>
            <a:off x="6704013" y="3379788"/>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C2F4E4E6-30A9-47D3-B762-C77F92FCE462}" type="datetime'''''''''''''''63''''''''.''''''''''''''''''1'''''">
              <a:rPr lang="de-DE" altLang="en-US" sz="1000" b="1" smtClean="0">
                <a:solidFill>
                  <a:srgbClr val="000000"/>
                </a:solidFill>
                <a:effectLst/>
              </a:rPr>
              <a:pPr algn="ctr">
                <a:spcBef>
                  <a:spcPct val="0"/>
                </a:spcBef>
                <a:spcAft>
                  <a:spcPct val="0"/>
                </a:spcAft>
              </a:pPr>
              <a:t>63.1</a:t>
            </a:fld>
            <a:endParaRPr lang="de-DE" sz="1000" b="1" noProof="0" dirty="0">
              <a:solidFill>
                <a:srgbClr val="000000"/>
              </a:solidFill>
            </a:endParaRPr>
          </a:p>
        </p:txBody>
      </p:sp>
      <p:sp>
        <p:nvSpPr>
          <p:cNvPr id="1268" name="Text Placeholder 18">
            <a:extLst>
              <a:ext uri="{FF2B5EF4-FFF2-40B4-BE49-F238E27FC236}">
                <a16:creationId xmlns:a16="http://schemas.microsoft.com/office/drawing/2014/main" id="{52BD506F-6A4A-46E8-B85E-925F1F2A83D0}"/>
              </a:ext>
            </a:extLst>
          </p:cNvPr>
          <p:cNvSpPr>
            <a:spLocks noGrp="1"/>
          </p:cNvSpPr>
          <p:nvPr>
            <p:custDataLst>
              <p:tags r:id="rId49"/>
            </p:custDataLst>
          </p:nvPr>
        </p:nvSpPr>
        <p:spPr bwMode="gray">
          <a:xfrm>
            <a:off x="5599113" y="3397250"/>
            <a:ext cx="3302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E5DB197E-DD7E-4052-81F2-CD0596E96ED9}" type="datetime'''''''''''''6''''''''''2.''''''''''''''5'''''''''''''''''''''">
              <a:rPr lang="de-DE" altLang="en-US" sz="1000" smtClean="0">
                <a:effectLst/>
              </a:rPr>
              <a:pPr algn="ctr">
                <a:spcBef>
                  <a:spcPct val="0"/>
                </a:spcBef>
                <a:spcAft>
                  <a:spcPct val="0"/>
                </a:spcAft>
              </a:pPr>
              <a:t>62.5</a:t>
            </a:fld>
            <a:endParaRPr lang="de-DE" sz="1000" noProof="0" dirty="0"/>
          </a:p>
        </p:txBody>
      </p:sp>
      <p:sp>
        <p:nvSpPr>
          <p:cNvPr id="561" name="Text Placeholder 18">
            <a:extLst>
              <a:ext uri="{FF2B5EF4-FFF2-40B4-BE49-F238E27FC236}">
                <a16:creationId xmlns:a16="http://schemas.microsoft.com/office/drawing/2014/main" id="{51FB9819-E6BD-44D0-B8BD-3E9729FBAD88}"/>
              </a:ext>
            </a:extLst>
          </p:cNvPr>
          <p:cNvSpPr>
            <a:spLocks noGrp="1"/>
          </p:cNvSpPr>
          <p:nvPr>
            <p:custDataLst>
              <p:tags r:id="rId50"/>
            </p:custDataLst>
          </p:nvPr>
        </p:nvSpPr>
        <p:spPr bwMode="auto">
          <a:xfrm>
            <a:off x="5429250" y="3052763"/>
            <a:ext cx="633413"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r>
              <a:rPr lang="de-DE" altLang="en-US" sz="1000" dirty="0">
                <a:solidFill>
                  <a:srgbClr val="FFFFFF"/>
                </a:solidFill>
              </a:rPr>
              <a:t>+3.4%</a:t>
            </a:r>
            <a:endParaRPr lang="de-DE" sz="1000" noProof="0" dirty="0">
              <a:solidFill>
                <a:srgbClr val="FFFFFF"/>
              </a:solidFill>
            </a:endParaRPr>
          </a:p>
        </p:txBody>
      </p:sp>
      <p:sp>
        <p:nvSpPr>
          <p:cNvPr id="567" name="Text Placeholder 18">
            <a:extLst>
              <a:ext uri="{FF2B5EF4-FFF2-40B4-BE49-F238E27FC236}">
                <a16:creationId xmlns:a16="http://schemas.microsoft.com/office/drawing/2014/main" id="{4F99DA6A-7F2E-4B63-9424-AB90BC63E7F9}"/>
              </a:ext>
            </a:extLst>
          </p:cNvPr>
          <p:cNvSpPr>
            <a:spLocks noGrp="1"/>
          </p:cNvSpPr>
          <p:nvPr>
            <p:custDataLst>
              <p:tags r:id="rId51"/>
            </p:custDataLst>
          </p:nvPr>
        </p:nvSpPr>
        <p:spPr bwMode="auto">
          <a:xfrm>
            <a:off x="6319838" y="2944813"/>
            <a:ext cx="568325"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F0207579-F19A-4457-80B3-C663350C6423}" type="datetime'-''''''''''''1''.''''''4''''''''''''''''''''''''''%'''''''">
              <a:rPr lang="de-DE" altLang="en-US" sz="1000" smtClean="0">
                <a:solidFill>
                  <a:srgbClr val="FFFFFF"/>
                </a:solidFill>
              </a:rPr>
              <a:pPr/>
              <a:t>-1.4%</a:t>
            </a:fld>
            <a:endParaRPr lang="de-DE" sz="1000" noProof="0" dirty="0">
              <a:solidFill>
                <a:srgbClr val="FFFFFF"/>
              </a:solidFill>
            </a:endParaRPr>
          </a:p>
        </p:txBody>
      </p:sp>
      <p:sp>
        <p:nvSpPr>
          <p:cNvPr id="1031" name="Text Placeholder 18">
            <a:extLst>
              <a:ext uri="{FF2B5EF4-FFF2-40B4-BE49-F238E27FC236}">
                <a16:creationId xmlns:a16="http://schemas.microsoft.com/office/drawing/2014/main" id="{74257643-616F-4391-AE94-8D176AAE98DF}"/>
              </a:ext>
            </a:extLst>
          </p:cNvPr>
          <p:cNvSpPr>
            <a:spLocks noGrp="1"/>
          </p:cNvSpPr>
          <p:nvPr>
            <p:custDataLst>
              <p:tags r:id="rId52"/>
            </p:custDataLst>
          </p:nvPr>
        </p:nvSpPr>
        <p:spPr bwMode="auto">
          <a:xfrm>
            <a:off x="6865938" y="2652713"/>
            <a:ext cx="633413"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121C6A96-7814-4B90-8DA1-8BE0B49E6C3C}" type="datetime'''''''''''''''''+''0''''''''''''''.''2''''''%'''''''''">
              <a:rPr lang="de-DE" altLang="en-US" sz="1000" smtClean="0">
                <a:solidFill>
                  <a:srgbClr val="FFFFFF"/>
                </a:solidFill>
              </a:rPr>
              <a:pPr/>
              <a:t>+0.2%</a:t>
            </a:fld>
            <a:endParaRPr lang="de-DE" sz="1000" noProof="0" dirty="0">
              <a:solidFill>
                <a:srgbClr val="FFFFFF"/>
              </a:solidFill>
            </a:endParaRPr>
          </a:p>
        </p:txBody>
      </p:sp>
      <p:grpSp>
        <p:nvGrpSpPr>
          <p:cNvPr id="7" name="Gruppieren 6">
            <a:extLst>
              <a:ext uri="{FF2B5EF4-FFF2-40B4-BE49-F238E27FC236}">
                <a16:creationId xmlns:a16="http://schemas.microsoft.com/office/drawing/2014/main" id="{91ADB349-8778-42A6-81BE-E388BC49481D}"/>
              </a:ext>
            </a:extLst>
          </p:cNvPr>
          <p:cNvGrpSpPr/>
          <p:nvPr/>
        </p:nvGrpSpPr>
        <p:grpSpPr>
          <a:xfrm>
            <a:off x="481012" y="2085319"/>
            <a:ext cx="3003550" cy="514469"/>
            <a:chOff x="458878" y="2018644"/>
            <a:chExt cx="3002523" cy="514469"/>
          </a:xfrm>
        </p:grpSpPr>
        <p:grpSp>
          <p:nvGrpSpPr>
            <p:cNvPr id="1156" name="Group 1155">
              <a:extLst>
                <a:ext uri="{FF2B5EF4-FFF2-40B4-BE49-F238E27FC236}">
                  <a16:creationId xmlns:a16="http://schemas.microsoft.com/office/drawing/2014/main" id="{135766CD-28BD-4925-9E83-EDAF7DD6DCC9}"/>
                </a:ext>
              </a:extLst>
            </p:cNvPr>
            <p:cNvGrpSpPr/>
            <p:nvPr/>
          </p:nvGrpSpPr>
          <p:grpSpPr>
            <a:xfrm>
              <a:off x="458878" y="2018644"/>
              <a:ext cx="514468" cy="514469"/>
              <a:chOff x="505841" y="2058273"/>
              <a:chExt cx="629899" cy="629900"/>
            </a:xfrm>
          </p:grpSpPr>
          <p:grpSp>
            <p:nvGrpSpPr>
              <p:cNvPr id="1145" name="Group 1144">
                <a:extLst>
                  <a:ext uri="{FF2B5EF4-FFF2-40B4-BE49-F238E27FC236}">
                    <a16:creationId xmlns:a16="http://schemas.microsoft.com/office/drawing/2014/main" id="{32507FC6-3223-43C9-A725-CF76CE97D939}"/>
                  </a:ext>
                </a:extLst>
              </p:cNvPr>
              <p:cNvGrpSpPr/>
              <p:nvPr/>
            </p:nvGrpSpPr>
            <p:grpSpPr>
              <a:xfrm>
                <a:off x="505841" y="2058273"/>
                <a:ext cx="629899" cy="629900"/>
                <a:chOff x="1170495" y="2072217"/>
                <a:chExt cx="629899" cy="629900"/>
              </a:xfrm>
            </p:grpSpPr>
            <p:sp>
              <p:nvSpPr>
                <p:cNvPr id="1140" name="Oval 1139">
                  <a:extLst>
                    <a:ext uri="{FF2B5EF4-FFF2-40B4-BE49-F238E27FC236}">
                      <a16:creationId xmlns:a16="http://schemas.microsoft.com/office/drawing/2014/main" id="{CF9D4AD1-4B72-487D-85EA-39AA25D3A6E5}"/>
                    </a:ext>
                  </a:extLst>
                </p:cNvPr>
                <p:cNvSpPr/>
                <p:nvPr/>
              </p:nvSpPr>
              <p:spPr bwMode="gray">
                <a:xfrm>
                  <a:off x="1170495" y="2072217"/>
                  <a:ext cx="629899" cy="629900"/>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141" name="Oval 1140">
                  <a:extLst>
                    <a:ext uri="{FF2B5EF4-FFF2-40B4-BE49-F238E27FC236}">
                      <a16:creationId xmlns:a16="http://schemas.microsoft.com/office/drawing/2014/main" id="{B2515D47-EF80-4010-8AD4-D448EAA13CBE}"/>
                    </a:ext>
                  </a:extLst>
                </p:cNvPr>
                <p:cNvSpPr>
                  <a:spLocks/>
                </p:cNvSpPr>
                <p:nvPr/>
              </p:nvSpPr>
              <p:spPr bwMode="gray">
                <a:xfrm>
                  <a:off x="1213301" y="2115023"/>
                  <a:ext cx="544286" cy="544288"/>
                </a:xfrm>
                <a:prstGeom prst="ellips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grpSp>
          <p:grpSp>
            <p:nvGrpSpPr>
              <p:cNvPr id="1144" name="Group 1143">
                <a:extLst>
                  <a:ext uri="{FF2B5EF4-FFF2-40B4-BE49-F238E27FC236}">
                    <a16:creationId xmlns:a16="http://schemas.microsoft.com/office/drawing/2014/main" id="{2B7ABA10-AC21-418B-89BC-7C49FC2E595C}"/>
                  </a:ext>
                </a:extLst>
              </p:cNvPr>
              <p:cNvGrpSpPr/>
              <p:nvPr/>
            </p:nvGrpSpPr>
            <p:grpSpPr>
              <a:xfrm>
                <a:off x="653168" y="2241253"/>
                <a:ext cx="335244" cy="263941"/>
                <a:chOff x="2127621" y="2288707"/>
                <a:chExt cx="248122" cy="195349"/>
              </a:xfrm>
            </p:grpSpPr>
            <p:sp>
              <p:nvSpPr>
                <p:cNvPr id="1059" name="Graphic 4">
                  <a:extLst>
                    <a:ext uri="{FF2B5EF4-FFF2-40B4-BE49-F238E27FC236}">
                      <a16:creationId xmlns:a16="http://schemas.microsoft.com/office/drawing/2014/main" id="{28C16EF6-C1F4-4EB6-BE2B-0B349CC74842}"/>
                    </a:ext>
                  </a:extLst>
                </p:cNvPr>
                <p:cNvSpPr/>
                <p:nvPr/>
              </p:nvSpPr>
              <p:spPr>
                <a:xfrm>
                  <a:off x="2189013" y="2374252"/>
                  <a:ext cx="125339" cy="109804"/>
                </a:xfrm>
                <a:custGeom>
                  <a:avLst/>
                  <a:gdLst>
                    <a:gd name="connsiteX0" fmla="*/ 62622 w 125242"/>
                    <a:gd name="connsiteY0" fmla="*/ 0 h 109804"/>
                    <a:gd name="connsiteX1" fmla="*/ 0 w 125242"/>
                    <a:gd name="connsiteY1" fmla="*/ 37027 h 109804"/>
                    <a:gd name="connsiteX2" fmla="*/ 0 w 125242"/>
                    <a:gd name="connsiteY2" fmla="*/ 103420 h 109804"/>
                    <a:gd name="connsiteX3" fmla="*/ 6390 w 125242"/>
                    <a:gd name="connsiteY3" fmla="*/ 109804 h 109804"/>
                    <a:gd name="connsiteX4" fmla="*/ 12780 w 125242"/>
                    <a:gd name="connsiteY4" fmla="*/ 103420 h 109804"/>
                    <a:gd name="connsiteX5" fmla="*/ 12780 w 125242"/>
                    <a:gd name="connsiteY5" fmla="*/ 37027 h 109804"/>
                    <a:gd name="connsiteX6" fmla="*/ 62622 w 125242"/>
                    <a:gd name="connsiteY6" fmla="*/ 12768 h 109804"/>
                    <a:gd name="connsiteX7" fmla="*/ 112463 w 125242"/>
                    <a:gd name="connsiteY7" fmla="*/ 37027 h 109804"/>
                    <a:gd name="connsiteX8" fmla="*/ 112463 w 125242"/>
                    <a:gd name="connsiteY8" fmla="*/ 103420 h 109804"/>
                    <a:gd name="connsiteX9" fmla="*/ 118853 w 125242"/>
                    <a:gd name="connsiteY9" fmla="*/ 109804 h 109804"/>
                    <a:gd name="connsiteX10" fmla="*/ 125243 w 125242"/>
                    <a:gd name="connsiteY10" fmla="*/ 103420 h 109804"/>
                    <a:gd name="connsiteX11" fmla="*/ 125243 w 125242"/>
                    <a:gd name="connsiteY11" fmla="*/ 37027 h 109804"/>
                    <a:gd name="connsiteX12" fmla="*/ 62622 w 125242"/>
                    <a:gd name="connsiteY12" fmla="*/ 0 h 109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242" h="109804">
                      <a:moveTo>
                        <a:pt x="62622" y="0"/>
                      </a:moveTo>
                      <a:cubicBezTo>
                        <a:pt x="40257" y="0"/>
                        <a:pt x="0" y="14045"/>
                        <a:pt x="0" y="37027"/>
                      </a:cubicBezTo>
                      <a:lnTo>
                        <a:pt x="0" y="103420"/>
                      </a:lnTo>
                      <a:cubicBezTo>
                        <a:pt x="0" y="107251"/>
                        <a:pt x="2556" y="109804"/>
                        <a:pt x="6390" y="109804"/>
                      </a:cubicBezTo>
                      <a:cubicBezTo>
                        <a:pt x="10224" y="109804"/>
                        <a:pt x="12780" y="107251"/>
                        <a:pt x="12780" y="103420"/>
                      </a:cubicBezTo>
                      <a:lnTo>
                        <a:pt x="12780" y="37027"/>
                      </a:lnTo>
                      <a:cubicBezTo>
                        <a:pt x="12780" y="24897"/>
                        <a:pt x="44091" y="12768"/>
                        <a:pt x="62622" y="12768"/>
                      </a:cubicBezTo>
                      <a:cubicBezTo>
                        <a:pt x="81153" y="12768"/>
                        <a:pt x="112463" y="24897"/>
                        <a:pt x="112463" y="37027"/>
                      </a:cubicBezTo>
                      <a:lnTo>
                        <a:pt x="112463" y="103420"/>
                      </a:lnTo>
                      <a:cubicBezTo>
                        <a:pt x="112463" y="107251"/>
                        <a:pt x="115019" y="109804"/>
                        <a:pt x="118853" y="109804"/>
                      </a:cubicBezTo>
                      <a:cubicBezTo>
                        <a:pt x="122687" y="109804"/>
                        <a:pt x="125243" y="107251"/>
                        <a:pt x="125243" y="103420"/>
                      </a:cubicBezTo>
                      <a:lnTo>
                        <a:pt x="125243" y="37027"/>
                      </a:lnTo>
                      <a:cubicBezTo>
                        <a:pt x="125243" y="14045"/>
                        <a:pt x="84986" y="0"/>
                        <a:pt x="62622" y="0"/>
                      </a:cubicBezTo>
                      <a:close/>
                    </a:path>
                  </a:pathLst>
                </a:custGeom>
                <a:solidFill>
                  <a:schemeClr val="bg1"/>
                </a:solidFill>
                <a:ln w="6390" cap="flat">
                  <a:noFill/>
                  <a:prstDash val="solid"/>
                  <a:miter/>
                </a:ln>
              </p:spPr>
              <p:txBody>
                <a:bodyPr rtlCol="0" anchor="ctr"/>
                <a:lstStyle/>
                <a:p>
                  <a:endParaRPr lang="en-US"/>
                </a:p>
              </p:txBody>
            </p:sp>
            <p:sp>
              <p:nvSpPr>
                <p:cNvPr id="1060" name="Graphic 4">
                  <a:extLst>
                    <a:ext uri="{FF2B5EF4-FFF2-40B4-BE49-F238E27FC236}">
                      <a16:creationId xmlns:a16="http://schemas.microsoft.com/office/drawing/2014/main" id="{4C23E974-9A53-46B7-B289-E97DC885A4C3}"/>
                    </a:ext>
                  </a:extLst>
                </p:cNvPr>
                <p:cNvSpPr/>
                <p:nvPr/>
              </p:nvSpPr>
              <p:spPr>
                <a:xfrm>
                  <a:off x="2306679" y="2384467"/>
                  <a:ext cx="69064" cy="94483"/>
                </a:xfrm>
                <a:custGeom>
                  <a:avLst/>
                  <a:gdLst>
                    <a:gd name="connsiteX0" fmla="*/ 11502 w 69011"/>
                    <a:gd name="connsiteY0" fmla="*/ 0 h 94483"/>
                    <a:gd name="connsiteX1" fmla="*/ 6390 w 69011"/>
                    <a:gd name="connsiteY1" fmla="*/ 0 h 94483"/>
                    <a:gd name="connsiteX2" fmla="*/ 0 w 69011"/>
                    <a:gd name="connsiteY2" fmla="*/ 6384 h 94483"/>
                    <a:gd name="connsiteX3" fmla="*/ 6390 w 69011"/>
                    <a:gd name="connsiteY3" fmla="*/ 12768 h 94483"/>
                    <a:gd name="connsiteX4" fmla="*/ 11502 w 69011"/>
                    <a:gd name="connsiteY4" fmla="*/ 12768 h 94483"/>
                    <a:gd name="connsiteX5" fmla="*/ 56232 w 69011"/>
                    <a:gd name="connsiteY5" fmla="*/ 37027 h 94483"/>
                    <a:gd name="connsiteX6" fmla="*/ 56232 w 69011"/>
                    <a:gd name="connsiteY6" fmla="*/ 88099 h 94483"/>
                    <a:gd name="connsiteX7" fmla="*/ 62622 w 69011"/>
                    <a:gd name="connsiteY7" fmla="*/ 94483 h 94483"/>
                    <a:gd name="connsiteX8" fmla="*/ 69012 w 69011"/>
                    <a:gd name="connsiteY8" fmla="*/ 88099 h 94483"/>
                    <a:gd name="connsiteX9" fmla="*/ 69012 w 69011"/>
                    <a:gd name="connsiteY9" fmla="*/ 37027 h 94483"/>
                    <a:gd name="connsiteX10" fmla="*/ 11502 w 69011"/>
                    <a:gd name="connsiteY10" fmla="*/ 0 h 94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011" h="94483">
                      <a:moveTo>
                        <a:pt x="11502" y="0"/>
                      </a:moveTo>
                      <a:lnTo>
                        <a:pt x="6390" y="0"/>
                      </a:lnTo>
                      <a:cubicBezTo>
                        <a:pt x="2556" y="0"/>
                        <a:pt x="0" y="2554"/>
                        <a:pt x="0" y="6384"/>
                      </a:cubicBezTo>
                      <a:cubicBezTo>
                        <a:pt x="0" y="10214"/>
                        <a:pt x="2556" y="12768"/>
                        <a:pt x="6390" y="12768"/>
                      </a:cubicBezTo>
                      <a:lnTo>
                        <a:pt x="11502" y="12768"/>
                      </a:lnTo>
                      <a:cubicBezTo>
                        <a:pt x="28755" y="12768"/>
                        <a:pt x="56232" y="26174"/>
                        <a:pt x="56232" y="37027"/>
                      </a:cubicBezTo>
                      <a:lnTo>
                        <a:pt x="56232" y="88099"/>
                      </a:lnTo>
                      <a:cubicBezTo>
                        <a:pt x="56232" y="91930"/>
                        <a:pt x="58787" y="94483"/>
                        <a:pt x="62622" y="94483"/>
                      </a:cubicBezTo>
                      <a:cubicBezTo>
                        <a:pt x="66456" y="94483"/>
                        <a:pt x="69012" y="91930"/>
                        <a:pt x="69012" y="88099"/>
                      </a:cubicBezTo>
                      <a:lnTo>
                        <a:pt x="69012" y="37027"/>
                      </a:lnTo>
                      <a:cubicBezTo>
                        <a:pt x="69012" y="15322"/>
                        <a:pt x="31950" y="0"/>
                        <a:pt x="11502" y="0"/>
                      </a:cubicBezTo>
                      <a:close/>
                    </a:path>
                  </a:pathLst>
                </a:custGeom>
                <a:solidFill>
                  <a:schemeClr val="bg1"/>
                </a:solidFill>
                <a:ln w="6390" cap="flat">
                  <a:noFill/>
                  <a:prstDash val="solid"/>
                  <a:miter/>
                </a:ln>
              </p:spPr>
              <p:txBody>
                <a:bodyPr rtlCol="0" anchor="ctr"/>
                <a:lstStyle/>
                <a:p>
                  <a:endParaRPr lang="en-US"/>
                </a:p>
              </p:txBody>
            </p:sp>
            <p:sp>
              <p:nvSpPr>
                <p:cNvPr id="1061" name="Graphic 4">
                  <a:extLst>
                    <a:ext uri="{FF2B5EF4-FFF2-40B4-BE49-F238E27FC236}">
                      <a16:creationId xmlns:a16="http://schemas.microsoft.com/office/drawing/2014/main" id="{AC4F11D8-811F-4E2D-AF5B-940F28C5A9AD}"/>
                    </a:ext>
                  </a:extLst>
                </p:cNvPr>
                <p:cNvSpPr/>
                <p:nvPr/>
              </p:nvSpPr>
              <p:spPr>
                <a:xfrm>
                  <a:off x="2127621" y="2384467"/>
                  <a:ext cx="69064" cy="94483"/>
                </a:xfrm>
                <a:custGeom>
                  <a:avLst/>
                  <a:gdLst>
                    <a:gd name="connsiteX0" fmla="*/ 69012 w 69011"/>
                    <a:gd name="connsiteY0" fmla="*/ 6384 h 94483"/>
                    <a:gd name="connsiteX1" fmla="*/ 62622 w 69011"/>
                    <a:gd name="connsiteY1" fmla="*/ 0 h 94483"/>
                    <a:gd name="connsiteX2" fmla="*/ 57509 w 69011"/>
                    <a:gd name="connsiteY2" fmla="*/ 0 h 94483"/>
                    <a:gd name="connsiteX3" fmla="*/ 0 w 69011"/>
                    <a:gd name="connsiteY3" fmla="*/ 37027 h 94483"/>
                    <a:gd name="connsiteX4" fmla="*/ 0 w 69011"/>
                    <a:gd name="connsiteY4" fmla="*/ 88099 h 94483"/>
                    <a:gd name="connsiteX5" fmla="*/ 6390 w 69011"/>
                    <a:gd name="connsiteY5" fmla="*/ 94483 h 94483"/>
                    <a:gd name="connsiteX6" fmla="*/ 12780 w 69011"/>
                    <a:gd name="connsiteY6" fmla="*/ 88099 h 94483"/>
                    <a:gd name="connsiteX7" fmla="*/ 12780 w 69011"/>
                    <a:gd name="connsiteY7" fmla="*/ 37027 h 94483"/>
                    <a:gd name="connsiteX8" fmla="*/ 57509 w 69011"/>
                    <a:gd name="connsiteY8" fmla="*/ 12768 h 94483"/>
                    <a:gd name="connsiteX9" fmla="*/ 62622 w 69011"/>
                    <a:gd name="connsiteY9" fmla="*/ 12768 h 94483"/>
                    <a:gd name="connsiteX10" fmla="*/ 69012 w 69011"/>
                    <a:gd name="connsiteY10" fmla="*/ 6384 h 94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011" h="94483">
                      <a:moveTo>
                        <a:pt x="69012" y="6384"/>
                      </a:moveTo>
                      <a:cubicBezTo>
                        <a:pt x="69012" y="2554"/>
                        <a:pt x="66456" y="0"/>
                        <a:pt x="62622" y="0"/>
                      </a:cubicBezTo>
                      <a:lnTo>
                        <a:pt x="57509" y="0"/>
                      </a:lnTo>
                      <a:cubicBezTo>
                        <a:pt x="37062" y="0"/>
                        <a:pt x="0" y="15322"/>
                        <a:pt x="0" y="37027"/>
                      </a:cubicBezTo>
                      <a:lnTo>
                        <a:pt x="0" y="88099"/>
                      </a:lnTo>
                      <a:cubicBezTo>
                        <a:pt x="0" y="91930"/>
                        <a:pt x="2556" y="94483"/>
                        <a:pt x="6390" y="94483"/>
                      </a:cubicBezTo>
                      <a:cubicBezTo>
                        <a:pt x="10224" y="94483"/>
                        <a:pt x="12780" y="91930"/>
                        <a:pt x="12780" y="88099"/>
                      </a:cubicBezTo>
                      <a:lnTo>
                        <a:pt x="12780" y="37027"/>
                      </a:lnTo>
                      <a:cubicBezTo>
                        <a:pt x="12780" y="26174"/>
                        <a:pt x="40257" y="12768"/>
                        <a:pt x="57509" y="12768"/>
                      </a:cubicBezTo>
                      <a:lnTo>
                        <a:pt x="62622" y="12768"/>
                      </a:lnTo>
                      <a:cubicBezTo>
                        <a:pt x="65817" y="12768"/>
                        <a:pt x="69012" y="10214"/>
                        <a:pt x="69012" y="6384"/>
                      </a:cubicBezTo>
                      <a:close/>
                    </a:path>
                  </a:pathLst>
                </a:custGeom>
                <a:solidFill>
                  <a:schemeClr val="bg1"/>
                </a:solidFill>
                <a:ln w="6390" cap="flat">
                  <a:noFill/>
                  <a:prstDash val="solid"/>
                  <a:miter/>
                </a:ln>
              </p:spPr>
              <p:txBody>
                <a:bodyPr rtlCol="0" anchor="ctr"/>
                <a:lstStyle/>
                <a:p>
                  <a:endParaRPr lang="en-US"/>
                </a:p>
              </p:txBody>
            </p:sp>
            <p:sp>
              <p:nvSpPr>
                <p:cNvPr id="1062" name="Graphic 4">
                  <a:extLst>
                    <a:ext uri="{FF2B5EF4-FFF2-40B4-BE49-F238E27FC236}">
                      <a16:creationId xmlns:a16="http://schemas.microsoft.com/office/drawing/2014/main" id="{AC7C2748-7625-4105-BC1B-ACB9686D152A}"/>
                    </a:ext>
                  </a:extLst>
                </p:cNvPr>
                <p:cNvSpPr/>
                <p:nvPr/>
              </p:nvSpPr>
              <p:spPr>
                <a:xfrm>
                  <a:off x="2212033" y="2288707"/>
                  <a:ext cx="79296" cy="79161"/>
                </a:xfrm>
                <a:custGeom>
                  <a:avLst/>
                  <a:gdLst>
                    <a:gd name="connsiteX0" fmla="*/ 39618 w 79235"/>
                    <a:gd name="connsiteY0" fmla="*/ 79162 h 79161"/>
                    <a:gd name="connsiteX1" fmla="*/ 79235 w 79235"/>
                    <a:gd name="connsiteY1" fmla="*/ 39581 h 79161"/>
                    <a:gd name="connsiteX2" fmla="*/ 39618 w 79235"/>
                    <a:gd name="connsiteY2" fmla="*/ 0 h 79161"/>
                    <a:gd name="connsiteX3" fmla="*/ 0 w 79235"/>
                    <a:gd name="connsiteY3" fmla="*/ 39581 h 79161"/>
                    <a:gd name="connsiteX4" fmla="*/ 39618 w 79235"/>
                    <a:gd name="connsiteY4" fmla="*/ 79162 h 79161"/>
                    <a:gd name="connsiteX5" fmla="*/ 39618 w 79235"/>
                    <a:gd name="connsiteY5" fmla="*/ 12130 h 79161"/>
                    <a:gd name="connsiteX6" fmla="*/ 66456 w 79235"/>
                    <a:gd name="connsiteY6" fmla="*/ 38942 h 79161"/>
                    <a:gd name="connsiteX7" fmla="*/ 39618 w 79235"/>
                    <a:gd name="connsiteY7" fmla="*/ 65755 h 79161"/>
                    <a:gd name="connsiteX8" fmla="*/ 12780 w 79235"/>
                    <a:gd name="connsiteY8" fmla="*/ 38942 h 79161"/>
                    <a:gd name="connsiteX9" fmla="*/ 39618 w 79235"/>
                    <a:gd name="connsiteY9" fmla="*/ 12130 h 7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235" h="79161">
                      <a:moveTo>
                        <a:pt x="39618" y="79162"/>
                      </a:moveTo>
                      <a:cubicBezTo>
                        <a:pt x="61344" y="79162"/>
                        <a:pt x="79235" y="61286"/>
                        <a:pt x="79235" y="39581"/>
                      </a:cubicBezTo>
                      <a:cubicBezTo>
                        <a:pt x="79235" y="17875"/>
                        <a:pt x="61344" y="0"/>
                        <a:pt x="39618" y="0"/>
                      </a:cubicBezTo>
                      <a:cubicBezTo>
                        <a:pt x="17892" y="0"/>
                        <a:pt x="0" y="17875"/>
                        <a:pt x="0" y="39581"/>
                      </a:cubicBezTo>
                      <a:cubicBezTo>
                        <a:pt x="0" y="61286"/>
                        <a:pt x="17892" y="79162"/>
                        <a:pt x="39618" y="79162"/>
                      </a:cubicBezTo>
                      <a:close/>
                      <a:moveTo>
                        <a:pt x="39618" y="12130"/>
                      </a:moveTo>
                      <a:cubicBezTo>
                        <a:pt x="54314" y="12130"/>
                        <a:pt x="66456" y="24259"/>
                        <a:pt x="66456" y="38942"/>
                      </a:cubicBezTo>
                      <a:cubicBezTo>
                        <a:pt x="66456" y="53626"/>
                        <a:pt x="54314" y="65755"/>
                        <a:pt x="39618" y="65755"/>
                      </a:cubicBezTo>
                      <a:cubicBezTo>
                        <a:pt x="24921" y="65755"/>
                        <a:pt x="12780" y="53626"/>
                        <a:pt x="12780" y="38942"/>
                      </a:cubicBezTo>
                      <a:cubicBezTo>
                        <a:pt x="12780" y="24259"/>
                        <a:pt x="24921" y="12130"/>
                        <a:pt x="39618" y="12130"/>
                      </a:cubicBezTo>
                      <a:close/>
                    </a:path>
                  </a:pathLst>
                </a:custGeom>
                <a:solidFill>
                  <a:schemeClr val="bg1"/>
                </a:solidFill>
                <a:ln w="6390" cap="flat">
                  <a:noFill/>
                  <a:prstDash val="solid"/>
                  <a:miter/>
                </a:ln>
              </p:spPr>
              <p:txBody>
                <a:bodyPr rtlCol="0" anchor="ctr"/>
                <a:lstStyle/>
                <a:p>
                  <a:endParaRPr lang="en-US"/>
                </a:p>
              </p:txBody>
            </p:sp>
            <p:sp>
              <p:nvSpPr>
                <p:cNvPr id="1063" name="Graphic 4">
                  <a:extLst>
                    <a:ext uri="{FF2B5EF4-FFF2-40B4-BE49-F238E27FC236}">
                      <a16:creationId xmlns:a16="http://schemas.microsoft.com/office/drawing/2014/main" id="{3637B9F5-47B9-4585-BADF-617172FA1346}"/>
                    </a:ext>
                  </a:extLst>
                </p:cNvPr>
                <p:cNvSpPr/>
                <p:nvPr/>
              </p:nvSpPr>
              <p:spPr>
                <a:xfrm>
                  <a:off x="2141690" y="2310413"/>
                  <a:ext cx="65227" cy="65116"/>
                </a:xfrm>
                <a:custGeom>
                  <a:avLst/>
                  <a:gdLst>
                    <a:gd name="connsiteX0" fmla="*/ 32589 w 65177"/>
                    <a:gd name="connsiteY0" fmla="*/ 65117 h 65116"/>
                    <a:gd name="connsiteX1" fmla="*/ 65178 w 65177"/>
                    <a:gd name="connsiteY1" fmla="*/ 32558 h 65116"/>
                    <a:gd name="connsiteX2" fmla="*/ 32589 w 65177"/>
                    <a:gd name="connsiteY2" fmla="*/ 0 h 65116"/>
                    <a:gd name="connsiteX3" fmla="*/ 0 w 65177"/>
                    <a:gd name="connsiteY3" fmla="*/ 32558 h 65116"/>
                    <a:gd name="connsiteX4" fmla="*/ 32589 w 65177"/>
                    <a:gd name="connsiteY4" fmla="*/ 65117 h 65116"/>
                    <a:gd name="connsiteX5" fmla="*/ 32589 w 65177"/>
                    <a:gd name="connsiteY5" fmla="*/ 12768 h 65116"/>
                    <a:gd name="connsiteX6" fmla="*/ 52398 w 65177"/>
                    <a:gd name="connsiteY6" fmla="*/ 32558 h 65116"/>
                    <a:gd name="connsiteX7" fmla="*/ 32589 w 65177"/>
                    <a:gd name="connsiteY7" fmla="*/ 52349 h 65116"/>
                    <a:gd name="connsiteX8" fmla="*/ 12780 w 65177"/>
                    <a:gd name="connsiteY8" fmla="*/ 32558 h 65116"/>
                    <a:gd name="connsiteX9" fmla="*/ 32589 w 65177"/>
                    <a:gd name="connsiteY9" fmla="*/ 12768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5116">
                      <a:moveTo>
                        <a:pt x="32589" y="65117"/>
                      </a:moveTo>
                      <a:cubicBezTo>
                        <a:pt x="50481" y="65117"/>
                        <a:pt x="65178" y="50433"/>
                        <a:pt x="65178" y="32558"/>
                      </a:cubicBezTo>
                      <a:cubicBezTo>
                        <a:pt x="65178" y="14683"/>
                        <a:pt x="50481" y="0"/>
                        <a:pt x="32589" y="0"/>
                      </a:cubicBezTo>
                      <a:cubicBezTo>
                        <a:pt x="14697" y="0"/>
                        <a:pt x="0" y="14683"/>
                        <a:pt x="0" y="32558"/>
                      </a:cubicBezTo>
                      <a:cubicBezTo>
                        <a:pt x="0" y="50433"/>
                        <a:pt x="14697" y="65117"/>
                        <a:pt x="32589" y="65117"/>
                      </a:cubicBezTo>
                      <a:close/>
                      <a:moveTo>
                        <a:pt x="32589" y="12768"/>
                      </a:moveTo>
                      <a:cubicBezTo>
                        <a:pt x="43452" y="12768"/>
                        <a:pt x="52398" y="21706"/>
                        <a:pt x="52398" y="32558"/>
                      </a:cubicBezTo>
                      <a:cubicBezTo>
                        <a:pt x="52398" y="43411"/>
                        <a:pt x="43452" y="52349"/>
                        <a:pt x="32589" y="52349"/>
                      </a:cubicBezTo>
                      <a:cubicBezTo>
                        <a:pt x="21726" y="52349"/>
                        <a:pt x="12780" y="43411"/>
                        <a:pt x="12780" y="32558"/>
                      </a:cubicBezTo>
                      <a:cubicBezTo>
                        <a:pt x="12780" y="21706"/>
                        <a:pt x="21726" y="12768"/>
                        <a:pt x="32589" y="12768"/>
                      </a:cubicBezTo>
                      <a:close/>
                    </a:path>
                  </a:pathLst>
                </a:custGeom>
                <a:solidFill>
                  <a:schemeClr val="bg1"/>
                </a:solidFill>
                <a:ln w="6390" cap="flat">
                  <a:noFill/>
                  <a:prstDash val="solid"/>
                  <a:miter/>
                </a:ln>
              </p:spPr>
              <p:txBody>
                <a:bodyPr rtlCol="0" anchor="ctr"/>
                <a:lstStyle/>
                <a:p>
                  <a:endParaRPr lang="en-US"/>
                </a:p>
              </p:txBody>
            </p:sp>
            <p:sp>
              <p:nvSpPr>
                <p:cNvPr id="1064" name="Graphic 4">
                  <a:extLst>
                    <a:ext uri="{FF2B5EF4-FFF2-40B4-BE49-F238E27FC236}">
                      <a16:creationId xmlns:a16="http://schemas.microsoft.com/office/drawing/2014/main" id="{E35CECAD-132B-4B14-A470-29149EA457DD}"/>
                    </a:ext>
                  </a:extLst>
                </p:cNvPr>
                <p:cNvSpPr/>
                <p:nvPr/>
              </p:nvSpPr>
              <p:spPr>
                <a:xfrm>
                  <a:off x="2297066" y="2310413"/>
                  <a:ext cx="65247" cy="65116"/>
                </a:xfrm>
                <a:custGeom>
                  <a:avLst/>
                  <a:gdLst>
                    <a:gd name="connsiteX0" fmla="*/ 32609 w 65197"/>
                    <a:gd name="connsiteY0" fmla="*/ 65117 h 65116"/>
                    <a:gd name="connsiteX1" fmla="*/ 65197 w 65197"/>
                    <a:gd name="connsiteY1" fmla="*/ 32558 h 65116"/>
                    <a:gd name="connsiteX2" fmla="*/ 32609 w 65197"/>
                    <a:gd name="connsiteY2" fmla="*/ 0 h 65116"/>
                    <a:gd name="connsiteX3" fmla="*/ 20 w 65197"/>
                    <a:gd name="connsiteY3" fmla="*/ 32558 h 65116"/>
                    <a:gd name="connsiteX4" fmla="*/ 32609 w 65197"/>
                    <a:gd name="connsiteY4" fmla="*/ 65117 h 65116"/>
                    <a:gd name="connsiteX5" fmla="*/ 32609 w 65197"/>
                    <a:gd name="connsiteY5" fmla="*/ 12768 h 65116"/>
                    <a:gd name="connsiteX6" fmla="*/ 52417 w 65197"/>
                    <a:gd name="connsiteY6" fmla="*/ 32558 h 65116"/>
                    <a:gd name="connsiteX7" fmla="*/ 32609 w 65197"/>
                    <a:gd name="connsiteY7" fmla="*/ 52349 h 65116"/>
                    <a:gd name="connsiteX8" fmla="*/ 12800 w 65197"/>
                    <a:gd name="connsiteY8" fmla="*/ 32558 h 65116"/>
                    <a:gd name="connsiteX9" fmla="*/ 32609 w 65197"/>
                    <a:gd name="connsiteY9" fmla="*/ 12768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97" h="65116">
                      <a:moveTo>
                        <a:pt x="32609" y="65117"/>
                      </a:moveTo>
                      <a:cubicBezTo>
                        <a:pt x="50501" y="65117"/>
                        <a:pt x="65197" y="50433"/>
                        <a:pt x="65197" y="32558"/>
                      </a:cubicBezTo>
                      <a:cubicBezTo>
                        <a:pt x="65197" y="14683"/>
                        <a:pt x="50501" y="0"/>
                        <a:pt x="32609" y="0"/>
                      </a:cubicBezTo>
                      <a:cubicBezTo>
                        <a:pt x="14717" y="0"/>
                        <a:pt x="20" y="14683"/>
                        <a:pt x="20" y="32558"/>
                      </a:cubicBezTo>
                      <a:cubicBezTo>
                        <a:pt x="-619" y="50433"/>
                        <a:pt x="14078" y="65117"/>
                        <a:pt x="32609" y="65117"/>
                      </a:cubicBezTo>
                      <a:close/>
                      <a:moveTo>
                        <a:pt x="32609" y="12768"/>
                      </a:moveTo>
                      <a:cubicBezTo>
                        <a:pt x="43472" y="12768"/>
                        <a:pt x="52417" y="21706"/>
                        <a:pt x="52417" y="32558"/>
                      </a:cubicBezTo>
                      <a:cubicBezTo>
                        <a:pt x="52417" y="43411"/>
                        <a:pt x="43472" y="52349"/>
                        <a:pt x="32609" y="52349"/>
                      </a:cubicBezTo>
                      <a:cubicBezTo>
                        <a:pt x="21746" y="52349"/>
                        <a:pt x="12800" y="43411"/>
                        <a:pt x="12800" y="32558"/>
                      </a:cubicBezTo>
                      <a:cubicBezTo>
                        <a:pt x="12800" y="21706"/>
                        <a:pt x="21107" y="12768"/>
                        <a:pt x="32609" y="12768"/>
                      </a:cubicBezTo>
                      <a:close/>
                    </a:path>
                  </a:pathLst>
                </a:custGeom>
                <a:solidFill>
                  <a:schemeClr val="bg1"/>
                </a:solidFill>
                <a:ln w="6390" cap="flat">
                  <a:noFill/>
                  <a:prstDash val="solid"/>
                  <a:miter/>
                </a:ln>
              </p:spPr>
              <p:txBody>
                <a:bodyPr rtlCol="0" anchor="ctr"/>
                <a:lstStyle/>
                <a:p>
                  <a:endParaRPr lang="en-US"/>
                </a:p>
              </p:txBody>
            </p:sp>
          </p:grpSp>
        </p:grpSp>
        <p:sp>
          <p:nvSpPr>
            <p:cNvPr id="1155" name="TextBox 1154">
              <a:extLst>
                <a:ext uri="{FF2B5EF4-FFF2-40B4-BE49-F238E27FC236}">
                  <a16:creationId xmlns:a16="http://schemas.microsoft.com/office/drawing/2014/main" id="{7D09B6C1-663F-4E7A-9F9B-108A27CFBA79}"/>
                </a:ext>
              </a:extLst>
            </p:cNvPr>
            <p:cNvSpPr txBox="1"/>
            <p:nvPr/>
          </p:nvSpPr>
          <p:spPr>
            <a:xfrm>
              <a:off x="1150001" y="2106601"/>
              <a:ext cx="2311400" cy="338554"/>
            </a:xfrm>
            <a:prstGeom prst="rect">
              <a:avLst/>
            </a:prstGeom>
            <a:noFill/>
          </p:spPr>
          <p:txBody>
            <a:bodyPr wrap="square" lIns="0" tIns="0" rIns="0" bIns="0" rtlCol="0">
              <a:spAutoFit/>
            </a:bodyPr>
            <a:lstStyle/>
            <a:p>
              <a:pPr>
                <a:spcBef>
                  <a:spcPts val="600"/>
                </a:spcBef>
                <a:buSzPct val="100000"/>
              </a:pPr>
              <a:r>
                <a:rPr lang="de-DE" sz="1100" b="1" dirty="0">
                  <a:solidFill>
                    <a:schemeClr val="bg1"/>
                  </a:solidFill>
                </a:rPr>
                <a:t>Memberships</a:t>
              </a:r>
              <a:br>
                <a:rPr lang="de-DE" sz="1100" dirty="0">
                  <a:solidFill>
                    <a:schemeClr val="bg1"/>
                  </a:solidFill>
                </a:rPr>
              </a:br>
              <a:r>
                <a:rPr lang="de-DE" sz="1100" dirty="0">
                  <a:solidFill>
                    <a:schemeClr val="bg1"/>
                  </a:solidFill>
                </a:rPr>
                <a:t>(in m)</a:t>
              </a:r>
            </a:p>
          </p:txBody>
        </p:sp>
      </p:grpSp>
      <p:grpSp>
        <p:nvGrpSpPr>
          <p:cNvPr id="9" name="Gruppieren 8">
            <a:extLst>
              <a:ext uri="{FF2B5EF4-FFF2-40B4-BE49-F238E27FC236}">
                <a16:creationId xmlns:a16="http://schemas.microsoft.com/office/drawing/2014/main" id="{8685895A-454A-4796-AF9B-A7ECC436F925}"/>
              </a:ext>
            </a:extLst>
          </p:cNvPr>
          <p:cNvGrpSpPr/>
          <p:nvPr/>
        </p:nvGrpSpPr>
        <p:grpSpPr>
          <a:xfrm>
            <a:off x="4383088" y="2085320"/>
            <a:ext cx="3001963" cy="514469"/>
            <a:chOff x="8262938" y="2085320"/>
            <a:chExt cx="3002523" cy="514469"/>
          </a:xfrm>
        </p:grpSpPr>
        <p:sp>
          <p:nvSpPr>
            <p:cNvPr id="1184" name="TextBox 1183">
              <a:extLst>
                <a:ext uri="{FF2B5EF4-FFF2-40B4-BE49-F238E27FC236}">
                  <a16:creationId xmlns:a16="http://schemas.microsoft.com/office/drawing/2014/main" id="{409C9D27-20F6-46BE-801E-E2DA830EB07E}"/>
                </a:ext>
              </a:extLst>
            </p:cNvPr>
            <p:cNvSpPr txBox="1"/>
            <p:nvPr/>
          </p:nvSpPr>
          <p:spPr>
            <a:xfrm>
              <a:off x="8954061" y="2173276"/>
              <a:ext cx="2311400" cy="338554"/>
            </a:xfrm>
            <a:prstGeom prst="rect">
              <a:avLst/>
            </a:prstGeom>
            <a:noFill/>
          </p:spPr>
          <p:txBody>
            <a:bodyPr wrap="square" lIns="0" tIns="0" rIns="0" bIns="0" rtlCol="0">
              <a:spAutoFit/>
            </a:bodyPr>
            <a:lstStyle/>
            <a:p>
              <a:pPr>
                <a:spcBef>
                  <a:spcPts val="600"/>
                </a:spcBef>
                <a:buSzPct val="100000"/>
              </a:pPr>
              <a:r>
                <a:rPr lang="de-DE" sz="1100" b="1" dirty="0">
                  <a:solidFill>
                    <a:schemeClr val="bg1"/>
                  </a:solidFill>
                </a:rPr>
                <a:t>Clubs</a:t>
              </a:r>
              <a:br>
                <a:rPr lang="de-DE" sz="1100" dirty="0">
                  <a:solidFill>
                    <a:schemeClr val="bg1"/>
                  </a:solidFill>
                </a:rPr>
              </a:br>
              <a:r>
                <a:rPr lang="de-DE" sz="1100" dirty="0">
                  <a:solidFill>
                    <a:schemeClr val="bg1"/>
                  </a:solidFill>
                </a:rPr>
                <a:t>(in k)</a:t>
              </a:r>
            </a:p>
          </p:txBody>
        </p:sp>
        <p:grpSp>
          <p:nvGrpSpPr>
            <p:cNvPr id="8" name="Gruppieren 7">
              <a:extLst>
                <a:ext uri="{FF2B5EF4-FFF2-40B4-BE49-F238E27FC236}">
                  <a16:creationId xmlns:a16="http://schemas.microsoft.com/office/drawing/2014/main" id="{6E7A56DC-C3A8-4365-BE5D-C859810E11CE}"/>
                </a:ext>
              </a:extLst>
            </p:cNvPr>
            <p:cNvGrpSpPr/>
            <p:nvPr/>
          </p:nvGrpSpPr>
          <p:grpSpPr>
            <a:xfrm>
              <a:off x="8262938" y="2085320"/>
              <a:ext cx="514468" cy="514469"/>
              <a:chOff x="8262938" y="2085320"/>
              <a:chExt cx="514468" cy="514469"/>
            </a:xfrm>
          </p:grpSpPr>
          <p:grpSp>
            <p:nvGrpSpPr>
              <p:cNvPr id="1224" name="Group 1223">
                <a:extLst>
                  <a:ext uri="{FF2B5EF4-FFF2-40B4-BE49-F238E27FC236}">
                    <a16:creationId xmlns:a16="http://schemas.microsoft.com/office/drawing/2014/main" id="{CA65A32B-B4E1-426D-B814-653D5C56C292}"/>
                  </a:ext>
                </a:extLst>
              </p:cNvPr>
              <p:cNvGrpSpPr/>
              <p:nvPr/>
            </p:nvGrpSpPr>
            <p:grpSpPr>
              <a:xfrm>
                <a:off x="8262938" y="2085320"/>
                <a:ext cx="514468" cy="514469"/>
                <a:chOff x="8262938" y="2018645"/>
                <a:chExt cx="514468" cy="514469"/>
              </a:xfrm>
            </p:grpSpPr>
            <p:sp>
              <p:nvSpPr>
                <p:cNvPr id="1182" name="Oval 1181">
                  <a:extLst>
                    <a:ext uri="{FF2B5EF4-FFF2-40B4-BE49-F238E27FC236}">
                      <a16:creationId xmlns:a16="http://schemas.microsoft.com/office/drawing/2014/main" id="{1C0D07A4-FCC3-48A5-82CF-B06CD727DB51}"/>
                    </a:ext>
                  </a:extLst>
                </p:cNvPr>
                <p:cNvSpPr/>
                <p:nvPr/>
              </p:nvSpPr>
              <p:spPr bwMode="gray">
                <a:xfrm>
                  <a:off x="8262938" y="2018645"/>
                  <a:ext cx="514468" cy="514469"/>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183" name="Oval 1182">
                  <a:extLst>
                    <a:ext uri="{FF2B5EF4-FFF2-40B4-BE49-F238E27FC236}">
                      <a16:creationId xmlns:a16="http://schemas.microsoft.com/office/drawing/2014/main" id="{26000955-7796-46E4-8DDF-D35E885EF50A}"/>
                    </a:ext>
                  </a:extLst>
                </p:cNvPr>
                <p:cNvSpPr>
                  <a:spLocks/>
                </p:cNvSpPr>
                <p:nvPr/>
              </p:nvSpPr>
              <p:spPr bwMode="gray">
                <a:xfrm>
                  <a:off x="8297900" y="2053606"/>
                  <a:ext cx="444544" cy="444546"/>
                </a:xfrm>
                <a:prstGeom prst="ellipse">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grpSp>
          <p:grpSp>
            <p:nvGrpSpPr>
              <p:cNvPr id="1223" name="Group 1222">
                <a:extLst>
                  <a:ext uri="{FF2B5EF4-FFF2-40B4-BE49-F238E27FC236}">
                    <a16:creationId xmlns:a16="http://schemas.microsoft.com/office/drawing/2014/main" id="{037E51C6-1903-4209-B15F-F3C15E095493}"/>
                  </a:ext>
                </a:extLst>
              </p:cNvPr>
              <p:cNvGrpSpPr/>
              <p:nvPr/>
            </p:nvGrpSpPr>
            <p:grpSpPr>
              <a:xfrm>
                <a:off x="8363686" y="2196212"/>
                <a:ext cx="312971" cy="292685"/>
                <a:chOff x="7472119" y="2145484"/>
                <a:chExt cx="216568" cy="202531"/>
              </a:xfrm>
            </p:grpSpPr>
            <p:sp>
              <p:nvSpPr>
                <p:cNvPr id="1220" name="Graphic 4">
                  <a:extLst>
                    <a:ext uri="{FF2B5EF4-FFF2-40B4-BE49-F238E27FC236}">
                      <a16:creationId xmlns:a16="http://schemas.microsoft.com/office/drawing/2014/main" id="{E1C0FE68-B296-43FA-B223-BE9E88D8DD46}"/>
                    </a:ext>
                  </a:extLst>
                </p:cNvPr>
                <p:cNvSpPr/>
                <p:nvPr/>
              </p:nvSpPr>
              <p:spPr>
                <a:xfrm>
                  <a:off x="7523587" y="2233104"/>
                  <a:ext cx="42173" cy="42134"/>
                </a:xfrm>
                <a:custGeom>
                  <a:avLst/>
                  <a:gdLst>
                    <a:gd name="connsiteX0" fmla="*/ 35145 w 42173"/>
                    <a:gd name="connsiteY0" fmla="*/ 0 h 42134"/>
                    <a:gd name="connsiteX1" fmla="*/ 6390 w 42173"/>
                    <a:gd name="connsiteY1" fmla="*/ 0 h 42134"/>
                    <a:gd name="connsiteX2" fmla="*/ 0 w 42173"/>
                    <a:gd name="connsiteY2" fmla="*/ 6384 h 42134"/>
                    <a:gd name="connsiteX3" fmla="*/ 0 w 42173"/>
                    <a:gd name="connsiteY3" fmla="*/ 35750 h 42134"/>
                    <a:gd name="connsiteX4" fmla="*/ 6390 w 42173"/>
                    <a:gd name="connsiteY4" fmla="*/ 42134 h 42134"/>
                    <a:gd name="connsiteX5" fmla="*/ 35783 w 42173"/>
                    <a:gd name="connsiteY5" fmla="*/ 42134 h 42134"/>
                    <a:gd name="connsiteX6" fmla="*/ 42173 w 42173"/>
                    <a:gd name="connsiteY6" fmla="*/ 35750 h 42134"/>
                    <a:gd name="connsiteX7" fmla="*/ 42173 w 42173"/>
                    <a:gd name="connsiteY7" fmla="*/ 6384 h 42134"/>
                    <a:gd name="connsiteX8" fmla="*/ 35145 w 42173"/>
                    <a:gd name="connsiteY8" fmla="*/ 0 h 42134"/>
                    <a:gd name="connsiteX9" fmla="*/ 35145 w 42173"/>
                    <a:gd name="connsiteY9" fmla="*/ 0 h 42134"/>
                    <a:gd name="connsiteX10" fmla="*/ 28755 w 42173"/>
                    <a:gd name="connsiteY10" fmla="*/ 28728 h 42134"/>
                    <a:gd name="connsiteX11" fmla="*/ 12780 w 42173"/>
                    <a:gd name="connsiteY11" fmla="*/ 28728 h 42134"/>
                    <a:gd name="connsiteX12" fmla="*/ 12780 w 42173"/>
                    <a:gd name="connsiteY12" fmla="*/ 12130 h 42134"/>
                    <a:gd name="connsiteX13" fmla="*/ 29394 w 42173"/>
                    <a:gd name="connsiteY13" fmla="*/ 12130 h 42134"/>
                    <a:gd name="connsiteX14" fmla="*/ 28755 w 42173"/>
                    <a:gd name="connsiteY14" fmla="*/ 2872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173" h="42134">
                      <a:moveTo>
                        <a:pt x="35145" y="0"/>
                      </a:moveTo>
                      <a:lnTo>
                        <a:pt x="6390" y="0"/>
                      </a:lnTo>
                      <a:cubicBezTo>
                        <a:pt x="2556" y="0"/>
                        <a:pt x="0" y="2554"/>
                        <a:pt x="0" y="6384"/>
                      </a:cubicBezTo>
                      <a:lnTo>
                        <a:pt x="0" y="35750"/>
                      </a:lnTo>
                      <a:cubicBezTo>
                        <a:pt x="0" y="39581"/>
                        <a:pt x="2556" y="42134"/>
                        <a:pt x="6390" y="42134"/>
                      </a:cubicBezTo>
                      <a:lnTo>
                        <a:pt x="35783" y="42134"/>
                      </a:lnTo>
                      <a:cubicBezTo>
                        <a:pt x="39617" y="42134"/>
                        <a:pt x="42173" y="39581"/>
                        <a:pt x="42173" y="35750"/>
                      </a:cubicBezTo>
                      <a:lnTo>
                        <a:pt x="42173" y="6384"/>
                      </a:lnTo>
                      <a:cubicBezTo>
                        <a:pt x="42173" y="2554"/>
                        <a:pt x="38978" y="0"/>
                        <a:pt x="35145" y="0"/>
                      </a:cubicBezTo>
                      <a:cubicBezTo>
                        <a:pt x="35145" y="0"/>
                        <a:pt x="35145" y="0"/>
                        <a:pt x="35145" y="0"/>
                      </a:cubicBezTo>
                      <a:close/>
                      <a:moveTo>
                        <a:pt x="28755" y="28728"/>
                      </a:moveTo>
                      <a:lnTo>
                        <a:pt x="12780" y="28728"/>
                      </a:lnTo>
                      <a:lnTo>
                        <a:pt x="12780" y="12130"/>
                      </a:lnTo>
                      <a:lnTo>
                        <a:pt x="29394" y="12130"/>
                      </a:lnTo>
                      <a:lnTo>
                        <a:pt x="28755" y="28728"/>
                      </a:lnTo>
                      <a:close/>
                    </a:path>
                  </a:pathLst>
                </a:custGeom>
                <a:solidFill>
                  <a:schemeClr val="bg1"/>
                </a:solidFill>
                <a:ln w="6390" cap="flat">
                  <a:noFill/>
                  <a:prstDash val="solid"/>
                  <a:miter/>
                </a:ln>
              </p:spPr>
              <p:txBody>
                <a:bodyPr rtlCol="0" anchor="ctr"/>
                <a:lstStyle/>
                <a:p>
                  <a:endParaRPr lang="en-US"/>
                </a:p>
              </p:txBody>
            </p:sp>
            <p:sp>
              <p:nvSpPr>
                <p:cNvPr id="1221" name="Graphic 4">
                  <a:extLst>
                    <a:ext uri="{FF2B5EF4-FFF2-40B4-BE49-F238E27FC236}">
                      <a16:creationId xmlns:a16="http://schemas.microsoft.com/office/drawing/2014/main" id="{73C621F6-135E-40D4-BEC7-1DE69707B25C}"/>
                    </a:ext>
                  </a:extLst>
                </p:cNvPr>
                <p:cNvSpPr/>
                <p:nvPr/>
              </p:nvSpPr>
              <p:spPr>
                <a:xfrm>
                  <a:off x="7596433" y="2232465"/>
                  <a:ext cx="42173" cy="42134"/>
                </a:xfrm>
                <a:custGeom>
                  <a:avLst/>
                  <a:gdLst>
                    <a:gd name="connsiteX0" fmla="*/ 6390 w 42173"/>
                    <a:gd name="connsiteY0" fmla="*/ 42134 h 42134"/>
                    <a:gd name="connsiteX1" fmla="*/ 35783 w 42173"/>
                    <a:gd name="connsiteY1" fmla="*/ 42134 h 42134"/>
                    <a:gd name="connsiteX2" fmla="*/ 42173 w 42173"/>
                    <a:gd name="connsiteY2" fmla="*/ 35750 h 42134"/>
                    <a:gd name="connsiteX3" fmla="*/ 42173 w 42173"/>
                    <a:gd name="connsiteY3" fmla="*/ 6384 h 42134"/>
                    <a:gd name="connsiteX4" fmla="*/ 35783 w 42173"/>
                    <a:gd name="connsiteY4" fmla="*/ 0 h 42134"/>
                    <a:gd name="connsiteX5" fmla="*/ 6390 w 42173"/>
                    <a:gd name="connsiteY5" fmla="*/ 0 h 42134"/>
                    <a:gd name="connsiteX6" fmla="*/ 0 w 42173"/>
                    <a:gd name="connsiteY6" fmla="*/ 6384 h 42134"/>
                    <a:gd name="connsiteX7" fmla="*/ 0 w 42173"/>
                    <a:gd name="connsiteY7" fmla="*/ 35750 h 42134"/>
                    <a:gd name="connsiteX8" fmla="*/ 6390 w 42173"/>
                    <a:gd name="connsiteY8" fmla="*/ 42134 h 42134"/>
                    <a:gd name="connsiteX9" fmla="*/ 12780 w 42173"/>
                    <a:gd name="connsiteY9" fmla="*/ 13406 h 42134"/>
                    <a:gd name="connsiteX10" fmla="*/ 29394 w 42173"/>
                    <a:gd name="connsiteY10" fmla="*/ 13406 h 42134"/>
                    <a:gd name="connsiteX11" fmla="*/ 29394 w 42173"/>
                    <a:gd name="connsiteY11" fmla="*/ 30005 h 42134"/>
                    <a:gd name="connsiteX12" fmla="*/ 12780 w 42173"/>
                    <a:gd name="connsiteY12" fmla="*/ 30005 h 42134"/>
                    <a:gd name="connsiteX13" fmla="*/ 12780 w 42173"/>
                    <a:gd name="connsiteY13" fmla="*/ 13406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173" h="42134">
                      <a:moveTo>
                        <a:pt x="6390" y="42134"/>
                      </a:moveTo>
                      <a:lnTo>
                        <a:pt x="35783" y="42134"/>
                      </a:lnTo>
                      <a:cubicBezTo>
                        <a:pt x="39617" y="42134"/>
                        <a:pt x="42173" y="39581"/>
                        <a:pt x="42173" y="35750"/>
                      </a:cubicBezTo>
                      <a:lnTo>
                        <a:pt x="42173" y="6384"/>
                      </a:lnTo>
                      <a:cubicBezTo>
                        <a:pt x="42173" y="2554"/>
                        <a:pt x="39617" y="0"/>
                        <a:pt x="35783" y="0"/>
                      </a:cubicBezTo>
                      <a:lnTo>
                        <a:pt x="6390" y="0"/>
                      </a:lnTo>
                      <a:cubicBezTo>
                        <a:pt x="2556" y="0"/>
                        <a:pt x="0" y="2554"/>
                        <a:pt x="0" y="6384"/>
                      </a:cubicBezTo>
                      <a:lnTo>
                        <a:pt x="0" y="35750"/>
                      </a:lnTo>
                      <a:cubicBezTo>
                        <a:pt x="0" y="39581"/>
                        <a:pt x="2556" y="42134"/>
                        <a:pt x="6390" y="42134"/>
                      </a:cubicBezTo>
                      <a:close/>
                      <a:moveTo>
                        <a:pt x="12780" y="13406"/>
                      </a:moveTo>
                      <a:lnTo>
                        <a:pt x="29394" y="13406"/>
                      </a:lnTo>
                      <a:lnTo>
                        <a:pt x="29394" y="30005"/>
                      </a:lnTo>
                      <a:lnTo>
                        <a:pt x="12780" y="30005"/>
                      </a:lnTo>
                      <a:lnTo>
                        <a:pt x="12780" y="13406"/>
                      </a:lnTo>
                      <a:close/>
                    </a:path>
                  </a:pathLst>
                </a:custGeom>
                <a:solidFill>
                  <a:schemeClr val="bg1"/>
                </a:solidFill>
                <a:ln w="6390" cap="flat">
                  <a:noFill/>
                  <a:prstDash val="solid"/>
                  <a:miter/>
                </a:ln>
              </p:spPr>
              <p:txBody>
                <a:bodyPr rtlCol="0" anchor="ctr"/>
                <a:lstStyle/>
                <a:p>
                  <a:endParaRPr lang="en-US"/>
                </a:p>
              </p:txBody>
            </p:sp>
            <p:sp>
              <p:nvSpPr>
                <p:cNvPr id="1222" name="Graphic 4">
                  <a:extLst>
                    <a:ext uri="{FF2B5EF4-FFF2-40B4-BE49-F238E27FC236}">
                      <a16:creationId xmlns:a16="http://schemas.microsoft.com/office/drawing/2014/main" id="{7F32EDD6-9B69-43DD-9A26-67B854EC86E1}"/>
                    </a:ext>
                  </a:extLst>
                </p:cNvPr>
                <p:cNvSpPr/>
                <p:nvPr/>
              </p:nvSpPr>
              <p:spPr>
                <a:xfrm>
                  <a:off x="7472119" y="2145484"/>
                  <a:ext cx="216568" cy="202531"/>
                </a:xfrm>
                <a:custGeom>
                  <a:avLst/>
                  <a:gdLst>
                    <a:gd name="connsiteX0" fmla="*/ 112812 w 216568"/>
                    <a:gd name="connsiteY0" fmla="*/ 1436 h 202531"/>
                    <a:gd name="connsiteX1" fmla="*/ 104505 w 216568"/>
                    <a:gd name="connsiteY1" fmla="*/ 1436 h 202531"/>
                    <a:gd name="connsiteX2" fmla="*/ 2266 w 216568"/>
                    <a:gd name="connsiteY2" fmla="*/ 88897 h 202531"/>
                    <a:gd name="connsiteX3" fmla="*/ 1627 w 216568"/>
                    <a:gd name="connsiteY3" fmla="*/ 97835 h 202531"/>
                    <a:gd name="connsiteX4" fmla="*/ 6739 w 216568"/>
                    <a:gd name="connsiteY4" fmla="*/ 100388 h 202531"/>
                    <a:gd name="connsiteX5" fmla="*/ 22075 w 216568"/>
                    <a:gd name="connsiteY5" fmla="*/ 100388 h 202531"/>
                    <a:gd name="connsiteX6" fmla="*/ 22075 w 216568"/>
                    <a:gd name="connsiteY6" fmla="*/ 196148 h 202531"/>
                    <a:gd name="connsiteX7" fmla="*/ 28465 w 216568"/>
                    <a:gd name="connsiteY7" fmla="*/ 202532 h 202531"/>
                    <a:gd name="connsiteX8" fmla="*/ 94281 w 216568"/>
                    <a:gd name="connsiteY8" fmla="*/ 202532 h 202531"/>
                    <a:gd name="connsiteX9" fmla="*/ 100671 w 216568"/>
                    <a:gd name="connsiteY9" fmla="*/ 196148 h 202531"/>
                    <a:gd name="connsiteX10" fmla="*/ 100671 w 216568"/>
                    <a:gd name="connsiteY10" fmla="*/ 158482 h 202531"/>
                    <a:gd name="connsiteX11" fmla="*/ 117285 w 216568"/>
                    <a:gd name="connsiteY11" fmla="*/ 158482 h 202531"/>
                    <a:gd name="connsiteX12" fmla="*/ 117285 w 216568"/>
                    <a:gd name="connsiteY12" fmla="*/ 195509 h 202531"/>
                    <a:gd name="connsiteX13" fmla="*/ 123675 w 216568"/>
                    <a:gd name="connsiteY13" fmla="*/ 201893 h 202531"/>
                    <a:gd name="connsiteX14" fmla="*/ 188852 w 216568"/>
                    <a:gd name="connsiteY14" fmla="*/ 201893 h 202531"/>
                    <a:gd name="connsiteX15" fmla="*/ 195242 w 216568"/>
                    <a:gd name="connsiteY15" fmla="*/ 195509 h 202531"/>
                    <a:gd name="connsiteX16" fmla="*/ 195242 w 216568"/>
                    <a:gd name="connsiteY16" fmla="*/ 99750 h 202531"/>
                    <a:gd name="connsiteX17" fmla="*/ 210578 w 216568"/>
                    <a:gd name="connsiteY17" fmla="*/ 99750 h 202531"/>
                    <a:gd name="connsiteX18" fmla="*/ 216329 w 216568"/>
                    <a:gd name="connsiteY18" fmla="*/ 95281 h 202531"/>
                    <a:gd name="connsiteX19" fmla="*/ 214412 w 216568"/>
                    <a:gd name="connsiteY19" fmla="*/ 88259 h 202531"/>
                    <a:gd name="connsiteX20" fmla="*/ 112812 w 216568"/>
                    <a:gd name="connsiteY20" fmla="*/ 1436 h 202531"/>
                    <a:gd name="connsiteX21" fmla="*/ 188852 w 216568"/>
                    <a:gd name="connsiteY21" fmla="*/ 87620 h 202531"/>
                    <a:gd name="connsiteX22" fmla="*/ 182462 w 216568"/>
                    <a:gd name="connsiteY22" fmla="*/ 94004 h 202531"/>
                    <a:gd name="connsiteX23" fmla="*/ 182462 w 216568"/>
                    <a:gd name="connsiteY23" fmla="*/ 189764 h 202531"/>
                    <a:gd name="connsiteX24" fmla="*/ 130065 w 216568"/>
                    <a:gd name="connsiteY24" fmla="*/ 189764 h 202531"/>
                    <a:gd name="connsiteX25" fmla="*/ 130065 w 216568"/>
                    <a:gd name="connsiteY25" fmla="*/ 152098 h 202531"/>
                    <a:gd name="connsiteX26" fmla="*/ 123675 w 216568"/>
                    <a:gd name="connsiteY26" fmla="*/ 145714 h 202531"/>
                    <a:gd name="connsiteX27" fmla="*/ 94281 w 216568"/>
                    <a:gd name="connsiteY27" fmla="*/ 145714 h 202531"/>
                    <a:gd name="connsiteX28" fmla="*/ 87891 w 216568"/>
                    <a:gd name="connsiteY28" fmla="*/ 152098 h 202531"/>
                    <a:gd name="connsiteX29" fmla="*/ 87891 w 216568"/>
                    <a:gd name="connsiteY29" fmla="*/ 189125 h 202531"/>
                    <a:gd name="connsiteX30" fmla="*/ 34855 w 216568"/>
                    <a:gd name="connsiteY30" fmla="*/ 189125 h 202531"/>
                    <a:gd name="connsiteX31" fmla="*/ 34855 w 216568"/>
                    <a:gd name="connsiteY31" fmla="*/ 93366 h 202531"/>
                    <a:gd name="connsiteX32" fmla="*/ 28465 w 216568"/>
                    <a:gd name="connsiteY32" fmla="*/ 86982 h 202531"/>
                    <a:gd name="connsiteX33" fmla="*/ 23991 w 216568"/>
                    <a:gd name="connsiteY33" fmla="*/ 86982 h 202531"/>
                    <a:gd name="connsiteX34" fmla="*/ 108339 w 216568"/>
                    <a:gd name="connsiteY34" fmla="*/ 14204 h 202531"/>
                    <a:gd name="connsiteX35" fmla="*/ 192686 w 216568"/>
                    <a:gd name="connsiteY35" fmla="*/ 86982 h 202531"/>
                    <a:gd name="connsiteX36" fmla="*/ 188852 w 216568"/>
                    <a:gd name="connsiteY36" fmla="*/ 86982 h 20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6568" h="202531">
                      <a:moveTo>
                        <a:pt x="112812" y="1436"/>
                      </a:moveTo>
                      <a:cubicBezTo>
                        <a:pt x="110256" y="-479"/>
                        <a:pt x="107061" y="-479"/>
                        <a:pt x="104505" y="1436"/>
                      </a:cubicBezTo>
                      <a:lnTo>
                        <a:pt x="2266" y="88897"/>
                      </a:lnTo>
                      <a:cubicBezTo>
                        <a:pt x="-290" y="91451"/>
                        <a:pt x="-929" y="95281"/>
                        <a:pt x="1627" y="97835"/>
                      </a:cubicBezTo>
                      <a:cubicBezTo>
                        <a:pt x="2905" y="99111"/>
                        <a:pt x="4822" y="100388"/>
                        <a:pt x="6739" y="100388"/>
                      </a:cubicBezTo>
                      <a:lnTo>
                        <a:pt x="22075" y="100388"/>
                      </a:lnTo>
                      <a:lnTo>
                        <a:pt x="22075" y="196148"/>
                      </a:lnTo>
                      <a:cubicBezTo>
                        <a:pt x="22075" y="199978"/>
                        <a:pt x="24631" y="202532"/>
                        <a:pt x="28465" y="202532"/>
                      </a:cubicBezTo>
                      <a:lnTo>
                        <a:pt x="94281" y="202532"/>
                      </a:lnTo>
                      <a:cubicBezTo>
                        <a:pt x="98115" y="202532"/>
                        <a:pt x="100671" y="199978"/>
                        <a:pt x="100671" y="196148"/>
                      </a:cubicBezTo>
                      <a:lnTo>
                        <a:pt x="100671" y="158482"/>
                      </a:lnTo>
                      <a:lnTo>
                        <a:pt x="117285" y="158482"/>
                      </a:lnTo>
                      <a:lnTo>
                        <a:pt x="117285" y="195509"/>
                      </a:lnTo>
                      <a:cubicBezTo>
                        <a:pt x="117285" y="199340"/>
                        <a:pt x="119841" y="201893"/>
                        <a:pt x="123675" y="201893"/>
                      </a:cubicBezTo>
                      <a:lnTo>
                        <a:pt x="188852" y="201893"/>
                      </a:lnTo>
                      <a:cubicBezTo>
                        <a:pt x="192686" y="201893"/>
                        <a:pt x="195242" y="199340"/>
                        <a:pt x="195242" y="195509"/>
                      </a:cubicBezTo>
                      <a:lnTo>
                        <a:pt x="195242" y="99750"/>
                      </a:lnTo>
                      <a:lnTo>
                        <a:pt x="210578" y="99750"/>
                      </a:lnTo>
                      <a:cubicBezTo>
                        <a:pt x="213134" y="99750"/>
                        <a:pt x="215690" y="97835"/>
                        <a:pt x="216329" y="95281"/>
                      </a:cubicBezTo>
                      <a:cubicBezTo>
                        <a:pt x="216968" y="92727"/>
                        <a:pt x="216329" y="90174"/>
                        <a:pt x="214412" y="88259"/>
                      </a:cubicBezTo>
                      <a:lnTo>
                        <a:pt x="112812" y="1436"/>
                      </a:lnTo>
                      <a:close/>
                      <a:moveTo>
                        <a:pt x="188852" y="87620"/>
                      </a:moveTo>
                      <a:cubicBezTo>
                        <a:pt x="185018" y="87620"/>
                        <a:pt x="182462" y="90174"/>
                        <a:pt x="182462" y="94004"/>
                      </a:cubicBezTo>
                      <a:lnTo>
                        <a:pt x="182462" y="189764"/>
                      </a:lnTo>
                      <a:lnTo>
                        <a:pt x="130065" y="189764"/>
                      </a:lnTo>
                      <a:lnTo>
                        <a:pt x="130065" y="152098"/>
                      </a:lnTo>
                      <a:cubicBezTo>
                        <a:pt x="130065" y="148268"/>
                        <a:pt x="127509" y="145714"/>
                        <a:pt x="123675" y="145714"/>
                      </a:cubicBezTo>
                      <a:lnTo>
                        <a:pt x="94281" y="145714"/>
                      </a:lnTo>
                      <a:cubicBezTo>
                        <a:pt x="90447" y="145714"/>
                        <a:pt x="87891" y="148268"/>
                        <a:pt x="87891" y="152098"/>
                      </a:cubicBezTo>
                      <a:lnTo>
                        <a:pt x="87891" y="189125"/>
                      </a:lnTo>
                      <a:lnTo>
                        <a:pt x="34855" y="189125"/>
                      </a:lnTo>
                      <a:lnTo>
                        <a:pt x="34855" y="93366"/>
                      </a:lnTo>
                      <a:cubicBezTo>
                        <a:pt x="34855" y="89535"/>
                        <a:pt x="32299" y="86982"/>
                        <a:pt x="28465" y="86982"/>
                      </a:cubicBezTo>
                      <a:lnTo>
                        <a:pt x="23991" y="86982"/>
                      </a:lnTo>
                      <a:lnTo>
                        <a:pt x="108339" y="14204"/>
                      </a:lnTo>
                      <a:lnTo>
                        <a:pt x="192686" y="86982"/>
                      </a:lnTo>
                      <a:lnTo>
                        <a:pt x="188852" y="86982"/>
                      </a:lnTo>
                      <a:close/>
                    </a:path>
                  </a:pathLst>
                </a:custGeom>
                <a:solidFill>
                  <a:schemeClr val="bg1"/>
                </a:solidFill>
                <a:ln w="6390" cap="flat">
                  <a:noFill/>
                  <a:prstDash val="solid"/>
                  <a:miter/>
                </a:ln>
              </p:spPr>
              <p:txBody>
                <a:bodyPr rtlCol="0" anchor="ctr"/>
                <a:lstStyle/>
                <a:p>
                  <a:endParaRPr lang="en-US"/>
                </a:p>
              </p:txBody>
            </p:sp>
          </p:grpSp>
        </p:grpSp>
      </p:grpSp>
      <p:sp>
        <p:nvSpPr>
          <p:cNvPr id="126" name="TextBox 24">
            <a:extLst>
              <a:ext uri="{FF2B5EF4-FFF2-40B4-BE49-F238E27FC236}">
                <a16:creationId xmlns:a16="http://schemas.microsoft.com/office/drawing/2014/main" id="{CB372A12-528E-4518-AD5A-F04F81C97DCA}"/>
              </a:ext>
            </a:extLst>
          </p:cNvPr>
          <p:cNvSpPr txBox="1"/>
          <p:nvPr/>
        </p:nvSpPr>
        <p:spPr>
          <a:xfrm>
            <a:off x="480879" y="1671675"/>
            <a:ext cx="5381281" cy="168892"/>
          </a:xfrm>
          <a:prstGeom prst="rect">
            <a:avLst/>
          </a:prstGeom>
          <a:noFill/>
        </p:spPr>
        <p:txBody>
          <a:bodyPr wrap="none" lIns="0" tIns="0" rIns="0" bIns="0" rtlCol="0">
            <a:spAutoFit/>
          </a:bodyPr>
          <a:lstStyle/>
          <a:p>
            <a:pPr eaLnBrk="0" fontAlgn="base" hangingPunct="0">
              <a:lnSpc>
                <a:spcPct val="110000"/>
              </a:lnSpc>
              <a:spcBef>
                <a:spcPct val="0"/>
              </a:spcBef>
              <a:spcAft>
                <a:spcPct val="0"/>
              </a:spcAft>
            </a:pPr>
            <a:r>
              <a:rPr lang="en-GB" sz="1100" b="1" dirty="0" err="1">
                <a:solidFill>
                  <a:schemeClr val="bg1"/>
                </a:solidFill>
                <a:latin typeface="+mj-lt"/>
              </a:rPr>
              <a:t>L’évolution</a:t>
            </a:r>
            <a:r>
              <a:rPr lang="en-GB" sz="1100" b="1" dirty="0">
                <a:solidFill>
                  <a:schemeClr val="bg1"/>
                </a:solidFill>
                <a:latin typeface="+mj-lt"/>
              </a:rPr>
              <a:t> du </a:t>
            </a:r>
            <a:r>
              <a:rPr lang="en-GB" sz="1100" b="1" dirty="0" err="1">
                <a:solidFill>
                  <a:schemeClr val="bg1"/>
                </a:solidFill>
                <a:latin typeface="+mj-lt"/>
              </a:rPr>
              <a:t>marché</a:t>
            </a:r>
            <a:r>
              <a:rPr lang="en-GB" sz="1100" b="1" dirty="0">
                <a:solidFill>
                  <a:schemeClr val="bg1"/>
                </a:solidFill>
                <a:latin typeface="+mj-lt"/>
              </a:rPr>
              <a:t> sur trois </a:t>
            </a:r>
            <a:r>
              <a:rPr lang="en-GB" sz="1100" b="1" dirty="0" err="1">
                <a:solidFill>
                  <a:schemeClr val="bg1"/>
                </a:solidFill>
                <a:latin typeface="+mj-lt"/>
              </a:rPr>
              <a:t>indicateurs</a:t>
            </a:r>
            <a:r>
              <a:rPr lang="en-GB" sz="1100" b="1" dirty="0">
                <a:solidFill>
                  <a:schemeClr val="bg1"/>
                </a:solidFill>
                <a:latin typeface="+mj-lt"/>
              </a:rPr>
              <a:t> </a:t>
            </a:r>
            <a:r>
              <a:rPr lang="en-GB" sz="1100" b="1" dirty="0" err="1">
                <a:solidFill>
                  <a:schemeClr val="bg1"/>
                </a:solidFill>
                <a:latin typeface="+mj-lt"/>
              </a:rPr>
              <a:t>européens</a:t>
            </a:r>
            <a:r>
              <a:rPr lang="en-GB" sz="1100" b="1" dirty="0">
                <a:solidFill>
                  <a:schemeClr val="bg1"/>
                </a:solidFill>
                <a:latin typeface="+mj-lt"/>
              </a:rPr>
              <a:t> </a:t>
            </a:r>
            <a:r>
              <a:rPr lang="en-GB" sz="1100" b="1" dirty="0" err="1">
                <a:solidFill>
                  <a:schemeClr val="bg1"/>
                </a:solidFill>
                <a:latin typeface="+mj-lt"/>
              </a:rPr>
              <a:t>depuis</a:t>
            </a:r>
            <a:r>
              <a:rPr lang="en-GB" sz="1100" b="1" dirty="0">
                <a:solidFill>
                  <a:schemeClr val="bg1"/>
                </a:solidFill>
                <a:latin typeface="+mj-lt"/>
              </a:rPr>
              <a:t> 2017</a:t>
            </a:r>
            <a:r>
              <a:rPr lang="en-GB" sz="1100" b="1" baseline="30000" dirty="0">
                <a:solidFill>
                  <a:schemeClr val="bg1"/>
                </a:solidFill>
                <a:latin typeface="+mj-lt"/>
              </a:rPr>
              <a:t>1</a:t>
            </a:r>
          </a:p>
        </p:txBody>
      </p:sp>
      <p:grpSp>
        <p:nvGrpSpPr>
          <p:cNvPr id="132" name="Gruppieren 4">
            <a:extLst>
              <a:ext uri="{FF2B5EF4-FFF2-40B4-BE49-F238E27FC236}">
                <a16:creationId xmlns:a16="http://schemas.microsoft.com/office/drawing/2014/main" id="{215EB2DD-DB16-4428-8D84-A419C0F51E3A}"/>
              </a:ext>
            </a:extLst>
          </p:cNvPr>
          <p:cNvGrpSpPr/>
          <p:nvPr/>
        </p:nvGrpSpPr>
        <p:grpSpPr>
          <a:xfrm>
            <a:off x="8410575" y="2085320"/>
            <a:ext cx="3001963" cy="514469"/>
            <a:chOff x="4361498" y="2018645"/>
            <a:chExt cx="3002523" cy="514469"/>
          </a:xfrm>
        </p:grpSpPr>
        <p:sp>
          <p:nvSpPr>
            <p:cNvPr id="133" name="TextBox 132">
              <a:extLst>
                <a:ext uri="{FF2B5EF4-FFF2-40B4-BE49-F238E27FC236}">
                  <a16:creationId xmlns:a16="http://schemas.microsoft.com/office/drawing/2014/main" id="{DE25BC0F-1AC5-4A39-9EAC-0AC146E05A0B}"/>
                </a:ext>
              </a:extLst>
            </p:cNvPr>
            <p:cNvSpPr txBox="1"/>
            <p:nvPr/>
          </p:nvSpPr>
          <p:spPr>
            <a:xfrm>
              <a:off x="5052621" y="2106601"/>
              <a:ext cx="2311400" cy="338554"/>
            </a:xfrm>
            <a:prstGeom prst="rect">
              <a:avLst/>
            </a:prstGeom>
            <a:noFill/>
          </p:spPr>
          <p:txBody>
            <a:bodyPr wrap="square" lIns="0" tIns="0" rIns="0" bIns="0" rtlCol="0">
              <a:spAutoFit/>
            </a:bodyPr>
            <a:lstStyle/>
            <a:p>
              <a:pPr>
                <a:spcBef>
                  <a:spcPts val="600"/>
                </a:spcBef>
                <a:buSzPct val="100000"/>
              </a:pPr>
              <a:r>
                <a:rPr lang="de-DE" sz="1100" b="1" dirty="0">
                  <a:solidFill>
                    <a:schemeClr val="bg1"/>
                  </a:solidFill>
                </a:rPr>
                <a:t>Revenue</a:t>
              </a:r>
              <a:br>
                <a:rPr lang="de-DE" sz="1100" dirty="0">
                  <a:solidFill>
                    <a:schemeClr val="bg1"/>
                  </a:solidFill>
                </a:rPr>
              </a:br>
              <a:r>
                <a:rPr lang="de-DE" sz="1100" dirty="0">
                  <a:solidFill>
                    <a:schemeClr val="bg1"/>
                  </a:solidFill>
                </a:rPr>
                <a:t>(in </a:t>
              </a:r>
              <a:r>
                <a:rPr lang="de-DE" sz="1100" dirty="0" err="1">
                  <a:solidFill>
                    <a:schemeClr val="bg1"/>
                  </a:solidFill>
                </a:rPr>
                <a:t>bn</a:t>
              </a:r>
              <a:r>
                <a:rPr lang="de-DE" sz="1100" dirty="0">
                  <a:solidFill>
                    <a:schemeClr val="bg1"/>
                  </a:solidFill>
                </a:rPr>
                <a:t> €)</a:t>
              </a:r>
            </a:p>
          </p:txBody>
        </p:sp>
        <p:grpSp>
          <p:nvGrpSpPr>
            <p:cNvPr id="134" name="Group 133">
              <a:extLst>
                <a:ext uri="{FF2B5EF4-FFF2-40B4-BE49-F238E27FC236}">
                  <a16:creationId xmlns:a16="http://schemas.microsoft.com/office/drawing/2014/main" id="{589191B3-10BD-44CC-899D-B3FA9544FB7E}"/>
                </a:ext>
              </a:extLst>
            </p:cNvPr>
            <p:cNvGrpSpPr/>
            <p:nvPr/>
          </p:nvGrpSpPr>
          <p:grpSpPr>
            <a:xfrm>
              <a:off x="4361498" y="2018645"/>
              <a:ext cx="514468" cy="514469"/>
              <a:chOff x="4361498" y="2018645"/>
              <a:chExt cx="514468" cy="514469"/>
            </a:xfrm>
          </p:grpSpPr>
          <p:grpSp>
            <p:nvGrpSpPr>
              <p:cNvPr id="135" name="Group 134">
                <a:extLst>
                  <a:ext uri="{FF2B5EF4-FFF2-40B4-BE49-F238E27FC236}">
                    <a16:creationId xmlns:a16="http://schemas.microsoft.com/office/drawing/2014/main" id="{996E0DF8-6605-4A6F-A028-61DBFF7714BB}"/>
                  </a:ext>
                </a:extLst>
              </p:cNvPr>
              <p:cNvGrpSpPr/>
              <p:nvPr/>
            </p:nvGrpSpPr>
            <p:grpSpPr>
              <a:xfrm>
                <a:off x="4361498" y="2018645"/>
                <a:ext cx="514468" cy="514469"/>
                <a:chOff x="4361498" y="2018645"/>
                <a:chExt cx="514468" cy="514469"/>
              </a:xfrm>
            </p:grpSpPr>
            <p:sp>
              <p:nvSpPr>
                <p:cNvPr id="141" name="Oval 140">
                  <a:extLst>
                    <a:ext uri="{FF2B5EF4-FFF2-40B4-BE49-F238E27FC236}">
                      <a16:creationId xmlns:a16="http://schemas.microsoft.com/office/drawing/2014/main" id="{BEC16134-2777-4CCD-B269-6B47DF8329CA}"/>
                    </a:ext>
                  </a:extLst>
                </p:cNvPr>
                <p:cNvSpPr/>
                <p:nvPr/>
              </p:nvSpPr>
              <p:spPr bwMode="gray">
                <a:xfrm>
                  <a:off x="4361498" y="2018645"/>
                  <a:ext cx="514468" cy="514469"/>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142" name="Oval 141">
                  <a:extLst>
                    <a:ext uri="{FF2B5EF4-FFF2-40B4-BE49-F238E27FC236}">
                      <a16:creationId xmlns:a16="http://schemas.microsoft.com/office/drawing/2014/main" id="{0953CAF3-059A-4099-A9FA-2C7DA1658DF6}"/>
                    </a:ext>
                  </a:extLst>
                </p:cNvPr>
                <p:cNvSpPr>
                  <a:spLocks/>
                </p:cNvSpPr>
                <p:nvPr/>
              </p:nvSpPr>
              <p:spPr bwMode="gray">
                <a:xfrm>
                  <a:off x="4396460" y="2053607"/>
                  <a:ext cx="444544" cy="444546"/>
                </a:xfrm>
                <a:prstGeom prst="ellips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grpSp>
          <p:grpSp>
            <p:nvGrpSpPr>
              <p:cNvPr id="138" name="Group 137">
                <a:extLst>
                  <a:ext uri="{FF2B5EF4-FFF2-40B4-BE49-F238E27FC236}">
                    <a16:creationId xmlns:a16="http://schemas.microsoft.com/office/drawing/2014/main" id="{8E9213B5-FA88-484D-9A38-5D3ACBC24F4C}"/>
                  </a:ext>
                </a:extLst>
              </p:cNvPr>
              <p:cNvGrpSpPr/>
              <p:nvPr/>
            </p:nvGrpSpPr>
            <p:grpSpPr>
              <a:xfrm>
                <a:off x="4478213" y="2182360"/>
                <a:ext cx="281039" cy="187039"/>
                <a:chOff x="5365975" y="1801365"/>
                <a:chExt cx="201439" cy="134063"/>
              </a:xfrm>
            </p:grpSpPr>
            <p:sp>
              <p:nvSpPr>
                <p:cNvPr id="139" name="Graphic 4">
                  <a:extLst>
                    <a:ext uri="{FF2B5EF4-FFF2-40B4-BE49-F238E27FC236}">
                      <a16:creationId xmlns:a16="http://schemas.microsoft.com/office/drawing/2014/main" id="{32ED2B04-9442-4690-BB8B-F23E4EA57AC6}"/>
                    </a:ext>
                  </a:extLst>
                </p:cNvPr>
                <p:cNvSpPr/>
                <p:nvPr/>
              </p:nvSpPr>
              <p:spPr>
                <a:xfrm>
                  <a:off x="5422250" y="1852437"/>
                  <a:ext cx="49880" cy="59371"/>
                </a:xfrm>
                <a:custGeom>
                  <a:avLst/>
                  <a:gdLst>
                    <a:gd name="connsiteX0" fmla="*/ 5112 w 49841"/>
                    <a:gd name="connsiteY0" fmla="*/ 31920 h 59371"/>
                    <a:gd name="connsiteX1" fmla="*/ 0 w 49841"/>
                    <a:gd name="connsiteY1" fmla="*/ 37027 h 59371"/>
                    <a:gd name="connsiteX2" fmla="*/ 5112 w 49841"/>
                    <a:gd name="connsiteY2" fmla="*/ 42134 h 59371"/>
                    <a:gd name="connsiteX3" fmla="*/ 8946 w 49841"/>
                    <a:gd name="connsiteY3" fmla="*/ 42134 h 59371"/>
                    <a:gd name="connsiteX4" fmla="*/ 28116 w 49841"/>
                    <a:gd name="connsiteY4" fmla="*/ 59371 h 59371"/>
                    <a:gd name="connsiteX5" fmla="*/ 30672 w 49841"/>
                    <a:gd name="connsiteY5" fmla="*/ 59371 h 59371"/>
                    <a:gd name="connsiteX6" fmla="*/ 49842 w 49841"/>
                    <a:gd name="connsiteY6" fmla="*/ 40219 h 59371"/>
                    <a:gd name="connsiteX7" fmla="*/ 44730 w 49841"/>
                    <a:gd name="connsiteY7" fmla="*/ 35112 h 59371"/>
                    <a:gd name="connsiteX8" fmla="*/ 39618 w 49841"/>
                    <a:gd name="connsiteY8" fmla="*/ 40219 h 59371"/>
                    <a:gd name="connsiteX9" fmla="*/ 30033 w 49841"/>
                    <a:gd name="connsiteY9" fmla="*/ 49795 h 59371"/>
                    <a:gd name="connsiteX10" fmla="*/ 27477 w 49841"/>
                    <a:gd name="connsiteY10" fmla="*/ 49795 h 59371"/>
                    <a:gd name="connsiteX11" fmla="*/ 17892 w 49841"/>
                    <a:gd name="connsiteY11" fmla="*/ 42134 h 59371"/>
                    <a:gd name="connsiteX12" fmla="*/ 30033 w 49841"/>
                    <a:gd name="connsiteY12" fmla="*/ 42134 h 59371"/>
                    <a:gd name="connsiteX13" fmla="*/ 35145 w 49841"/>
                    <a:gd name="connsiteY13" fmla="*/ 37027 h 59371"/>
                    <a:gd name="connsiteX14" fmla="*/ 30033 w 49841"/>
                    <a:gd name="connsiteY14" fmla="*/ 31920 h 59371"/>
                    <a:gd name="connsiteX15" fmla="*/ 17892 w 49841"/>
                    <a:gd name="connsiteY15" fmla="*/ 31920 h 59371"/>
                    <a:gd name="connsiteX16" fmla="*/ 17892 w 49841"/>
                    <a:gd name="connsiteY16" fmla="*/ 30005 h 59371"/>
                    <a:gd name="connsiteX17" fmla="*/ 30033 w 49841"/>
                    <a:gd name="connsiteY17" fmla="*/ 30005 h 59371"/>
                    <a:gd name="connsiteX18" fmla="*/ 35145 w 49841"/>
                    <a:gd name="connsiteY18" fmla="*/ 24898 h 59371"/>
                    <a:gd name="connsiteX19" fmla="*/ 30033 w 49841"/>
                    <a:gd name="connsiteY19" fmla="*/ 19790 h 59371"/>
                    <a:gd name="connsiteX20" fmla="*/ 17892 w 49841"/>
                    <a:gd name="connsiteY20" fmla="*/ 19790 h 59371"/>
                    <a:gd name="connsiteX21" fmla="*/ 17892 w 49841"/>
                    <a:gd name="connsiteY21" fmla="*/ 19152 h 59371"/>
                    <a:gd name="connsiteX22" fmla="*/ 27477 w 49841"/>
                    <a:gd name="connsiteY22" fmla="*/ 9576 h 59371"/>
                    <a:gd name="connsiteX23" fmla="*/ 30033 w 49841"/>
                    <a:gd name="connsiteY23" fmla="*/ 9576 h 59371"/>
                    <a:gd name="connsiteX24" fmla="*/ 39618 w 49841"/>
                    <a:gd name="connsiteY24" fmla="*/ 19152 h 59371"/>
                    <a:gd name="connsiteX25" fmla="*/ 44730 w 49841"/>
                    <a:gd name="connsiteY25" fmla="*/ 24259 h 59371"/>
                    <a:gd name="connsiteX26" fmla="*/ 49842 w 49841"/>
                    <a:gd name="connsiteY26" fmla="*/ 19152 h 59371"/>
                    <a:gd name="connsiteX27" fmla="*/ 30672 w 49841"/>
                    <a:gd name="connsiteY27" fmla="*/ 0 h 59371"/>
                    <a:gd name="connsiteX28" fmla="*/ 28116 w 49841"/>
                    <a:gd name="connsiteY28" fmla="*/ 0 h 59371"/>
                    <a:gd name="connsiteX29" fmla="*/ 8946 w 49841"/>
                    <a:gd name="connsiteY29" fmla="*/ 19152 h 59371"/>
                    <a:gd name="connsiteX30" fmla="*/ 8946 w 49841"/>
                    <a:gd name="connsiteY30" fmla="*/ 19790 h 59371"/>
                    <a:gd name="connsiteX31" fmla="*/ 5112 w 49841"/>
                    <a:gd name="connsiteY31" fmla="*/ 19790 h 59371"/>
                    <a:gd name="connsiteX32" fmla="*/ 0 w 49841"/>
                    <a:gd name="connsiteY32" fmla="*/ 24898 h 59371"/>
                    <a:gd name="connsiteX33" fmla="*/ 5112 w 49841"/>
                    <a:gd name="connsiteY33" fmla="*/ 30005 h 59371"/>
                    <a:gd name="connsiteX34" fmla="*/ 8946 w 49841"/>
                    <a:gd name="connsiteY34" fmla="*/ 30005 h 59371"/>
                    <a:gd name="connsiteX35" fmla="*/ 8946 w 49841"/>
                    <a:gd name="connsiteY35" fmla="*/ 31920 h 59371"/>
                    <a:gd name="connsiteX36" fmla="*/ 5112 w 49841"/>
                    <a:gd name="connsiteY36" fmla="*/ 31920 h 5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9841" h="59371">
                      <a:moveTo>
                        <a:pt x="5112" y="31920"/>
                      </a:moveTo>
                      <a:cubicBezTo>
                        <a:pt x="2556" y="31920"/>
                        <a:pt x="0" y="33835"/>
                        <a:pt x="0" y="37027"/>
                      </a:cubicBezTo>
                      <a:cubicBezTo>
                        <a:pt x="0" y="40219"/>
                        <a:pt x="1917" y="42134"/>
                        <a:pt x="5112" y="42134"/>
                      </a:cubicBezTo>
                      <a:lnTo>
                        <a:pt x="8946" y="42134"/>
                      </a:lnTo>
                      <a:cubicBezTo>
                        <a:pt x="10225" y="51710"/>
                        <a:pt x="17892" y="59371"/>
                        <a:pt x="28116" y="59371"/>
                      </a:cubicBezTo>
                      <a:lnTo>
                        <a:pt x="30672" y="59371"/>
                      </a:lnTo>
                      <a:cubicBezTo>
                        <a:pt x="40896" y="59371"/>
                        <a:pt x="49842" y="51072"/>
                        <a:pt x="49842" y="40219"/>
                      </a:cubicBezTo>
                      <a:cubicBezTo>
                        <a:pt x="49842" y="37666"/>
                        <a:pt x="47925" y="35112"/>
                        <a:pt x="44730" y="35112"/>
                      </a:cubicBezTo>
                      <a:cubicBezTo>
                        <a:pt x="41535" y="35112"/>
                        <a:pt x="39618" y="37027"/>
                        <a:pt x="39618" y="40219"/>
                      </a:cubicBezTo>
                      <a:cubicBezTo>
                        <a:pt x="39618" y="45326"/>
                        <a:pt x="35145" y="49795"/>
                        <a:pt x="30033" y="49795"/>
                      </a:cubicBezTo>
                      <a:lnTo>
                        <a:pt x="27477" y="49795"/>
                      </a:lnTo>
                      <a:cubicBezTo>
                        <a:pt x="23004" y="49795"/>
                        <a:pt x="19170" y="46603"/>
                        <a:pt x="17892" y="42134"/>
                      </a:cubicBezTo>
                      <a:lnTo>
                        <a:pt x="30033" y="42134"/>
                      </a:lnTo>
                      <a:cubicBezTo>
                        <a:pt x="32589" y="42134"/>
                        <a:pt x="35145" y="40219"/>
                        <a:pt x="35145" y="37027"/>
                      </a:cubicBezTo>
                      <a:cubicBezTo>
                        <a:pt x="35145" y="33835"/>
                        <a:pt x="33228" y="31920"/>
                        <a:pt x="30033" y="31920"/>
                      </a:cubicBezTo>
                      <a:lnTo>
                        <a:pt x="17892" y="31920"/>
                      </a:lnTo>
                      <a:lnTo>
                        <a:pt x="17892" y="30005"/>
                      </a:lnTo>
                      <a:lnTo>
                        <a:pt x="30033" y="30005"/>
                      </a:lnTo>
                      <a:cubicBezTo>
                        <a:pt x="32589" y="30005"/>
                        <a:pt x="35145" y="28090"/>
                        <a:pt x="35145" y="24898"/>
                      </a:cubicBezTo>
                      <a:cubicBezTo>
                        <a:pt x="35145" y="21706"/>
                        <a:pt x="33228" y="19790"/>
                        <a:pt x="30033" y="19790"/>
                      </a:cubicBezTo>
                      <a:lnTo>
                        <a:pt x="17892" y="19790"/>
                      </a:lnTo>
                      <a:lnTo>
                        <a:pt x="17892" y="19152"/>
                      </a:lnTo>
                      <a:cubicBezTo>
                        <a:pt x="17892" y="14045"/>
                        <a:pt x="22365" y="9576"/>
                        <a:pt x="27477" y="9576"/>
                      </a:cubicBezTo>
                      <a:lnTo>
                        <a:pt x="30033" y="9576"/>
                      </a:lnTo>
                      <a:cubicBezTo>
                        <a:pt x="35145" y="9576"/>
                        <a:pt x="39618" y="14045"/>
                        <a:pt x="39618" y="19152"/>
                      </a:cubicBezTo>
                      <a:cubicBezTo>
                        <a:pt x="39618" y="21706"/>
                        <a:pt x="41535" y="24259"/>
                        <a:pt x="44730" y="24259"/>
                      </a:cubicBezTo>
                      <a:cubicBezTo>
                        <a:pt x="47925" y="24259"/>
                        <a:pt x="49842" y="22344"/>
                        <a:pt x="49842" y="19152"/>
                      </a:cubicBezTo>
                      <a:cubicBezTo>
                        <a:pt x="49842" y="8938"/>
                        <a:pt x="41535" y="0"/>
                        <a:pt x="30672" y="0"/>
                      </a:cubicBezTo>
                      <a:lnTo>
                        <a:pt x="28116" y="0"/>
                      </a:lnTo>
                      <a:cubicBezTo>
                        <a:pt x="17892" y="0"/>
                        <a:pt x="8946" y="8299"/>
                        <a:pt x="8946" y="19152"/>
                      </a:cubicBezTo>
                      <a:lnTo>
                        <a:pt x="8946" y="19790"/>
                      </a:lnTo>
                      <a:lnTo>
                        <a:pt x="5112" y="19790"/>
                      </a:lnTo>
                      <a:cubicBezTo>
                        <a:pt x="2556" y="19790"/>
                        <a:pt x="0" y="21706"/>
                        <a:pt x="0" y="24898"/>
                      </a:cubicBezTo>
                      <a:cubicBezTo>
                        <a:pt x="0" y="28090"/>
                        <a:pt x="1917" y="30005"/>
                        <a:pt x="5112" y="30005"/>
                      </a:cubicBezTo>
                      <a:lnTo>
                        <a:pt x="8946" y="30005"/>
                      </a:lnTo>
                      <a:lnTo>
                        <a:pt x="8946" y="31920"/>
                      </a:lnTo>
                      <a:lnTo>
                        <a:pt x="5112" y="31920"/>
                      </a:lnTo>
                      <a:close/>
                    </a:path>
                  </a:pathLst>
                </a:custGeom>
                <a:solidFill>
                  <a:schemeClr val="bg1"/>
                </a:solidFill>
                <a:ln w="6390" cap="flat">
                  <a:noFill/>
                  <a:prstDash val="solid"/>
                  <a:miter/>
                </a:ln>
              </p:spPr>
              <p:txBody>
                <a:bodyPr rtlCol="0" anchor="ctr"/>
                <a:lstStyle/>
                <a:p>
                  <a:endParaRPr lang="en-US"/>
                </a:p>
              </p:txBody>
            </p:sp>
            <p:sp>
              <p:nvSpPr>
                <p:cNvPr id="140" name="Graphic 4">
                  <a:extLst>
                    <a:ext uri="{FF2B5EF4-FFF2-40B4-BE49-F238E27FC236}">
                      <a16:creationId xmlns:a16="http://schemas.microsoft.com/office/drawing/2014/main" id="{88312BA6-5B97-4023-A5E5-B9FD1C797E54}"/>
                    </a:ext>
                  </a:extLst>
                </p:cNvPr>
                <p:cNvSpPr/>
                <p:nvPr/>
              </p:nvSpPr>
              <p:spPr>
                <a:xfrm>
                  <a:off x="5365975" y="1801365"/>
                  <a:ext cx="201439" cy="134063"/>
                </a:xfrm>
                <a:custGeom>
                  <a:avLst/>
                  <a:gdLst>
                    <a:gd name="connsiteX0" fmla="*/ 194893 w 201283"/>
                    <a:gd name="connsiteY0" fmla="*/ 0 h 134063"/>
                    <a:gd name="connsiteX1" fmla="*/ 35145 w 201283"/>
                    <a:gd name="connsiteY1" fmla="*/ 0 h 134063"/>
                    <a:gd name="connsiteX2" fmla="*/ 28755 w 201283"/>
                    <a:gd name="connsiteY2" fmla="*/ 6384 h 134063"/>
                    <a:gd name="connsiteX3" fmla="*/ 28755 w 201283"/>
                    <a:gd name="connsiteY3" fmla="*/ 30005 h 134063"/>
                    <a:gd name="connsiteX4" fmla="*/ 6390 w 201283"/>
                    <a:gd name="connsiteY4" fmla="*/ 30005 h 134063"/>
                    <a:gd name="connsiteX5" fmla="*/ 0 w 201283"/>
                    <a:gd name="connsiteY5" fmla="*/ 36389 h 134063"/>
                    <a:gd name="connsiteX6" fmla="*/ 0 w 201283"/>
                    <a:gd name="connsiteY6" fmla="*/ 127680 h 134063"/>
                    <a:gd name="connsiteX7" fmla="*/ 6390 w 201283"/>
                    <a:gd name="connsiteY7" fmla="*/ 134064 h 134063"/>
                    <a:gd name="connsiteX8" fmla="*/ 164860 w 201283"/>
                    <a:gd name="connsiteY8" fmla="*/ 134064 h 134063"/>
                    <a:gd name="connsiteX9" fmla="*/ 171250 w 201283"/>
                    <a:gd name="connsiteY9" fmla="*/ 127680 h 134063"/>
                    <a:gd name="connsiteX10" fmla="*/ 171250 w 201283"/>
                    <a:gd name="connsiteY10" fmla="*/ 103421 h 134063"/>
                    <a:gd name="connsiteX11" fmla="*/ 194893 w 201283"/>
                    <a:gd name="connsiteY11" fmla="*/ 103421 h 134063"/>
                    <a:gd name="connsiteX12" fmla="*/ 201283 w 201283"/>
                    <a:gd name="connsiteY12" fmla="*/ 97037 h 134063"/>
                    <a:gd name="connsiteX13" fmla="*/ 201283 w 201283"/>
                    <a:gd name="connsiteY13" fmla="*/ 6384 h 134063"/>
                    <a:gd name="connsiteX14" fmla="*/ 194893 w 201283"/>
                    <a:gd name="connsiteY14" fmla="*/ 0 h 134063"/>
                    <a:gd name="connsiteX15" fmla="*/ 158470 w 201283"/>
                    <a:gd name="connsiteY15" fmla="*/ 120657 h 134063"/>
                    <a:gd name="connsiteX16" fmla="*/ 12780 w 201283"/>
                    <a:gd name="connsiteY16" fmla="*/ 120657 h 134063"/>
                    <a:gd name="connsiteX17" fmla="*/ 12780 w 201283"/>
                    <a:gd name="connsiteY17" fmla="*/ 42134 h 134063"/>
                    <a:gd name="connsiteX18" fmla="*/ 158470 w 201283"/>
                    <a:gd name="connsiteY18" fmla="*/ 42134 h 134063"/>
                    <a:gd name="connsiteX19" fmla="*/ 158470 w 201283"/>
                    <a:gd name="connsiteY19" fmla="*/ 120657 h 134063"/>
                    <a:gd name="connsiteX20" fmla="*/ 188503 w 201283"/>
                    <a:gd name="connsiteY20" fmla="*/ 90653 h 134063"/>
                    <a:gd name="connsiteX21" fmla="*/ 171250 w 201283"/>
                    <a:gd name="connsiteY21" fmla="*/ 90653 h 134063"/>
                    <a:gd name="connsiteX22" fmla="*/ 171250 w 201283"/>
                    <a:gd name="connsiteY22" fmla="*/ 35750 h 134063"/>
                    <a:gd name="connsiteX23" fmla="*/ 164860 w 201283"/>
                    <a:gd name="connsiteY23" fmla="*/ 29366 h 134063"/>
                    <a:gd name="connsiteX24" fmla="*/ 41535 w 201283"/>
                    <a:gd name="connsiteY24" fmla="*/ 29366 h 134063"/>
                    <a:gd name="connsiteX25" fmla="*/ 41535 w 201283"/>
                    <a:gd name="connsiteY25" fmla="*/ 12130 h 134063"/>
                    <a:gd name="connsiteX26" fmla="*/ 188503 w 201283"/>
                    <a:gd name="connsiteY26" fmla="*/ 12130 h 134063"/>
                    <a:gd name="connsiteX27" fmla="*/ 188503 w 201283"/>
                    <a:gd name="connsiteY27" fmla="*/ 90653 h 13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1283" h="134063">
                      <a:moveTo>
                        <a:pt x="194893" y="0"/>
                      </a:moveTo>
                      <a:lnTo>
                        <a:pt x="35145" y="0"/>
                      </a:lnTo>
                      <a:cubicBezTo>
                        <a:pt x="31311" y="0"/>
                        <a:pt x="28755" y="2554"/>
                        <a:pt x="28755" y="6384"/>
                      </a:cubicBezTo>
                      <a:lnTo>
                        <a:pt x="28755" y="30005"/>
                      </a:lnTo>
                      <a:lnTo>
                        <a:pt x="6390" y="30005"/>
                      </a:lnTo>
                      <a:cubicBezTo>
                        <a:pt x="2556" y="30005"/>
                        <a:pt x="0" y="32558"/>
                        <a:pt x="0" y="36389"/>
                      </a:cubicBezTo>
                      <a:lnTo>
                        <a:pt x="0" y="127680"/>
                      </a:lnTo>
                      <a:cubicBezTo>
                        <a:pt x="0" y="131510"/>
                        <a:pt x="2556" y="134064"/>
                        <a:pt x="6390" y="134064"/>
                      </a:cubicBezTo>
                      <a:lnTo>
                        <a:pt x="164860" y="134064"/>
                      </a:lnTo>
                      <a:cubicBezTo>
                        <a:pt x="168695" y="134064"/>
                        <a:pt x="171250" y="131510"/>
                        <a:pt x="171250" y="127680"/>
                      </a:cubicBezTo>
                      <a:lnTo>
                        <a:pt x="171250" y="103421"/>
                      </a:lnTo>
                      <a:lnTo>
                        <a:pt x="194893" y="103421"/>
                      </a:lnTo>
                      <a:cubicBezTo>
                        <a:pt x="198727" y="103421"/>
                        <a:pt x="201283" y="100867"/>
                        <a:pt x="201283" y="97037"/>
                      </a:cubicBezTo>
                      <a:lnTo>
                        <a:pt x="201283" y="6384"/>
                      </a:lnTo>
                      <a:cubicBezTo>
                        <a:pt x="201283" y="2554"/>
                        <a:pt x="198088" y="0"/>
                        <a:pt x="194893" y="0"/>
                      </a:cubicBezTo>
                      <a:close/>
                      <a:moveTo>
                        <a:pt x="158470" y="120657"/>
                      </a:moveTo>
                      <a:lnTo>
                        <a:pt x="12780" y="120657"/>
                      </a:lnTo>
                      <a:lnTo>
                        <a:pt x="12780" y="42134"/>
                      </a:lnTo>
                      <a:lnTo>
                        <a:pt x="158470" y="42134"/>
                      </a:lnTo>
                      <a:lnTo>
                        <a:pt x="158470" y="120657"/>
                      </a:lnTo>
                      <a:close/>
                      <a:moveTo>
                        <a:pt x="188503" y="90653"/>
                      </a:moveTo>
                      <a:lnTo>
                        <a:pt x="171250" y="90653"/>
                      </a:lnTo>
                      <a:lnTo>
                        <a:pt x="171250" y="35750"/>
                      </a:lnTo>
                      <a:cubicBezTo>
                        <a:pt x="171250" y="31920"/>
                        <a:pt x="168695" y="29366"/>
                        <a:pt x="164860" y="29366"/>
                      </a:cubicBezTo>
                      <a:lnTo>
                        <a:pt x="41535" y="29366"/>
                      </a:lnTo>
                      <a:lnTo>
                        <a:pt x="41535" y="12130"/>
                      </a:lnTo>
                      <a:lnTo>
                        <a:pt x="188503" y="12130"/>
                      </a:lnTo>
                      <a:lnTo>
                        <a:pt x="188503" y="90653"/>
                      </a:lnTo>
                      <a:close/>
                    </a:path>
                  </a:pathLst>
                </a:custGeom>
                <a:solidFill>
                  <a:schemeClr val="bg1"/>
                </a:solidFill>
                <a:ln w="6390" cap="flat">
                  <a:noFill/>
                  <a:prstDash val="solid"/>
                  <a:miter/>
                </a:ln>
              </p:spPr>
              <p:txBody>
                <a:bodyPr rtlCol="0" anchor="ctr"/>
                <a:lstStyle/>
                <a:p>
                  <a:endParaRPr lang="en-US"/>
                </a:p>
              </p:txBody>
            </p:sp>
          </p:grpSp>
        </p:grpSp>
      </p:grpSp>
      <p:graphicFrame>
        <p:nvGraphicFramePr>
          <p:cNvPr id="187" name="Chart 186">
            <a:extLst>
              <a:ext uri="{FF2B5EF4-FFF2-40B4-BE49-F238E27FC236}">
                <a16:creationId xmlns:a16="http://schemas.microsoft.com/office/drawing/2014/main" id="{825D0E40-0E61-489D-B7BE-8D977733086E}"/>
              </a:ext>
            </a:extLst>
          </p:cNvPr>
          <p:cNvGraphicFramePr/>
          <p:nvPr>
            <p:custDataLst>
              <p:tags r:id="rId53"/>
            </p:custDataLst>
          </p:nvPr>
        </p:nvGraphicFramePr>
        <p:xfrm>
          <a:off x="8610600" y="3251200"/>
          <a:ext cx="3143250" cy="2435225"/>
        </p:xfrm>
        <a:graphic>
          <a:graphicData uri="http://schemas.openxmlformats.org/drawingml/2006/chart">
            <c:chart xmlns:c="http://schemas.openxmlformats.org/drawingml/2006/chart" xmlns:r="http://schemas.openxmlformats.org/officeDocument/2006/relationships" r:id="rId82"/>
          </a:graphicData>
        </a:graphic>
      </p:graphicFrame>
      <p:cxnSp>
        <p:nvCxnSpPr>
          <p:cNvPr id="144" name="Straight Connector 143">
            <a:extLst>
              <a:ext uri="{FF2B5EF4-FFF2-40B4-BE49-F238E27FC236}">
                <a16:creationId xmlns:a16="http://schemas.microsoft.com/office/drawing/2014/main" id="{B9DBCEA4-FBF5-40F4-81C7-EEA6E5843B05}"/>
              </a:ext>
            </a:extLst>
          </p:cNvPr>
          <p:cNvCxnSpPr/>
          <p:nvPr>
            <p:custDataLst>
              <p:tags r:id="rId54"/>
            </p:custDataLst>
          </p:nvPr>
        </p:nvCxnSpPr>
        <p:spPr bwMode="grayWhite">
          <a:xfrm flipV="1">
            <a:off x="9259888" y="2778125"/>
            <a:ext cx="0" cy="555625"/>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E392A52A-4665-4E2A-ABD0-4C954A755DA7}"/>
              </a:ext>
            </a:extLst>
          </p:cNvPr>
          <p:cNvCxnSpPr/>
          <p:nvPr>
            <p:custDataLst>
              <p:tags r:id="rId55"/>
            </p:custDataLst>
          </p:nvPr>
        </p:nvCxnSpPr>
        <p:spPr bwMode="grayWhite">
          <a:xfrm>
            <a:off x="9259888" y="2778125"/>
            <a:ext cx="268288" cy="0"/>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558573C5-2964-48F9-A641-40857D04EEFB}"/>
              </a:ext>
            </a:extLst>
          </p:cNvPr>
          <p:cNvCxnSpPr/>
          <p:nvPr>
            <p:custDataLst>
              <p:tags r:id="rId56"/>
            </p:custDataLst>
          </p:nvPr>
        </p:nvCxnSpPr>
        <p:spPr bwMode="grayWhite">
          <a:xfrm>
            <a:off x="10026650" y="2778125"/>
            <a:ext cx="269875" cy="0"/>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0D088C7F-1110-496D-9E0E-8D3BF5798E07}"/>
              </a:ext>
            </a:extLst>
          </p:cNvPr>
          <p:cNvCxnSpPr/>
          <p:nvPr>
            <p:custDataLst>
              <p:tags r:id="rId57"/>
            </p:custDataLst>
          </p:nvPr>
        </p:nvCxnSpPr>
        <p:spPr bwMode="grayWhite">
          <a:xfrm>
            <a:off x="10296525" y="2778125"/>
            <a:ext cx="0" cy="444500"/>
          </a:xfrm>
          <a:prstGeom prst="line">
            <a:avLst/>
          </a:prstGeom>
          <a:ln w="6350" cap="flat" cmpd="sng" algn="ctr">
            <a:solidFill>
              <a:srgbClr val="FFFFFF"/>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4A6EBB15-4008-45C7-8031-537B1F270101}"/>
              </a:ext>
            </a:extLst>
          </p:cNvPr>
          <p:cNvCxnSpPr/>
          <p:nvPr>
            <p:custDataLst>
              <p:tags r:id="rId58"/>
            </p:custDataLst>
          </p:nvPr>
        </p:nvCxnSpPr>
        <p:spPr bwMode="grayWhite">
          <a:xfrm flipV="1">
            <a:off x="10367963" y="3038475"/>
            <a:ext cx="0" cy="184150"/>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675F8CE6-7B68-495C-BCE4-62F3976B868D}"/>
              </a:ext>
            </a:extLst>
          </p:cNvPr>
          <p:cNvCxnSpPr/>
          <p:nvPr>
            <p:custDataLst>
              <p:tags r:id="rId59"/>
            </p:custDataLst>
          </p:nvPr>
        </p:nvCxnSpPr>
        <p:spPr bwMode="grayWhite">
          <a:xfrm>
            <a:off x="10831513" y="3038475"/>
            <a:ext cx="0" cy="892175"/>
          </a:xfrm>
          <a:prstGeom prst="line">
            <a:avLst/>
          </a:prstGeom>
          <a:ln w="6350" cap="flat" cmpd="sng" algn="ctr">
            <a:solidFill>
              <a:srgbClr val="FFFFFF"/>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306F0851-B97D-408F-A68C-EECE57C15FAC}"/>
              </a:ext>
            </a:extLst>
          </p:cNvPr>
          <p:cNvCxnSpPr/>
          <p:nvPr>
            <p:custDataLst>
              <p:tags r:id="rId60"/>
            </p:custDataLst>
          </p:nvPr>
        </p:nvCxnSpPr>
        <p:spPr bwMode="grayWhite">
          <a:xfrm flipV="1">
            <a:off x="10904538" y="3746500"/>
            <a:ext cx="0" cy="184150"/>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Straight Connector 150">
            <a:extLst>
              <a:ext uri="{FF2B5EF4-FFF2-40B4-BE49-F238E27FC236}">
                <a16:creationId xmlns:a16="http://schemas.microsoft.com/office/drawing/2014/main" id="{B140A8FF-0384-4384-BED0-979E39821CC3}"/>
              </a:ext>
            </a:extLst>
          </p:cNvPr>
          <p:cNvCxnSpPr/>
          <p:nvPr>
            <p:custDataLst>
              <p:tags r:id="rId61"/>
            </p:custDataLst>
          </p:nvPr>
        </p:nvCxnSpPr>
        <p:spPr bwMode="grayWhite">
          <a:xfrm>
            <a:off x="11403013" y="3746500"/>
            <a:ext cx="0" cy="349250"/>
          </a:xfrm>
          <a:prstGeom prst="line">
            <a:avLst/>
          </a:prstGeom>
          <a:ln w="6350" cap="flat" cmpd="sng" algn="ctr">
            <a:solidFill>
              <a:srgbClr val="FFFFFF"/>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59" name="Text Placeholder 18">
            <a:extLst>
              <a:ext uri="{FF2B5EF4-FFF2-40B4-BE49-F238E27FC236}">
                <a16:creationId xmlns:a16="http://schemas.microsoft.com/office/drawing/2014/main" id="{87A7C21F-3C3F-43DD-908A-DFF9F5F16388}"/>
              </a:ext>
            </a:extLst>
          </p:cNvPr>
          <p:cNvSpPr>
            <a:spLocks noGrp="1"/>
          </p:cNvSpPr>
          <p:nvPr>
            <p:custDataLst>
              <p:tags r:id="rId62"/>
            </p:custDataLst>
          </p:nvPr>
        </p:nvSpPr>
        <p:spPr bwMode="auto">
          <a:xfrm>
            <a:off x="9628188" y="5673725"/>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4083B671-2940-49BF-B197-57133FA6DFC7}" type="datetime'''''''''''''''''''''''''''''''''''2''''01''8'">
              <a:rPr lang="de-DE" altLang="en-US" sz="1000" smtClean="0">
                <a:solidFill>
                  <a:srgbClr val="FFFFFF"/>
                </a:solidFill>
              </a:rPr>
              <a:pPr/>
              <a:t>2018</a:t>
            </a:fld>
            <a:endParaRPr lang="de-DE" sz="1000" noProof="0" dirty="0">
              <a:solidFill>
                <a:srgbClr val="FFFFFF"/>
              </a:solidFill>
            </a:endParaRPr>
          </a:p>
        </p:txBody>
      </p:sp>
      <p:sp>
        <p:nvSpPr>
          <p:cNvPr id="152" name="Text Placeholder 18">
            <a:extLst>
              <a:ext uri="{FF2B5EF4-FFF2-40B4-BE49-F238E27FC236}">
                <a16:creationId xmlns:a16="http://schemas.microsoft.com/office/drawing/2014/main" id="{E83F7708-E9AF-4CEF-8F0D-E55DECAA828B}"/>
              </a:ext>
            </a:extLst>
          </p:cNvPr>
          <p:cNvSpPr>
            <a:spLocks noGrp="1"/>
          </p:cNvSpPr>
          <p:nvPr>
            <p:custDataLst>
              <p:tags r:id="rId63"/>
            </p:custDataLst>
          </p:nvPr>
        </p:nvSpPr>
        <p:spPr bwMode="auto">
          <a:xfrm>
            <a:off x="8448675" y="3889375"/>
            <a:ext cx="152400" cy="11588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r>
              <a:rPr lang="de-DE" altLang="en-US" sz="1000" dirty="0">
                <a:solidFill>
                  <a:schemeClr val="bg1"/>
                </a:solidFill>
                <a:effectLst/>
              </a:rPr>
              <a:t>Revenue (in </a:t>
            </a:r>
            <a:r>
              <a:rPr lang="de-DE" altLang="en-US" sz="1000" dirty="0" err="1">
                <a:solidFill>
                  <a:schemeClr val="bg1"/>
                </a:solidFill>
                <a:effectLst/>
              </a:rPr>
              <a:t>bn</a:t>
            </a:r>
            <a:r>
              <a:rPr lang="de-DE" altLang="en-US" sz="1000" dirty="0">
                <a:solidFill>
                  <a:schemeClr val="bg1"/>
                </a:solidFill>
                <a:effectLst/>
              </a:rPr>
              <a:t> €)</a:t>
            </a:r>
            <a:endParaRPr lang="de-DE" sz="1000" noProof="0" dirty="0">
              <a:solidFill>
                <a:schemeClr val="bg1"/>
              </a:solidFill>
            </a:endParaRPr>
          </a:p>
        </p:txBody>
      </p:sp>
      <p:sp>
        <p:nvSpPr>
          <p:cNvPr id="153" name="Text Placeholder 18">
            <a:extLst>
              <a:ext uri="{FF2B5EF4-FFF2-40B4-BE49-F238E27FC236}">
                <a16:creationId xmlns:a16="http://schemas.microsoft.com/office/drawing/2014/main" id="{CEE42398-48A7-4E15-A5C5-55DEC0F60D12}"/>
              </a:ext>
            </a:extLst>
          </p:cNvPr>
          <p:cNvSpPr>
            <a:spLocks noGrp="1"/>
          </p:cNvSpPr>
          <p:nvPr>
            <p:custDataLst>
              <p:tags r:id="rId64"/>
            </p:custDataLst>
          </p:nvPr>
        </p:nvSpPr>
        <p:spPr bwMode="auto">
          <a:xfrm>
            <a:off x="9091613" y="5673725"/>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67B8635B-E0EB-4E60-8BB5-7C4EEB62B0BC}" type="datetime'''2''0''''''''''''1''''''''''''7'''''''''">
              <a:rPr lang="de-DE" altLang="en-US" sz="1000" smtClean="0">
                <a:solidFill>
                  <a:srgbClr val="FFFFFF"/>
                </a:solidFill>
              </a:rPr>
              <a:pPr/>
              <a:t>2017</a:t>
            </a:fld>
            <a:endParaRPr lang="de-DE" sz="1000" noProof="0" dirty="0">
              <a:solidFill>
                <a:srgbClr val="FFFFFF"/>
              </a:solidFill>
            </a:endParaRPr>
          </a:p>
        </p:txBody>
      </p:sp>
      <p:sp>
        <p:nvSpPr>
          <p:cNvPr id="154" name="Text Placeholder 18">
            <a:extLst>
              <a:ext uri="{FF2B5EF4-FFF2-40B4-BE49-F238E27FC236}">
                <a16:creationId xmlns:a16="http://schemas.microsoft.com/office/drawing/2014/main" id="{45129331-DDC7-4A07-ADD9-4A2CD80D9E9F}"/>
              </a:ext>
            </a:extLst>
          </p:cNvPr>
          <p:cNvSpPr>
            <a:spLocks noGrp="1"/>
          </p:cNvSpPr>
          <p:nvPr>
            <p:custDataLst>
              <p:tags r:id="rId65"/>
            </p:custDataLst>
          </p:nvPr>
        </p:nvSpPr>
        <p:spPr bwMode="auto">
          <a:xfrm>
            <a:off x="10163175" y="5673725"/>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CA763969-D7D5-4875-B17E-AAEAF96CA03F}" type="datetime'''''''''2''''''0''''''''''''1''''''''9'">
              <a:rPr lang="de-DE" altLang="en-US" sz="1000" smtClean="0">
                <a:solidFill>
                  <a:srgbClr val="FFFFFF"/>
                </a:solidFill>
              </a:rPr>
              <a:pPr/>
              <a:t>2019</a:t>
            </a:fld>
            <a:endParaRPr lang="de-DE" sz="1000" noProof="0" dirty="0">
              <a:solidFill>
                <a:srgbClr val="FFFFFF"/>
              </a:solidFill>
            </a:endParaRPr>
          </a:p>
        </p:txBody>
      </p:sp>
      <p:sp>
        <p:nvSpPr>
          <p:cNvPr id="155" name="Text Placeholder 18">
            <a:extLst>
              <a:ext uri="{FF2B5EF4-FFF2-40B4-BE49-F238E27FC236}">
                <a16:creationId xmlns:a16="http://schemas.microsoft.com/office/drawing/2014/main" id="{3D649AA1-EC0B-4447-BCE0-3B144065578B}"/>
              </a:ext>
            </a:extLst>
          </p:cNvPr>
          <p:cNvSpPr>
            <a:spLocks noGrp="1"/>
          </p:cNvSpPr>
          <p:nvPr>
            <p:custDataLst>
              <p:tags r:id="rId66"/>
            </p:custDataLst>
          </p:nvPr>
        </p:nvSpPr>
        <p:spPr bwMode="auto">
          <a:xfrm>
            <a:off x="11234738" y="5673725"/>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22857DA5-318A-46F2-A795-4750D1BC559D}" type="datetime'''''2''''''0''''''''''2''''''''''''''''''1'''''''''''''''''">
              <a:rPr lang="de-DE" altLang="en-US" sz="1000" smtClean="0">
                <a:solidFill>
                  <a:srgbClr val="FFFFFF"/>
                </a:solidFill>
              </a:rPr>
              <a:pPr/>
              <a:t>2021</a:t>
            </a:fld>
            <a:endParaRPr lang="de-DE" sz="1000" noProof="0" dirty="0">
              <a:solidFill>
                <a:srgbClr val="FFFFFF"/>
              </a:solidFill>
            </a:endParaRPr>
          </a:p>
        </p:txBody>
      </p:sp>
      <p:sp>
        <p:nvSpPr>
          <p:cNvPr id="161" name="Text Placeholder 18">
            <a:extLst>
              <a:ext uri="{FF2B5EF4-FFF2-40B4-BE49-F238E27FC236}">
                <a16:creationId xmlns:a16="http://schemas.microsoft.com/office/drawing/2014/main" id="{DEC45665-428D-4FFC-BF8A-DA580FBD1AF4}"/>
              </a:ext>
            </a:extLst>
          </p:cNvPr>
          <p:cNvSpPr>
            <a:spLocks noGrp="1"/>
          </p:cNvSpPr>
          <p:nvPr>
            <p:custDataLst>
              <p:tags r:id="rId67"/>
            </p:custDataLst>
          </p:nvPr>
        </p:nvSpPr>
        <p:spPr bwMode="auto">
          <a:xfrm>
            <a:off x="10699750" y="5673725"/>
            <a:ext cx="336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D3430B85-4706-4963-BDA1-65ECDAA3AEBF}" type="datetime'''''''''''''''''''''''2''0''''2''''''''''''''''0'''">
              <a:rPr lang="de-DE" altLang="en-US" sz="1000" smtClean="0">
                <a:solidFill>
                  <a:srgbClr val="FFFFFF"/>
                </a:solidFill>
              </a:rPr>
              <a:pPr/>
              <a:t>2020</a:t>
            </a:fld>
            <a:endParaRPr lang="de-DE" sz="1000" noProof="0" dirty="0">
              <a:solidFill>
                <a:srgbClr val="FFFFFF"/>
              </a:solidFill>
            </a:endParaRPr>
          </a:p>
        </p:txBody>
      </p:sp>
      <p:sp>
        <p:nvSpPr>
          <p:cNvPr id="166" name="Text Placeholder 18">
            <a:extLst>
              <a:ext uri="{FF2B5EF4-FFF2-40B4-BE49-F238E27FC236}">
                <a16:creationId xmlns:a16="http://schemas.microsoft.com/office/drawing/2014/main" id="{EEDB7FAC-CB85-45AA-A42A-B815F049320C}"/>
              </a:ext>
            </a:extLst>
          </p:cNvPr>
          <p:cNvSpPr>
            <a:spLocks noGrp="1"/>
          </p:cNvSpPr>
          <p:nvPr>
            <p:custDataLst>
              <p:tags r:id="rId68"/>
            </p:custDataLst>
          </p:nvPr>
        </p:nvSpPr>
        <p:spPr bwMode="gray">
          <a:xfrm>
            <a:off x="9094788" y="3371850"/>
            <a:ext cx="3302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1F101451-A479-46A5-9D2E-C00432336BF4}" type="datetime'''''''2''''''''''''7''''''''''''''''''''''''''.''''3'''">
              <a:rPr lang="de-DE" altLang="en-US" sz="1000" smtClean="0"/>
              <a:pPr/>
              <a:t>27.3</a:t>
            </a:fld>
            <a:endParaRPr lang="de-DE" sz="1000" noProof="0" dirty="0"/>
          </a:p>
        </p:txBody>
      </p:sp>
      <p:sp>
        <p:nvSpPr>
          <p:cNvPr id="164" name="Text Placeholder 18">
            <a:extLst>
              <a:ext uri="{FF2B5EF4-FFF2-40B4-BE49-F238E27FC236}">
                <a16:creationId xmlns:a16="http://schemas.microsoft.com/office/drawing/2014/main" id="{F326FC44-B500-4E3B-8DF6-7A5B0AB33642}"/>
              </a:ext>
            </a:extLst>
          </p:cNvPr>
          <p:cNvSpPr>
            <a:spLocks noGrp="1"/>
          </p:cNvSpPr>
          <p:nvPr>
            <p:custDataLst>
              <p:tags r:id="rId69"/>
            </p:custDataLst>
          </p:nvPr>
        </p:nvSpPr>
        <p:spPr bwMode="gray">
          <a:xfrm>
            <a:off x="9631363" y="3333750"/>
            <a:ext cx="3302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2B84A487-E979-4E82-AE47-4BF595AE2B82}" type="datetime'''''''''''2''''''''''''''''''''''''''''''''''7''.''''''''8'''">
              <a:rPr lang="de-DE" altLang="en-US" sz="1000" smtClean="0"/>
              <a:pPr/>
              <a:t>27.8</a:t>
            </a:fld>
            <a:endParaRPr lang="de-DE" sz="1000" noProof="0" dirty="0"/>
          </a:p>
        </p:txBody>
      </p:sp>
      <p:sp>
        <p:nvSpPr>
          <p:cNvPr id="167" name="Text Placeholder 18">
            <a:extLst>
              <a:ext uri="{FF2B5EF4-FFF2-40B4-BE49-F238E27FC236}">
                <a16:creationId xmlns:a16="http://schemas.microsoft.com/office/drawing/2014/main" id="{744231B1-55CD-4D3D-AF5A-E8590E0321D2}"/>
              </a:ext>
            </a:extLst>
          </p:cNvPr>
          <p:cNvSpPr>
            <a:spLocks noGrp="1"/>
          </p:cNvSpPr>
          <p:nvPr>
            <p:custDataLst>
              <p:tags r:id="rId70"/>
            </p:custDataLst>
          </p:nvPr>
        </p:nvSpPr>
        <p:spPr bwMode="gray">
          <a:xfrm>
            <a:off x="10166350" y="3260725"/>
            <a:ext cx="3302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B6ABDDED-FCBC-484C-9F3D-E679F572A172}" type="datetime'''''''''''''''''''''''''''''2''''''''''''''8''.''''''8'''">
              <a:rPr lang="de-DE" altLang="en-US" sz="1000" smtClean="0"/>
              <a:pPr/>
              <a:t>28.8</a:t>
            </a:fld>
            <a:endParaRPr lang="de-DE" sz="1000" noProof="0" dirty="0"/>
          </a:p>
        </p:txBody>
      </p:sp>
      <p:sp>
        <p:nvSpPr>
          <p:cNvPr id="160" name="Text Placeholder 18">
            <a:extLst>
              <a:ext uri="{FF2B5EF4-FFF2-40B4-BE49-F238E27FC236}">
                <a16:creationId xmlns:a16="http://schemas.microsoft.com/office/drawing/2014/main" id="{3E756E04-ED5E-4DF0-B204-91E627B2AB31}"/>
              </a:ext>
            </a:extLst>
          </p:cNvPr>
          <p:cNvSpPr>
            <a:spLocks noGrp="1"/>
          </p:cNvSpPr>
          <p:nvPr>
            <p:custDataLst>
              <p:tags r:id="rId71"/>
            </p:custDataLst>
          </p:nvPr>
        </p:nvSpPr>
        <p:spPr bwMode="gray">
          <a:xfrm>
            <a:off x="10688638" y="3968750"/>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DCFD9D39-AD89-4430-93F2-9DD720B81E60}" type="datetime'''''''''''''''''''1''''9''''''.''''''''''''3'''''''''">
              <a:rPr lang="de-DE" altLang="en-US" sz="1000" b="1" smtClean="0">
                <a:solidFill>
                  <a:srgbClr val="000000"/>
                </a:solidFill>
              </a:rPr>
              <a:pPr/>
              <a:t>19.3</a:t>
            </a:fld>
            <a:endParaRPr lang="de-DE" sz="1000" b="1" noProof="0" dirty="0">
              <a:solidFill>
                <a:srgbClr val="000000"/>
              </a:solidFill>
            </a:endParaRPr>
          </a:p>
        </p:txBody>
      </p:sp>
      <p:sp>
        <p:nvSpPr>
          <p:cNvPr id="165" name="Text Placeholder 18">
            <a:extLst>
              <a:ext uri="{FF2B5EF4-FFF2-40B4-BE49-F238E27FC236}">
                <a16:creationId xmlns:a16="http://schemas.microsoft.com/office/drawing/2014/main" id="{DA3CCA55-BE20-4C03-BC19-DA8666022A27}"/>
              </a:ext>
            </a:extLst>
          </p:cNvPr>
          <p:cNvSpPr>
            <a:spLocks noGrp="1"/>
          </p:cNvSpPr>
          <p:nvPr>
            <p:custDataLst>
              <p:tags r:id="rId72"/>
            </p:custDataLst>
          </p:nvPr>
        </p:nvSpPr>
        <p:spPr bwMode="gray">
          <a:xfrm>
            <a:off x="11223625" y="4133850"/>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AAC6CBF2-D198-43E7-B45D-FF9385C35BCD}" type="datetime'''''''''1''''''''''''''''''7''''''''''''.''''''''''''1'">
              <a:rPr lang="de-DE" altLang="en-US" sz="1000" b="1" smtClean="0">
                <a:solidFill>
                  <a:srgbClr val="FFFFFF"/>
                </a:solidFill>
              </a:rPr>
              <a:pPr/>
              <a:t>17.1</a:t>
            </a:fld>
            <a:endParaRPr lang="de-DE" sz="1000" b="1" noProof="0" dirty="0">
              <a:solidFill>
                <a:srgbClr val="FFFFFF"/>
              </a:solidFill>
            </a:endParaRPr>
          </a:p>
        </p:txBody>
      </p:sp>
      <p:sp>
        <p:nvSpPr>
          <p:cNvPr id="168" name="Text Placeholder 18">
            <a:extLst>
              <a:ext uri="{FF2B5EF4-FFF2-40B4-BE49-F238E27FC236}">
                <a16:creationId xmlns:a16="http://schemas.microsoft.com/office/drawing/2014/main" id="{3B65A429-7582-4617-9628-DA50CF95D622}"/>
              </a:ext>
            </a:extLst>
          </p:cNvPr>
          <p:cNvSpPr>
            <a:spLocks noGrp="1"/>
          </p:cNvSpPr>
          <p:nvPr>
            <p:custDataLst>
              <p:tags r:id="rId73"/>
            </p:custDataLst>
          </p:nvPr>
        </p:nvSpPr>
        <p:spPr bwMode="auto">
          <a:xfrm>
            <a:off x="9461500" y="2670175"/>
            <a:ext cx="633413"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r>
              <a:rPr lang="de-DE" altLang="en-US" sz="1000" dirty="0">
                <a:solidFill>
                  <a:srgbClr val="FFFFFF"/>
                </a:solidFill>
              </a:rPr>
              <a:t>+2.9%</a:t>
            </a:r>
            <a:endParaRPr lang="de-DE" sz="1000" noProof="0" dirty="0">
              <a:solidFill>
                <a:srgbClr val="FFFFFF"/>
              </a:solidFill>
            </a:endParaRPr>
          </a:p>
        </p:txBody>
      </p:sp>
      <p:sp>
        <p:nvSpPr>
          <p:cNvPr id="169" name="Text Placeholder 18">
            <a:extLst>
              <a:ext uri="{FF2B5EF4-FFF2-40B4-BE49-F238E27FC236}">
                <a16:creationId xmlns:a16="http://schemas.microsoft.com/office/drawing/2014/main" id="{4BB25713-5F2F-40FC-9B69-53ECD9123C36}"/>
              </a:ext>
            </a:extLst>
          </p:cNvPr>
          <p:cNvSpPr>
            <a:spLocks noGrp="1"/>
          </p:cNvSpPr>
          <p:nvPr>
            <p:custDataLst>
              <p:tags r:id="rId74"/>
            </p:custDataLst>
          </p:nvPr>
        </p:nvSpPr>
        <p:spPr bwMode="auto">
          <a:xfrm>
            <a:off x="10258425" y="2854325"/>
            <a:ext cx="682625"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r>
              <a:rPr lang="de-DE" altLang="en-US" sz="1000" dirty="0">
                <a:solidFill>
                  <a:srgbClr val="FFFFFF"/>
                </a:solidFill>
              </a:rPr>
              <a:t>-32.9%</a:t>
            </a:r>
            <a:endParaRPr lang="de-DE" sz="1000" noProof="0" dirty="0">
              <a:solidFill>
                <a:srgbClr val="FFFFFF"/>
              </a:solidFill>
            </a:endParaRPr>
          </a:p>
        </p:txBody>
      </p:sp>
      <p:sp>
        <p:nvSpPr>
          <p:cNvPr id="170" name="Text Placeholder 18">
            <a:extLst>
              <a:ext uri="{FF2B5EF4-FFF2-40B4-BE49-F238E27FC236}">
                <a16:creationId xmlns:a16="http://schemas.microsoft.com/office/drawing/2014/main" id="{E57FD376-D8D9-4B5E-B0B9-C6B18F1B1718}"/>
              </a:ext>
            </a:extLst>
          </p:cNvPr>
          <p:cNvSpPr>
            <a:spLocks noGrp="1"/>
          </p:cNvSpPr>
          <p:nvPr>
            <p:custDataLst>
              <p:tags r:id="rId75"/>
            </p:custDataLst>
          </p:nvPr>
        </p:nvSpPr>
        <p:spPr bwMode="auto">
          <a:xfrm>
            <a:off x="10812463" y="3562350"/>
            <a:ext cx="682625"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39004014-1508-40BC-855F-0607746E04D3}" type="datetime'''''''-''''1''''''''''''''''''''1''''''''.''4''''''''''''%'''">
              <a:rPr lang="de-DE" altLang="en-US" sz="1000" smtClean="0">
                <a:solidFill>
                  <a:srgbClr val="FFFFFF"/>
                </a:solidFill>
              </a:rPr>
              <a:pPr/>
              <a:t>-11.4%</a:t>
            </a:fld>
            <a:endParaRPr lang="de-DE" sz="1000" noProof="0" dirty="0">
              <a:solidFill>
                <a:srgbClr val="FFFFFF"/>
              </a:solidFill>
            </a:endParaRPr>
          </a:p>
        </p:txBody>
      </p:sp>
    </p:spTree>
    <p:extLst>
      <p:ext uri="{BB962C8B-B14F-4D97-AF65-F5344CB8AC3E}">
        <p14:creationId xmlns:p14="http://schemas.microsoft.com/office/powerpoint/2010/main" val="367970002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93" imgH="493" progId="TCLayout.ActiveDocument.1">
                  <p:embed/>
                </p:oleObj>
              </mc:Choice>
              <mc:Fallback>
                <p:oleObj name="think-cell Folie" r:id="rId5" imgW="493" imgH="493"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buFont typeface="Wingdings 2" pitchFamily="18" charset="2"/>
              <a:buNone/>
            </a:pPr>
            <a:endParaRPr lang="en-GB" sz="2000" dirty="0">
              <a:solidFill>
                <a:schemeClr val="bg1"/>
              </a:solidFill>
              <a:latin typeface="Verdana" panose="020B0604030504040204" pitchFamily="34" charset="0"/>
              <a:ea typeface="+mj-ea"/>
              <a:cs typeface="+mj-cs"/>
              <a:sym typeface="Verdana" panose="020B0604030504040204" pitchFamily="34" charset="0"/>
            </a:endParaRPr>
          </a:p>
        </p:txBody>
      </p:sp>
      <p:sp>
        <p:nvSpPr>
          <p:cNvPr id="13" name="Title 1"/>
          <p:cNvSpPr>
            <a:spLocks noGrp="1"/>
          </p:cNvSpPr>
          <p:nvPr>
            <p:ph type="title"/>
          </p:nvPr>
        </p:nvSpPr>
        <p:spPr>
          <a:xfrm>
            <a:off x="469900" y="402586"/>
            <a:ext cx="11252200" cy="698501"/>
          </a:xfrm>
        </p:spPr>
        <p:txBody>
          <a:bodyPr vert="horz"/>
          <a:lstStyle/>
          <a:p>
            <a:r>
              <a:rPr lang="en-US" dirty="0" err="1"/>
              <a:t>En</a:t>
            </a:r>
            <a:r>
              <a:rPr lang="en-US" dirty="0"/>
              <a:t> Europe, il y a </a:t>
            </a:r>
            <a:r>
              <a:rPr lang="en-US" dirty="0" err="1"/>
              <a:t>eu</a:t>
            </a:r>
            <a:r>
              <a:rPr lang="en-US" dirty="0"/>
              <a:t> des </a:t>
            </a:r>
            <a:r>
              <a:rPr lang="en-US" dirty="0" err="1"/>
              <a:t>différences</a:t>
            </a:r>
            <a:r>
              <a:rPr lang="en-US" dirty="0"/>
              <a:t> </a:t>
            </a:r>
            <a:r>
              <a:rPr lang="en-US" dirty="0" err="1"/>
              <a:t>significatives</a:t>
            </a:r>
            <a:r>
              <a:rPr lang="en-US" dirty="0"/>
              <a:t> </a:t>
            </a:r>
            <a:r>
              <a:rPr lang="en-US" dirty="0" err="1"/>
              <a:t>en</a:t>
            </a:r>
            <a:r>
              <a:rPr lang="en-US" dirty="0"/>
              <a:t> </a:t>
            </a:r>
            <a:r>
              <a:rPr lang="en-US" dirty="0" err="1"/>
              <a:t>ce</a:t>
            </a:r>
            <a:r>
              <a:rPr lang="en-US" dirty="0"/>
              <a:t> qui </a:t>
            </a:r>
            <a:r>
              <a:rPr lang="en-US" dirty="0" err="1"/>
              <a:t>concerne</a:t>
            </a:r>
            <a:r>
              <a:rPr lang="en-US" dirty="0"/>
              <a:t> la fermeture des salles de sport </a:t>
            </a:r>
            <a:r>
              <a:rPr lang="en-US" dirty="0" err="1"/>
              <a:t>ces</a:t>
            </a:r>
            <a:r>
              <a:rPr lang="en-US" dirty="0"/>
              <a:t> deux </a:t>
            </a:r>
            <a:r>
              <a:rPr lang="en-US" dirty="0" err="1"/>
              <a:t>dernières</a:t>
            </a:r>
            <a:r>
              <a:rPr lang="en-US" dirty="0"/>
              <a:t> </a:t>
            </a:r>
            <a:r>
              <a:rPr lang="en-US" dirty="0" err="1"/>
              <a:t>années</a:t>
            </a:r>
            <a:endParaRPr lang="en-GB" noProof="0" dirty="0">
              <a:solidFill>
                <a:schemeClr val="bg1"/>
              </a:solidFill>
            </a:endParaRPr>
          </a:p>
        </p:txBody>
      </p:sp>
      <p:sp>
        <p:nvSpPr>
          <p:cNvPr id="143" name="Rectangle 142"/>
          <p:cNvSpPr/>
          <p:nvPr/>
        </p:nvSpPr>
        <p:spPr bwMode="gray">
          <a:xfrm>
            <a:off x="0" y="6055729"/>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21" name="Freeform 345"/>
          <p:cNvSpPr>
            <a:spLocks noEditPoints="1"/>
          </p:cNvSpPr>
          <p:nvPr/>
        </p:nvSpPr>
        <p:spPr bwMode="auto">
          <a:xfrm>
            <a:off x="8389937" y="4477472"/>
            <a:ext cx="1031875" cy="1330325"/>
          </a:xfrm>
          <a:custGeom>
            <a:avLst/>
            <a:gdLst>
              <a:gd name="T0" fmla="*/ 609 w 1666"/>
              <a:gd name="T1" fmla="*/ 2067 h 2146"/>
              <a:gd name="T2" fmla="*/ 1165 w 1666"/>
              <a:gd name="T3" fmla="*/ 1898 h 2146"/>
              <a:gd name="T4" fmla="*/ 1137 w 1666"/>
              <a:gd name="T5" fmla="*/ 2093 h 2146"/>
              <a:gd name="T6" fmla="*/ 992 w 1666"/>
              <a:gd name="T7" fmla="*/ 2053 h 2146"/>
              <a:gd name="T8" fmla="*/ 820 w 1666"/>
              <a:gd name="T9" fmla="*/ 1961 h 2146"/>
              <a:gd name="T10" fmla="*/ 702 w 1666"/>
              <a:gd name="T11" fmla="*/ 1899 h 2146"/>
              <a:gd name="T12" fmla="*/ 800 w 1666"/>
              <a:gd name="T13" fmla="*/ 1833 h 2146"/>
              <a:gd name="T14" fmla="*/ 999 w 1666"/>
              <a:gd name="T15" fmla="*/ 1867 h 2146"/>
              <a:gd name="T16" fmla="*/ 1211 w 1666"/>
              <a:gd name="T17" fmla="*/ 1828 h 2146"/>
              <a:gd name="T18" fmla="*/ 297 w 1666"/>
              <a:gd name="T19" fmla="*/ 1437 h 2146"/>
              <a:gd name="T20" fmla="*/ 333 w 1666"/>
              <a:gd name="T21" fmla="*/ 1300 h 2146"/>
              <a:gd name="T22" fmla="*/ 325 w 1666"/>
              <a:gd name="T23" fmla="*/ 1195 h 2146"/>
              <a:gd name="T24" fmla="*/ 282 w 1666"/>
              <a:gd name="T25" fmla="*/ 1164 h 2146"/>
              <a:gd name="T26" fmla="*/ 196 w 1666"/>
              <a:gd name="T27" fmla="*/ 1186 h 2146"/>
              <a:gd name="T28" fmla="*/ 96 w 1666"/>
              <a:gd name="T29" fmla="*/ 1220 h 2146"/>
              <a:gd name="T30" fmla="*/ 121 w 1666"/>
              <a:gd name="T31" fmla="*/ 1271 h 2146"/>
              <a:gd name="T32" fmla="*/ 109 w 1666"/>
              <a:gd name="T33" fmla="*/ 1386 h 2146"/>
              <a:gd name="T34" fmla="*/ 117 w 1666"/>
              <a:gd name="T35" fmla="*/ 1423 h 2146"/>
              <a:gd name="T36" fmla="*/ 104 w 1666"/>
              <a:gd name="T37" fmla="*/ 1539 h 2146"/>
              <a:gd name="T38" fmla="*/ 122 w 1666"/>
              <a:gd name="T39" fmla="*/ 1559 h 2146"/>
              <a:gd name="T40" fmla="*/ 190 w 1666"/>
              <a:gd name="T41" fmla="*/ 1566 h 2146"/>
              <a:gd name="T42" fmla="*/ 265 w 1666"/>
              <a:gd name="T43" fmla="*/ 1563 h 2146"/>
              <a:gd name="T44" fmla="*/ 442 w 1666"/>
              <a:gd name="T45" fmla="*/ 859 h 2146"/>
              <a:gd name="T46" fmla="*/ 472 w 1666"/>
              <a:gd name="T47" fmla="*/ 840 h 2146"/>
              <a:gd name="T48" fmla="*/ 796 w 1666"/>
              <a:gd name="T49" fmla="*/ 653 h 2146"/>
              <a:gd name="T50" fmla="*/ 803 w 1666"/>
              <a:gd name="T51" fmla="*/ 666 h 2146"/>
              <a:gd name="T52" fmla="*/ 186 w 1666"/>
              <a:gd name="T53" fmla="*/ 173 h 2146"/>
              <a:gd name="T54" fmla="*/ 325 w 1666"/>
              <a:gd name="T55" fmla="*/ 190 h 2146"/>
              <a:gd name="T56" fmla="*/ 434 w 1666"/>
              <a:gd name="T57" fmla="*/ 127 h 2146"/>
              <a:gd name="T58" fmla="*/ 513 w 1666"/>
              <a:gd name="T59" fmla="*/ 102 h 2146"/>
              <a:gd name="T60" fmla="*/ 569 w 1666"/>
              <a:gd name="T61" fmla="*/ 37 h 2146"/>
              <a:gd name="T62" fmla="*/ 700 w 1666"/>
              <a:gd name="T63" fmla="*/ 4 h 2146"/>
              <a:gd name="T64" fmla="*/ 899 w 1666"/>
              <a:gd name="T65" fmla="*/ 113 h 2146"/>
              <a:gd name="T66" fmla="*/ 1008 w 1666"/>
              <a:gd name="T67" fmla="*/ 196 h 2146"/>
              <a:gd name="T68" fmla="*/ 1005 w 1666"/>
              <a:gd name="T69" fmla="*/ 359 h 2146"/>
              <a:gd name="T70" fmla="*/ 917 w 1666"/>
              <a:gd name="T71" fmla="*/ 314 h 2146"/>
              <a:gd name="T72" fmla="*/ 831 w 1666"/>
              <a:gd name="T73" fmla="*/ 349 h 2146"/>
              <a:gd name="T74" fmla="*/ 803 w 1666"/>
              <a:gd name="T75" fmla="*/ 478 h 2146"/>
              <a:gd name="T76" fmla="*/ 920 w 1666"/>
              <a:gd name="T77" fmla="*/ 741 h 2146"/>
              <a:gd name="T78" fmla="*/ 997 w 1666"/>
              <a:gd name="T79" fmla="*/ 936 h 2146"/>
              <a:gd name="T80" fmla="*/ 1130 w 1666"/>
              <a:gd name="T81" fmla="*/ 1071 h 2146"/>
              <a:gd name="T82" fmla="*/ 1288 w 1666"/>
              <a:gd name="T83" fmla="*/ 1164 h 2146"/>
              <a:gd name="T84" fmla="*/ 1556 w 1666"/>
              <a:gd name="T85" fmla="*/ 1347 h 2146"/>
              <a:gd name="T86" fmla="*/ 1563 w 1666"/>
              <a:gd name="T87" fmla="*/ 1440 h 2146"/>
              <a:gd name="T88" fmla="*/ 1361 w 1666"/>
              <a:gd name="T89" fmla="*/ 1514 h 2146"/>
              <a:gd name="T90" fmla="*/ 1455 w 1666"/>
              <a:gd name="T91" fmla="*/ 1701 h 2146"/>
              <a:gd name="T92" fmla="*/ 1365 w 1666"/>
              <a:gd name="T93" fmla="*/ 1774 h 2146"/>
              <a:gd name="T94" fmla="*/ 1249 w 1666"/>
              <a:gd name="T95" fmla="*/ 1909 h 2146"/>
              <a:gd name="T96" fmla="*/ 1214 w 1666"/>
              <a:gd name="T97" fmla="*/ 1845 h 2146"/>
              <a:gd name="T98" fmla="*/ 1316 w 1666"/>
              <a:gd name="T99" fmla="*/ 1721 h 2146"/>
              <a:gd name="T100" fmla="*/ 1248 w 1666"/>
              <a:gd name="T101" fmla="*/ 1508 h 2146"/>
              <a:gd name="T102" fmla="*/ 1140 w 1666"/>
              <a:gd name="T103" fmla="*/ 1447 h 2146"/>
              <a:gd name="T104" fmla="*/ 1026 w 1666"/>
              <a:gd name="T105" fmla="*/ 1363 h 2146"/>
              <a:gd name="T106" fmla="*/ 988 w 1666"/>
              <a:gd name="T107" fmla="*/ 1287 h 2146"/>
              <a:gd name="T108" fmla="*/ 825 w 1666"/>
              <a:gd name="T109" fmla="*/ 1190 h 2146"/>
              <a:gd name="T110" fmla="*/ 616 w 1666"/>
              <a:gd name="T111" fmla="*/ 952 h 2146"/>
              <a:gd name="T112" fmla="*/ 535 w 1666"/>
              <a:gd name="T113" fmla="*/ 865 h 2146"/>
              <a:gd name="T114" fmla="*/ 463 w 1666"/>
              <a:gd name="T115" fmla="*/ 693 h 2146"/>
              <a:gd name="T116" fmla="*/ 295 w 1666"/>
              <a:gd name="T117" fmla="*/ 508 h 2146"/>
              <a:gd name="T118" fmla="*/ 81 w 1666"/>
              <a:gd name="T119" fmla="*/ 606 h 2146"/>
              <a:gd name="T120" fmla="*/ 10 w 1666"/>
              <a:gd name="T121" fmla="*/ 435 h 2146"/>
              <a:gd name="T122" fmla="*/ 21 w 1666"/>
              <a:gd name="T123" fmla="*/ 300 h 2146"/>
              <a:gd name="T124" fmla="*/ 44 w 1666"/>
              <a:gd name="T125" fmla="*/ 185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6" h="2146">
                <a:moveTo>
                  <a:pt x="624" y="2068"/>
                </a:moveTo>
                <a:cubicBezTo>
                  <a:pt x="619" y="2064"/>
                  <a:pt x="617" y="2060"/>
                  <a:pt x="612" y="2058"/>
                </a:cubicBezTo>
                <a:cubicBezTo>
                  <a:pt x="608" y="2056"/>
                  <a:pt x="605" y="2054"/>
                  <a:pt x="601" y="2056"/>
                </a:cubicBezTo>
                <a:cubicBezTo>
                  <a:pt x="598" y="2058"/>
                  <a:pt x="608" y="2066"/>
                  <a:pt x="609" y="2067"/>
                </a:cubicBezTo>
                <a:cubicBezTo>
                  <a:pt x="612" y="2070"/>
                  <a:pt x="612" y="2073"/>
                  <a:pt x="615" y="2074"/>
                </a:cubicBezTo>
                <a:cubicBezTo>
                  <a:pt x="618" y="2077"/>
                  <a:pt x="619" y="2078"/>
                  <a:pt x="624" y="2078"/>
                </a:cubicBezTo>
                <a:lnTo>
                  <a:pt x="624" y="2068"/>
                </a:lnTo>
                <a:close/>
                <a:moveTo>
                  <a:pt x="1165" y="1898"/>
                </a:moveTo>
                <a:lnTo>
                  <a:pt x="1119" y="1977"/>
                </a:lnTo>
                <a:cubicBezTo>
                  <a:pt x="1099" y="2011"/>
                  <a:pt x="1126" y="2002"/>
                  <a:pt x="1138" y="2022"/>
                </a:cubicBezTo>
                <a:cubicBezTo>
                  <a:pt x="1145" y="2033"/>
                  <a:pt x="1131" y="2041"/>
                  <a:pt x="1126" y="2048"/>
                </a:cubicBezTo>
                <a:cubicBezTo>
                  <a:pt x="1133" y="2060"/>
                  <a:pt x="1159" y="2082"/>
                  <a:pt x="1137" y="2093"/>
                </a:cubicBezTo>
                <a:cubicBezTo>
                  <a:pt x="1115" y="2104"/>
                  <a:pt x="1110" y="2143"/>
                  <a:pt x="1108" y="2144"/>
                </a:cubicBezTo>
                <a:cubicBezTo>
                  <a:pt x="1103" y="2146"/>
                  <a:pt x="1093" y="2129"/>
                  <a:pt x="1089" y="2126"/>
                </a:cubicBezTo>
                <a:cubicBezTo>
                  <a:pt x="1076" y="2114"/>
                  <a:pt x="1045" y="2123"/>
                  <a:pt x="1027" y="2116"/>
                </a:cubicBezTo>
                <a:cubicBezTo>
                  <a:pt x="992" y="2102"/>
                  <a:pt x="1011" y="2073"/>
                  <a:pt x="992" y="2053"/>
                </a:cubicBezTo>
                <a:cubicBezTo>
                  <a:pt x="981" y="2042"/>
                  <a:pt x="947" y="2048"/>
                  <a:pt x="930" y="2042"/>
                </a:cubicBezTo>
                <a:cubicBezTo>
                  <a:pt x="904" y="2033"/>
                  <a:pt x="890" y="2004"/>
                  <a:pt x="865" y="1998"/>
                </a:cubicBezTo>
                <a:cubicBezTo>
                  <a:pt x="855" y="1992"/>
                  <a:pt x="838" y="1990"/>
                  <a:pt x="830" y="1981"/>
                </a:cubicBezTo>
                <a:cubicBezTo>
                  <a:pt x="825" y="1975"/>
                  <a:pt x="824" y="1967"/>
                  <a:pt x="820" y="1961"/>
                </a:cubicBezTo>
                <a:cubicBezTo>
                  <a:pt x="809" y="1947"/>
                  <a:pt x="786" y="1964"/>
                  <a:pt x="777" y="1947"/>
                </a:cubicBezTo>
                <a:cubicBezTo>
                  <a:pt x="772" y="1935"/>
                  <a:pt x="766" y="1930"/>
                  <a:pt x="752" y="1931"/>
                </a:cubicBezTo>
                <a:cubicBezTo>
                  <a:pt x="727" y="1933"/>
                  <a:pt x="729" y="1936"/>
                  <a:pt x="718" y="1915"/>
                </a:cubicBezTo>
                <a:cubicBezTo>
                  <a:pt x="714" y="1908"/>
                  <a:pt x="706" y="1905"/>
                  <a:pt x="702" y="1899"/>
                </a:cubicBezTo>
                <a:cubicBezTo>
                  <a:pt x="698" y="1893"/>
                  <a:pt x="706" y="1882"/>
                  <a:pt x="707" y="1876"/>
                </a:cubicBezTo>
                <a:cubicBezTo>
                  <a:pt x="703" y="1866"/>
                  <a:pt x="709" y="1847"/>
                  <a:pt x="719" y="1837"/>
                </a:cubicBezTo>
                <a:lnTo>
                  <a:pt x="749" y="1806"/>
                </a:lnTo>
                <a:cubicBezTo>
                  <a:pt x="749" y="1822"/>
                  <a:pt x="787" y="1856"/>
                  <a:pt x="800" y="1833"/>
                </a:cubicBezTo>
                <a:cubicBezTo>
                  <a:pt x="808" y="1817"/>
                  <a:pt x="795" y="1787"/>
                  <a:pt x="829" y="1810"/>
                </a:cubicBezTo>
                <a:cubicBezTo>
                  <a:pt x="841" y="1817"/>
                  <a:pt x="856" y="1828"/>
                  <a:pt x="870" y="1829"/>
                </a:cubicBezTo>
                <a:cubicBezTo>
                  <a:pt x="887" y="1830"/>
                  <a:pt x="889" y="1859"/>
                  <a:pt x="899" y="1871"/>
                </a:cubicBezTo>
                <a:cubicBezTo>
                  <a:pt x="921" y="1897"/>
                  <a:pt x="973" y="1869"/>
                  <a:pt x="999" y="1867"/>
                </a:cubicBezTo>
                <a:cubicBezTo>
                  <a:pt x="1029" y="1870"/>
                  <a:pt x="1044" y="1856"/>
                  <a:pt x="1071" y="1848"/>
                </a:cubicBezTo>
                <a:cubicBezTo>
                  <a:pt x="1085" y="1844"/>
                  <a:pt x="1097" y="1859"/>
                  <a:pt x="1112" y="1859"/>
                </a:cubicBezTo>
                <a:cubicBezTo>
                  <a:pt x="1137" y="1859"/>
                  <a:pt x="1146" y="1831"/>
                  <a:pt x="1169" y="1830"/>
                </a:cubicBezTo>
                <a:cubicBezTo>
                  <a:pt x="1180" y="1829"/>
                  <a:pt x="1201" y="1826"/>
                  <a:pt x="1211" y="1828"/>
                </a:cubicBezTo>
                <a:cubicBezTo>
                  <a:pt x="1215" y="1841"/>
                  <a:pt x="1183" y="1872"/>
                  <a:pt x="1177" y="1883"/>
                </a:cubicBezTo>
                <a:lnTo>
                  <a:pt x="1165" y="1898"/>
                </a:lnTo>
                <a:close/>
                <a:moveTo>
                  <a:pt x="282" y="1524"/>
                </a:moveTo>
                <a:cubicBezTo>
                  <a:pt x="292" y="1499"/>
                  <a:pt x="293" y="1464"/>
                  <a:pt x="297" y="1437"/>
                </a:cubicBezTo>
                <a:cubicBezTo>
                  <a:pt x="300" y="1415"/>
                  <a:pt x="306" y="1393"/>
                  <a:pt x="301" y="1371"/>
                </a:cubicBezTo>
                <a:cubicBezTo>
                  <a:pt x="300" y="1363"/>
                  <a:pt x="303" y="1357"/>
                  <a:pt x="301" y="1349"/>
                </a:cubicBezTo>
                <a:lnTo>
                  <a:pt x="318" y="1317"/>
                </a:lnTo>
                <a:cubicBezTo>
                  <a:pt x="322" y="1311"/>
                  <a:pt x="331" y="1306"/>
                  <a:pt x="333" y="1300"/>
                </a:cubicBezTo>
                <a:cubicBezTo>
                  <a:pt x="337" y="1290"/>
                  <a:pt x="319" y="1278"/>
                  <a:pt x="320" y="1263"/>
                </a:cubicBezTo>
                <a:cubicBezTo>
                  <a:pt x="321" y="1252"/>
                  <a:pt x="331" y="1248"/>
                  <a:pt x="331" y="1240"/>
                </a:cubicBezTo>
                <a:cubicBezTo>
                  <a:pt x="331" y="1232"/>
                  <a:pt x="298" y="1227"/>
                  <a:pt x="298" y="1221"/>
                </a:cubicBezTo>
                <a:cubicBezTo>
                  <a:pt x="299" y="1212"/>
                  <a:pt x="325" y="1210"/>
                  <a:pt x="325" y="1195"/>
                </a:cubicBezTo>
                <a:lnTo>
                  <a:pt x="325" y="1194"/>
                </a:lnTo>
                <a:cubicBezTo>
                  <a:pt x="319" y="1194"/>
                  <a:pt x="311" y="1195"/>
                  <a:pt x="305" y="1193"/>
                </a:cubicBezTo>
                <a:cubicBezTo>
                  <a:pt x="297" y="1192"/>
                  <a:pt x="308" y="1174"/>
                  <a:pt x="307" y="1168"/>
                </a:cubicBezTo>
                <a:cubicBezTo>
                  <a:pt x="304" y="1151"/>
                  <a:pt x="293" y="1176"/>
                  <a:pt x="282" y="1164"/>
                </a:cubicBezTo>
                <a:cubicBezTo>
                  <a:pt x="278" y="1159"/>
                  <a:pt x="276" y="1149"/>
                  <a:pt x="273" y="1143"/>
                </a:cubicBezTo>
                <a:cubicBezTo>
                  <a:pt x="265" y="1128"/>
                  <a:pt x="253" y="1141"/>
                  <a:pt x="249" y="1151"/>
                </a:cubicBezTo>
                <a:cubicBezTo>
                  <a:pt x="242" y="1169"/>
                  <a:pt x="237" y="1162"/>
                  <a:pt x="220" y="1169"/>
                </a:cubicBezTo>
                <a:cubicBezTo>
                  <a:pt x="211" y="1172"/>
                  <a:pt x="204" y="1182"/>
                  <a:pt x="196" y="1186"/>
                </a:cubicBezTo>
                <a:cubicBezTo>
                  <a:pt x="167" y="1199"/>
                  <a:pt x="139" y="1204"/>
                  <a:pt x="114" y="1183"/>
                </a:cubicBezTo>
                <a:cubicBezTo>
                  <a:pt x="97" y="1169"/>
                  <a:pt x="101" y="1168"/>
                  <a:pt x="96" y="1186"/>
                </a:cubicBezTo>
                <a:cubicBezTo>
                  <a:pt x="94" y="1193"/>
                  <a:pt x="89" y="1197"/>
                  <a:pt x="86" y="1204"/>
                </a:cubicBezTo>
                <a:cubicBezTo>
                  <a:pt x="83" y="1213"/>
                  <a:pt x="97" y="1216"/>
                  <a:pt x="96" y="1220"/>
                </a:cubicBezTo>
                <a:cubicBezTo>
                  <a:pt x="94" y="1225"/>
                  <a:pt x="83" y="1235"/>
                  <a:pt x="83" y="1239"/>
                </a:cubicBezTo>
                <a:cubicBezTo>
                  <a:pt x="87" y="1240"/>
                  <a:pt x="98" y="1247"/>
                  <a:pt x="103" y="1249"/>
                </a:cubicBezTo>
                <a:cubicBezTo>
                  <a:pt x="106" y="1251"/>
                  <a:pt x="116" y="1250"/>
                  <a:pt x="117" y="1253"/>
                </a:cubicBezTo>
                <a:cubicBezTo>
                  <a:pt x="119" y="1254"/>
                  <a:pt x="120" y="1268"/>
                  <a:pt x="121" y="1271"/>
                </a:cubicBezTo>
                <a:cubicBezTo>
                  <a:pt x="118" y="1275"/>
                  <a:pt x="116" y="1286"/>
                  <a:pt x="115" y="1291"/>
                </a:cubicBezTo>
                <a:cubicBezTo>
                  <a:pt x="114" y="1297"/>
                  <a:pt x="129" y="1301"/>
                  <a:pt x="129" y="1313"/>
                </a:cubicBezTo>
                <a:cubicBezTo>
                  <a:pt x="129" y="1324"/>
                  <a:pt x="127" y="1349"/>
                  <a:pt x="120" y="1358"/>
                </a:cubicBezTo>
                <a:cubicBezTo>
                  <a:pt x="112" y="1366"/>
                  <a:pt x="109" y="1373"/>
                  <a:pt x="109" y="1386"/>
                </a:cubicBezTo>
                <a:cubicBezTo>
                  <a:pt x="109" y="1403"/>
                  <a:pt x="122" y="1382"/>
                  <a:pt x="126" y="1379"/>
                </a:cubicBezTo>
                <a:cubicBezTo>
                  <a:pt x="135" y="1370"/>
                  <a:pt x="133" y="1412"/>
                  <a:pt x="133" y="1416"/>
                </a:cubicBezTo>
                <a:cubicBezTo>
                  <a:pt x="133" y="1422"/>
                  <a:pt x="134" y="1431"/>
                  <a:pt x="130" y="1434"/>
                </a:cubicBezTo>
                <a:cubicBezTo>
                  <a:pt x="125" y="1438"/>
                  <a:pt x="122" y="1423"/>
                  <a:pt x="117" y="1423"/>
                </a:cubicBezTo>
                <a:cubicBezTo>
                  <a:pt x="115" y="1431"/>
                  <a:pt x="110" y="1437"/>
                  <a:pt x="109" y="1447"/>
                </a:cubicBezTo>
                <a:lnTo>
                  <a:pt x="103" y="1484"/>
                </a:lnTo>
                <a:cubicBezTo>
                  <a:pt x="94" y="1500"/>
                  <a:pt x="83" y="1523"/>
                  <a:pt x="106" y="1534"/>
                </a:cubicBezTo>
                <a:cubicBezTo>
                  <a:pt x="106" y="1536"/>
                  <a:pt x="105" y="1538"/>
                  <a:pt x="104" y="1539"/>
                </a:cubicBezTo>
                <a:cubicBezTo>
                  <a:pt x="102" y="1544"/>
                  <a:pt x="90" y="1532"/>
                  <a:pt x="87" y="1532"/>
                </a:cubicBezTo>
                <a:cubicBezTo>
                  <a:pt x="74" y="1532"/>
                  <a:pt x="81" y="1532"/>
                  <a:pt x="83" y="1540"/>
                </a:cubicBezTo>
                <a:cubicBezTo>
                  <a:pt x="85" y="1546"/>
                  <a:pt x="79" y="1559"/>
                  <a:pt x="88" y="1559"/>
                </a:cubicBezTo>
                <a:cubicBezTo>
                  <a:pt x="99" y="1558"/>
                  <a:pt x="120" y="1537"/>
                  <a:pt x="122" y="1559"/>
                </a:cubicBezTo>
                <a:cubicBezTo>
                  <a:pt x="122" y="1563"/>
                  <a:pt x="122" y="1594"/>
                  <a:pt x="123" y="1595"/>
                </a:cubicBezTo>
                <a:cubicBezTo>
                  <a:pt x="125" y="1598"/>
                  <a:pt x="150" y="1597"/>
                  <a:pt x="158" y="1600"/>
                </a:cubicBezTo>
                <a:cubicBezTo>
                  <a:pt x="168" y="1604"/>
                  <a:pt x="182" y="1600"/>
                  <a:pt x="189" y="1593"/>
                </a:cubicBezTo>
                <a:cubicBezTo>
                  <a:pt x="198" y="1584"/>
                  <a:pt x="193" y="1576"/>
                  <a:pt x="190" y="1566"/>
                </a:cubicBezTo>
                <a:cubicBezTo>
                  <a:pt x="186" y="1556"/>
                  <a:pt x="188" y="1555"/>
                  <a:pt x="195" y="1547"/>
                </a:cubicBezTo>
                <a:cubicBezTo>
                  <a:pt x="201" y="1541"/>
                  <a:pt x="184" y="1511"/>
                  <a:pt x="192" y="1509"/>
                </a:cubicBezTo>
                <a:cubicBezTo>
                  <a:pt x="200" y="1507"/>
                  <a:pt x="251" y="1534"/>
                  <a:pt x="255" y="1542"/>
                </a:cubicBezTo>
                <a:cubicBezTo>
                  <a:pt x="256" y="1546"/>
                  <a:pt x="262" y="1563"/>
                  <a:pt x="265" y="1563"/>
                </a:cubicBezTo>
                <a:cubicBezTo>
                  <a:pt x="278" y="1564"/>
                  <a:pt x="274" y="1545"/>
                  <a:pt x="279" y="1536"/>
                </a:cubicBezTo>
                <a:lnTo>
                  <a:pt x="282" y="1524"/>
                </a:lnTo>
                <a:close/>
                <a:moveTo>
                  <a:pt x="464" y="871"/>
                </a:moveTo>
                <a:cubicBezTo>
                  <a:pt x="462" y="861"/>
                  <a:pt x="450" y="862"/>
                  <a:pt x="442" y="859"/>
                </a:cubicBezTo>
                <a:cubicBezTo>
                  <a:pt x="437" y="857"/>
                  <a:pt x="433" y="855"/>
                  <a:pt x="430" y="851"/>
                </a:cubicBezTo>
                <a:cubicBezTo>
                  <a:pt x="422" y="838"/>
                  <a:pt x="438" y="844"/>
                  <a:pt x="443" y="846"/>
                </a:cubicBezTo>
                <a:cubicBezTo>
                  <a:pt x="449" y="847"/>
                  <a:pt x="458" y="844"/>
                  <a:pt x="463" y="842"/>
                </a:cubicBezTo>
                <a:cubicBezTo>
                  <a:pt x="465" y="842"/>
                  <a:pt x="472" y="837"/>
                  <a:pt x="472" y="840"/>
                </a:cubicBezTo>
                <a:cubicBezTo>
                  <a:pt x="472" y="847"/>
                  <a:pt x="473" y="852"/>
                  <a:pt x="474" y="859"/>
                </a:cubicBezTo>
                <a:cubicBezTo>
                  <a:pt x="474" y="863"/>
                  <a:pt x="476" y="875"/>
                  <a:pt x="469" y="874"/>
                </a:cubicBezTo>
                <a:lnTo>
                  <a:pt x="464" y="871"/>
                </a:lnTo>
                <a:close/>
                <a:moveTo>
                  <a:pt x="796" y="653"/>
                </a:moveTo>
                <a:cubicBezTo>
                  <a:pt x="790" y="649"/>
                  <a:pt x="782" y="645"/>
                  <a:pt x="775" y="648"/>
                </a:cubicBezTo>
                <a:cubicBezTo>
                  <a:pt x="770" y="649"/>
                  <a:pt x="766" y="657"/>
                  <a:pt x="766" y="661"/>
                </a:cubicBezTo>
                <a:cubicBezTo>
                  <a:pt x="766" y="668"/>
                  <a:pt x="771" y="676"/>
                  <a:pt x="777" y="680"/>
                </a:cubicBezTo>
                <a:cubicBezTo>
                  <a:pt x="788" y="687"/>
                  <a:pt x="805" y="682"/>
                  <a:pt x="803" y="666"/>
                </a:cubicBezTo>
                <a:lnTo>
                  <a:pt x="796" y="653"/>
                </a:lnTo>
                <a:close/>
                <a:moveTo>
                  <a:pt x="68" y="160"/>
                </a:moveTo>
                <a:cubicBezTo>
                  <a:pt x="84" y="166"/>
                  <a:pt x="94" y="173"/>
                  <a:pt x="112" y="166"/>
                </a:cubicBezTo>
                <a:cubicBezTo>
                  <a:pt x="154" y="151"/>
                  <a:pt x="144" y="167"/>
                  <a:pt x="186" y="173"/>
                </a:cubicBezTo>
                <a:cubicBezTo>
                  <a:pt x="219" y="179"/>
                  <a:pt x="215" y="143"/>
                  <a:pt x="229" y="126"/>
                </a:cubicBezTo>
                <a:cubicBezTo>
                  <a:pt x="237" y="117"/>
                  <a:pt x="262" y="95"/>
                  <a:pt x="273" y="93"/>
                </a:cubicBezTo>
                <a:cubicBezTo>
                  <a:pt x="303" y="86"/>
                  <a:pt x="250" y="124"/>
                  <a:pt x="291" y="140"/>
                </a:cubicBezTo>
                <a:cubicBezTo>
                  <a:pt x="313" y="149"/>
                  <a:pt x="315" y="172"/>
                  <a:pt x="325" y="190"/>
                </a:cubicBezTo>
                <a:cubicBezTo>
                  <a:pt x="336" y="208"/>
                  <a:pt x="348" y="211"/>
                  <a:pt x="359" y="189"/>
                </a:cubicBezTo>
                <a:cubicBezTo>
                  <a:pt x="371" y="166"/>
                  <a:pt x="396" y="154"/>
                  <a:pt x="397" y="128"/>
                </a:cubicBezTo>
                <a:cubicBezTo>
                  <a:pt x="397" y="120"/>
                  <a:pt x="403" y="99"/>
                  <a:pt x="412" y="97"/>
                </a:cubicBezTo>
                <a:cubicBezTo>
                  <a:pt x="417" y="96"/>
                  <a:pt x="430" y="123"/>
                  <a:pt x="434" y="127"/>
                </a:cubicBezTo>
                <a:cubicBezTo>
                  <a:pt x="443" y="129"/>
                  <a:pt x="452" y="135"/>
                  <a:pt x="461" y="135"/>
                </a:cubicBezTo>
                <a:cubicBezTo>
                  <a:pt x="470" y="136"/>
                  <a:pt x="474" y="136"/>
                  <a:pt x="483" y="139"/>
                </a:cubicBezTo>
                <a:cubicBezTo>
                  <a:pt x="497" y="144"/>
                  <a:pt x="510" y="148"/>
                  <a:pt x="510" y="127"/>
                </a:cubicBezTo>
                <a:cubicBezTo>
                  <a:pt x="510" y="121"/>
                  <a:pt x="505" y="104"/>
                  <a:pt x="513" y="102"/>
                </a:cubicBezTo>
                <a:cubicBezTo>
                  <a:pt x="522" y="98"/>
                  <a:pt x="550" y="117"/>
                  <a:pt x="556" y="95"/>
                </a:cubicBezTo>
                <a:cubicBezTo>
                  <a:pt x="559" y="88"/>
                  <a:pt x="557" y="83"/>
                  <a:pt x="554" y="76"/>
                </a:cubicBezTo>
                <a:cubicBezTo>
                  <a:pt x="550" y="68"/>
                  <a:pt x="555" y="62"/>
                  <a:pt x="558" y="55"/>
                </a:cubicBezTo>
                <a:lnTo>
                  <a:pt x="569" y="37"/>
                </a:lnTo>
                <a:lnTo>
                  <a:pt x="569" y="37"/>
                </a:lnTo>
                <a:cubicBezTo>
                  <a:pt x="583" y="34"/>
                  <a:pt x="593" y="22"/>
                  <a:pt x="605" y="15"/>
                </a:cubicBezTo>
                <a:cubicBezTo>
                  <a:pt x="608" y="13"/>
                  <a:pt x="625" y="24"/>
                  <a:pt x="630" y="25"/>
                </a:cubicBezTo>
                <a:cubicBezTo>
                  <a:pt x="655" y="30"/>
                  <a:pt x="675" y="4"/>
                  <a:pt x="700" y="4"/>
                </a:cubicBezTo>
                <a:cubicBezTo>
                  <a:pt x="717" y="3"/>
                  <a:pt x="736" y="10"/>
                  <a:pt x="754" y="10"/>
                </a:cubicBezTo>
                <a:cubicBezTo>
                  <a:pt x="770" y="10"/>
                  <a:pt x="827" y="0"/>
                  <a:pt x="828" y="22"/>
                </a:cubicBezTo>
                <a:cubicBezTo>
                  <a:pt x="830" y="57"/>
                  <a:pt x="818" y="70"/>
                  <a:pt x="847" y="97"/>
                </a:cubicBezTo>
                <a:cubicBezTo>
                  <a:pt x="865" y="109"/>
                  <a:pt x="878" y="111"/>
                  <a:pt x="899" y="113"/>
                </a:cubicBezTo>
                <a:cubicBezTo>
                  <a:pt x="934" y="116"/>
                  <a:pt x="949" y="140"/>
                  <a:pt x="981" y="144"/>
                </a:cubicBezTo>
                <a:cubicBezTo>
                  <a:pt x="1010" y="147"/>
                  <a:pt x="1021" y="163"/>
                  <a:pt x="1034" y="185"/>
                </a:cubicBezTo>
                <a:lnTo>
                  <a:pt x="1034" y="185"/>
                </a:lnTo>
                <a:lnTo>
                  <a:pt x="1008" y="196"/>
                </a:lnTo>
                <a:cubicBezTo>
                  <a:pt x="985" y="199"/>
                  <a:pt x="993" y="221"/>
                  <a:pt x="996" y="236"/>
                </a:cubicBezTo>
                <a:cubicBezTo>
                  <a:pt x="1000" y="255"/>
                  <a:pt x="995" y="273"/>
                  <a:pt x="1003" y="290"/>
                </a:cubicBezTo>
                <a:cubicBezTo>
                  <a:pt x="1012" y="307"/>
                  <a:pt x="1045" y="337"/>
                  <a:pt x="1024" y="356"/>
                </a:cubicBezTo>
                <a:lnTo>
                  <a:pt x="1005" y="359"/>
                </a:lnTo>
                <a:lnTo>
                  <a:pt x="1005" y="359"/>
                </a:lnTo>
                <a:cubicBezTo>
                  <a:pt x="1020" y="331"/>
                  <a:pt x="1026" y="351"/>
                  <a:pt x="1003" y="327"/>
                </a:cubicBezTo>
                <a:cubicBezTo>
                  <a:pt x="976" y="300"/>
                  <a:pt x="966" y="339"/>
                  <a:pt x="947" y="314"/>
                </a:cubicBezTo>
                <a:cubicBezTo>
                  <a:pt x="936" y="299"/>
                  <a:pt x="928" y="307"/>
                  <a:pt x="917" y="314"/>
                </a:cubicBezTo>
                <a:cubicBezTo>
                  <a:pt x="895" y="329"/>
                  <a:pt x="912" y="326"/>
                  <a:pt x="924" y="334"/>
                </a:cubicBezTo>
                <a:cubicBezTo>
                  <a:pt x="931" y="340"/>
                  <a:pt x="895" y="342"/>
                  <a:pt x="891" y="342"/>
                </a:cubicBezTo>
                <a:cubicBezTo>
                  <a:pt x="874" y="342"/>
                  <a:pt x="856" y="353"/>
                  <a:pt x="840" y="360"/>
                </a:cubicBezTo>
                <a:cubicBezTo>
                  <a:pt x="818" y="370"/>
                  <a:pt x="823" y="351"/>
                  <a:pt x="831" y="349"/>
                </a:cubicBezTo>
                <a:cubicBezTo>
                  <a:pt x="852" y="342"/>
                  <a:pt x="835" y="333"/>
                  <a:pt x="822" y="341"/>
                </a:cubicBezTo>
                <a:cubicBezTo>
                  <a:pt x="807" y="350"/>
                  <a:pt x="796" y="361"/>
                  <a:pt x="781" y="369"/>
                </a:cubicBezTo>
                <a:cubicBezTo>
                  <a:pt x="762" y="379"/>
                  <a:pt x="789" y="412"/>
                  <a:pt x="801" y="417"/>
                </a:cubicBezTo>
                <a:cubicBezTo>
                  <a:pt x="827" y="427"/>
                  <a:pt x="821" y="463"/>
                  <a:pt x="803" y="478"/>
                </a:cubicBezTo>
                <a:cubicBezTo>
                  <a:pt x="780" y="494"/>
                  <a:pt x="767" y="477"/>
                  <a:pt x="774" y="513"/>
                </a:cubicBezTo>
                <a:cubicBezTo>
                  <a:pt x="778" y="534"/>
                  <a:pt x="778" y="556"/>
                  <a:pt x="781" y="578"/>
                </a:cubicBezTo>
                <a:cubicBezTo>
                  <a:pt x="790" y="630"/>
                  <a:pt x="836" y="667"/>
                  <a:pt x="875" y="698"/>
                </a:cubicBezTo>
                <a:cubicBezTo>
                  <a:pt x="883" y="712"/>
                  <a:pt x="906" y="733"/>
                  <a:pt x="920" y="741"/>
                </a:cubicBezTo>
                <a:cubicBezTo>
                  <a:pt x="929" y="747"/>
                  <a:pt x="959" y="743"/>
                  <a:pt x="963" y="751"/>
                </a:cubicBezTo>
                <a:cubicBezTo>
                  <a:pt x="968" y="763"/>
                  <a:pt x="966" y="776"/>
                  <a:pt x="968" y="788"/>
                </a:cubicBezTo>
                <a:cubicBezTo>
                  <a:pt x="970" y="803"/>
                  <a:pt x="977" y="822"/>
                  <a:pt x="981" y="836"/>
                </a:cubicBezTo>
                <a:cubicBezTo>
                  <a:pt x="983" y="865"/>
                  <a:pt x="980" y="913"/>
                  <a:pt x="997" y="936"/>
                </a:cubicBezTo>
                <a:cubicBezTo>
                  <a:pt x="1015" y="960"/>
                  <a:pt x="1023" y="982"/>
                  <a:pt x="1046" y="1005"/>
                </a:cubicBezTo>
                <a:cubicBezTo>
                  <a:pt x="1053" y="1005"/>
                  <a:pt x="1056" y="1008"/>
                  <a:pt x="1061" y="1012"/>
                </a:cubicBezTo>
                <a:cubicBezTo>
                  <a:pt x="1061" y="1029"/>
                  <a:pt x="1078" y="1039"/>
                  <a:pt x="1094" y="1039"/>
                </a:cubicBezTo>
                <a:cubicBezTo>
                  <a:pt x="1111" y="1039"/>
                  <a:pt x="1115" y="1062"/>
                  <a:pt x="1130" y="1071"/>
                </a:cubicBezTo>
                <a:cubicBezTo>
                  <a:pt x="1172" y="1095"/>
                  <a:pt x="1199" y="1097"/>
                  <a:pt x="1244" y="1106"/>
                </a:cubicBezTo>
                <a:cubicBezTo>
                  <a:pt x="1269" y="1110"/>
                  <a:pt x="1296" y="1101"/>
                  <a:pt x="1318" y="1106"/>
                </a:cubicBezTo>
                <a:cubicBezTo>
                  <a:pt x="1323" y="1114"/>
                  <a:pt x="1315" y="1128"/>
                  <a:pt x="1314" y="1137"/>
                </a:cubicBezTo>
                <a:cubicBezTo>
                  <a:pt x="1302" y="1147"/>
                  <a:pt x="1306" y="1157"/>
                  <a:pt x="1288" y="1164"/>
                </a:cubicBezTo>
                <a:cubicBezTo>
                  <a:pt x="1267" y="1172"/>
                  <a:pt x="1279" y="1178"/>
                  <a:pt x="1291" y="1188"/>
                </a:cubicBezTo>
                <a:cubicBezTo>
                  <a:pt x="1314" y="1208"/>
                  <a:pt x="1342" y="1220"/>
                  <a:pt x="1369" y="1235"/>
                </a:cubicBezTo>
                <a:lnTo>
                  <a:pt x="1476" y="1294"/>
                </a:lnTo>
                <a:cubicBezTo>
                  <a:pt x="1503" y="1309"/>
                  <a:pt x="1529" y="1334"/>
                  <a:pt x="1556" y="1347"/>
                </a:cubicBezTo>
                <a:cubicBezTo>
                  <a:pt x="1604" y="1369"/>
                  <a:pt x="1630" y="1401"/>
                  <a:pt x="1653" y="1447"/>
                </a:cubicBezTo>
                <a:cubicBezTo>
                  <a:pt x="1666" y="1473"/>
                  <a:pt x="1645" y="1485"/>
                  <a:pt x="1645" y="1509"/>
                </a:cubicBezTo>
                <a:cubicBezTo>
                  <a:pt x="1645" y="1523"/>
                  <a:pt x="1652" y="1535"/>
                  <a:pt x="1632" y="1529"/>
                </a:cubicBezTo>
                <a:cubicBezTo>
                  <a:pt x="1580" y="1516"/>
                  <a:pt x="1612" y="1445"/>
                  <a:pt x="1563" y="1440"/>
                </a:cubicBezTo>
                <a:cubicBezTo>
                  <a:pt x="1552" y="1439"/>
                  <a:pt x="1467" y="1438"/>
                  <a:pt x="1473" y="1413"/>
                </a:cubicBezTo>
                <a:cubicBezTo>
                  <a:pt x="1477" y="1397"/>
                  <a:pt x="1481" y="1397"/>
                  <a:pt x="1460" y="1397"/>
                </a:cubicBezTo>
                <a:cubicBezTo>
                  <a:pt x="1445" y="1397"/>
                  <a:pt x="1435" y="1400"/>
                  <a:pt x="1426" y="1411"/>
                </a:cubicBezTo>
                <a:cubicBezTo>
                  <a:pt x="1395" y="1443"/>
                  <a:pt x="1380" y="1475"/>
                  <a:pt x="1361" y="1514"/>
                </a:cubicBezTo>
                <a:cubicBezTo>
                  <a:pt x="1359" y="1551"/>
                  <a:pt x="1365" y="1564"/>
                  <a:pt x="1400" y="1574"/>
                </a:cubicBezTo>
                <a:cubicBezTo>
                  <a:pt x="1419" y="1579"/>
                  <a:pt x="1439" y="1603"/>
                  <a:pt x="1455" y="1614"/>
                </a:cubicBezTo>
                <a:cubicBezTo>
                  <a:pt x="1461" y="1619"/>
                  <a:pt x="1457" y="1643"/>
                  <a:pt x="1457" y="1650"/>
                </a:cubicBezTo>
                <a:cubicBezTo>
                  <a:pt x="1457" y="1659"/>
                  <a:pt x="1460" y="1697"/>
                  <a:pt x="1455" y="1701"/>
                </a:cubicBezTo>
                <a:lnTo>
                  <a:pt x="1432" y="1716"/>
                </a:lnTo>
                <a:cubicBezTo>
                  <a:pt x="1429" y="1718"/>
                  <a:pt x="1420" y="1700"/>
                  <a:pt x="1415" y="1698"/>
                </a:cubicBezTo>
                <a:cubicBezTo>
                  <a:pt x="1403" y="1693"/>
                  <a:pt x="1381" y="1710"/>
                  <a:pt x="1375" y="1719"/>
                </a:cubicBezTo>
                <a:cubicBezTo>
                  <a:pt x="1364" y="1737"/>
                  <a:pt x="1365" y="1753"/>
                  <a:pt x="1365" y="1774"/>
                </a:cubicBezTo>
                <a:cubicBezTo>
                  <a:pt x="1367" y="1782"/>
                  <a:pt x="1363" y="1810"/>
                  <a:pt x="1361" y="1818"/>
                </a:cubicBezTo>
                <a:cubicBezTo>
                  <a:pt x="1358" y="1829"/>
                  <a:pt x="1338" y="1823"/>
                  <a:pt x="1330" y="1831"/>
                </a:cubicBezTo>
                <a:cubicBezTo>
                  <a:pt x="1311" y="1849"/>
                  <a:pt x="1292" y="1874"/>
                  <a:pt x="1287" y="1901"/>
                </a:cubicBezTo>
                <a:cubicBezTo>
                  <a:pt x="1285" y="1914"/>
                  <a:pt x="1258" y="1909"/>
                  <a:pt x="1249" y="1909"/>
                </a:cubicBezTo>
                <a:cubicBezTo>
                  <a:pt x="1225" y="1909"/>
                  <a:pt x="1220" y="1907"/>
                  <a:pt x="1213" y="1886"/>
                </a:cubicBezTo>
                <a:cubicBezTo>
                  <a:pt x="1209" y="1876"/>
                  <a:pt x="1213" y="1868"/>
                  <a:pt x="1213" y="1857"/>
                </a:cubicBezTo>
                <a:cubicBezTo>
                  <a:pt x="1213" y="1856"/>
                  <a:pt x="1212" y="1846"/>
                  <a:pt x="1214" y="1845"/>
                </a:cubicBezTo>
                <a:lnTo>
                  <a:pt x="1214" y="1845"/>
                </a:lnTo>
                <a:cubicBezTo>
                  <a:pt x="1229" y="1845"/>
                  <a:pt x="1244" y="1820"/>
                  <a:pt x="1252" y="1810"/>
                </a:cubicBezTo>
                <a:cubicBezTo>
                  <a:pt x="1292" y="1786"/>
                  <a:pt x="1223" y="1781"/>
                  <a:pt x="1243" y="1763"/>
                </a:cubicBezTo>
                <a:cubicBezTo>
                  <a:pt x="1255" y="1752"/>
                  <a:pt x="1271" y="1737"/>
                  <a:pt x="1286" y="1735"/>
                </a:cubicBezTo>
                <a:cubicBezTo>
                  <a:pt x="1304" y="1734"/>
                  <a:pt x="1313" y="1741"/>
                  <a:pt x="1316" y="1721"/>
                </a:cubicBezTo>
                <a:cubicBezTo>
                  <a:pt x="1318" y="1694"/>
                  <a:pt x="1312" y="1691"/>
                  <a:pt x="1295" y="1676"/>
                </a:cubicBezTo>
                <a:cubicBezTo>
                  <a:pt x="1274" y="1657"/>
                  <a:pt x="1300" y="1624"/>
                  <a:pt x="1280" y="1602"/>
                </a:cubicBezTo>
                <a:cubicBezTo>
                  <a:pt x="1267" y="1587"/>
                  <a:pt x="1254" y="1584"/>
                  <a:pt x="1246" y="1565"/>
                </a:cubicBezTo>
                <a:cubicBezTo>
                  <a:pt x="1238" y="1545"/>
                  <a:pt x="1255" y="1529"/>
                  <a:pt x="1248" y="1508"/>
                </a:cubicBezTo>
                <a:cubicBezTo>
                  <a:pt x="1246" y="1492"/>
                  <a:pt x="1217" y="1457"/>
                  <a:pt x="1199" y="1472"/>
                </a:cubicBezTo>
                <a:cubicBezTo>
                  <a:pt x="1161" y="1503"/>
                  <a:pt x="1186" y="1486"/>
                  <a:pt x="1152" y="1481"/>
                </a:cubicBezTo>
                <a:cubicBezTo>
                  <a:pt x="1151" y="1477"/>
                  <a:pt x="1157" y="1473"/>
                  <a:pt x="1154" y="1465"/>
                </a:cubicBezTo>
                <a:cubicBezTo>
                  <a:pt x="1152" y="1459"/>
                  <a:pt x="1144" y="1452"/>
                  <a:pt x="1140" y="1447"/>
                </a:cubicBezTo>
                <a:cubicBezTo>
                  <a:pt x="1130" y="1434"/>
                  <a:pt x="1090" y="1430"/>
                  <a:pt x="1105" y="1418"/>
                </a:cubicBezTo>
                <a:cubicBezTo>
                  <a:pt x="1114" y="1411"/>
                  <a:pt x="1116" y="1401"/>
                  <a:pt x="1112" y="1391"/>
                </a:cubicBezTo>
                <a:cubicBezTo>
                  <a:pt x="1107" y="1379"/>
                  <a:pt x="1102" y="1355"/>
                  <a:pt x="1086" y="1351"/>
                </a:cubicBezTo>
                <a:cubicBezTo>
                  <a:pt x="1066" y="1346"/>
                  <a:pt x="1045" y="1363"/>
                  <a:pt x="1026" y="1363"/>
                </a:cubicBezTo>
                <a:lnTo>
                  <a:pt x="1025" y="1363"/>
                </a:lnTo>
                <a:cubicBezTo>
                  <a:pt x="1025" y="1350"/>
                  <a:pt x="1060" y="1346"/>
                  <a:pt x="1051" y="1332"/>
                </a:cubicBezTo>
                <a:cubicBezTo>
                  <a:pt x="1035" y="1305"/>
                  <a:pt x="1018" y="1311"/>
                  <a:pt x="993" y="1314"/>
                </a:cubicBezTo>
                <a:cubicBezTo>
                  <a:pt x="981" y="1316"/>
                  <a:pt x="988" y="1295"/>
                  <a:pt x="988" y="1287"/>
                </a:cubicBezTo>
                <a:cubicBezTo>
                  <a:pt x="988" y="1281"/>
                  <a:pt x="973" y="1277"/>
                  <a:pt x="971" y="1267"/>
                </a:cubicBezTo>
                <a:cubicBezTo>
                  <a:pt x="956" y="1221"/>
                  <a:pt x="923" y="1201"/>
                  <a:pt x="874" y="1206"/>
                </a:cubicBezTo>
                <a:cubicBezTo>
                  <a:pt x="865" y="1207"/>
                  <a:pt x="849" y="1225"/>
                  <a:pt x="845" y="1222"/>
                </a:cubicBezTo>
                <a:cubicBezTo>
                  <a:pt x="840" y="1218"/>
                  <a:pt x="829" y="1197"/>
                  <a:pt x="825" y="1190"/>
                </a:cubicBezTo>
                <a:cubicBezTo>
                  <a:pt x="814" y="1172"/>
                  <a:pt x="787" y="1166"/>
                  <a:pt x="773" y="1146"/>
                </a:cubicBezTo>
                <a:lnTo>
                  <a:pt x="729" y="1076"/>
                </a:lnTo>
                <a:cubicBezTo>
                  <a:pt x="705" y="1038"/>
                  <a:pt x="662" y="1026"/>
                  <a:pt x="648" y="980"/>
                </a:cubicBezTo>
                <a:cubicBezTo>
                  <a:pt x="643" y="969"/>
                  <a:pt x="629" y="954"/>
                  <a:pt x="616" y="952"/>
                </a:cubicBezTo>
                <a:cubicBezTo>
                  <a:pt x="602" y="949"/>
                  <a:pt x="592" y="967"/>
                  <a:pt x="584" y="949"/>
                </a:cubicBezTo>
                <a:cubicBezTo>
                  <a:pt x="583" y="946"/>
                  <a:pt x="574" y="935"/>
                  <a:pt x="577" y="934"/>
                </a:cubicBezTo>
                <a:cubicBezTo>
                  <a:pt x="584" y="931"/>
                  <a:pt x="593" y="934"/>
                  <a:pt x="599" y="932"/>
                </a:cubicBezTo>
                <a:cubicBezTo>
                  <a:pt x="599" y="907"/>
                  <a:pt x="552" y="879"/>
                  <a:pt x="535" y="865"/>
                </a:cubicBezTo>
                <a:cubicBezTo>
                  <a:pt x="525" y="857"/>
                  <a:pt x="527" y="842"/>
                  <a:pt x="521" y="838"/>
                </a:cubicBezTo>
                <a:cubicBezTo>
                  <a:pt x="514" y="833"/>
                  <a:pt x="492" y="852"/>
                  <a:pt x="497" y="830"/>
                </a:cubicBezTo>
                <a:cubicBezTo>
                  <a:pt x="500" y="815"/>
                  <a:pt x="507" y="810"/>
                  <a:pt x="504" y="791"/>
                </a:cubicBezTo>
                <a:cubicBezTo>
                  <a:pt x="497" y="756"/>
                  <a:pt x="469" y="728"/>
                  <a:pt x="463" y="693"/>
                </a:cubicBezTo>
                <a:cubicBezTo>
                  <a:pt x="463" y="676"/>
                  <a:pt x="455" y="556"/>
                  <a:pt x="411" y="583"/>
                </a:cubicBezTo>
                <a:cubicBezTo>
                  <a:pt x="399" y="591"/>
                  <a:pt x="387" y="566"/>
                  <a:pt x="379" y="559"/>
                </a:cubicBezTo>
                <a:cubicBezTo>
                  <a:pt x="373" y="553"/>
                  <a:pt x="353" y="521"/>
                  <a:pt x="342" y="528"/>
                </a:cubicBezTo>
                <a:cubicBezTo>
                  <a:pt x="321" y="541"/>
                  <a:pt x="325" y="514"/>
                  <a:pt x="295" y="508"/>
                </a:cubicBezTo>
                <a:cubicBezTo>
                  <a:pt x="257" y="501"/>
                  <a:pt x="228" y="520"/>
                  <a:pt x="201" y="542"/>
                </a:cubicBezTo>
                <a:cubicBezTo>
                  <a:pt x="185" y="554"/>
                  <a:pt x="183" y="577"/>
                  <a:pt x="168" y="586"/>
                </a:cubicBezTo>
                <a:cubicBezTo>
                  <a:pt x="152" y="595"/>
                  <a:pt x="99" y="607"/>
                  <a:pt x="81" y="606"/>
                </a:cubicBezTo>
                <a:lnTo>
                  <a:pt x="81" y="606"/>
                </a:lnTo>
                <a:cubicBezTo>
                  <a:pt x="77" y="593"/>
                  <a:pt x="73" y="572"/>
                  <a:pt x="76" y="559"/>
                </a:cubicBezTo>
                <a:cubicBezTo>
                  <a:pt x="79" y="550"/>
                  <a:pt x="86" y="546"/>
                  <a:pt x="86" y="536"/>
                </a:cubicBezTo>
                <a:cubicBezTo>
                  <a:pt x="84" y="510"/>
                  <a:pt x="33" y="515"/>
                  <a:pt x="21" y="494"/>
                </a:cubicBezTo>
                <a:cubicBezTo>
                  <a:pt x="12" y="476"/>
                  <a:pt x="16" y="454"/>
                  <a:pt x="10" y="435"/>
                </a:cubicBezTo>
                <a:cubicBezTo>
                  <a:pt x="1" y="405"/>
                  <a:pt x="26" y="404"/>
                  <a:pt x="38" y="384"/>
                </a:cubicBezTo>
                <a:cubicBezTo>
                  <a:pt x="38" y="362"/>
                  <a:pt x="31" y="362"/>
                  <a:pt x="14" y="351"/>
                </a:cubicBezTo>
                <a:cubicBezTo>
                  <a:pt x="4" y="345"/>
                  <a:pt x="1" y="325"/>
                  <a:pt x="1" y="314"/>
                </a:cubicBezTo>
                <a:cubicBezTo>
                  <a:pt x="0" y="302"/>
                  <a:pt x="11" y="302"/>
                  <a:pt x="21" y="300"/>
                </a:cubicBezTo>
                <a:cubicBezTo>
                  <a:pt x="37" y="297"/>
                  <a:pt x="48" y="288"/>
                  <a:pt x="59" y="277"/>
                </a:cubicBezTo>
                <a:cubicBezTo>
                  <a:pt x="73" y="263"/>
                  <a:pt x="81" y="250"/>
                  <a:pt x="61" y="234"/>
                </a:cubicBezTo>
                <a:cubicBezTo>
                  <a:pt x="53" y="228"/>
                  <a:pt x="56" y="215"/>
                  <a:pt x="56" y="206"/>
                </a:cubicBezTo>
                <a:cubicBezTo>
                  <a:pt x="56" y="192"/>
                  <a:pt x="47" y="195"/>
                  <a:pt x="44" y="185"/>
                </a:cubicBezTo>
                <a:cubicBezTo>
                  <a:pt x="42" y="179"/>
                  <a:pt x="44" y="173"/>
                  <a:pt x="42" y="166"/>
                </a:cubicBezTo>
                <a:lnTo>
                  <a:pt x="68" y="160"/>
                </a:lnTo>
                <a:close/>
              </a:path>
            </a:pathLst>
          </a:custGeom>
          <a:noFill/>
          <a:ln w="31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93" name="Group 92"/>
          <p:cNvGrpSpPr/>
          <p:nvPr/>
        </p:nvGrpSpPr>
        <p:grpSpPr>
          <a:xfrm>
            <a:off x="0" y="1112402"/>
            <a:ext cx="1872351" cy="233523"/>
            <a:chOff x="0" y="1112402"/>
            <a:chExt cx="1872351" cy="233523"/>
          </a:xfrm>
        </p:grpSpPr>
        <p:sp>
          <p:nvSpPr>
            <p:cNvPr id="94" name="Freeform 93"/>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cxnSp>
          <p:nvCxnSpPr>
            <p:cNvPr id="95" name="Straight Connector 94"/>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grpSp>
        <p:nvGrpSpPr>
          <p:cNvPr id="97" name="Group 96"/>
          <p:cNvGrpSpPr/>
          <p:nvPr/>
        </p:nvGrpSpPr>
        <p:grpSpPr>
          <a:xfrm flipH="1">
            <a:off x="10319649" y="6223855"/>
            <a:ext cx="1872351" cy="233523"/>
            <a:chOff x="0" y="1112402"/>
            <a:chExt cx="1872351" cy="233523"/>
          </a:xfrm>
        </p:grpSpPr>
        <p:sp>
          <p:nvSpPr>
            <p:cNvPr id="98" name="Freeform 97"/>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cxnSp>
          <p:nvCxnSpPr>
            <p:cNvPr id="99" name="Straight Connector 98"/>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sp>
        <p:nvSpPr>
          <p:cNvPr id="103" name="TextBox 102"/>
          <p:cNvSpPr txBox="1"/>
          <p:nvPr/>
        </p:nvSpPr>
        <p:spPr>
          <a:xfrm>
            <a:off x="469900" y="6317808"/>
            <a:ext cx="1678345" cy="122854"/>
          </a:xfrm>
          <a:prstGeom prst="rect">
            <a:avLst/>
          </a:prstGeom>
          <a:noFill/>
        </p:spPr>
        <p:txBody>
          <a:bodyPr wrap="none" lIns="0" tIns="0" rIns="0" bIns="0" rtlCol="0" anchor="b">
            <a:spAutoFit/>
          </a:bodyPr>
          <a:lstStyle/>
          <a:p>
            <a:pPr eaLnBrk="0" fontAlgn="base" hangingPunct="0">
              <a:lnSpc>
                <a:spcPct val="110000"/>
              </a:lnSpc>
              <a:spcBef>
                <a:spcPct val="0"/>
              </a:spcBef>
              <a:spcAft>
                <a:spcPct val="0"/>
              </a:spcAft>
            </a:pPr>
            <a:r>
              <a:rPr lang="en-GB" sz="800" dirty="0">
                <a:solidFill>
                  <a:schemeClr val="bg1"/>
                </a:solidFill>
                <a:latin typeface="+mj-lt"/>
              </a:rPr>
              <a:t>Sources: EuropeActive, Deloitte.</a:t>
            </a:r>
          </a:p>
        </p:txBody>
      </p:sp>
      <p:graphicFrame>
        <p:nvGraphicFramePr>
          <p:cNvPr id="125" name="Table 36"/>
          <p:cNvGraphicFramePr>
            <a:graphicFrameLocks noGrp="1"/>
          </p:cNvGraphicFramePr>
          <p:nvPr>
            <p:extLst>
              <p:ext uri="{D42A27DB-BD31-4B8C-83A1-F6EECF244321}">
                <p14:modId xmlns:p14="http://schemas.microsoft.com/office/powerpoint/2010/main" val="292103345"/>
              </p:ext>
            </p:extLst>
          </p:nvPr>
        </p:nvGraphicFramePr>
        <p:xfrm>
          <a:off x="488742" y="1466666"/>
          <a:ext cx="11189008" cy="4551206"/>
        </p:xfrm>
        <a:graphic>
          <a:graphicData uri="http://schemas.openxmlformats.org/drawingml/2006/table">
            <a:tbl>
              <a:tblPr firstRow="1" bandRow="1">
                <a:tableStyleId>{5C22544A-7EE6-4342-B048-85BDC9FD1C3A}</a:tableStyleId>
              </a:tblPr>
              <a:tblGrid>
                <a:gridCol w="645296">
                  <a:extLst>
                    <a:ext uri="{9D8B030D-6E8A-4147-A177-3AD203B41FA5}">
                      <a16:colId xmlns:a16="http://schemas.microsoft.com/office/drawing/2014/main" val="4284568668"/>
                    </a:ext>
                  </a:extLst>
                </a:gridCol>
                <a:gridCol w="341324">
                  <a:extLst>
                    <a:ext uri="{9D8B030D-6E8A-4147-A177-3AD203B41FA5}">
                      <a16:colId xmlns:a16="http://schemas.microsoft.com/office/drawing/2014/main" val="836960948"/>
                    </a:ext>
                  </a:extLst>
                </a:gridCol>
                <a:gridCol w="341324">
                  <a:extLst>
                    <a:ext uri="{9D8B030D-6E8A-4147-A177-3AD203B41FA5}">
                      <a16:colId xmlns:a16="http://schemas.microsoft.com/office/drawing/2014/main" val="1138167375"/>
                    </a:ext>
                  </a:extLst>
                </a:gridCol>
                <a:gridCol w="341324">
                  <a:extLst>
                    <a:ext uri="{9D8B030D-6E8A-4147-A177-3AD203B41FA5}">
                      <a16:colId xmlns:a16="http://schemas.microsoft.com/office/drawing/2014/main" val="2330327637"/>
                    </a:ext>
                  </a:extLst>
                </a:gridCol>
                <a:gridCol w="341324">
                  <a:extLst>
                    <a:ext uri="{9D8B030D-6E8A-4147-A177-3AD203B41FA5}">
                      <a16:colId xmlns:a16="http://schemas.microsoft.com/office/drawing/2014/main" val="2001071721"/>
                    </a:ext>
                  </a:extLst>
                </a:gridCol>
                <a:gridCol w="341324">
                  <a:extLst>
                    <a:ext uri="{9D8B030D-6E8A-4147-A177-3AD203B41FA5}">
                      <a16:colId xmlns:a16="http://schemas.microsoft.com/office/drawing/2014/main" val="3950544124"/>
                    </a:ext>
                  </a:extLst>
                </a:gridCol>
                <a:gridCol w="341324">
                  <a:extLst>
                    <a:ext uri="{9D8B030D-6E8A-4147-A177-3AD203B41FA5}">
                      <a16:colId xmlns:a16="http://schemas.microsoft.com/office/drawing/2014/main" val="1579713459"/>
                    </a:ext>
                  </a:extLst>
                </a:gridCol>
                <a:gridCol w="341324">
                  <a:extLst>
                    <a:ext uri="{9D8B030D-6E8A-4147-A177-3AD203B41FA5}">
                      <a16:colId xmlns:a16="http://schemas.microsoft.com/office/drawing/2014/main" val="3502522299"/>
                    </a:ext>
                  </a:extLst>
                </a:gridCol>
                <a:gridCol w="341324">
                  <a:extLst>
                    <a:ext uri="{9D8B030D-6E8A-4147-A177-3AD203B41FA5}">
                      <a16:colId xmlns:a16="http://schemas.microsoft.com/office/drawing/2014/main" val="2589886849"/>
                    </a:ext>
                  </a:extLst>
                </a:gridCol>
                <a:gridCol w="341324">
                  <a:extLst>
                    <a:ext uri="{9D8B030D-6E8A-4147-A177-3AD203B41FA5}">
                      <a16:colId xmlns:a16="http://schemas.microsoft.com/office/drawing/2014/main" val="3035985153"/>
                    </a:ext>
                  </a:extLst>
                </a:gridCol>
                <a:gridCol w="341324">
                  <a:extLst>
                    <a:ext uri="{9D8B030D-6E8A-4147-A177-3AD203B41FA5}">
                      <a16:colId xmlns:a16="http://schemas.microsoft.com/office/drawing/2014/main" val="3856549816"/>
                    </a:ext>
                  </a:extLst>
                </a:gridCol>
                <a:gridCol w="341324">
                  <a:extLst>
                    <a:ext uri="{9D8B030D-6E8A-4147-A177-3AD203B41FA5}">
                      <a16:colId xmlns:a16="http://schemas.microsoft.com/office/drawing/2014/main" val="995546093"/>
                    </a:ext>
                  </a:extLst>
                </a:gridCol>
                <a:gridCol w="341324">
                  <a:extLst>
                    <a:ext uri="{9D8B030D-6E8A-4147-A177-3AD203B41FA5}">
                      <a16:colId xmlns:a16="http://schemas.microsoft.com/office/drawing/2014/main" val="758906736"/>
                    </a:ext>
                  </a:extLst>
                </a:gridCol>
                <a:gridCol w="91340">
                  <a:extLst>
                    <a:ext uri="{9D8B030D-6E8A-4147-A177-3AD203B41FA5}">
                      <a16:colId xmlns:a16="http://schemas.microsoft.com/office/drawing/2014/main" val="2528360532"/>
                    </a:ext>
                  </a:extLst>
                </a:gridCol>
                <a:gridCol w="341324">
                  <a:extLst>
                    <a:ext uri="{9D8B030D-6E8A-4147-A177-3AD203B41FA5}">
                      <a16:colId xmlns:a16="http://schemas.microsoft.com/office/drawing/2014/main" val="159576093"/>
                    </a:ext>
                  </a:extLst>
                </a:gridCol>
                <a:gridCol w="341324">
                  <a:extLst>
                    <a:ext uri="{9D8B030D-6E8A-4147-A177-3AD203B41FA5}">
                      <a16:colId xmlns:a16="http://schemas.microsoft.com/office/drawing/2014/main" val="4094040615"/>
                    </a:ext>
                  </a:extLst>
                </a:gridCol>
                <a:gridCol w="341324">
                  <a:extLst>
                    <a:ext uri="{9D8B030D-6E8A-4147-A177-3AD203B41FA5}">
                      <a16:colId xmlns:a16="http://schemas.microsoft.com/office/drawing/2014/main" val="2729732976"/>
                    </a:ext>
                  </a:extLst>
                </a:gridCol>
                <a:gridCol w="341324">
                  <a:extLst>
                    <a:ext uri="{9D8B030D-6E8A-4147-A177-3AD203B41FA5}">
                      <a16:colId xmlns:a16="http://schemas.microsoft.com/office/drawing/2014/main" val="1693106180"/>
                    </a:ext>
                  </a:extLst>
                </a:gridCol>
                <a:gridCol w="341324">
                  <a:extLst>
                    <a:ext uri="{9D8B030D-6E8A-4147-A177-3AD203B41FA5}">
                      <a16:colId xmlns:a16="http://schemas.microsoft.com/office/drawing/2014/main" val="4197466373"/>
                    </a:ext>
                  </a:extLst>
                </a:gridCol>
                <a:gridCol w="341324">
                  <a:extLst>
                    <a:ext uri="{9D8B030D-6E8A-4147-A177-3AD203B41FA5}">
                      <a16:colId xmlns:a16="http://schemas.microsoft.com/office/drawing/2014/main" val="1946329873"/>
                    </a:ext>
                  </a:extLst>
                </a:gridCol>
                <a:gridCol w="341324">
                  <a:extLst>
                    <a:ext uri="{9D8B030D-6E8A-4147-A177-3AD203B41FA5}">
                      <a16:colId xmlns:a16="http://schemas.microsoft.com/office/drawing/2014/main" val="2769494538"/>
                    </a:ext>
                  </a:extLst>
                </a:gridCol>
                <a:gridCol w="341324">
                  <a:extLst>
                    <a:ext uri="{9D8B030D-6E8A-4147-A177-3AD203B41FA5}">
                      <a16:colId xmlns:a16="http://schemas.microsoft.com/office/drawing/2014/main" val="253118510"/>
                    </a:ext>
                  </a:extLst>
                </a:gridCol>
                <a:gridCol w="341324">
                  <a:extLst>
                    <a:ext uri="{9D8B030D-6E8A-4147-A177-3AD203B41FA5}">
                      <a16:colId xmlns:a16="http://schemas.microsoft.com/office/drawing/2014/main" val="224161175"/>
                    </a:ext>
                  </a:extLst>
                </a:gridCol>
                <a:gridCol w="341324">
                  <a:extLst>
                    <a:ext uri="{9D8B030D-6E8A-4147-A177-3AD203B41FA5}">
                      <a16:colId xmlns:a16="http://schemas.microsoft.com/office/drawing/2014/main" val="982096189"/>
                    </a:ext>
                  </a:extLst>
                </a:gridCol>
                <a:gridCol w="341324">
                  <a:extLst>
                    <a:ext uri="{9D8B030D-6E8A-4147-A177-3AD203B41FA5}">
                      <a16:colId xmlns:a16="http://schemas.microsoft.com/office/drawing/2014/main" val="1645857660"/>
                    </a:ext>
                  </a:extLst>
                </a:gridCol>
                <a:gridCol w="341324">
                  <a:extLst>
                    <a:ext uri="{9D8B030D-6E8A-4147-A177-3AD203B41FA5}">
                      <a16:colId xmlns:a16="http://schemas.microsoft.com/office/drawing/2014/main" val="1568200130"/>
                    </a:ext>
                  </a:extLst>
                </a:gridCol>
                <a:gridCol w="1130196">
                  <a:extLst>
                    <a:ext uri="{9D8B030D-6E8A-4147-A177-3AD203B41FA5}">
                      <a16:colId xmlns:a16="http://schemas.microsoft.com/office/drawing/2014/main" val="1868452885"/>
                    </a:ext>
                  </a:extLst>
                </a:gridCol>
                <a:gridCol w="1130400">
                  <a:extLst>
                    <a:ext uri="{9D8B030D-6E8A-4147-A177-3AD203B41FA5}">
                      <a16:colId xmlns:a16="http://schemas.microsoft.com/office/drawing/2014/main" val="1317818894"/>
                    </a:ext>
                  </a:extLst>
                </a:gridCol>
              </a:tblGrid>
              <a:tr h="154764">
                <a:tc>
                  <a:txBody>
                    <a:bodyPr/>
                    <a:lstStyle/>
                    <a:p>
                      <a:pPr rtl="0" eaLnBrk="1"/>
                      <a:endParaRPr lang="en-GB" sz="800" b="0" noProof="0" dirty="0">
                        <a:solidFill>
                          <a:schemeClr val="bg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algn="ctr" rtl="0"/>
                      <a:r>
                        <a:rPr lang="en-GB" sz="950" b="1" noProof="0" dirty="0">
                          <a:solidFill>
                            <a:schemeClr val="accent1"/>
                          </a:solidFill>
                        </a:rPr>
                        <a:t>2020</a:t>
                      </a:r>
                    </a:p>
                  </a:txBody>
                  <a:tcPr marL="32970" marR="32970" marT="32970" marB="0" anchor="b">
                    <a:lnL w="12700" cmpd="sng">
                      <a:noFill/>
                    </a:lnL>
                    <a:lnR w="12700" cap="flat" cmpd="sng" algn="ctr">
                      <a:noFill/>
                      <a:prstDash val="solid"/>
                      <a:round/>
                      <a:headEnd type="none" w="med" len="med"/>
                      <a:tailEnd type="none" w="med" len="med"/>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ap="flat" cmpd="sng" algn="ctr">
                      <a:solidFill>
                        <a:schemeClr val="bg1"/>
                      </a:solidFill>
                      <a:prstDash val="solid"/>
                      <a:round/>
                      <a:headEnd type="none" w="med" len="med"/>
                      <a:tailEnd type="none" w="med" len="med"/>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950" b="1" noProof="0" dirty="0">
                        <a:solidFill>
                          <a:schemeClr val="accent1"/>
                        </a:solidFill>
                      </a:endParaRPr>
                    </a:p>
                  </a:txBody>
                  <a:tcPr marL="32970" marR="32970" marT="3297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algn="ctr" rtl="0"/>
                      <a:r>
                        <a:rPr lang="en-GB" sz="950" b="1" noProof="0" dirty="0">
                          <a:solidFill>
                            <a:schemeClr val="accent1"/>
                          </a:solidFill>
                        </a:rPr>
                        <a:t>2021</a:t>
                      </a:r>
                    </a:p>
                  </a:txBody>
                  <a:tcPr marL="32970" marR="32970" marT="32970" marB="0" anchor="b">
                    <a:lnL w="12700" cap="flat" cmpd="sng" algn="ctr">
                      <a:noFill/>
                      <a:prstDash val="solid"/>
                      <a:round/>
                      <a:headEnd type="none" w="med" len="med"/>
                      <a:tailEnd type="none" w="med" len="med"/>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a:endParaRPr lang="en-GB" sz="950" b="1" noProof="0" dirty="0">
                        <a:solidFill>
                          <a:schemeClr val="accent1"/>
                        </a:solidFill>
                      </a:endParaRPr>
                    </a:p>
                  </a:txBody>
                  <a:tcPr marL="32970" marR="32970" marT="32970" marB="32970" anchor="ct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800" b="1" noProof="0" dirty="0">
                          <a:solidFill>
                            <a:schemeClr val="bg1"/>
                          </a:solidFill>
                        </a:rPr>
                        <a:t>2020</a:t>
                      </a:r>
                    </a:p>
                  </a:txBody>
                  <a:tcPr marL="216000" marR="32970" marT="32970" marB="0" anchor="b">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800" b="1" noProof="0" dirty="0">
                          <a:solidFill>
                            <a:schemeClr val="bg1"/>
                          </a:solidFill>
                        </a:rPr>
                        <a:t>2021</a:t>
                      </a:r>
                    </a:p>
                  </a:txBody>
                  <a:tcPr marL="216000" marR="32970" marT="32970" marB="0" anchor="b">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7362155"/>
                  </a:ext>
                </a:extLst>
              </a:tr>
              <a:tr h="250214">
                <a:tc>
                  <a:txBody>
                    <a:bodyPr/>
                    <a:lstStyle/>
                    <a:p>
                      <a:pPr rtl="0" eaLnBrk="1"/>
                      <a:endParaRPr lang="en-GB" sz="800" b="0" noProof="0" dirty="0">
                        <a:solidFill>
                          <a:schemeClr val="bg1"/>
                        </a:solidFill>
                      </a:endParaRPr>
                    </a:p>
                  </a:txBody>
                  <a:tcPr marL="32970" marR="32970" marT="3297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Jan</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Feb</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Mar </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Apr</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May</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Jun</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Jul</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Aug</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Sep </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Oct </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Nov</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Dec </a:t>
                      </a:r>
                    </a:p>
                  </a:txBody>
                  <a:tcPr marL="32970" marR="32970" marT="0" marB="32970" anchor="ctr">
                    <a:lnL w="12700" cmpd="sng">
                      <a:noFill/>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950" b="1" noProof="0" dirty="0">
                        <a:solidFill>
                          <a:schemeClr val="accent1"/>
                        </a:solidFill>
                      </a:endParaRPr>
                    </a:p>
                  </a:txBody>
                  <a:tcPr marL="32970" marR="32970" marT="0" marB="329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Jan </a:t>
                      </a:r>
                    </a:p>
                  </a:txBody>
                  <a:tcPr marL="32970" marR="32970" marT="0" marB="32970"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Feb</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Mar</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Apr</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May</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Jun </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Jul</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Aug</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Sep</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Oct</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Nov</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GB" sz="950" b="1" noProof="0" dirty="0">
                          <a:solidFill>
                            <a:schemeClr val="accent1"/>
                          </a:solidFill>
                        </a:rPr>
                        <a:t>Dec</a:t>
                      </a:r>
                    </a:p>
                  </a:txBody>
                  <a:tcPr marL="3297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en-GB" sz="800" b="1" noProof="0" dirty="0">
                          <a:solidFill>
                            <a:schemeClr val="bg1"/>
                          </a:solidFill>
                        </a:rPr>
                        <a:t>Appr. share of closed months</a:t>
                      </a:r>
                    </a:p>
                  </a:txBody>
                  <a:tcPr marL="21600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en-GB" sz="800" b="1" noProof="0" dirty="0">
                          <a:solidFill>
                            <a:schemeClr val="bg1"/>
                          </a:solidFill>
                        </a:rPr>
                        <a:t>Appr. share of closed months</a:t>
                      </a:r>
                    </a:p>
                  </a:txBody>
                  <a:tcPr marL="216000" marR="32970" marT="0" marB="32970" anchor="ctr">
                    <a:lnL w="12700" cmpd="sng">
                      <a:noFill/>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6951222"/>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kern="1200" noProof="0" dirty="0">
                          <a:solidFill>
                            <a:schemeClr val="bg1"/>
                          </a:solidFill>
                          <a:latin typeface="+mn-lt"/>
                          <a:ea typeface="+mn-ea"/>
                          <a:cs typeface="+mn-cs"/>
                        </a:rPr>
                        <a:t>DE</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dirty="0">
                          <a:solidFill>
                            <a:schemeClr val="bg1"/>
                          </a:solidFill>
                          <a:latin typeface="+mn-lt"/>
                          <a:ea typeface="+mn-ea"/>
                          <a:cs typeface="+mn-cs"/>
                        </a:rPr>
                        <a:t>33%</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dirty="0">
                          <a:solidFill>
                            <a:schemeClr val="bg1"/>
                          </a:solidFill>
                          <a:latin typeface="+mn-lt"/>
                          <a:ea typeface="+mn-ea"/>
                          <a:cs typeface="+mn-cs"/>
                        </a:rPr>
                        <a:t>46%</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3143133"/>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kern="1200" noProof="0" dirty="0">
                          <a:solidFill>
                            <a:schemeClr val="bg1"/>
                          </a:solidFill>
                          <a:latin typeface="+mn-lt"/>
                          <a:ea typeface="+mn-ea"/>
                          <a:cs typeface="+mn-cs"/>
                        </a:rPr>
                        <a:t>ES</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dirty="0">
                          <a:solidFill>
                            <a:schemeClr val="bg1"/>
                          </a:solidFill>
                          <a:latin typeface="+mn-lt"/>
                          <a:ea typeface="+mn-ea"/>
                          <a:cs typeface="+mn-cs"/>
                        </a:rPr>
                        <a:t>38%</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dirty="0">
                          <a:solidFill>
                            <a:schemeClr val="bg1"/>
                          </a:solidFill>
                          <a:latin typeface="+mn-lt"/>
                          <a:ea typeface="+mn-ea"/>
                          <a:cs typeface="+mn-cs"/>
                        </a:rPr>
                        <a:t>21%</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694793"/>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noProof="0" dirty="0">
                          <a:solidFill>
                            <a:schemeClr val="bg1"/>
                          </a:solidFill>
                          <a:latin typeface="+mn-lt"/>
                        </a:rPr>
                        <a:t>UK</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tx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tx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dirty="0">
                          <a:solidFill>
                            <a:schemeClr val="bg1"/>
                          </a:solidFill>
                          <a:latin typeface="+mn-lt"/>
                          <a:ea typeface="+mn-ea"/>
                          <a:cs typeface="+mn-cs"/>
                        </a:rPr>
                        <a:t>50%</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dirty="0">
                          <a:solidFill>
                            <a:schemeClr val="bg1"/>
                          </a:solidFill>
                          <a:latin typeface="+mn-lt"/>
                          <a:ea typeface="+mn-ea"/>
                          <a:cs typeface="+mn-cs"/>
                        </a:rPr>
                        <a:t>29%</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1331840"/>
                  </a:ext>
                </a:extLst>
              </a:tr>
              <a:tr h="71696">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en-GB" sz="100" noProof="0" dirty="0">
                        <a:solidFill>
                          <a:schemeClr val="bg1"/>
                        </a:solidFill>
                        <a:latin typeface="+mn-lt"/>
                      </a:endParaRP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tc hMerge="1">
                  <a:txBody>
                    <a:bodyPr/>
                    <a:lstStyle/>
                    <a:p>
                      <a:pPr rtl="0" eaLnBrk="1"/>
                      <a:endParaRPr lang="en-GB" sz="1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1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9530" algn="ctr">
                        <a:spcBef>
                          <a:spcPts val="280"/>
                        </a:spcBef>
                        <a:spcAft>
                          <a:spcPts val="0"/>
                        </a:spcAft>
                      </a:pPr>
                      <a:endParaRPr lang="de-DE" sz="1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endParaRPr lang="de-DE" sz="1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1371869"/>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noProof="0" dirty="0">
                          <a:solidFill>
                            <a:schemeClr val="bg1"/>
                          </a:solidFill>
                          <a:latin typeface="+mn-lt"/>
                        </a:rPr>
                        <a:t>AT</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kern="1200" noProof="0" dirty="0">
                        <a:solidFill>
                          <a:schemeClr val="bg1"/>
                        </a:solidFill>
                        <a:latin typeface="+mn-lt"/>
                        <a:ea typeface="+mn-ea"/>
                        <a:cs typeface="+mn-cs"/>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dirty="0">
                          <a:solidFill>
                            <a:schemeClr val="bg1"/>
                          </a:solidFill>
                          <a:latin typeface="+mn-lt"/>
                          <a:ea typeface="+mn-ea"/>
                          <a:cs typeface="+mn-cs"/>
                        </a:rPr>
                        <a:t>38%</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dirty="0">
                          <a:solidFill>
                            <a:schemeClr val="bg1"/>
                          </a:solidFill>
                          <a:latin typeface="+mn-lt"/>
                          <a:ea typeface="+mn-ea"/>
                          <a:cs typeface="+mn-cs"/>
                        </a:rPr>
                        <a:t>50%</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2558671"/>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noProof="0" dirty="0">
                          <a:solidFill>
                            <a:schemeClr val="bg1"/>
                          </a:solidFill>
                          <a:latin typeface="+mn-lt"/>
                        </a:rPr>
                        <a:t>BE</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dirty="0">
                          <a:solidFill>
                            <a:schemeClr val="bg1"/>
                          </a:solidFill>
                          <a:latin typeface="+mn-lt"/>
                          <a:ea typeface="+mn-ea"/>
                          <a:cs typeface="+mn-cs"/>
                        </a:rPr>
                        <a:t>42%</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dirty="0">
                          <a:solidFill>
                            <a:schemeClr val="bg1"/>
                          </a:solidFill>
                          <a:latin typeface="+mn-lt"/>
                          <a:ea typeface="+mn-ea"/>
                          <a:cs typeface="+mn-cs"/>
                        </a:rPr>
                        <a:t>46%</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2314127"/>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noProof="0" dirty="0">
                          <a:solidFill>
                            <a:schemeClr val="bg1"/>
                          </a:solidFill>
                          <a:latin typeface="+mn-lt"/>
                        </a:rPr>
                        <a:t>CH</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a:solidFill>
                            <a:schemeClr val="bg1"/>
                          </a:solidFill>
                          <a:latin typeface="+mn-lt"/>
                          <a:ea typeface="+mn-ea"/>
                          <a:cs typeface="+mn-cs"/>
                        </a:rPr>
                        <a:t>38%</a:t>
                      </a:r>
                      <a:endParaRPr lang="de-DE" sz="1000" b="0" kern="120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dirty="0">
                          <a:solidFill>
                            <a:schemeClr val="bg1"/>
                          </a:solidFill>
                          <a:latin typeface="+mn-lt"/>
                          <a:ea typeface="+mn-ea"/>
                          <a:cs typeface="+mn-cs"/>
                        </a:rPr>
                        <a:t>33%</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173392"/>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noProof="0" dirty="0">
                          <a:solidFill>
                            <a:schemeClr val="bg1"/>
                          </a:solidFill>
                          <a:latin typeface="+mn-lt"/>
                        </a:rPr>
                        <a:t>CZ</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a:solidFill>
                            <a:schemeClr val="bg1"/>
                          </a:solidFill>
                          <a:latin typeface="+mn-lt"/>
                          <a:ea typeface="+mn-ea"/>
                          <a:cs typeface="+mn-cs"/>
                        </a:rPr>
                        <a:t>38%</a:t>
                      </a:r>
                      <a:endParaRPr lang="de-DE" sz="1000" b="0" kern="120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a:solidFill>
                            <a:schemeClr val="bg1"/>
                          </a:solidFill>
                          <a:latin typeface="+mn-lt"/>
                          <a:ea typeface="+mn-ea"/>
                          <a:cs typeface="+mn-cs"/>
                        </a:rPr>
                        <a:t>42%</a:t>
                      </a:r>
                      <a:endParaRPr lang="de-DE" sz="1000" b="0" kern="120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126600"/>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kern="1200" noProof="0" dirty="0">
                          <a:solidFill>
                            <a:schemeClr val="bg1"/>
                          </a:solidFill>
                          <a:latin typeface="+mn-lt"/>
                          <a:ea typeface="+mn-ea"/>
                          <a:cs typeface="+mn-cs"/>
                        </a:rPr>
                        <a:t>DK</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dirty="0">
                          <a:solidFill>
                            <a:schemeClr val="bg1"/>
                          </a:solidFill>
                          <a:latin typeface="+mn-lt"/>
                          <a:ea typeface="+mn-ea"/>
                          <a:cs typeface="+mn-cs"/>
                        </a:rPr>
                        <a:t>29%</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dirty="0">
                          <a:solidFill>
                            <a:schemeClr val="bg1"/>
                          </a:solidFill>
                          <a:latin typeface="+mn-lt"/>
                          <a:ea typeface="+mn-ea"/>
                          <a:cs typeface="+mn-cs"/>
                        </a:rPr>
                        <a:t>38%</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8427876"/>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kern="1200" noProof="0" dirty="0">
                          <a:solidFill>
                            <a:schemeClr val="bg1"/>
                          </a:solidFill>
                          <a:latin typeface="+mn-lt"/>
                          <a:ea typeface="+mn-ea"/>
                          <a:cs typeface="+mn-cs"/>
                        </a:rPr>
                        <a:t>FI</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accent6">
                          <a:lumMod val="7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marL="49530" algn="ctr">
                        <a:spcBef>
                          <a:spcPts val="280"/>
                        </a:spcBef>
                        <a:spcAft>
                          <a:spcPts val="0"/>
                        </a:spcAft>
                      </a:pPr>
                      <a:r>
                        <a:rPr lang="en-GB" sz="1000" b="0" kern="1200" dirty="0">
                          <a:solidFill>
                            <a:schemeClr val="bg1"/>
                          </a:solidFill>
                          <a:latin typeface="+mn-lt"/>
                          <a:ea typeface="+mn-ea"/>
                          <a:cs typeface="+mn-cs"/>
                        </a:rPr>
                        <a:t>13%</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dirty="0">
                          <a:solidFill>
                            <a:schemeClr val="bg1"/>
                          </a:solidFill>
                          <a:latin typeface="+mn-lt"/>
                          <a:ea typeface="+mn-ea"/>
                          <a:cs typeface="+mn-cs"/>
                        </a:rPr>
                        <a:t>17%</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2172417"/>
                  </a:ext>
                </a:extLst>
              </a:tr>
              <a:tr h="200742">
                <a:tc>
                  <a:txBody>
                    <a:bodyPr/>
                    <a:lstStyle/>
                    <a:p>
                      <a:pPr marL="0" indent="0" algn="r" rtl="0">
                        <a:lnSpc>
                          <a:spcPct val="100000"/>
                        </a:lnSpc>
                        <a:spcBef>
                          <a:spcPts val="300"/>
                        </a:spcBef>
                        <a:buFont typeface="Arial" panose="020B0604020202020204" pitchFamily="34" charset="0"/>
                        <a:buNone/>
                      </a:pPr>
                      <a:r>
                        <a:rPr lang="en-GB" sz="1000" kern="1200" noProof="0" dirty="0">
                          <a:solidFill>
                            <a:schemeClr val="bg1"/>
                          </a:solidFill>
                          <a:latin typeface="+mn-lt"/>
                          <a:ea typeface="+mn-ea"/>
                          <a:cs typeface="+mn-cs"/>
                        </a:rPr>
                        <a:t>FR</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dirty="0">
                          <a:solidFill>
                            <a:schemeClr val="bg1"/>
                          </a:solidFill>
                          <a:latin typeface="+mn-lt"/>
                          <a:ea typeface="+mn-ea"/>
                          <a:cs typeface="+mn-cs"/>
                        </a:rPr>
                        <a:t>46%</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a:solidFill>
                            <a:schemeClr val="bg1"/>
                          </a:solidFill>
                          <a:latin typeface="+mn-lt"/>
                          <a:ea typeface="+mn-ea"/>
                          <a:cs typeface="+mn-cs"/>
                        </a:rPr>
                        <a:t>46%</a:t>
                      </a:r>
                      <a:endParaRPr lang="de-DE" sz="1000" b="0" kern="120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6519523"/>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kern="1200" noProof="0" dirty="0">
                          <a:solidFill>
                            <a:schemeClr val="bg1"/>
                          </a:solidFill>
                          <a:latin typeface="+mn-lt"/>
                          <a:ea typeface="+mn-ea"/>
                          <a:cs typeface="+mn-cs"/>
                        </a:rPr>
                        <a:t>HU</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a:solidFill>
                            <a:schemeClr val="bg1"/>
                          </a:solidFill>
                          <a:latin typeface="+mn-lt"/>
                          <a:ea typeface="+mn-ea"/>
                          <a:cs typeface="+mn-cs"/>
                        </a:rPr>
                        <a:t>38%</a:t>
                      </a:r>
                      <a:endParaRPr lang="de-DE" sz="1000" b="0" kern="120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a:solidFill>
                            <a:schemeClr val="bg1"/>
                          </a:solidFill>
                          <a:latin typeface="+mn-lt"/>
                          <a:ea typeface="+mn-ea"/>
                          <a:cs typeface="+mn-cs"/>
                        </a:rPr>
                        <a:t>42%</a:t>
                      </a:r>
                      <a:endParaRPr lang="de-DE" sz="1000" b="0" kern="120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888274"/>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kern="1200" noProof="0" dirty="0">
                          <a:solidFill>
                            <a:schemeClr val="bg1"/>
                          </a:solidFill>
                          <a:latin typeface="+mn-lt"/>
                          <a:ea typeface="+mn-ea"/>
                          <a:cs typeface="+mn-cs"/>
                        </a:rPr>
                        <a:t>IE</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dirty="0">
                          <a:solidFill>
                            <a:schemeClr val="bg1"/>
                          </a:solidFill>
                          <a:latin typeface="+mn-lt"/>
                          <a:ea typeface="+mn-ea"/>
                          <a:cs typeface="+mn-cs"/>
                        </a:rPr>
                        <a:t>63%</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dirty="0">
                          <a:solidFill>
                            <a:schemeClr val="bg1"/>
                          </a:solidFill>
                          <a:latin typeface="+mn-lt"/>
                          <a:ea typeface="+mn-ea"/>
                          <a:cs typeface="+mn-cs"/>
                        </a:rPr>
                        <a:t>46%</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7039700"/>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kern="1200" noProof="0" dirty="0">
                          <a:solidFill>
                            <a:schemeClr val="bg1"/>
                          </a:solidFill>
                          <a:latin typeface="+mn-lt"/>
                          <a:ea typeface="+mn-ea"/>
                          <a:cs typeface="+mn-cs"/>
                        </a:rPr>
                        <a:t>IT</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dirty="0">
                          <a:solidFill>
                            <a:schemeClr val="bg1"/>
                          </a:solidFill>
                          <a:latin typeface="+mn-lt"/>
                          <a:ea typeface="+mn-ea"/>
                          <a:cs typeface="+mn-cs"/>
                        </a:rPr>
                        <a:t>46%</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dirty="0">
                          <a:solidFill>
                            <a:schemeClr val="bg1"/>
                          </a:solidFill>
                          <a:latin typeface="+mn-lt"/>
                          <a:ea typeface="+mn-ea"/>
                          <a:cs typeface="+mn-cs"/>
                        </a:rPr>
                        <a:t>42%</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9367715"/>
                  </a:ext>
                </a:extLst>
              </a:tr>
              <a:tr h="200742">
                <a:tc>
                  <a:txBody>
                    <a:bodyPr/>
                    <a:lstStyle/>
                    <a:p>
                      <a:pPr marL="0" indent="0" algn="r" rtl="0">
                        <a:lnSpc>
                          <a:spcPct val="100000"/>
                        </a:lnSpc>
                        <a:spcBef>
                          <a:spcPts val="300"/>
                        </a:spcBef>
                        <a:buFont typeface="Arial" panose="020B0604020202020204" pitchFamily="34" charset="0"/>
                        <a:buNone/>
                      </a:pPr>
                      <a:r>
                        <a:rPr lang="en-GB" sz="1000" kern="1200" noProof="0" dirty="0">
                          <a:solidFill>
                            <a:schemeClr val="bg1"/>
                          </a:solidFill>
                          <a:latin typeface="+mn-lt"/>
                          <a:ea typeface="+mn-ea"/>
                          <a:cs typeface="+mn-cs"/>
                        </a:rPr>
                        <a:t>NL</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marL="49530" algn="ctr">
                        <a:spcBef>
                          <a:spcPts val="280"/>
                        </a:spcBef>
                        <a:spcAft>
                          <a:spcPts val="0"/>
                        </a:spcAft>
                      </a:pPr>
                      <a:r>
                        <a:rPr lang="en-GB" sz="1000" b="0" kern="1200" dirty="0">
                          <a:solidFill>
                            <a:schemeClr val="bg1"/>
                          </a:solidFill>
                          <a:latin typeface="+mn-lt"/>
                          <a:ea typeface="+mn-ea"/>
                          <a:cs typeface="+mn-cs"/>
                        </a:rPr>
                        <a:t>33%</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a:solidFill>
                            <a:schemeClr val="bg1"/>
                          </a:solidFill>
                          <a:latin typeface="+mn-lt"/>
                          <a:ea typeface="+mn-ea"/>
                          <a:cs typeface="+mn-cs"/>
                        </a:rPr>
                        <a:t>46%</a:t>
                      </a:r>
                      <a:endParaRPr lang="de-DE" sz="1000" b="0" kern="120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266142"/>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kern="1200" noProof="0" dirty="0">
                          <a:solidFill>
                            <a:schemeClr val="bg1"/>
                          </a:solidFill>
                          <a:latin typeface="+mn-lt"/>
                          <a:ea typeface="+mn-ea"/>
                          <a:cs typeface="+mn-cs"/>
                        </a:rPr>
                        <a:t>NO</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a:solidFill>
                            <a:schemeClr val="bg1"/>
                          </a:solidFill>
                          <a:latin typeface="+mn-lt"/>
                          <a:ea typeface="+mn-ea"/>
                          <a:cs typeface="+mn-cs"/>
                        </a:rPr>
                        <a:t>33%</a:t>
                      </a:r>
                      <a:endParaRPr lang="de-DE" sz="1000" b="0" kern="120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dirty="0">
                          <a:solidFill>
                            <a:schemeClr val="bg1"/>
                          </a:solidFill>
                          <a:latin typeface="+mn-lt"/>
                          <a:ea typeface="+mn-ea"/>
                          <a:cs typeface="+mn-cs"/>
                        </a:rPr>
                        <a:t>25%</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0115880"/>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kern="1200" noProof="0" dirty="0">
                          <a:solidFill>
                            <a:schemeClr val="bg1"/>
                          </a:solidFill>
                          <a:latin typeface="+mn-lt"/>
                          <a:ea typeface="+mn-ea"/>
                          <a:cs typeface="+mn-cs"/>
                        </a:rPr>
                        <a:t>PL</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dirty="0">
                          <a:solidFill>
                            <a:schemeClr val="bg1"/>
                          </a:solidFill>
                          <a:latin typeface="+mn-lt"/>
                          <a:ea typeface="+mn-ea"/>
                          <a:cs typeface="+mn-cs"/>
                        </a:rPr>
                        <a:t>42%</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dirty="0">
                          <a:solidFill>
                            <a:schemeClr val="bg1"/>
                          </a:solidFill>
                          <a:latin typeface="+mn-lt"/>
                          <a:ea typeface="+mn-ea"/>
                          <a:cs typeface="+mn-cs"/>
                        </a:rPr>
                        <a:t>42%</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2961159"/>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kern="1200" noProof="0" dirty="0">
                          <a:solidFill>
                            <a:schemeClr val="bg1"/>
                          </a:solidFill>
                          <a:latin typeface="+mn-lt"/>
                          <a:ea typeface="+mn-ea"/>
                          <a:cs typeface="+mn-cs"/>
                        </a:rPr>
                        <a:t>PT</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dirty="0">
                          <a:solidFill>
                            <a:schemeClr val="bg1"/>
                          </a:solidFill>
                          <a:latin typeface="+mn-lt"/>
                          <a:ea typeface="+mn-ea"/>
                          <a:cs typeface="+mn-cs"/>
                        </a:rPr>
                        <a:t>21%</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dirty="0">
                          <a:solidFill>
                            <a:schemeClr val="bg1"/>
                          </a:solidFill>
                          <a:latin typeface="+mn-lt"/>
                          <a:ea typeface="+mn-ea"/>
                          <a:cs typeface="+mn-cs"/>
                        </a:rPr>
                        <a:t>25%</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7679843"/>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kern="1200" noProof="0" dirty="0">
                          <a:solidFill>
                            <a:schemeClr val="bg1"/>
                          </a:solidFill>
                          <a:latin typeface="+mn-lt"/>
                          <a:ea typeface="+mn-ea"/>
                          <a:cs typeface="+mn-cs"/>
                        </a:rPr>
                        <a:t>RO</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dirty="0">
                          <a:solidFill>
                            <a:schemeClr val="bg1"/>
                          </a:solidFill>
                          <a:latin typeface="+mn-lt"/>
                          <a:ea typeface="+mn-ea"/>
                          <a:cs typeface="+mn-cs"/>
                        </a:rPr>
                        <a:t>25%</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dirty="0">
                          <a:solidFill>
                            <a:schemeClr val="bg1"/>
                          </a:solidFill>
                          <a:latin typeface="+mn-lt"/>
                          <a:ea typeface="+mn-ea"/>
                          <a:cs typeface="+mn-cs"/>
                        </a:rPr>
                        <a:t>8%</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065127"/>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kern="1200" noProof="0" dirty="0">
                          <a:solidFill>
                            <a:schemeClr val="bg1"/>
                          </a:solidFill>
                          <a:latin typeface="+mn-lt"/>
                          <a:ea typeface="+mn-ea"/>
                          <a:cs typeface="+mn-cs"/>
                        </a:rPr>
                        <a:t>SE</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tx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tx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dirty="0">
                          <a:solidFill>
                            <a:schemeClr val="bg1"/>
                          </a:solidFill>
                          <a:latin typeface="+mn-lt"/>
                          <a:ea typeface="+mn-ea"/>
                          <a:cs typeface="+mn-cs"/>
                        </a:rPr>
                        <a:t>0%</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a:solidFill>
                            <a:schemeClr val="bg1"/>
                          </a:solidFill>
                          <a:latin typeface="+mn-lt"/>
                          <a:ea typeface="+mn-ea"/>
                          <a:cs typeface="+mn-cs"/>
                        </a:rPr>
                        <a:t>0%</a:t>
                      </a:r>
                      <a:endParaRPr lang="de-DE" sz="1000" b="0" kern="120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0540651"/>
                  </a:ext>
                </a:extLst>
              </a:tr>
              <a:tr h="200742">
                <a:tc>
                  <a:txBody>
                    <a:bodyPr/>
                    <a:lstStyle/>
                    <a:p>
                      <a:pPr marL="0" marR="0" indent="0" algn="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en-GB" sz="1000" kern="1200" noProof="0" dirty="0">
                          <a:solidFill>
                            <a:schemeClr val="bg1"/>
                          </a:solidFill>
                          <a:latin typeface="+mn-lt"/>
                          <a:ea typeface="+mn-ea"/>
                          <a:cs typeface="+mn-cs"/>
                        </a:rPr>
                        <a:t>TR</a:t>
                      </a:r>
                    </a:p>
                  </a:txBody>
                  <a:tcPr marL="0" marR="197821" marT="16485" marB="16485" anchor="ctr">
                    <a:lnL w="12700" cmpd="sng">
                      <a:noFill/>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tx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tx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eaLnBrk="1"/>
                      <a:endParaRPr lang="en-GB" sz="800" b="0" noProof="0" dirty="0">
                        <a:solidFill>
                          <a:schemeClr val="bg1"/>
                        </a:solidFill>
                      </a:endParaRPr>
                    </a:p>
                  </a:txBody>
                  <a:tcPr marL="0" marR="0" marT="16485" marB="16485"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rtl="0" eaLnBrk="1"/>
                      <a:endParaRPr lang="en-GB" sz="800" b="0" noProof="0" dirty="0">
                        <a:solidFill>
                          <a:schemeClr val="bg1"/>
                        </a:solidFill>
                      </a:endParaRPr>
                    </a:p>
                  </a:txBody>
                  <a:tcPr marL="0" marR="0" marT="16485" marB="16485"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49530" algn="ctr">
                        <a:spcBef>
                          <a:spcPts val="280"/>
                        </a:spcBef>
                        <a:spcAft>
                          <a:spcPts val="0"/>
                        </a:spcAft>
                      </a:pPr>
                      <a:r>
                        <a:rPr lang="en-GB" sz="1000" b="0" kern="1200" dirty="0">
                          <a:solidFill>
                            <a:schemeClr val="bg1"/>
                          </a:solidFill>
                          <a:latin typeface="+mn-lt"/>
                          <a:ea typeface="+mn-ea"/>
                          <a:cs typeface="+mn-cs"/>
                        </a:rPr>
                        <a:t>29%</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5245" algn="ctr">
                        <a:spcBef>
                          <a:spcPts val="280"/>
                        </a:spcBef>
                        <a:spcAft>
                          <a:spcPts val="0"/>
                        </a:spcAft>
                      </a:pPr>
                      <a:r>
                        <a:rPr lang="en-GB" sz="1000" b="0" kern="1200" dirty="0">
                          <a:solidFill>
                            <a:schemeClr val="bg1"/>
                          </a:solidFill>
                          <a:latin typeface="+mn-lt"/>
                          <a:ea typeface="+mn-ea"/>
                          <a:cs typeface="+mn-cs"/>
                        </a:rPr>
                        <a:t>21%</a:t>
                      </a:r>
                      <a:endParaRPr lang="de-DE" sz="1000" b="0" kern="1200" dirty="0">
                        <a:solidFill>
                          <a:schemeClr val="bg1"/>
                        </a:solidFill>
                        <a:latin typeface="+mn-lt"/>
                        <a:ea typeface="+mn-ea"/>
                        <a:cs typeface="+mn-cs"/>
                      </a:endParaRPr>
                    </a:p>
                  </a:txBody>
                  <a:tcPr marL="0" marR="0" marT="0" marB="0" anchor="ctr">
                    <a:lnL w="3175"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5773562"/>
                  </a:ext>
                </a:extLst>
              </a:tr>
            </a:tbl>
          </a:graphicData>
        </a:graphic>
      </p:graphicFrame>
      <p:graphicFrame>
        <p:nvGraphicFramePr>
          <p:cNvPr id="126" name="Table 36"/>
          <p:cNvGraphicFramePr>
            <a:graphicFrameLocks noGrp="1"/>
          </p:cNvGraphicFramePr>
          <p:nvPr>
            <p:extLst>
              <p:ext uri="{D42A27DB-BD31-4B8C-83A1-F6EECF244321}">
                <p14:modId xmlns:p14="http://schemas.microsoft.com/office/powerpoint/2010/main" val="3921455032"/>
              </p:ext>
            </p:extLst>
          </p:nvPr>
        </p:nvGraphicFramePr>
        <p:xfrm>
          <a:off x="2628326" y="6175094"/>
          <a:ext cx="6754373" cy="504000"/>
        </p:xfrm>
        <a:graphic>
          <a:graphicData uri="http://schemas.openxmlformats.org/drawingml/2006/table">
            <a:tbl>
              <a:tblPr firstRow="1" bandRow="1">
                <a:tableStyleId>{5C22544A-7EE6-4342-B048-85BDC9FD1C3A}</a:tableStyleId>
              </a:tblPr>
              <a:tblGrid>
                <a:gridCol w="252000">
                  <a:extLst>
                    <a:ext uri="{9D8B030D-6E8A-4147-A177-3AD203B41FA5}">
                      <a16:colId xmlns:a16="http://schemas.microsoft.com/office/drawing/2014/main" val="1175589162"/>
                    </a:ext>
                  </a:extLst>
                </a:gridCol>
                <a:gridCol w="95139">
                  <a:extLst>
                    <a:ext uri="{9D8B030D-6E8A-4147-A177-3AD203B41FA5}">
                      <a16:colId xmlns:a16="http://schemas.microsoft.com/office/drawing/2014/main" val="3240373413"/>
                    </a:ext>
                  </a:extLst>
                </a:gridCol>
                <a:gridCol w="2772000">
                  <a:extLst>
                    <a:ext uri="{9D8B030D-6E8A-4147-A177-3AD203B41FA5}">
                      <a16:colId xmlns:a16="http://schemas.microsoft.com/office/drawing/2014/main" val="2378162218"/>
                    </a:ext>
                  </a:extLst>
                </a:gridCol>
                <a:gridCol w="252000">
                  <a:extLst>
                    <a:ext uri="{9D8B030D-6E8A-4147-A177-3AD203B41FA5}">
                      <a16:colId xmlns:a16="http://schemas.microsoft.com/office/drawing/2014/main" val="3849387957"/>
                    </a:ext>
                  </a:extLst>
                </a:gridCol>
                <a:gridCol w="69812">
                  <a:extLst>
                    <a:ext uri="{9D8B030D-6E8A-4147-A177-3AD203B41FA5}">
                      <a16:colId xmlns:a16="http://schemas.microsoft.com/office/drawing/2014/main" val="889819271"/>
                    </a:ext>
                  </a:extLst>
                </a:gridCol>
                <a:gridCol w="3313422">
                  <a:extLst>
                    <a:ext uri="{9D8B030D-6E8A-4147-A177-3AD203B41FA5}">
                      <a16:colId xmlns:a16="http://schemas.microsoft.com/office/drawing/2014/main" val="3856549816"/>
                    </a:ext>
                  </a:extLst>
                </a:gridCol>
              </a:tblGrid>
              <a:tr h="252000">
                <a:tc>
                  <a:txBody>
                    <a:bodyPr/>
                    <a:lstStyle/>
                    <a:p>
                      <a:pPr algn="r" rtl="0" eaLnBrk="1"/>
                      <a:endParaRPr lang="en-GB" sz="800" b="0" noProof="0" dirty="0">
                        <a:solidFill>
                          <a:schemeClr val="bg1"/>
                        </a:solidFill>
                      </a:endParaRPr>
                    </a:p>
                  </a:txBody>
                  <a:tcPr marL="0" marR="0" marT="18000" marB="18000" anchor="ctr">
                    <a:lnL w="3175" cap="flat" cmpd="sng" algn="ctr">
                      <a:noFill/>
                      <a:prstDash val="solid"/>
                      <a:round/>
                      <a:headEnd type="none" w="med" len="med"/>
                      <a:tailEnd type="none" w="med" len="med"/>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algn="r" rtl="0" eaLnBrk="1"/>
                      <a:endParaRPr lang="en-GB" sz="800" b="0" noProof="0" dirty="0">
                        <a:solidFill>
                          <a:schemeClr val="bg1"/>
                        </a:solidFill>
                      </a:endParaRPr>
                    </a:p>
                  </a:txBody>
                  <a:tcPr marL="0" marR="0" marT="18000" marB="18000" anchor="ctr">
                    <a:lnL w="3175" cap="flat" cmpd="sng" algn="ctr">
                      <a:no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eaLnBrk="1"/>
                      <a:r>
                        <a:rPr lang="en-GB" sz="800" b="0" noProof="0" dirty="0" err="1">
                          <a:solidFill>
                            <a:schemeClr val="bg1"/>
                          </a:solidFill>
                        </a:rPr>
                        <a:t>Ouvert</a:t>
                      </a:r>
                      <a:r>
                        <a:rPr lang="en-GB" sz="800" b="0" noProof="0" dirty="0">
                          <a:solidFill>
                            <a:schemeClr val="bg1"/>
                          </a:solidFill>
                        </a:rPr>
                        <a:t> </a:t>
                      </a:r>
                      <a:r>
                        <a:rPr lang="en-GB" sz="800" b="0" baseline="0" noProof="0" dirty="0">
                          <a:solidFill>
                            <a:schemeClr val="bg1"/>
                          </a:solidFill>
                        </a:rPr>
                        <a:t>(</a:t>
                      </a:r>
                      <a:r>
                        <a:rPr lang="en-GB" sz="800" b="0" baseline="0" noProof="0" dirty="0" err="1">
                          <a:solidFill>
                            <a:schemeClr val="bg1"/>
                          </a:solidFill>
                        </a:rPr>
                        <a:t>selon</a:t>
                      </a:r>
                      <a:r>
                        <a:rPr lang="en-GB" sz="800" b="0" baseline="0" noProof="0" dirty="0">
                          <a:solidFill>
                            <a:schemeClr val="bg1"/>
                          </a:solidFill>
                        </a:rPr>
                        <a:t> les </a:t>
                      </a:r>
                      <a:r>
                        <a:rPr lang="en-GB" sz="800" b="0" baseline="0" noProof="0" dirty="0" err="1">
                          <a:solidFill>
                            <a:schemeClr val="bg1"/>
                          </a:solidFill>
                        </a:rPr>
                        <a:t>règles</a:t>
                      </a:r>
                      <a:r>
                        <a:rPr lang="en-GB" sz="800" b="0" baseline="0" noProof="0" dirty="0">
                          <a:solidFill>
                            <a:schemeClr val="bg1"/>
                          </a:solidFill>
                        </a:rPr>
                        <a:t> COVID </a:t>
                      </a:r>
                      <a:r>
                        <a:rPr lang="en-GB" sz="800" b="0" baseline="0" noProof="0" dirty="0" err="1">
                          <a:solidFill>
                            <a:schemeClr val="bg1"/>
                          </a:solidFill>
                        </a:rPr>
                        <a:t>en</a:t>
                      </a:r>
                      <a:r>
                        <a:rPr lang="en-GB" sz="800" b="0" baseline="0" noProof="0" dirty="0">
                          <a:solidFill>
                            <a:schemeClr val="bg1"/>
                          </a:solidFill>
                        </a:rPr>
                        <a:t> </a:t>
                      </a:r>
                      <a:r>
                        <a:rPr lang="en-GB" sz="800" b="0" baseline="0" noProof="0" dirty="0" err="1">
                          <a:solidFill>
                            <a:schemeClr val="bg1"/>
                          </a:solidFill>
                        </a:rPr>
                        <a:t>vigueur</a:t>
                      </a:r>
                      <a:r>
                        <a:rPr lang="en-GB" sz="800" b="0" baseline="0" noProof="0" dirty="0">
                          <a:solidFill>
                            <a:schemeClr val="bg1"/>
                          </a:solidFill>
                        </a:rPr>
                        <a:t>)</a:t>
                      </a:r>
                      <a:endParaRPr lang="en-GB" sz="800" b="0" noProof="0" dirty="0">
                        <a:solidFill>
                          <a:schemeClr val="bg1"/>
                        </a:solidFill>
                      </a:endParaRPr>
                    </a:p>
                  </a:txBody>
                  <a:tcPr marL="0" marR="0" marT="18000" marB="18000" anchor="ctr">
                    <a:lnL w="3175" cap="flat" cmpd="sng" algn="ctr">
                      <a:no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eaLnBrk="1"/>
                      <a:endParaRPr lang="en-GB" sz="800" b="0" noProof="0" dirty="0">
                        <a:solidFill>
                          <a:schemeClr val="bg1"/>
                        </a:solidFill>
                      </a:endParaRPr>
                    </a:p>
                  </a:txBody>
                  <a:tcPr marL="0" marR="0" marT="18000" marB="18000" anchor="ctr">
                    <a:lnL w="3175" cap="flat" cmpd="sng" algn="ctr">
                      <a:noFill/>
                      <a:prstDash val="solid"/>
                      <a:round/>
                      <a:headEnd type="none" w="med" len="med"/>
                      <a:tailEnd type="none" w="med" len="med"/>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rgbClr val="0070C0"/>
                      </a:bgClr>
                    </a:pattFill>
                  </a:tcPr>
                </a:tc>
                <a:tc>
                  <a:txBody>
                    <a:bodyPr/>
                    <a:lstStyle/>
                    <a:p>
                      <a:pPr algn="r" rtl="0" eaLnBrk="1"/>
                      <a:endParaRPr lang="en-GB" sz="800" b="0" noProof="0" dirty="0">
                        <a:solidFill>
                          <a:schemeClr val="bg1"/>
                        </a:solidFill>
                      </a:endParaRPr>
                    </a:p>
                  </a:txBody>
                  <a:tcPr marL="0" marR="0" marT="18000" marB="18000" anchor="ctr">
                    <a:lnL w="3175" cap="flat" cmpd="sng" algn="ctr">
                      <a:no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eaLnBrk="1"/>
                      <a:r>
                        <a:rPr lang="en-GB" sz="800" b="0" noProof="0" dirty="0">
                          <a:solidFill>
                            <a:schemeClr val="bg1"/>
                          </a:solidFill>
                        </a:rPr>
                        <a:t>Fermeture </a:t>
                      </a:r>
                      <a:r>
                        <a:rPr lang="en-GB" sz="800" b="0" noProof="0" dirty="0" err="1">
                          <a:solidFill>
                            <a:schemeClr val="bg1"/>
                          </a:solidFill>
                        </a:rPr>
                        <a:t>partielle</a:t>
                      </a:r>
                      <a:endParaRPr lang="en-GB" sz="800" b="0" noProof="0" dirty="0">
                        <a:solidFill>
                          <a:schemeClr val="bg1"/>
                        </a:solidFill>
                      </a:endParaRPr>
                    </a:p>
                  </a:txBody>
                  <a:tcPr marL="0" marR="0" marT="18000" marB="18000" anchor="ctr">
                    <a:lnL w="3175" cap="flat" cmpd="sng" algn="ctr">
                      <a:no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1424317"/>
                  </a:ext>
                </a:extLst>
              </a:tr>
              <a:tr h="252000">
                <a:tc>
                  <a: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endParaRPr lang="en-GB" sz="800" b="0" noProof="0" dirty="0">
                        <a:solidFill>
                          <a:schemeClr val="bg1"/>
                        </a:solidFill>
                      </a:endParaRPr>
                    </a:p>
                  </a:txBody>
                  <a:tcPr marL="0" marR="0" marT="18000" marB="18000" anchor="ctr">
                    <a:lnL w="3175"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pattFill prst="diagBrick">
                      <a:fgClr>
                        <a:schemeClr val="bg1"/>
                      </a:fgClr>
                      <a:bgClr>
                        <a:schemeClr val="tx1">
                          <a:lumMod val="65000"/>
                          <a:lumOff val="35000"/>
                        </a:schemeClr>
                      </a:bgClr>
                    </a:pattFill>
                  </a:tcPr>
                </a:tc>
                <a:tc>
                  <a: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endParaRPr lang="en-GB" sz="800" b="0" noProof="0" dirty="0">
                        <a:solidFill>
                          <a:schemeClr val="bg1"/>
                        </a:solidFill>
                      </a:endParaRPr>
                    </a:p>
                  </a:txBody>
                  <a:tcPr marL="0" marR="0" marT="18000" marB="18000" anchor="ctr">
                    <a:lnL w="3175" cap="flat" cmpd="sng" algn="ctr">
                      <a:no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800" b="0" noProof="0" dirty="0">
                          <a:solidFill>
                            <a:schemeClr val="bg1"/>
                          </a:solidFill>
                        </a:rPr>
                        <a:t>Fermeture </a:t>
                      </a:r>
                      <a:r>
                        <a:rPr lang="en-GB" sz="800" b="0" noProof="0" dirty="0" err="1">
                          <a:solidFill>
                            <a:schemeClr val="bg1"/>
                          </a:solidFill>
                        </a:rPr>
                        <a:t>nationale</a:t>
                      </a:r>
                      <a:r>
                        <a:rPr lang="en-GB" sz="800" b="0" noProof="0" dirty="0">
                          <a:solidFill>
                            <a:schemeClr val="bg1"/>
                          </a:solidFill>
                        </a:rPr>
                        <a:t> sur la </a:t>
                      </a:r>
                      <a:r>
                        <a:rPr lang="en-GB" sz="800" b="0" noProof="0" dirty="0" err="1">
                          <a:solidFill>
                            <a:schemeClr val="bg1"/>
                          </a:solidFill>
                        </a:rPr>
                        <a:t>totalité</a:t>
                      </a:r>
                      <a:r>
                        <a:rPr lang="en-GB" sz="800" b="0" noProof="0" dirty="0">
                          <a:solidFill>
                            <a:schemeClr val="bg1"/>
                          </a:solidFill>
                        </a:rPr>
                        <a:t> du </a:t>
                      </a:r>
                      <a:r>
                        <a:rPr lang="en-GB" sz="800" b="0" noProof="0" dirty="0" err="1">
                          <a:solidFill>
                            <a:schemeClr val="bg1"/>
                          </a:solidFill>
                        </a:rPr>
                        <a:t>mois</a:t>
                      </a:r>
                      <a:endParaRPr lang="en-GB" sz="800" b="0" noProof="0" dirty="0">
                        <a:solidFill>
                          <a:schemeClr val="bg1"/>
                        </a:solidFill>
                      </a:endParaRPr>
                    </a:p>
                  </a:txBody>
                  <a:tcPr marL="0" marR="0" marT="18000" marB="18000" anchor="ctr">
                    <a:lnL w="3175" cap="flat" cmpd="sng" algn="ctr">
                      <a:no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eaLnBrk="1"/>
                      <a:endParaRPr lang="en-GB" sz="800" b="0" noProof="0" dirty="0">
                        <a:solidFill>
                          <a:schemeClr val="bg1"/>
                        </a:solidFill>
                      </a:endParaRPr>
                    </a:p>
                  </a:txBody>
                  <a:tcPr marL="0" marR="0" marT="18000" marB="18000" anchor="ctr">
                    <a:lnL w="3175"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eaLnBrk="1"/>
                      <a:endParaRPr lang="en-GB" sz="800" b="0" noProof="0" dirty="0">
                        <a:solidFill>
                          <a:schemeClr val="bg1"/>
                        </a:solidFill>
                      </a:endParaRPr>
                    </a:p>
                  </a:txBody>
                  <a:tcPr marL="0" marR="0" marT="18000" marB="18000" anchor="ctr">
                    <a:lnL w="3175" cap="flat" cmpd="sng" algn="ctr">
                      <a:no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eaLnBrk="1"/>
                      <a:endParaRPr lang="en-GB" sz="800" b="0" noProof="0" dirty="0">
                        <a:solidFill>
                          <a:schemeClr val="bg1"/>
                        </a:solidFill>
                      </a:endParaRPr>
                    </a:p>
                  </a:txBody>
                  <a:tcPr marL="0" marR="0" marT="18000" marB="18000" anchor="ctr">
                    <a:lnL w="3175" cap="flat" cmpd="sng" algn="ctr">
                      <a:noFill/>
                      <a:prstDash val="solid"/>
                      <a:round/>
                      <a:headEnd type="none" w="med" len="med"/>
                      <a:tailEnd type="none" w="med" len="med"/>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3152675"/>
                  </a:ext>
                </a:extLst>
              </a:tr>
            </a:tbl>
          </a:graphicData>
        </a:graphic>
      </p:graphicFrame>
      <p:sp>
        <p:nvSpPr>
          <p:cNvPr id="128" name="Rectangle 127"/>
          <p:cNvSpPr/>
          <p:nvPr/>
        </p:nvSpPr>
        <p:spPr bwMode="gray">
          <a:xfrm>
            <a:off x="10867792" y="1125020"/>
            <a:ext cx="698860" cy="247009"/>
          </a:xfrm>
          <a:prstGeom prst="rect">
            <a:avLst/>
          </a:prstGeom>
          <a:noFill/>
          <a:ln w="19050" algn="ctr">
            <a:solidFill>
              <a:schemeClr val="accent1"/>
            </a:solidFill>
            <a:miter lim="800000"/>
            <a:headEnd/>
            <a:tailEnd/>
          </a:ln>
        </p:spPr>
        <p:txBody>
          <a:bodyPr wrap="square" lIns="0" tIns="0" rIns="0" bIns="0" rtlCol="0" anchor="ctr"/>
          <a:lstStyle/>
          <a:p>
            <a:pPr algn="ctr">
              <a:lnSpc>
                <a:spcPct val="106000"/>
              </a:lnSpc>
              <a:buFont typeface="Wingdings 2" pitchFamily="18" charset="2"/>
              <a:buNone/>
            </a:pPr>
            <a:r>
              <a:rPr lang="en-GB" sz="816" b="1" dirty="0" err="1">
                <a:solidFill>
                  <a:schemeClr val="bg1"/>
                </a:solidFill>
              </a:rPr>
              <a:t>Simplifié</a:t>
            </a:r>
            <a:endParaRPr lang="en-GB" sz="816" b="1" dirty="0">
              <a:solidFill>
                <a:schemeClr val="bg1"/>
              </a:solidFill>
            </a:endParaRPr>
          </a:p>
        </p:txBody>
      </p:sp>
      <p:pic>
        <p:nvPicPr>
          <p:cNvPr id="29" name="image26.png">
            <a:extLst>
              <a:ext uri="{FF2B5EF4-FFF2-40B4-BE49-F238E27FC236}">
                <a16:creationId xmlns:a16="http://schemas.microsoft.com/office/drawing/2014/main" id="{6CA75C7B-5599-4330-B850-DA287F369D55}"/>
              </a:ext>
            </a:extLst>
          </p:cNvPr>
          <p:cNvPicPr/>
          <p:nvPr/>
        </p:nvPicPr>
        <p:blipFill>
          <a:blip r:embed="rId7" cstate="print"/>
          <a:stretch>
            <a:fillRect/>
          </a:stretch>
        </p:blipFill>
        <p:spPr>
          <a:xfrm>
            <a:off x="513391" y="3634645"/>
            <a:ext cx="144000" cy="144000"/>
          </a:xfrm>
          <a:prstGeom prst="rect">
            <a:avLst/>
          </a:prstGeom>
        </p:spPr>
      </p:pic>
      <p:pic>
        <p:nvPicPr>
          <p:cNvPr id="30" name="image42.png">
            <a:extLst>
              <a:ext uri="{FF2B5EF4-FFF2-40B4-BE49-F238E27FC236}">
                <a16:creationId xmlns:a16="http://schemas.microsoft.com/office/drawing/2014/main" id="{304144EB-AFE8-4DED-BC04-369585D40B33}"/>
              </a:ext>
            </a:extLst>
          </p:cNvPr>
          <p:cNvPicPr/>
          <p:nvPr/>
        </p:nvPicPr>
        <p:blipFill>
          <a:blip r:embed="rId8" cstate="print"/>
          <a:stretch>
            <a:fillRect/>
          </a:stretch>
        </p:blipFill>
        <p:spPr>
          <a:xfrm>
            <a:off x="513391" y="5242566"/>
            <a:ext cx="144000" cy="144000"/>
          </a:xfrm>
          <a:prstGeom prst="rect">
            <a:avLst/>
          </a:prstGeom>
        </p:spPr>
      </p:pic>
      <p:pic>
        <p:nvPicPr>
          <p:cNvPr id="31" name="image29.png">
            <a:extLst>
              <a:ext uri="{FF2B5EF4-FFF2-40B4-BE49-F238E27FC236}">
                <a16:creationId xmlns:a16="http://schemas.microsoft.com/office/drawing/2014/main" id="{B8FD20FC-3C87-450D-831F-F1A977154A97}"/>
              </a:ext>
            </a:extLst>
          </p:cNvPr>
          <p:cNvPicPr/>
          <p:nvPr/>
        </p:nvPicPr>
        <p:blipFill>
          <a:blip r:embed="rId9" cstate="print"/>
          <a:stretch>
            <a:fillRect/>
          </a:stretch>
        </p:blipFill>
        <p:spPr>
          <a:xfrm>
            <a:off x="513391" y="4235649"/>
            <a:ext cx="144000" cy="144000"/>
          </a:xfrm>
          <a:prstGeom prst="rect">
            <a:avLst/>
          </a:prstGeom>
        </p:spPr>
      </p:pic>
      <p:pic>
        <p:nvPicPr>
          <p:cNvPr id="33" name="image19.png">
            <a:extLst>
              <a:ext uri="{FF2B5EF4-FFF2-40B4-BE49-F238E27FC236}">
                <a16:creationId xmlns:a16="http://schemas.microsoft.com/office/drawing/2014/main" id="{D8AF12AB-955E-4102-B85B-C296AF32B636}"/>
              </a:ext>
            </a:extLst>
          </p:cNvPr>
          <p:cNvPicPr/>
          <p:nvPr/>
        </p:nvPicPr>
        <p:blipFill>
          <a:blip r:embed="rId10" cstate="print"/>
          <a:stretch>
            <a:fillRect/>
          </a:stretch>
        </p:blipFill>
        <p:spPr>
          <a:xfrm>
            <a:off x="513391" y="2633598"/>
            <a:ext cx="144000" cy="144000"/>
          </a:xfrm>
          <a:prstGeom prst="rect">
            <a:avLst/>
          </a:prstGeom>
        </p:spPr>
      </p:pic>
      <p:pic>
        <p:nvPicPr>
          <p:cNvPr id="34" name="image40.png">
            <a:extLst>
              <a:ext uri="{FF2B5EF4-FFF2-40B4-BE49-F238E27FC236}">
                <a16:creationId xmlns:a16="http://schemas.microsoft.com/office/drawing/2014/main" id="{18D7367C-0B9E-4141-BA0E-F99A39743DC0}"/>
              </a:ext>
            </a:extLst>
          </p:cNvPr>
          <p:cNvPicPr/>
          <p:nvPr/>
        </p:nvPicPr>
        <p:blipFill>
          <a:blip r:embed="rId11" cstate="print"/>
          <a:stretch>
            <a:fillRect/>
          </a:stretch>
        </p:blipFill>
        <p:spPr>
          <a:xfrm>
            <a:off x="513391" y="2834796"/>
            <a:ext cx="144000" cy="144000"/>
          </a:xfrm>
          <a:prstGeom prst="rect">
            <a:avLst/>
          </a:prstGeom>
        </p:spPr>
      </p:pic>
      <p:pic>
        <p:nvPicPr>
          <p:cNvPr id="35" name="image21.png">
            <a:extLst>
              <a:ext uri="{FF2B5EF4-FFF2-40B4-BE49-F238E27FC236}">
                <a16:creationId xmlns:a16="http://schemas.microsoft.com/office/drawing/2014/main" id="{DBD2AD6D-47CB-429D-97F8-F67E6C6BE854}"/>
              </a:ext>
            </a:extLst>
          </p:cNvPr>
          <p:cNvPicPr/>
          <p:nvPr/>
        </p:nvPicPr>
        <p:blipFill>
          <a:blip r:embed="rId12" cstate="print"/>
          <a:stretch>
            <a:fillRect/>
          </a:stretch>
        </p:blipFill>
        <p:spPr>
          <a:xfrm>
            <a:off x="513391" y="3028800"/>
            <a:ext cx="144000" cy="144000"/>
          </a:xfrm>
          <a:prstGeom prst="rect">
            <a:avLst/>
          </a:prstGeom>
        </p:spPr>
      </p:pic>
      <p:pic>
        <p:nvPicPr>
          <p:cNvPr id="36" name="image22.png">
            <a:extLst>
              <a:ext uri="{FF2B5EF4-FFF2-40B4-BE49-F238E27FC236}">
                <a16:creationId xmlns:a16="http://schemas.microsoft.com/office/drawing/2014/main" id="{4E8DF88B-CBE5-4A67-AF76-73FD3432E08F}"/>
              </a:ext>
            </a:extLst>
          </p:cNvPr>
          <p:cNvPicPr/>
          <p:nvPr/>
        </p:nvPicPr>
        <p:blipFill>
          <a:blip r:embed="rId13" cstate="print"/>
          <a:stretch>
            <a:fillRect/>
          </a:stretch>
        </p:blipFill>
        <p:spPr>
          <a:xfrm>
            <a:off x="513391" y="3230349"/>
            <a:ext cx="144000" cy="144000"/>
          </a:xfrm>
          <a:prstGeom prst="rect">
            <a:avLst/>
          </a:prstGeom>
        </p:spPr>
      </p:pic>
      <p:pic>
        <p:nvPicPr>
          <p:cNvPr id="37" name="image24.png">
            <a:extLst>
              <a:ext uri="{FF2B5EF4-FFF2-40B4-BE49-F238E27FC236}">
                <a16:creationId xmlns:a16="http://schemas.microsoft.com/office/drawing/2014/main" id="{0E21B340-2D7F-46F6-B5A2-326A8202834B}"/>
              </a:ext>
            </a:extLst>
          </p:cNvPr>
          <p:cNvPicPr/>
          <p:nvPr/>
        </p:nvPicPr>
        <p:blipFill>
          <a:blip r:embed="rId14" cstate="print"/>
          <a:stretch>
            <a:fillRect/>
          </a:stretch>
        </p:blipFill>
        <p:spPr>
          <a:xfrm>
            <a:off x="513391" y="3434068"/>
            <a:ext cx="144000" cy="144000"/>
          </a:xfrm>
          <a:prstGeom prst="rect">
            <a:avLst/>
          </a:prstGeom>
        </p:spPr>
      </p:pic>
      <p:pic>
        <p:nvPicPr>
          <p:cNvPr id="39" name="image27.png">
            <a:extLst>
              <a:ext uri="{FF2B5EF4-FFF2-40B4-BE49-F238E27FC236}">
                <a16:creationId xmlns:a16="http://schemas.microsoft.com/office/drawing/2014/main" id="{376836DD-67C6-4D83-9067-BC2B9688EDD0}"/>
              </a:ext>
            </a:extLst>
          </p:cNvPr>
          <p:cNvPicPr/>
          <p:nvPr/>
        </p:nvPicPr>
        <p:blipFill>
          <a:blip r:embed="rId15" cstate="print"/>
          <a:stretch>
            <a:fillRect/>
          </a:stretch>
        </p:blipFill>
        <p:spPr>
          <a:xfrm>
            <a:off x="513391" y="3838591"/>
            <a:ext cx="144000" cy="144000"/>
          </a:xfrm>
          <a:prstGeom prst="rect">
            <a:avLst/>
          </a:prstGeom>
        </p:spPr>
      </p:pic>
      <p:pic>
        <p:nvPicPr>
          <p:cNvPr id="40" name="image31.png">
            <a:extLst>
              <a:ext uri="{FF2B5EF4-FFF2-40B4-BE49-F238E27FC236}">
                <a16:creationId xmlns:a16="http://schemas.microsoft.com/office/drawing/2014/main" id="{02EEDDF3-E791-46DF-B9A1-BC1E04EC1458}"/>
              </a:ext>
            </a:extLst>
          </p:cNvPr>
          <p:cNvPicPr/>
          <p:nvPr/>
        </p:nvPicPr>
        <p:blipFill>
          <a:blip r:embed="rId16" cstate="print"/>
          <a:stretch>
            <a:fillRect/>
          </a:stretch>
        </p:blipFill>
        <p:spPr>
          <a:xfrm>
            <a:off x="513391" y="4647569"/>
            <a:ext cx="144000" cy="144000"/>
          </a:xfrm>
          <a:prstGeom prst="rect">
            <a:avLst/>
          </a:prstGeom>
        </p:spPr>
      </p:pic>
      <p:pic>
        <p:nvPicPr>
          <p:cNvPr id="41" name="image43.png">
            <a:extLst>
              <a:ext uri="{FF2B5EF4-FFF2-40B4-BE49-F238E27FC236}">
                <a16:creationId xmlns:a16="http://schemas.microsoft.com/office/drawing/2014/main" id="{0235D24D-8C56-402C-A6AB-2FE2D371C4A6}"/>
              </a:ext>
            </a:extLst>
          </p:cNvPr>
          <p:cNvPicPr/>
          <p:nvPr/>
        </p:nvPicPr>
        <p:blipFill>
          <a:blip r:embed="rId17" cstate="print"/>
          <a:stretch>
            <a:fillRect/>
          </a:stretch>
        </p:blipFill>
        <p:spPr>
          <a:xfrm>
            <a:off x="513391" y="4441397"/>
            <a:ext cx="144000" cy="144000"/>
          </a:xfrm>
          <a:prstGeom prst="rect">
            <a:avLst/>
          </a:prstGeom>
        </p:spPr>
      </p:pic>
      <p:pic>
        <p:nvPicPr>
          <p:cNvPr id="42" name="image28.png">
            <a:extLst>
              <a:ext uri="{FF2B5EF4-FFF2-40B4-BE49-F238E27FC236}">
                <a16:creationId xmlns:a16="http://schemas.microsoft.com/office/drawing/2014/main" id="{1B279213-3E3D-4C58-A6F6-2115B8B2BA63}"/>
              </a:ext>
            </a:extLst>
          </p:cNvPr>
          <p:cNvPicPr/>
          <p:nvPr/>
        </p:nvPicPr>
        <p:blipFill>
          <a:blip r:embed="rId18" cstate="print"/>
          <a:stretch>
            <a:fillRect/>
          </a:stretch>
        </p:blipFill>
        <p:spPr>
          <a:xfrm>
            <a:off x="513391" y="4035862"/>
            <a:ext cx="144000" cy="144000"/>
          </a:xfrm>
          <a:prstGeom prst="rect">
            <a:avLst/>
          </a:prstGeom>
        </p:spPr>
      </p:pic>
      <p:pic>
        <p:nvPicPr>
          <p:cNvPr id="43" name="image32.png">
            <a:extLst>
              <a:ext uri="{FF2B5EF4-FFF2-40B4-BE49-F238E27FC236}">
                <a16:creationId xmlns:a16="http://schemas.microsoft.com/office/drawing/2014/main" id="{51B0BBCD-E398-490B-A00E-43F60C49B19D}"/>
              </a:ext>
            </a:extLst>
          </p:cNvPr>
          <p:cNvPicPr/>
          <p:nvPr/>
        </p:nvPicPr>
        <p:blipFill>
          <a:blip r:embed="rId19" cstate="print"/>
          <a:stretch>
            <a:fillRect/>
          </a:stretch>
        </p:blipFill>
        <p:spPr>
          <a:xfrm>
            <a:off x="513391" y="4847774"/>
            <a:ext cx="144000" cy="144000"/>
          </a:xfrm>
          <a:prstGeom prst="rect">
            <a:avLst/>
          </a:prstGeom>
        </p:spPr>
      </p:pic>
      <p:pic>
        <p:nvPicPr>
          <p:cNvPr id="44" name="image33.png">
            <a:extLst>
              <a:ext uri="{FF2B5EF4-FFF2-40B4-BE49-F238E27FC236}">
                <a16:creationId xmlns:a16="http://schemas.microsoft.com/office/drawing/2014/main" id="{A6A7C4FE-6BC4-40CA-A23E-7D7FBD334214}"/>
              </a:ext>
            </a:extLst>
          </p:cNvPr>
          <p:cNvPicPr/>
          <p:nvPr/>
        </p:nvPicPr>
        <p:blipFill>
          <a:blip r:embed="rId20" cstate="print"/>
          <a:stretch>
            <a:fillRect/>
          </a:stretch>
        </p:blipFill>
        <p:spPr>
          <a:xfrm>
            <a:off x="513391" y="5041156"/>
            <a:ext cx="144000" cy="144000"/>
          </a:xfrm>
          <a:prstGeom prst="rect">
            <a:avLst/>
          </a:prstGeom>
        </p:spPr>
      </p:pic>
      <p:pic>
        <p:nvPicPr>
          <p:cNvPr id="45" name="image35.png">
            <a:extLst>
              <a:ext uri="{FF2B5EF4-FFF2-40B4-BE49-F238E27FC236}">
                <a16:creationId xmlns:a16="http://schemas.microsoft.com/office/drawing/2014/main" id="{6A683699-35AA-496B-AF47-6EBF0CEA4384}"/>
              </a:ext>
            </a:extLst>
          </p:cNvPr>
          <p:cNvPicPr/>
          <p:nvPr/>
        </p:nvPicPr>
        <p:blipFill>
          <a:blip r:embed="rId21" cstate="print"/>
          <a:stretch>
            <a:fillRect/>
          </a:stretch>
        </p:blipFill>
        <p:spPr>
          <a:xfrm>
            <a:off x="513391" y="5447859"/>
            <a:ext cx="144000" cy="144000"/>
          </a:xfrm>
          <a:prstGeom prst="rect">
            <a:avLst/>
          </a:prstGeom>
        </p:spPr>
      </p:pic>
      <p:pic>
        <p:nvPicPr>
          <p:cNvPr id="46" name="image36.png">
            <a:extLst>
              <a:ext uri="{FF2B5EF4-FFF2-40B4-BE49-F238E27FC236}">
                <a16:creationId xmlns:a16="http://schemas.microsoft.com/office/drawing/2014/main" id="{CAD56922-B25A-463A-AEDA-51CB1EA28A27}"/>
              </a:ext>
            </a:extLst>
          </p:cNvPr>
          <p:cNvPicPr/>
          <p:nvPr/>
        </p:nvPicPr>
        <p:blipFill>
          <a:blip r:embed="rId22" cstate="print"/>
          <a:stretch>
            <a:fillRect/>
          </a:stretch>
        </p:blipFill>
        <p:spPr>
          <a:xfrm>
            <a:off x="513391" y="5646886"/>
            <a:ext cx="144000" cy="144000"/>
          </a:xfrm>
          <a:prstGeom prst="rect">
            <a:avLst/>
          </a:prstGeom>
        </p:spPr>
      </p:pic>
      <p:pic>
        <p:nvPicPr>
          <p:cNvPr id="47" name="image37.png">
            <a:extLst>
              <a:ext uri="{FF2B5EF4-FFF2-40B4-BE49-F238E27FC236}">
                <a16:creationId xmlns:a16="http://schemas.microsoft.com/office/drawing/2014/main" id="{499F897D-8957-4A00-9806-467728AE225D}"/>
              </a:ext>
            </a:extLst>
          </p:cNvPr>
          <p:cNvPicPr/>
          <p:nvPr/>
        </p:nvPicPr>
        <p:blipFill>
          <a:blip r:embed="rId23" cstate="print"/>
          <a:stretch>
            <a:fillRect/>
          </a:stretch>
        </p:blipFill>
        <p:spPr>
          <a:xfrm>
            <a:off x="513391" y="5847090"/>
            <a:ext cx="144000" cy="144000"/>
          </a:xfrm>
          <a:prstGeom prst="rect">
            <a:avLst/>
          </a:prstGeom>
        </p:spPr>
      </p:pic>
      <p:pic>
        <p:nvPicPr>
          <p:cNvPr id="49" name="image39.png">
            <a:extLst>
              <a:ext uri="{FF2B5EF4-FFF2-40B4-BE49-F238E27FC236}">
                <a16:creationId xmlns:a16="http://schemas.microsoft.com/office/drawing/2014/main" id="{FC856523-D326-4905-8B73-092E81CBDCFB}"/>
              </a:ext>
            </a:extLst>
          </p:cNvPr>
          <p:cNvPicPr/>
          <p:nvPr/>
        </p:nvPicPr>
        <p:blipFill>
          <a:blip r:embed="rId24" cstate="print"/>
          <a:stretch>
            <a:fillRect/>
          </a:stretch>
        </p:blipFill>
        <p:spPr>
          <a:xfrm>
            <a:off x="513391" y="1963782"/>
            <a:ext cx="144000" cy="144000"/>
          </a:xfrm>
          <a:prstGeom prst="rect">
            <a:avLst/>
          </a:prstGeom>
        </p:spPr>
      </p:pic>
      <p:pic>
        <p:nvPicPr>
          <p:cNvPr id="50" name="image38.png">
            <a:extLst>
              <a:ext uri="{FF2B5EF4-FFF2-40B4-BE49-F238E27FC236}">
                <a16:creationId xmlns:a16="http://schemas.microsoft.com/office/drawing/2014/main" id="{989EA2B2-BBDF-412B-9684-21FF8B542081}"/>
              </a:ext>
            </a:extLst>
          </p:cNvPr>
          <p:cNvPicPr/>
          <p:nvPr/>
        </p:nvPicPr>
        <p:blipFill>
          <a:blip r:embed="rId25" cstate="print"/>
          <a:stretch>
            <a:fillRect/>
          </a:stretch>
        </p:blipFill>
        <p:spPr>
          <a:xfrm>
            <a:off x="513391" y="2357756"/>
            <a:ext cx="144000" cy="144000"/>
          </a:xfrm>
          <a:prstGeom prst="rect">
            <a:avLst/>
          </a:prstGeom>
        </p:spPr>
      </p:pic>
      <p:pic>
        <p:nvPicPr>
          <p:cNvPr id="53" name="image41.png">
            <a:extLst>
              <a:ext uri="{FF2B5EF4-FFF2-40B4-BE49-F238E27FC236}">
                <a16:creationId xmlns:a16="http://schemas.microsoft.com/office/drawing/2014/main" id="{3E5D64AC-56F5-4A5A-A266-6668C0C0CC1B}"/>
              </a:ext>
            </a:extLst>
          </p:cNvPr>
          <p:cNvPicPr/>
          <p:nvPr/>
        </p:nvPicPr>
        <p:blipFill>
          <a:blip r:embed="rId26" cstate="print"/>
          <a:stretch>
            <a:fillRect/>
          </a:stretch>
        </p:blipFill>
        <p:spPr>
          <a:xfrm>
            <a:off x="513391" y="2158672"/>
            <a:ext cx="144000" cy="144000"/>
          </a:xfrm>
          <a:prstGeom prst="rect">
            <a:avLst/>
          </a:prstGeom>
        </p:spPr>
      </p:pic>
      <p:sp>
        <p:nvSpPr>
          <p:cNvPr id="56" name="Rectangle 55">
            <a:extLst>
              <a:ext uri="{FF2B5EF4-FFF2-40B4-BE49-F238E27FC236}">
                <a16:creationId xmlns:a16="http://schemas.microsoft.com/office/drawing/2014/main" id="{ED1953C7-7298-40FD-8BA8-A1C989784DC9}"/>
              </a:ext>
            </a:extLst>
          </p:cNvPr>
          <p:cNvSpPr/>
          <p:nvPr/>
        </p:nvSpPr>
        <p:spPr bwMode="gray">
          <a:xfrm>
            <a:off x="0" y="1451559"/>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48" name="Straight Connector 47">
            <a:extLst>
              <a:ext uri="{FF2B5EF4-FFF2-40B4-BE49-F238E27FC236}">
                <a16:creationId xmlns:a16="http://schemas.microsoft.com/office/drawing/2014/main" id="{FAEA4253-4EA0-42DA-8808-C41C744813C9}"/>
              </a:ext>
            </a:extLst>
          </p:cNvPr>
          <p:cNvCxnSpPr>
            <a:cxnSpLocks/>
          </p:cNvCxnSpPr>
          <p:nvPr/>
        </p:nvCxnSpPr>
        <p:spPr>
          <a:xfrm>
            <a:off x="5274470" y="1504678"/>
            <a:ext cx="0" cy="4500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9B78B057-5979-4318-A63D-F978FA2D1B5A}"/>
              </a:ext>
            </a:extLst>
          </p:cNvPr>
          <p:cNvSpPr/>
          <p:nvPr/>
        </p:nvSpPr>
        <p:spPr bwMode="gray">
          <a:xfrm>
            <a:off x="488742" y="1915096"/>
            <a:ext cx="11309449" cy="691538"/>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
        <p:nvSpPr>
          <p:cNvPr id="54" name="Rectangle 42">
            <a:extLst>
              <a:ext uri="{FF2B5EF4-FFF2-40B4-BE49-F238E27FC236}">
                <a16:creationId xmlns:a16="http://schemas.microsoft.com/office/drawing/2014/main" id="{8F477308-941C-4D53-9523-5A60C5EB6FA8}"/>
              </a:ext>
            </a:extLst>
          </p:cNvPr>
          <p:cNvSpPr/>
          <p:nvPr/>
        </p:nvSpPr>
        <p:spPr bwMode="gray">
          <a:xfrm>
            <a:off x="460374" y="2604526"/>
            <a:ext cx="11261726" cy="198000"/>
          </a:xfrm>
          <a:prstGeom prst="rect">
            <a:avLst/>
          </a:prstGeom>
          <a:no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
        <p:nvSpPr>
          <p:cNvPr id="55" name="Rectangle 42">
            <a:extLst>
              <a:ext uri="{FF2B5EF4-FFF2-40B4-BE49-F238E27FC236}">
                <a16:creationId xmlns:a16="http://schemas.microsoft.com/office/drawing/2014/main" id="{FC42B7D5-1E8C-4C23-9A6E-6D8CC8AAB5D0}"/>
              </a:ext>
            </a:extLst>
          </p:cNvPr>
          <p:cNvSpPr/>
          <p:nvPr/>
        </p:nvSpPr>
        <p:spPr bwMode="gray">
          <a:xfrm>
            <a:off x="460374" y="4212310"/>
            <a:ext cx="11261726" cy="198000"/>
          </a:xfrm>
          <a:prstGeom prst="rect">
            <a:avLst/>
          </a:prstGeom>
          <a:no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
        <p:nvSpPr>
          <p:cNvPr id="57" name="Rectangle 42">
            <a:extLst>
              <a:ext uri="{FF2B5EF4-FFF2-40B4-BE49-F238E27FC236}">
                <a16:creationId xmlns:a16="http://schemas.microsoft.com/office/drawing/2014/main" id="{7E4B2413-FCD0-4054-B9EA-A62B5CB62BB3}"/>
              </a:ext>
            </a:extLst>
          </p:cNvPr>
          <p:cNvSpPr/>
          <p:nvPr/>
        </p:nvSpPr>
        <p:spPr bwMode="gray">
          <a:xfrm>
            <a:off x="460374" y="5616412"/>
            <a:ext cx="11261726" cy="198000"/>
          </a:xfrm>
          <a:prstGeom prst="rect">
            <a:avLst/>
          </a:prstGeom>
          <a:noFill/>
          <a:ln w="63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Tree>
    <p:extLst>
      <p:ext uri="{BB962C8B-B14F-4D97-AF65-F5344CB8AC3E}">
        <p14:creationId xmlns:p14="http://schemas.microsoft.com/office/powerpoint/2010/main" val="161913689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5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4" grpId="0" animBg="1"/>
      <p:bldP spid="55" grpId="0" animBg="1"/>
      <p:bldP spid="5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1015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1" imgW="493" imgH="493" progId="TCLayout.ActiveDocument.1">
                  <p:embed/>
                </p:oleObj>
              </mc:Choice>
              <mc:Fallback>
                <p:oleObj name="think-cell Folie" r:id="rId81" imgW="493" imgH="493" progId="TCLayout.ActiveDocument.1">
                  <p:embed/>
                  <p:pic>
                    <p:nvPicPr>
                      <p:cNvPr id="2" name="Object 1" hidden="1"/>
                      <p:cNvPicPr/>
                      <p:nvPr/>
                    </p:nvPicPr>
                    <p:blipFill>
                      <a:blip r:embed="rId82"/>
                      <a:stretch>
                        <a:fillRect/>
                      </a:stretch>
                    </p:blipFill>
                    <p:spPr>
                      <a:xfrm>
                        <a:off x="1588" y="1588"/>
                        <a:ext cx="1588" cy="1588"/>
                      </a:xfrm>
                      <a:prstGeom prst="rect">
                        <a:avLst/>
                      </a:prstGeom>
                    </p:spPr>
                  </p:pic>
                </p:oleObj>
              </mc:Fallback>
            </mc:AlternateContent>
          </a:graphicData>
        </a:graphic>
      </p:graphicFrame>
      <p:grpSp>
        <p:nvGrpSpPr>
          <p:cNvPr id="215" name="Group 214">
            <a:extLst>
              <a:ext uri="{FF2B5EF4-FFF2-40B4-BE49-F238E27FC236}">
                <a16:creationId xmlns:a16="http://schemas.microsoft.com/office/drawing/2014/main" id="{64E957AE-3542-4087-A1D8-B4D033CAE68A}"/>
              </a:ext>
            </a:extLst>
          </p:cNvPr>
          <p:cNvGrpSpPr/>
          <p:nvPr/>
        </p:nvGrpSpPr>
        <p:grpSpPr>
          <a:xfrm>
            <a:off x="4848563" y="2100634"/>
            <a:ext cx="710828" cy="710829"/>
            <a:chOff x="505841" y="2058273"/>
            <a:chExt cx="629899" cy="629900"/>
          </a:xfrm>
        </p:grpSpPr>
        <p:grpSp>
          <p:nvGrpSpPr>
            <p:cNvPr id="218" name="Group 217">
              <a:extLst>
                <a:ext uri="{FF2B5EF4-FFF2-40B4-BE49-F238E27FC236}">
                  <a16:creationId xmlns:a16="http://schemas.microsoft.com/office/drawing/2014/main" id="{EE3311E8-22D5-4AC7-9E72-3CA883E0BE4A}"/>
                </a:ext>
              </a:extLst>
            </p:cNvPr>
            <p:cNvGrpSpPr/>
            <p:nvPr/>
          </p:nvGrpSpPr>
          <p:grpSpPr>
            <a:xfrm>
              <a:off x="505841" y="2058273"/>
              <a:ext cx="629899" cy="629900"/>
              <a:chOff x="1170495" y="2072217"/>
              <a:chExt cx="629899" cy="629900"/>
            </a:xfrm>
          </p:grpSpPr>
          <p:sp>
            <p:nvSpPr>
              <p:cNvPr id="227" name="Oval 226">
                <a:extLst>
                  <a:ext uri="{FF2B5EF4-FFF2-40B4-BE49-F238E27FC236}">
                    <a16:creationId xmlns:a16="http://schemas.microsoft.com/office/drawing/2014/main" id="{C07A6D77-DE5E-4610-9BA8-B79E8CEDAA52}"/>
                  </a:ext>
                </a:extLst>
              </p:cNvPr>
              <p:cNvSpPr/>
              <p:nvPr/>
            </p:nvSpPr>
            <p:spPr bwMode="gray">
              <a:xfrm>
                <a:off x="1170495" y="2072217"/>
                <a:ext cx="629899" cy="629900"/>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228" name="Oval 227">
                <a:extLst>
                  <a:ext uri="{FF2B5EF4-FFF2-40B4-BE49-F238E27FC236}">
                    <a16:creationId xmlns:a16="http://schemas.microsoft.com/office/drawing/2014/main" id="{DA316297-2BF4-438B-AEA1-9CA52D8F86D1}"/>
                  </a:ext>
                </a:extLst>
              </p:cNvPr>
              <p:cNvSpPr>
                <a:spLocks/>
              </p:cNvSpPr>
              <p:nvPr/>
            </p:nvSpPr>
            <p:spPr bwMode="gray">
              <a:xfrm>
                <a:off x="1213301" y="2115023"/>
                <a:ext cx="544286" cy="544288"/>
              </a:xfrm>
              <a:prstGeom prst="ellipse">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grpSp>
        <p:grpSp>
          <p:nvGrpSpPr>
            <p:cNvPr id="219" name="Group 218">
              <a:extLst>
                <a:ext uri="{FF2B5EF4-FFF2-40B4-BE49-F238E27FC236}">
                  <a16:creationId xmlns:a16="http://schemas.microsoft.com/office/drawing/2014/main" id="{E27DDD74-CD25-42F0-BE81-84DFBE3F3E1E}"/>
                </a:ext>
              </a:extLst>
            </p:cNvPr>
            <p:cNvGrpSpPr/>
            <p:nvPr/>
          </p:nvGrpSpPr>
          <p:grpSpPr>
            <a:xfrm>
              <a:off x="653168" y="2241253"/>
              <a:ext cx="335244" cy="263941"/>
              <a:chOff x="2127621" y="2288707"/>
              <a:chExt cx="248122" cy="195349"/>
            </a:xfrm>
          </p:grpSpPr>
          <p:sp>
            <p:nvSpPr>
              <p:cNvPr id="220" name="Graphic 4">
                <a:extLst>
                  <a:ext uri="{FF2B5EF4-FFF2-40B4-BE49-F238E27FC236}">
                    <a16:creationId xmlns:a16="http://schemas.microsoft.com/office/drawing/2014/main" id="{E6061D47-2E32-477D-9C10-F3C16927C974}"/>
                  </a:ext>
                </a:extLst>
              </p:cNvPr>
              <p:cNvSpPr/>
              <p:nvPr/>
            </p:nvSpPr>
            <p:spPr>
              <a:xfrm>
                <a:off x="2189013" y="2374252"/>
                <a:ext cx="125339" cy="109804"/>
              </a:xfrm>
              <a:custGeom>
                <a:avLst/>
                <a:gdLst>
                  <a:gd name="connsiteX0" fmla="*/ 62622 w 125242"/>
                  <a:gd name="connsiteY0" fmla="*/ 0 h 109804"/>
                  <a:gd name="connsiteX1" fmla="*/ 0 w 125242"/>
                  <a:gd name="connsiteY1" fmla="*/ 37027 h 109804"/>
                  <a:gd name="connsiteX2" fmla="*/ 0 w 125242"/>
                  <a:gd name="connsiteY2" fmla="*/ 103420 h 109804"/>
                  <a:gd name="connsiteX3" fmla="*/ 6390 w 125242"/>
                  <a:gd name="connsiteY3" fmla="*/ 109804 h 109804"/>
                  <a:gd name="connsiteX4" fmla="*/ 12780 w 125242"/>
                  <a:gd name="connsiteY4" fmla="*/ 103420 h 109804"/>
                  <a:gd name="connsiteX5" fmla="*/ 12780 w 125242"/>
                  <a:gd name="connsiteY5" fmla="*/ 37027 h 109804"/>
                  <a:gd name="connsiteX6" fmla="*/ 62622 w 125242"/>
                  <a:gd name="connsiteY6" fmla="*/ 12768 h 109804"/>
                  <a:gd name="connsiteX7" fmla="*/ 112463 w 125242"/>
                  <a:gd name="connsiteY7" fmla="*/ 37027 h 109804"/>
                  <a:gd name="connsiteX8" fmla="*/ 112463 w 125242"/>
                  <a:gd name="connsiteY8" fmla="*/ 103420 h 109804"/>
                  <a:gd name="connsiteX9" fmla="*/ 118853 w 125242"/>
                  <a:gd name="connsiteY9" fmla="*/ 109804 h 109804"/>
                  <a:gd name="connsiteX10" fmla="*/ 125243 w 125242"/>
                  <a:gd name="connsiteY10" fmla="*/ 103420 h 109804"/>
                  <a:gd name="connsiteX11" fmla="*/ 125243 w 125242"/>
                  <a:gd name="connsiteY11" fmla="*/ 37027 h 109804"/>
                  <a:gd name="connsiteX12" fmla="*/ 62622 w 125242"/>
                  <a:gd name="connsiteY12" fmla="*/ 0 h 109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242" h="109804">
                    <a:moveTo>
                      <a:pt x="62622" y="0"/>
                    </a:moveTo>
                    <a:cubicBezTo>
                      <a:pt x="40257" y="0"/>
                      <a:pt x="0" y="14045"/>
                      <a:pt x="0" y="37027"/>
                    </a:cubicBezTo>
                    <a:lnTo>
                      <a:pt x="0" y="103420"/>
                    </a:lnTo>
                    <a:cubicBezTo>
                      <a:pt x="0" y="107251"/>
                      <a:pt x="2556" y="109804"/>
                      <a:pt x="6390" y="109804"/>
                    </a:cubicBezTo>
                    <a:cubicBezTo>
                      <a:pt x="10224" y="109804"/>
                      <a:pt x="12780" y="107251"/>
                      <a:pt x="12780" y="103420"/>
                    </a:cubicBezTo>
                    <a:lnTo>
                      <a:pt x="12780" y="37027"/>
                    </a:lnTo>
                    <a:cubicBezTo>
                      <a:pt x="12780" y="24897"/>
                      <a:pt x="44091" y="12768"/>
                      <a:pt x="62622" y="12768"/>
                    </a:cubicBezTo>
                    <a:cubicBezTo>
                      <a:pt x="81153" y="12768"/>
                      <a:pt x="112463" y="24897"/>
                      <a:pt x="112463" y="37027"/>
                    </a:cubicBezTo>
                    <a:lnTo>
                      <a:pt x="112463" y="103420"/>
                    </a:lnTo>
                    <a:cubicBezTo>
                      <a:pt x="112463" y="107251"/>
                      <a:pt x="115019" y="109804"/>
                      <a:pt x="118853" y="109804"/>
                    </a:cubicBezTo>
                    <a:cubicBezTo>
                      <a:pt x="122687" y="109804"/>
                      <a:pt x="125243" y="107251"/>
                      <a:pt x="125243" y="103420"/>
                    </a:cubicBezTo>
                    <a:lnTo>
                      <a:pt x="125243" y="37027"/>
                    </a:lnTo>
                    <a:cubicBezTo>
                      <a:pt x="125243" y="14045"/>
                      <a:pt x="84986" y="0"/>
                      <a:pt x="62622" y="0"/>
                    </a:cubicBezTo>
                    <a:close/>
                  </a:path>
                </a:pathLst>
              </a:custGeom>
              <a:solidFill>
                <a:schemeClr val="bg1"/>
              </a:solidFill>
              <a:ln w="6390" cap="flat">
                <a:noFill/>
                <a:prstDash val="solid"/>
                <a:miter/>
              </a:ln>
            </p:spPr>
            <p:txBody>
              <a:bodyPr rtlCol="0" anchor="ctr"/>
              <a:lstStyle/>
              <a:p>
                <a:endParaRPr lang="en-US"/>
              </a:p>
            </p:txBody>
          </p:sp>
          <p:sp>
            <p:nvSpPr>
              <p:cNvPr id="222" name="Graphic 4">
                <a:extLst>
                  <a:ext uri="{FF2B5EF4-FFF2-40B4-BE49-F238E27FC236}">
                    <a16:creationId xmlns:a16="http://schemas.microsoft.com/office/drawing/2014/main" id="{B4CCD2BB-D142-4CFF-A229-6A7D9E8FD2BF}"/>
                  </a:ext>
                </a:extLst>
              </p:cNvPr>
              <p:cNvSpPr/>
              <p:nvPr/>
            </p:nvSpPr>
            <p:spPr>
              <a:xfrm>
                <a:off x="2306679" y="2384467"/>
                <a:ext cx="69064" cy="94483"/>
              </a:xfrm>
              <a:custGeom>
                <a:avLst/>
                <a:gdLst>
                  <a:gd name="connsiteX0" fmla="*/ 11502 w 69011"/>
                  <a:gd name="connsiteY0" fmla="*/ 0 h 94483"/>
                  <a:gd name="connsiteX1" fmla="*/ 6390 w 69011"/>
                  <a:gd name="connsiteY1" fmla="*/ 0 h 94483"/>
                  <a:gd name="connsiteX2" fmla="*/ 0 w 69011"/>
                  <a:gd name="connsiteY2" fmla="*/ 6384 h 94483"/>
                  <a:gd name="connsiteX3" fmla="*/ 6390 w 69011"/>
                  <a:gd name="connsiteY3" fmla="*/ 12768 h 94483"/>
                  <a:gd name="connsiteX4" fmla="*/ 11502 w 69011"/>
                  <a:gd name="connsiteY4" fmla="*/ 12768 h 94483"/>
                  <a:gd name="connsiteX5" fmla="*/ 56232 w 69011"/>
                  <a:gd name="connsiteY5" fmla="*/ 37027 h 94483"/>
                  <a:gd name="connsiteX6" fmla="*/ 56232 w 69011"/>
                  <a:gd name="connsiteY6" fmla="*/ 88099 h 94483"/>
                  <a:gd name="connsiteX7" fmla="*/ 62622 w 69011"/>
                  <a:gd name="connsiteY7" fmla="*/ 94483 h 94483"/>
                  <a:gd name="connsiteX8" fmla="*/ 69012 w 69011"/>
                  <a:gd name="connsiteY8" fmla="*/ 88099 h 94483"/>
                  <a:gd name="connsiteX9" fmla="*/ 69012 w 69011"/>
                  <a:gd name="connsiteY9" fmla="*/ 37027 h 94483"/>
                  <a:gd name="connsiteX10" fmla="*/ 11502 w 69011"/>
                  <a:gd name="connsiteY10" fmla="*/ 0 h 94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011" h="94483">
                    <a:moveTo>
                      <a:pt x="11502" y="0"/>
                    </a:moveTo>
                    <a:lnTo>
                      <a:pt x="6390" y="0"/>
                    </a:lnTo>
                    <a:cubicBezTo>
                      <a:pt x="2556" y="0"/>
                      <a:pt x="0" y="2554"/>
                      <a:pt x="0" y="6384"/>
                    </a:cubicBezTo>
                    <a:cubicBezTo>
                      <a:pt x="0" y="10214"/>
                      <a:pt x="2556" y="12768"/>
                      <a:pt x="6390" y="12768"/>
                    </a:cubicBezTo>
                    <a:lnTo>
                      <a:pt x="11502" y="12768"/>
                    </a:lnTo>
                    <a:cubicBezTo>
                      <a:pt x="28755" y="12768"/>
                      <a:pt x="56232" y="26174"/>
                      <a:pt x="56232" y="37027"/>
                    </a:cubicBezTo>
                    <a:lnTo>
                      <a:pt x="56232" y="88099"/>
                    </a:lnTo>
                    <a:cubicBezTo>
                      <a:pt x="56232" y="91930"/>
                      <a:pt x="58787" y="94483"/>
                      <a:pt x="62622" y="94483"/>
                    </a:cubicBezTo>
                    <a:cubicBezTo>
                      <a:pt x="66456" y="94483"/>
                      <a:pt x="69012" y="91930"/>
                      <a:pt x="69012" y="88099"/>
                    </a:cubicBezTo>
                    <a:lnTo>
                      <a:pt x="69012" y="37027"/>
                    </a:lnTo>
                    <a:cubicBezTo>
                      <a:pt x="69012" y="15322"/>
                      <a:pt x="31950" y="0"/>
                      <a:pt x="11502" y="0"/>
                    </a:cubicBezTo>
                    <a:close/>
                  </a:path>
                </a:pathLst>
              </a:custGeom>
              <a:solidFill>
                <a:schemeClr val="bg1"/>
              </a:solidFill>
              <a:ln w="6390" cap="flat">
                <a:noFill/>
                <a:prstDash val="solid"/>
                <a:miter/>
              </a:ln>
            </p:spPr>
            <p:txBody>
              <a:bodyPr rtlCol="0" anchor="ctr"/>
              <a:lstStyle/>
              <a:p>
                <a:endParaRPr lang="en-US"/>
              </a:p>
            </p:txBody>
          </p:sp>
          <p:sp>
            <p:nvSpPr>
              <p:cNvPr id="223" name="Graphic 4">
                <a:extLst>
                  <a:ext uri="{FF2B5EF4-FFF2-40B4-BE49-F238E27FC236}">
                    <a16:creationId xmlns:a16="http://schemas.microsoft.com/office/drawing/2014/main" id="{45093CA1-E910-46A3-83F8-E37500949524}"/>
                  </a:ext>
                </a:extLst>
              </p:cNvPr>
              <p:cNvSpPr/>
              <p:nvPr/>
            </p:nvSpPr>
            <p:spPr>
              <a:xfrm>
                <a:off x="2127621" y="2384467"/>
                <a:ext cx="69064" cy="94483"/>
              </a:xfrm>
              <a:custGeom>
                <a:avLst/>
                <a:gdLst>
                  <a:gd name="connsiteX0" fmla="*/ 69012 w 69011"/>
                  <a:gd name="connsiteY0" fmla="*/ 6384 h 94483"/>
                  <a:gd name="connsiteX1" fmla="*/ 62622 w 69011"/>
                  <a:gd name="connsiteY1" fmla="*/ 0 h 94483"/>
                  <a:gd name="connsiteX2" fmla="*/ 57509 w 69011"/>
                  <a:gd name="connsiteY2" fmla="*/ 0 h 94483"/>
                  <a:gd name="connsiteX3" fmla="*/ 0 w 69011"/>
                  <a:gd name="connsiteY3" fmla="*/ 37027 h 94483"/>
                  <a:gd name="connsiteX4" fmla="*/ 0 w 69011"/>
                  <a:gd name="connsiteY4" fmla="*/ 88099 h 94483"/>
                  <a:gd name="connsiteX5" fmla="*/ 6390 w 69011"/>
                  <a:gd name="connsiteY5" fmla="*/ 94483 h 94483"/>
                  <a:gd name="connsiteX6" fmla="*/ 12780 w 69011"/>
                  <a:gd name="connsiteY6" fmla="*/ 88099 h 94483"/>
                  <a:gd name="connsiteX7" fmla="*/ 12780 w 69011"/>
                  <a:gd name="connsiteY7" fmla="*/ 37027 h 94483"/>
                  <a:gd name="connsiteX8" fmla="*/ 57509 w 69011"/>
                  <a:gd name="connsiteY8" fmla="*/ 12768 h 94483"/>
                  <a:gd name="connsiteX9" fmla="*/ 62622 w 69011"/>
                  <a:gd name="connsiteY9" fmla="*/ 12768 h 94483"/>
                  <a:gd name="connsiteX10" fmla="*/ 69012 w 69011"/>
                  <a:gd name="connsiteY10" fmla="*/ 6384 h 94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011" h="94483">
                    <a:moveTo>
                      <a:pt x="69012" y="6384"/>
                    </a:moveTo>
                    <a:cubicBezTo>
                      <a:pt x="69012" y="2554"/>
                      <a:pt x="66456" y="0"/>
                      <a:pt x="62622" y="0"/>
                    </a:cubicBezTo>
                    <a:lnTo>
                      <a:pt x="57509" y="0"/>
                    </a:lnTo>
                    <a:cubicBezTo>
                      <a:pt x="37062" y="0"/>
                      <a:pt x="0" y="15322"/>
                      <a:pt x="0" y="37027"/>
                    </a:cubicBezTo>
                    <a:lnTo>
                      <a:pt x="0" y="88099"/>
                    </a:lnTo>
                    <a:cubicBezTo>
                      <a:pt x="0" y="91930"/>
                      <a:pt x="2556" y="94483"/>
                      <a:pt x="6390" y="94483"/>
                    </a:cubicBezTo>
                    <a:cubicBezTo>
                      <a:pt x="10224" y="94483"/>
                      <a:pt x="12780" y="91930"/>
                      <a:pt x="12780" y="88099"/>
                    </a:cubicBezTo>
                    <a:lnTo>
                      <a:pt x="12780" y="37027"/>
                    </a:lnTo>
                    <a:cubicBezTo>
                      <a:pt x="12780" y="26174"/>
                      <a:pt x="40257" y="12768"/>
                      <a:pt x="57509" y="12768"/>
                    </a:cubicBezTo>
                    <a:lnTo>
                      <a:pt x="62622" y="12768"/>
                    </a:lnTo>
                    <a:cubicBezTo>
                      <a:pt x="65817" y="12768"/>
                      <a:pt x="69012" y="10214"/>
                      <a:pt x="69012" y="6384"/>
                    </a:cubicBezTo>
                    <a:close/>
                  </a:path>
                </a:pathLst>
              </a:custGeom>
              <a:solidFill>
                <a:schemeClr val="bg1"/>
              </a:solidFill>
              <a:ln w="6390" cap="flat">
                <a:noFill/>
                <a:prstDash val="solid"/>
                <a:miter/>
              </a:ln>
            </p:spPr>
            <p:txBody>
              <a:bodyPr rtlCol="0" anchor="ctr"/>
              <a:lstStyle/>
              <a:p>
                <a:endParaRPr lang="en-US"/>
              </a:p>
            </p:txBody>
          </p:sp>
          <p:sp>
            <p:nvSpPr>
              <p:cNvPr id="224" name="Graphic 4">
                <a:extLst>
                  <a:ext uri="{FF2B5EF4-FFF2-40B4-BE49-F238E27FC236}">
                    <a16:creationId xmlns:a16="http://schemas.microsoft.com/office/drawing/2014/main" id="{7D55158D-7242-49DF-9525-CDD472F1ABD5}"/>
                  </a:ext>
                </a:extLst>
              </p:cNvPr>
              <p:cNvSpPr/>
              <p:nvPr/>
            </p:nvSpPr>
            <p:spPr>
              <a:xfrm>
                <a:off x="2212033" y="2288707"/>
                <a:ext cx="79296" cy="79161"/>
              </a:xfrm>
              <a:custGeom>
                <a:avLst/>
                <a:gdLst>
                  <a:gd name="connsiteX0" fmla="*/ 39618 w 79235"/>
                  <a:gd name="connsiteY0" fmla="*/ 79162 h 79161"/>
                  <a:gd name="connsiteX1" fmla="*/ 79235 w 79235"/>
                  <a:gd name="connsiteY1" fmla="*/ 39581 h 79161"/>
                  <a:gd name="connsiteX2" fmla="*/ 39618 w 79235"/>
                  <a:gd name="connsiteY2" fmla="*/ 0 h 79161"/>
                  <a:gd name="connsiteX3" fmla="*/ 0 w 79235"/>
                  <a:gd name="connsiteY3" fmla="*/ 39581 h 79161"/>
                  <a:gd name="connsiteX4" fmla="*/ 39618 w 79235"/>
                  <a:gd name="connsiteY4" fmla="*/ 79162 h 79161"/>
                  <a:gd name="connsiteX5" fmla="*/ 39618 w 79235"/>
                  <a:gd name="connsiteY5" fmla="*/ 12130 h 79161"/>
                  <a:gd name="connsiteX6" fmla="*/ 66456 w 79235"/>
                  <a:gd name="connsiteY6" fmla="*/ 38942 h 79161"/>
                  <a:gd name="connsiteX7" fmla="*/ 39618 w 79235"/>
                  <a:gd name="connsiteY7" fmla="*/ 65755 h 79161"/>
                  <a:gd name="connsiteX8" fmla="*/ 12780 w 79235"/>
                  <a:gd name="connsiteY8" fmla="*/ 38942 h 79161"/>
                  <a:gd name="connsiteX9" fmla="*/ 39618 w 79235"/>
                  <a:gd name="connsiteY9" fmla="*/ 12130 h 7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235" h="79161">
                    <a:moveTo>
                      <a:pt x="39618" y="79162"/>
                    </a:moveTo>
                    <a:cubicBezTo>
                      <a:pt x="61344" y="79162"/>
                      <a:pt x="79235" y="61286"/>
                      <a:pt x="79235" y="39581"/>
                    </a:cubicBezTo>
                    <a:cubicBezTo>
                      <a:pt x="79235" y="17875"/>
                      <a:pt x="61344" y="0"/>
                      <a:pt x="39618" y="0"/>
                    </a:cubicBezTo>
                    <a:cubicBezTo>
                      <a:pt x="17892" y="0"/>
                      <a:pt x="0" y="17875"/>
                      <a:pt x="0" y="39581"/>
                    </a:cubicBezTo>
                    <a:cubicBezTo>
                      <a:pt x="0" y="61286"/>
                      <a:pt x="17892" y="79162"/>
                      <a:pt x="39618" y="79162"/>
                    </a:cubicBezTo>
                    <a:close/>
                    <a:moveTo>
                      <a:pt x="39618" y="12130"/>
                    </a:moveTo>
                    <a:cubicBezTo>
                      <a:pt x="54314" y="12130"/>
                      <a:pt x="66456" y="24259"/>
                      <a:pt x="66456" y="38942"/>
                    </a:cubicBezTo>
                    <a:cubicBezTo>
                      <a:pt x="66456" y="53626"/>
                      <a:pt x="54314" y="65755"/>
                      <a:pt x="39618" y="65755"/>
                    </a:cubicBezTo>
                    <a:cubicBezTo>
                      <a:pt x="24921" y="65755"/>
                      <a:pt x="12780" y="53626"/>
                      <a:pt x="12780" y="38942"/>
                    </a:cubicBezTo>
                    <a:cubicBezTo>
                      <a:pt x="12780" y="24259"/>
                      <a:pt x="24921" y="12130"/>
                      <a:pt x="39618" y="12130"/>
                    </a:cubicBezTo>
                    <a:close/>
                  </a:path>
                </a:pathLst>
              </a:custGeom>
              <a:solidFill>
                <a:schemeClr val="bg1"/>
              </a:solidFill>
              <a:ln w="6390" cap="flat">
                <a:noFill/>
                <a:prstDash val="solid"/>
                <a:miter/>
              </a:ln>
            </p:spPr>
            <p:txBody>
              <a:bodyPr rtlCol="0" anchor="ctr"/>
              <a:lstStyle/>
              <a:p>
                <a:endParaRPr lang="en-US"/>
              </a:p>
            </p:txBody>
          </p:sp>
          <p:sp>
            <p:nvSpPr>
              <p:cNvPr id="225" name="Graphic 4">
                <a:extLst>
                  <a:ext uri="{FF2B5EF4-FFF2-40B4-BE49-F238E27FC236}">
                    <a16:creationId xmlns:a16="http://schemas.microsoft.com/office/drawing/2014/main" id="{BA3C3858-2426-41A2-91ED-BB8768B5A8B1}"/>
                  </a:ext>
                </a:extLst>
              </p:cNvPr>
              <p:cNvSpPr/>
              <p:nvPr/>
            </p:nvSpPr>
            <p:spPr>
              <a:xfrm>
                <a:off x="2141690" y="2310413"/>
                <a:ext cx="65227" cy="65116"/>
              </a:xfrm>
              <a:custGeom>
                <a:avLst/>
                <a:gdLst>
                  <a:gd name="connsiteX0" fmla="*/ 32589 w 65177"/>
                  <a:gd name="connsiteY0" fmla="*/ 65117 h 65116"/>
                  <a:gd name="connsiteX1" fmla="*/ 65178 w 65177"/>
                  <a:gd name="connsiteY1" fmla="*/ 32558 h 65116"/>
                  <a:gd name="connsiteX2" fmla="*/ 32589 w 65177"/>
                  <a:gd name="connsiteY2" fmla="*/ 0 h 65116"/>
                  <a:gd name="connsiteX3" fmla="*/ 0 w 65177"/>
                  <a:gd name="connsiteY3" fmla="*/ 32558 h 65116"/>
                  <a:gd name="connsiteX4" fmla="*/ 32589 w 65177"/>
                  <a:gd name="connsiteY4" fmla="*/ 65117 h 65116"/>
                  <a:gd name="connsiteX5" fmla="*/ 32589 w 65177"/>
                  <a:gd name="connsiteY5" fmla="*/ 12768 h 65116"/>
                  <a:gd name="connsiteX6" fmla="*/ 52398 w 65177"/>
                  <a:gd name="connsiteY6" fmla="*/ 32558 h 65116"/>
                  <a:gd name="connsiteX7" fmla="*/ 32589 w 65177"/>
                  <a:gd name="connsiteY7" fmla="*/ 52349 h 65116"/>
                  <a:gd name="connsiteX8" fmla="*/ 12780 w 65177"/>
                  <a:gd name="connsiteY8" fmla="*/ 32558 h 65116"/>
                  <a:gd name="connsiteX9" fmla="*/ 32589 w 65177"/>
                  <a:gd name="connsiteY9" fmla="*/ 12768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77" h="65116">
                    <a:moveTo>
                      <a:pt x="32589" y="65117"/>
                    </a:moveTo>
                    <a:cubicBezTo>
                      <a:pt x="50481" y="65117"/>
                      <a:pt x="65178" y="50433"/>
                      <a:pt x="65178" y="32558"/>
                    </a:cubicBezTo>
                    <a:cubicBezTo>
                      <a:pt x="65178" y="14683"/>
                      <a:pt x="50481" y="0"/>
                      <a:pt x="32589" y="0"/>
                    </a:cubicBezTo>
                    <a:cubicBezTo>
                      <a:pt x="14697" y="0"/>
                      <a:pt x="0" y="14683"/>
                      <a:pt x="0" y="32558"/>
                    </a:cubicBezTo>
                    <a:cubicBezTo>
                      <a:pt x="0" y="50433"/>
                      <a:pt x="14697" y="65117"/>
                      <a:pt x="32589" y="65117"/>
                    </a:cubicBezTo>
                    <a:close/>
                    <a:moveTo>
                      <a:pt x="32589" y="12768"/>
                    </a:moveTo>
                    <a:cubicBezTo>
                      <a:pt x="43452" y="12768"/>
                      <a:pt x="52398" y="21706"/>
                      <a:pt x="52398" y="32558"/>
                    </a:cubicBezTo>
                    <a:cubicBezTo>
                      <a:pt x="52398" y="43411"/>
                      <a:pt x="43452" y="52349"/>
                      <a:pt x="32589" y="52349"/>
                    </a:cubicBezTo>
                    <a:cubicBezTo>
                      <a:pt x="21726" y="52349"/>
                      <a:pt x="12780" y="43411"/>
                      <a:pt x="12780" y="32558"/>
                    </a:cubicBezTo>
                    <a:cubicBezTo>
                      <a:pt x="12780" y="21706"/>
                      <a:pt x="21726" y="12768"/>
                      <a:pt x="32589" y="12768"/>
                    </a:cubicBezTo>
                    <a:close/>
                  </a:path>
                </a:pathLst>
              </a:custGeom>
              <a:solidFill>
                <a:schemeClr val="bg1"/>
              </a:solidFill>
              <a:ln w="6390" cap="flat">
                <a:noFill/>
                <a:prstDash val="solid"/>
                <a:miter/>
              </a:ln>
            </p:spPr>
            <p:txBody>
              <a:bodyPr rtlCol="0" anchor="ctr"/>
              <a:lstStyle/>
              <a:p>
                <a:endParaRPr lang="en-US"/>
              </a:p>
            </p:txBody>
          </p:sp>
          <p:sp>
            <p:nvSpPr>
              <p:cNvPr id="226" name="Graphic 4">
                <a:extLst>
                  <a:ext uri="{FF2B5EF4-FFF2-40B4-BE49-F238E27FC236}">
                    <a16:creationId xmlns:a16="http://schemas.microsoft.com/office/drawing/2014/main" id="{2089C40E-0FB8-4423-974A-AFC60DC02FB6}"/>
                  </a:ext>
                </a:extLst>
              </p:cNvPr>
              <p:cNvSpPr/>
              <p:nvPr/>
            </p:nvSpPr>
            <p:spPr>
              <a:xfrm>
                <a:off x="2297066" y="2310413"/>
                <a:ext cx="65247" cy="65116"/>
              </a:xfrm>
              <a:custGeom>
                <a:avLst/>
                <a:gdLst>
                  <a:gd name="connsiteX0" fmla="*/ 32609 w 65197"/>
                  <a:gd name="connsiteY0" fmla="*/ 65117 h 65116"/>
                  <a:gd name="connsiteX1" fmla="*/ 65197 w 65197"/>
                  <a:gd name="connsiteY1" fmla="*/ 32558 h 65116"/>
                  <a:gd name="connsiteX2" fmla="*/ 32609 w 65197"/>
                  <a:gd name="connsiteY2" fmla="*/ 0 h 65116"/>
                  <a:gd name="connsiteX3" fmla="*/ 20 w 65197"/>
                  <a:gd name="connsiteY3" fmla="*/ 32558 h 65116"/>
                  <a:gd name="connsiteX4" fmla="*/ 32609 w 65197"/>
                  <a:gd name="connsiteY4" fmla="*/ 65117 h 65116"/>
                  <a:gd name="connsiteX5" fmla="*/ 32609 w 65197"/>
                  <a:gd name="connsiteY5" fmla="*/ 12768 h 65116"/>
                  <a:gd name="connsiteX6" fmla="*/ 52417 w 65197"/>
                  <a:gd name="connsiteY6" fmla="*/ 32558 h 65116"/>
                  <a:gd name="connsiteX7" fmla="*/ 32609 w 65197"/>
                  <a:gd name="connsiteY7" fmla="*/ 52349 h 65116"/>
                  <a:gd name="connsiteX8" fmla="*/ 12800 w 65197"/>
                  <a:gd name="connsiteY8" fmla="*/ 32558 h 65116"/>
                  <a:gd name="connsiteX9" fmla="*/ 32609 w 65197"/>
                  <a:gd name="connsiteY9" fmla="*/ 12768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97" h="65116">
                    <a:moveTo>
                      <a:pt x="32609" y="65117"/>
                    </a:moveTo>
                    <a:cubicBezTo>
                      <a:pt x="50501" y="65117"/>
                      <a:pt x="65197" y="50433"/>
                      <a:pt x="65197" y="32558"/>
                    </a:cubicBezTo>
                    <a:cubicBezTo>
                      <a:pt x="65197" y="14683"/>
                      <a:pt x="50501" y="0"/>
                      <a:pt x="32609" y="0"/>
                    </a:cubicBezTo>
                    <a:cubicBezTo>
                      <a:pt x="14717" y="0"/>
                      <a:pt x="20" y="14683"/>
                      <a:pt x="20" y="32558"/>
                    </a:cubicBezTo>
                    <a:cubicBezTo>
                      <a:pt x="-619" y="50433"/>
                      <a:pt x="14078" y="65117"/>
                      <a:pt x="32609" y="65117"/>
                    </a:cubicBezTo>
                    <a:close/>
                    <a:moveTo>
                      <a:pt x="32609" y="12768"/>
                    </a:moveTo>
                    <a:cubicBezTo>
                      <a:pt x="43472" y="12768"/>
                      <a:pt x="52417" y="21706"/>
                      <a:pt x="52417" y="32558"/>
                    </a:cubicBezTo>
                    <a:cubicBezTo>
                      <a:pt x="52417" y="43411"/>
                      <a:pt x="43472" y="52349"/>
                      <a:pt x="32609" y="52349"/>
                    </a:cubicBezTo>
                    <a:cubicBezTo>
                      <a:pt x="21746" y="52349"/>
                      <a:pt x="12800" y="43411"/>
                      <a:pt x="12800" y="32558"/>
                    </a:cubicBezTo>
                    <a:cubicBezTo>
                      <a:pt x="12800" y="21706"/>
                      <a:pt x="21107" y="12768"/>
                      <a:pt x="32609" y="12768"/>
                    </a:cubicBezTo>
                    <a:close/>
                  </a:path>
                </a:pathLst>
              </a:custGeom>
              <a:solidFill>
                <a:schemeClr val="bg1"/>
              </a:solidFill>
              <a:ln w="6390" cap="flat">
                <a:noFill/>
                <a:prstDash val="solid"/>
                <a:miter/>
              </a:ln>
            </p:spPr>
            <p:txBody>
              <a:bodyPr rtlCol="0" anchor="ctr"/>
              <a:lstStyle/>
              <a:p>
                <a:endParaRPr lang="en-US"/>
              </a:p>
            </p:txBody>
          </p:sp>
        </p:grpSp>
      </p:grpSp>
      <p:sp>
        <p:nvSpPr>
          <p:cNvPr id="101" name="Freeform 302"/>
          <p:cNvSpPr>
            <a:spLocks noEditPoints="1"/>
          </p:cNvSpPr>
          <p:nvPr/>
        </p:nvSpPr>
        <p:spPr bwMode="auto">
          <a:xfrm>
            <a:off x="2873375" y="1548569"/>
            <a:ext cx="1403350" cy="1577975"/>
          </a:xfrm>
          <a:custGeom>
            <a:avLst/>
            <a:gdLst>
              <a:gd name="T0" fmla="*/ 1674 w 2267"/>
              <a:gd name="T1" fmla="*/ 107 h 2545"/>
              <a:gd name="T2" fmla="*/ 1712 w 2267"/>
              <a:gd name="T3" fmla="*/ 139 h 2545"/>
              <a:gd name="T4" fmla="*/ 1758 w 2267"/>
              <a:gd name="T5" fmla="*/ 124 h 2545"/>
              <a:gd name="T6" fmla="*/ 1551 w 2267"/>
              <a:gd name="T7" fmla="*/ 227 h 2545"/>
              <a:gd name="T8" fmla="*/ 1509 w 2267"/>
              <a:gd name="T9" fmla="*/ 226 h 2545"/>
              <a:gd name="T10" fmla="*/ 1477 w 2267"/>
              <a:gd name="T11" fmla="*/ 245 h 2545"/>
              <a:gd name="T12" fmla="*/ 1406 w 2267"/>
              <a:gd name="T13" fmla="*/ 297 h 2545"/>
              <a:gd name="T14" fmla="*/ 1321 w 2267"/>
              <a:gd name="T15" fmla="*/ 350 h 2545"/>
              <a:gd name="T16" fmla="*/ 1346 w 2267"/>
              <a:gd name="T17" fmla="*/ 402 h 2545"/>
              <a:gd name="T18" fmla="*/ 1120 w 2267"/>
              <a:gd name="T19" fmla="*/ 475 h 2545"/>
              <a:gd name="T20" fmla="*/ 1137 w 2267"/>
              <a:gd name="T21" fmla="*/ 503 h 2545"/>
              <a:gd name="T22" fmla="*/ 1249 w 2267"/>
              <a:gd name="T23" fmla="*/ 485 h 2545"/>
              <a:gd name="T24" fmla="*/ 1129 w 2267"/>
              <a:gd name="T25" fmla="*/ 556 h 2545"/>
              <a:gd name="T26" fmla="*/ 1019 w 2267"/>
              <a:gd name="T27" fmla="*/ 597 h 2545"/>
              <a:gd name="T28" fmla="*/ 898 w 2267"/>
              <a:gd name="T29" fmla="*/ 993 h 2545"/>
              <a:gd name="T30" fmla="*/ 474 w 2267"/>
              <a:gd name="T31" fmla="*/ 1418 h 2545"/>
              <a:gd name="T32" fmla="*/ 453 w 2267"/>
              <a:gd name="T33" fmla="*/ 1497 h 2545"/>
              <a:gd name="T34" fmla="*/ 70 w 2267"/>
              <a:gd name="T35" fmla="*/ 2137 h 2545"/>
              <a:gd name="T36" fmla="*/ 33 w 2267"/>
              <a:gd name="T37" fmla="*/ 2137 h 2545"/>
              <a:gd name="T38" fmla="*/ 0 w 2267"/>
              <a:gd name="T39" fmla="*/ 2271 h 2545"/>
              <a:gd name="T40" fmla="*/ 592 w 2267"/>
              <a:gd name="T41" fmla="*/ 2358 h 2545"/>
              <a:gd name="T42" fmla="*/ 519 w 2267"/>
              <a:gd name="T43" fmla="*/ 2353 h 2545"/>
              <a:gd name="T44" fmla="*/ 199 w 2267"/>
              <a:gd name="T45" fmla="*/ 2544 h 2545"/>
              <a:gd name="T46" fmla="*/ 91 w 2267"/>
              <a:gd name="T47" fmla="*/ 2287 h 2545"/>
              <a:gd name="T48" fmla="*/ 67 w 2267"/>
              <a:gd name="T49" fmla="*/ 2193 h 2545"/>
              <a:gd name="T50" fmla="*/ 179 w 2267"/>
              <a:gd name="T51" fmla="*/ 2047 h 2545"/>
              <a:gd name="T52" fmla="*/ 76 w 2267"/>
              <a:gd name="T53" fmla="*/ 1949 h 2545"/>
              <a:gd name="T54" fmla="*/ 344 w 2267"/>
              <a:gd name="T55" fmla="*/ 1915 h 2545"/>
              <a:gd name="T56" fmla="*/ 96 w 2267"/>
              <a:gd name="T57" fmla="*/ 1882 h 2545"/>
              <a:gd name="T58" fmla="*/ 120 w 2267"/>
              <a:gd name="T59" fmla="*/ 1736 h 2545"/>
              <a:gd name="T60" fmla="*/ 261 w 2267"/>
              <a:gd name="T61" fmla="*/ 1701 h 2545"/>
              <a:gd name="T62" fmla="*/ 299 w 2267"/>
              <a:gd name="T63" fmla="*/ 1623 h 2545"/>
              <a:gd name="T64" fmla="*/ 337 w 2267"/>
              <a:gd name="T65" fmla="*/ 1570 h 2545"/>
              <a:gd name="T66" fmla="*/ 471 w 2267"/>
              <a:gd name="T67" fmla="*/ 1542 h 2545"/>
              <a:gd name="T68" fmla="*/ 614 w 2267"/>
              <a:gd name="T69" fmla="*/ 1533 h 2545"/>
              <a:gd name="T70" fmla="*/ 716 w 2267"/>
              <a:gd name="T71" fmla="*/ 1411 h 2545"/>
              <a:gd name="T72" fmla="*/ 724 w 2267"/>
              <a:gd name="T73" fmla="*/ 1284 h 2545"/>
              <a:gd name="T74" fmla="*/ 858 w 2267"/>
              <a:gd name="T75" fmla="*/ 1166 h 2545"/>
              <a:gd name="T76" fmla="*/ 941 w 2267"/>
              <a:gd name="T77" fmla="*/ 1025 h 2545"/>
              <a:gd name="T78" fmla="*/ 990 w 2267"/>
              <a:gd name="T79" fmla="*/ 922 h 2545"/>
              <a:gd name="T80" fmla="*/ 1105 w 2267"/>
              <a:gd name="T81" fmla="*/ 798 h 2545"/>
              <a:gd name="T82" fmla="*/ 1118 w 2267"/>
              <a:gd name="T83" fmla="*/ 717 h 2545"/>
              <a:gd name="T84" fmla="*/ 1133 w 2267"/>
              <a:gd name="T85" fmla="*/ 679 h 2545"/>
              <a:gd name="T86" fmla="*/ 1269 w 2267"/>
              <a:gd name="T87" fmla="*/ 583 h 2545"/>
              <a:gd name="T88" fmla="*/ 1339 w 2267"/>
              <a:gd name="T89" fmla="*/ 422 h 2545"/>
              <a:gd name="T90" fmla="*/ 1480 w 2267"/>
              <a:gd name="T91" fmla="*/ 414 h 2545"/>
              <a:gd name="T92" fmla="*/ 1518 w 2267"/>
              <a:gd name="T93" fmla="*/ 362 h 2545"/>
              <a:gd name="T94" fmla="*/ 1635 w 2267"/>
              <a:gd name="T95" fmla="*/ 200 h 2545"/>
              <a:gd name="T96" fmla="*/ 1758 w 2267"/>
              <a:gd name="T97" fmla="*/ 156 h 2545"/>
              <a:gd name="T98" fmla="*/ 1873 w 2267"/>
              <a:gd name="T99" fmla="*/ 209 h 2545"/>
              <a:gd name="T100" fmla="*/ 1992 w 2267"/>
              <a:gd name="T101" fmla="*/ 45 h 2545"/>
              <a:gd name="T102" fmla="*/ 2040 w 2267"/>
              <a:gd name="T103" fmla="*/ 97 h 2545"/>
              <a:gd name="T104" fmla="*/ 2177 w 2267"/>
              <a:gd name="T105" fmla="*/ 92 h 2545"/>
              <a:gd name="T106" fmla="*/ 2170 w 2267"/>
              <a:gd name="T107" fmla="*/ 268 h 2545"/>
              <a:gd name="T108" fmla="*/ 2195 w 2267"/>
              <a:gd name="T109" fmla="*/ 390 h 2545"/>
              <a:gd name="T110" fmla="*/ 1998 w 2267"/>
              <a:gd name="T111" fmla="*/ 255 h 2545"/>
              <a:gd name="T112" fmla="*/ 1588 w 2267"/>
              <a:gd name="T113" fmla="*/ 426 h 2545"/>
              <a:gd name="T114" fmla="*/ 1175 w 2267"/>
              <a:gd name="T115" fmla="*/ 883 h 2545"/>
              <a:gd name="T116" fmla="*/ 808 w 2267"/>
              <a:gd name="T117" fmla="*/ 1910 h 2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7" h="2545">
                <a:moveTo>
                  <a:pt x="1866" y="38"/>
                </a:moveTo>
                <a:cubicBezTo>
                  <a:pt x="1863" y="38"/>
                  <a:pt x="1858" y="34"/>
                  <a:pt x="1857" y="30"/>
                </a:cubicBezTo>
                <a:cubicBezTo>
                  <a:pt x="1856" y="29"/>
                  <a:pt x="1866" y="13"/>
                  <a:pt x="1867" y="10"/>
                </a:cubicBezTo>
                <a:cubicBezTo>
                  <a:pt x="1869" y="6"/>
                  <a:pt x="1873" y="4"/>
                  <a:pt x="1875" y="9"/>
                </a:cubicBezTo>
                <a:cubicBezTo>
                  <a:pt x="1878" y="15"/>
                  <a:pt x="1882" y="23"/>
                  <a:pt x="1882" y="29"/>
                </a:cubicBezTo>
                <a:cubicBezTo>
                  <a:pt x="1882" y="33"/>
                  <a:pt x="1880" y="36"/>
                  <a:pt x="1879" y="39"/>
                </a:cubicBezTo>
                <a:cubicBezTo>
                  <a:pt x="1878" y="44"/>
                  <a:pt x="1876" y="45"/>
                  <a:pt x="1872" y="46"/>
                </a:cubicBezTo>
                <a:lnTo>
                  <a:pt x="1866" y="38"/>
                </a:lnTo>
                <a:close/>
                <a:moveTo>
                  <a:pt x="1646" y="134"/>
                </a:moveTo>
                <a:cubicBezTo>
                  <a:pt x="1646" y="132"/>
                  <a:pt x="1646" y="129"/>
                  <a:pt x="1644" y="126"/>
                </a:cubicBezTo>
                <a:cubicBezTo>
                  <a:pt x="1636" y="125"/>
                  <a:pt x="1619" y="126"/>
                  <a:pt x="1627" y="112"/>
                </a:cubicBezTo>
                <a:cubicBezTo>
                  <a:pt x="1641" y="86"/>
                  <a:pt x="1662" y="120"/>
                  <a:pt x="1674" y="107"/>
                </a:cubicBezTo>
                <a:cubicBezTo>
                  <a:pt x="1676" y="104"/>
                  <a:pt x="1676" y="101"/>
                  <a:pt x="1680" y="98"/>
                </a:cubicBezTo>
                <a:cubicBezTo>
                  <a:pt x="1685" y="94"/>
                  <a:pt x="1690" y="93"/>
                  <a:pt x="1694" y="87"/>
                </a:cubicBezTo>
                <a:cubicBezTo>
                  <a:pt x="1698" y="81"/>
                  <a:pt x="1701" y="75"/>
                  <a:pt x="1710" y="75"/>
                </a:cubicBezTo>
                <a:cubicBezTo>
                  <a:pt x="1713" y="78"/>
                  <a:pt x="1708" y="95"/>
                  <a:pt x="1708" y="100"/>
                </a:cubicBezTo>
                <a:cubicBezTo>
                  <a:pt x="1708" y="115"/>
                  <a:pt x="1696" y="130"/>
                  <a:pt x="1682" y="135"/>
                </a:cubicBezTo>
                <a:cubicBezTo>
                  <a:pt x="1676" y="137"/>
                  <a:pt x="1668" y="132"/>
                  <a:pt x="1663" y="137"/>
                </a:cubicBezTo>
                <a:cubicBezTo>
                  <a:pt x="1657" y="141"/>
                  <a:pt x="1658" y="145"/>
                  <a:pt x="1648" y="141"/>
                </a:cubicBezTo>
                <a:lnTo>
                  <a:pt x="1646" y="134"/>
                </a:lnTo>
                <a:close/>
                <a:moveTo>
                  <a:pt x="1708" y="165"/>
                </a:moveTo>
                <a:cubicBezTo>
                  <a:pt x="1703" y="164"/>
                  <a:pt x="1700" y="158"/>
                  <a:pt x="1699" y="153"/>
                </a:cubicBezTo>
                <a:cubicBezTo>
                  <a:pt x="1698" y="150"/>
                  <a:pt x="1699" y="149"/>
                  <a:pt x="1702" y="147"/>
                </a:cubicBezTo>
                <a:cubicBezTo>
                  <a:pt x="1705" y="144"/>
                  <a:pt x="1709" y="142"/>
                  <a:pt x="1712" y="139"/>
                </a:cubicBezTo>
                <a:cubicBezTo>
                  <a:pt x="1714" y="137"/>
                  <a:pt x="1722" y="128"/>
                  <a:pt x="1724" y="132"/>
                </a:cubicBezTo>
                <a:cubicBezTo>
                  <a:pt x="1726" y="134"/>
                  <a:pt x="1724" y="141"/>
                  <a:pt x="1724" y="144"/>
                </a:cubicBezTo>
                <a:cubicBezTo>
                  <a:pt x="1724" y="150"/>
                  <a:pt x="1720" y="156"/>
                  <a:pt x="1722" y="161"/>
                </a:cubicBezTo>
                <a:cubicBezTo>
                  <a:pt x="1722" y="163"/>
                  <a:pt x="1723" y="165"/>
                  <a:pt x="1722" y="167"/>
                </a:cubicBezTo>
                <a:cubicBezTo>
                  <a:pt x="1722" y="169"/>
                  <a:pt x="1716" y="172"/>
                  <a:pt x="1715" y="170"/>
                </a:cubicBezTo>
                <a:lnTo>
                  <a:pt x="1708" y="165"/>
                </a:lnTo>
                <a:close/>
                <a:moveTo>
                  <a:pt x="1751" y="123"/>
                </a:moveTo>
                <a:cubicBezTo>
                  <a:pt x="1749" y="124"/>
                  <a:pt x="1742" y="118"/>
                  <a:pt x="1741" y="117"/>
                </a:cubicBezTo>
                <a:cubicBezTo>
                  <a:pt x="1737" y="113"/>
                  <a:pt x="1734" y="103"/>
                  <a:pt x="1738" y="98"/>
                </a:cubicBezTo>
                <a:cubicBezTo>
                  <a:pt x="1741" y="94"/>
                  <a:pt x="1743" y="99"/>
                  <a:pt x="1745" y="101"/>
                </a:cubicBezTo>
                <a:cubicBezTo>
                  <a:pt x="1750" y="105"/>
                  <a:pt x="1766" y="96"/>
                  <a:pt x="1765" y="107"/>
                </a:cubicBezTo>
                <a:cubicBezTo>
                  <a:pt x="1764" y="114"/>
                  <a:pt x="1765" y="120"/>
                  <a:pt x="1758" y="124"/>
                </a:cubicBezTo>
                <a:lnTo>
                  <a:pt x="1751" y="123"/>
                </a:lnTo>
                <a:close/>
                <a:moveTo>
                  <a:pt x="1698" y="176"/>
                </a:moveTo>
                <a:cubicBezTo>
                  <a:pt x="1695" y="175"/>
                  <a:pt x="1693" y="174"/>
                  <a:pt x="1689" y="174"/>
                </a:cubicBezTo>
                <a:cubicBezTo>
                  <a:pt x="1685" y="174"/>
                  <a:pt x="1677" y="174"/>
                  <a:pt x="1674" y="176"/>
                </a:cubicBezTo>
                <a:cubicBezTo>
                  <a:pt x="1672" y="177"/>
                  <a:pt x="1671" y="182"/>
                  <a:pt x="1673" y="184"/>
                </a:cubicBezTo>
                <a:cubicBezTo>
                  <a:pt x="1675" y="186"/>
                  <a:pt x="1678" y="186"/>
                  <a:pt x="1680" y="186"/>
                </a:cubicBezTo>
                <a:cubicBezTo>
                  <a:pt x="1682" y="186"/>
                  <a:pt x="1683" y="186"/>
                  <a:pt x="1685" y="186"/>
                </a:cubicBezTo>
                <a:cubicBezTo>
                  <a:pt x="1688" y="187"/>
                  <a:pt x="1688" y="190"/>
                  <a:pt x="1692" y="190"/>
                </a:cubicBezTo>
                <a:cubicBezTo>
                  <a:pt x="1695" y="191"/>
                  <a:pt x="1699" y="188"/>
                  <a:pt x="1700" y="186"/>
                </a:cubicBezTo>
                <a:lnTo>
                  <a:pt x="1698" y="176"/>
                </a:lnTo>
                <a:close/>
                <a:moveTo>
                  <a:pt x="1551" y="235"/>
                </a:moveTo>
                <a:cubicBezTo>
                  <a:pt x="1550" y="232"/>
                  <a:pt x="1551" y="229"/>
                  <a:pt x="1551" y="227"/>
                </a:cubicBezTo>
                <a:cubicBezTo>
                  <a:pt x="1552" y="223"/>
                  <a:pt x="1552" y="216"/>
                  <a:pt x="1555" y="214"/>
                </a:cubicBezTo>
                <a:cubicBezTo>
                  <a:pt x="1558" y="212"/>
                  <a:pt x="1559" y="216"/>
                  <a:pt x="1561" y="218"/>
                </a:cubicBezTo>
                <a:cubicBezTo>
                  <a:pt x="1563" y="219"/>
                  <a:pt x="1567" y="220"/>
                  <a:pt x="1568" y="221"/>
                </a:cubicBezTo>
                <a:cubicBezTo>
                  <a:pt x="1570" y="224"/>
                  <a:pt x="1567" y="230"/>
                  <a:pt x="1566" y="232"/>
                </a:cubicBezTo>
                <a:cubicBezTo>
                  <a:pt x="1564" y="236"/>
                  <a:pt x="1561" y="239"/>
                  <a:pt x="1557" y="239"/>
                </a:cubicBezTo>
                <a:lnTo>
                  <a:pt x="1551" y="235"/>
                </a:lnTo>
                <a:close/>
                <a:moveTo>
                  <a:pt x="1493" y="229"/>
                </a:moveTo>
                <a:cubicBezTo>
                  <a:pt x="1493" y="225"/>
                  <a:pt x="1493" y="223"/>
                  <a:pt x="1491" y="219"/>
                </a:cubicBezTo>
                <a:cubicBezTo>
                  <a:pt x="1488" y="214"/>
                  <a:pt x="1485" y="205"/>
                  <a:pt x="1488" y="201"/>
                </a:cubicBezTo>
                <a:cubicBezTo>
                  <a:pt x="1491" y="196"/>
                  <a:pt x="1494" y="197"/>
                  <a:pt x="1496" y="202"/>
                </a:cubicBezTo>
                <a:cubicBezTo>
                  <a:pt x="1497" y="205"/>
                  <a:pt x="1499" y="209"/>
                  <a:pt x="1502" y="212"/>
                </a:cubicBezTo>
                <a:cubicBezTo>
                  <a:pt x="1506" y="215"/>
                  <a:pt x="1511" y="219"/>
                  <a:pt x="1509" y="226"/>
                </a:cubicBezTo>
                <a:cubicBezTo>
                  <a:pt x="1508" y="230"/>
                  <a:pt x="1501" y="238"/>
                  <a:pt x="1497" y="233"/>
                </a:cubicBezTo>
                <a:lnTo>
                  <a:pt x="1493" y="229"/>
                </a:lnTo>
                <a:close/>
                <a:moveTo>
                  <a:pt x="1477" y="245"/>
                </a:moveTo>
                <a:cubicBezTo>
                  <a:pt x="1473" y="246"/>
                  <a:pt x="1468" y="246"/>
                  <a:pt x="1464" y="244"/>
                </a:cubicBezTo>
                <a:cubicBezTo>
                  <a:pt x="1460" y="242"/>
                  <a:pt x="1457" y="236"/>
                  <a:pt x="1450" y="239"/>
                </a:cubicBezTo>
                <a:cubicBezTo>
                  <a:pt x="1447" y="240"/>
                  <a:pt x="1447" y="245"/>
                  <a:pt x="1445" y="248"/>
                </a:cubicBezTo>
                <a:cubicBezTo>
                  <a:pt x="1443" y="254"/>
                  <a:pt x="1431" y="258"/>
                  <a:pt x="1431" y="264"/>
                </a:cubicBezTo>
                <a:cubicBezTo>
                  <a:pt x="1431" y="266"/>
                  <a:pt x="1433" y="267"/>
                  <a:pt x="1434" y="268"/>
                </a:cubicBezTo>
                <a:cubicBezTo>
                  <a:pt x="1438" y="272"/>
                  <a:pt x="1437" y="278"/>
                  <a:pt x="1441" y="280"/>
                </a:cubicBezTo>
                <a:cubicBezTo>
                  <a:pt x="1450" y="285"/>
                  <a:pt x="1458" y="276"/>
                  <a:pt x="1463" y="270"/>
                </a:cubicBezTo>
                <a:cubicBezTo>
                  <a:pt x="1468" y="265"/>
                  <a:pt x="1475" y="258"/>
                  <a:pt x="1478" y="252"/>
                </a:cubicBezTo>
                <a:lnTo>
                  <a:pt x="1477" y="245"/>
                </a:lnTo>
                <a:close/>
                <a:moveTo>
                  <a:pt x="1464" y="214"/>
                </a:moveTo>
                <a:cubicBezTo>
                  <a:pt x="1464" y="210"/>
                  <a:pt x="1464" y="207"/>
                  <a:pt x="1463" y="203"/>
                </a:cubicBezTo>
                <a:cubicBezTo>
                  <a:pt x="1462" y="200"/>
                  <a:pt x="1460" y="195"/>
                  <a:pt x="1456" y="195"/>
                </a:cubicBezTo>
                <a:cubicBezTo>
                  <a:pt x="1448" y="195"/>
                  <a:pt x="1445" y="203"/>
                  <a:pt x="1444" y="209"/>
                </a:cubicBezTo>
                <a:cubicBezTo>
                  <a:pt x="1443" y="213"/>
                  <a:pt x="1444" y="215"/>
                  <a:pt x="1445" y="219"/>
                </a:cubicBezTo>
                <a:cubicBezTo>
                  <a:pt x="1448" y="225"/>
                  <a:pt x="1456" y="223"/>
                  <a:pt x="1461" y="221"/>
                </a:cubicBezTo>
                <a:lnTo>
                  <a:pt x="1464" y="214"/>
                </a:lnTo>
                <a:close/>
                <a:moveTo>
                  <a:pt x="1389" y="327"/>
                </a:moveTo>
                <a:cubicBezTo>
                  <a:pt x="1398" y="330"/>
                  <a:pt x="1418" y="328"/>
                  <a:pt x="1425" y="322"/>
                </a:cubicBezTo>
                <a:cubicBezTo>
                  <a:pt x="1435" y="314"/>
                  <a:pt x="1432" y="311"/>
                  <a:pt x="1430" y="301"/>
                </a:cubicBezTo>
                <a:cubicBezTo>
                  <a:pt x="1429" y="295"/>
                  <a:pt x="1429" y="283"/>
                  <a:pt x="1422" y="280"/>
                </a:cubicBezTo>
                <a:cubicBezTo>
                  <a:pt x="1410" y="276"/>
                  <a:pt x="1413" y="293"/>
                  <a:pt x="1406" y="297"/>
                </a:cubicBezTo>
                <a:cubicBezTo>
                  <a:pt x="1402" y="300"/>
                  <a:pt x="1396" y="299"/>
                  <a:pt x="1391" y="302"/>
                </a:cubicBezTo>
                <a:cubicBezTo>
                  <a:pt x="1389" y="303"/>
                  <a:pt x="1387" y="303"/>
                  <a:pt x="1386" y="305"/>
                </a:cubicBezTo>
                <a:cubicBezTo>
                  <a:pt x="1384" y="306"/>
                  <a:pt x="1382" y="308"/>
                  <a:pt x="1381" y="309"/>
                </a:cubicBezTo>
                <a:cubicBezTo>
                  <a:pt x="1381" y="312"/>
                  <a:pt x="1375" y="315"/>
                  <a:pt x="1374" y="319"/>
                </a:cubicBezTo>
                <a:cubicBezTo>
                  <a:pt x="1373" y="325"/>
                  <a:pt x="1379" y="326"/>
                  <a:pt x="1384" y="328"/>
                </a:cubicBezTo>
                <a:lnTo>
                  <a:pt x="1389" y="327"/>
                </a:lnTo>
                <a:close/>
                <a:moveTo>
                  <a:pt x="1346" y="402"/>
                </a:moveTo>
                <a:lnTo>
                  <a:pt x="1346" y="382"/>
                </a:lnTo>
                <a:cubicBezTo>
                  <a:pt x="1346" y="377"/>
                  <a:pt x="1353" y="375"/>
                  <a:pt x="1355" y="371"/>
                </a:cubicBezTo>
                <a:cubicBezTo>
                  <a:pt x="1357" y="369"/>
                  <a:pt x="1361" y="361"/>
                  <a:pt x="1356" y="360"/>
                </a:cubicBezTo>
                <a:cubicBezTo>
                  <a:pt x="1351" y="359"/>
                  <a:pt x="1346" y="363"/>
                  <a:pt x="1341" y="362"/>
                </a:cubicBezTo>
                <a:cubicBezTo>
                  <a:pt x="1338" y="361"/>
                  <a:pt x="1326" y="339"/>
                  <a:pt x="1321" y="350"/>
                </a:cubicBezTo>
                <a:cubicBezTo>
                  <a:pt x="1317" y="358"/>
                  <a:pt x="1310" y="358"/>
                  <a:pt x="1302" y="360"/>
                </a:cubicBezTo>
                <a:cubicBezTo>
                  <a:pt x="1287" y="364"/>
                  <a:pt x="1301" y="366"/>
                  <a:pt x="1303" y="372"/>
                </a:cubicBezTo>
                <a:cubicBezTo>
                  <a:pt x="1306" y="378"/>
                  <a:pt x="1296" y="383"/>
                  <a:pt x="1295" y="388"/>
                </a:cubicBezTo>
                <a:cubicBezTo>
                  <a:pt x="1294" y="392"/>
                  <a:pt x="1298" y="396"/>
                  <a:pt x="1290" y="397"/>
                </a:cubicBezTo>
                <a:cubicBezTo>
                  <a:pt x="1287" y="397"/>
                  <a:pt x="1278" y="402"/>
                  <a:pt x="1285" y="405"/>
                </a:cubicBezTo>
                <a:cubicBezTo>
                  <a:pt x="1287" y="406"/>
                  <a:pt x="1295" y="408"/>
                  <a:pt x="1296" y="411"/>
                </a:cubicBezTo>
                <a:cubicBezTo>
                  <a:pt x="1297" y="412"/>
                  <a:pt x="1278" y="421"/>
                  <a:pt x="1285" y="425"/>
                </a:cubicBezTo>
                <a:cubicBezTo>
                  <a:pt x="1292" y="429"/>
                  <a:pt x="1297" y="424"/>
                  <a:pt x="1300" y="433"/>
                </a:cubicBezTo>
                <a:cubicBezTo>
                  <a:pt x="1305" y="447"/>
                  <a:pt x="1314" y="422"/>
                  <a:pt x="1317" y="419"/>
                </a:cubicBezTo>
                <a:cubicBezTo>
                  <a:pt x="1320" y="415"/>
                  <a:pt x="1323" y="412"/>
                  <a:pt x="1327" y="409"/>
                </a:cubicBezTo>
                <a:cubicBezTo>
                  <a:pt x="1330" y="407"/>
                  <a:pt x="1333" y="407"/>
                  <a:pt x="1336" y="405"/>
                </a:cubicBezTo>
                <a:lnTo>
                  <a:pt x="1346" y="402"/>
                </a:lnTo>
                <a:close/>
                <a:moveTo>
                  <a:pt x="1195" y="408"/>
                </a:moveTo>
                <a:cubicBezTo>
                  <a:pt x="1202" y="402"/>
                  <a:pt x="1206" y="393"/>
                  <a:pt x="1214" y="388"/>
                </a:cubicBezTo>
                <a:cubicBezTo>
                  <a:pt x="1219" y="385"/>
                  <a:pt x="1245" y="381"/>
                  <a:pt x="1249" y="384"/>
                </a:cubicBezTo>
                <a:cubicBezTo>
                  <a:pt x="1249" y="392"/>
                  <a:pt x="1233" y="401"/>
                  <a:pt x="1227" y="405"/>
                </a:cubicBezTo>
                <a:cubicBezTo>
                  <a:pt x="1221" y="409"/>
                  <a:pt x="1215" y="416"/>
                  <a:pt x="1213" y="423"/>
                </a:cubicBezTo>
                <a:cubicBezTo>
                  <a:pt x="1212" y="427"/>
                  <a:pt x="1211" y="431"/>
                  <a:pt x="1208" y="435"/>
                </a:cubicBezTo>
                <a:cubicBezTo>
                  <a:pt x="1203" y="442"/>
                  <a:pt x="1198" y="433"/>
                  <a:pt x="1194" y="439"/>
                </a:cubicBezTo>
                <a:cubicBezTo>
                  <a:pt x="1189" y="444"/>
                  <a:pt x="1190" y="451"/>
                  <a:pt x="1180" y="451"/>
                </a:cubicBezTo>
                <a:cubicBezTo>
                  <a:pt x="1172" y="443"/>
                  <a:pt x="1183" y="425"/>
                  <a:pt x="1187" y="417"/>
                </a:cubicBezTo>
                <a:lnTo>
                  <a:pt x="1195" y="408"/>
                </a:lnTo>
                <a:close/>
                <a:moveTo>
                  <a:pt x="1135" y="487"/>
                </a:moveTo>
                <a:cubicBezTo>
                  <a:pt x="1129" y="492"/>
                  <a:pt x="1123" y="477"/>
                  <a:pt x="1120" y="475"/>
                </a:cubicBezTo>
                <a:cubicBezTo>
                  <a:pt x="1116" y="471"/>
                  <a:pt x="1108" y="468"/>
                  <a:pt x="1108" y="476"/>
                </a:cubicBezTo>
                <a:cubicBezTo>
                  <a:pt x="1108" y="481"/>
                  <a:pt x="1103" y="484"/>
                  <a:pt x="1101" y="488"/>
                </a:cubicBezTo>
                <a:cubicBezTo>
                  <a:pt x="1097" y="496"/>
                  <a:pt x="1098" y="507"/>
                  <a:pt x="1109" y="506"/>
                </a:cubicBezTo>
                <a:cubicBezTo>
                  <a:pt x="1119" y="506"/>
                  <a:pt x="1121" y="495"/>
                  <a:pt x="1129" y="493"/>
                </a:cubicBezTo>
                <a:lnTo>
                  <a:pt x="1135" y="487"/>
                </a:lnTo>
                <a:close/>
                <a:moveTo>
                  <a:pt x="1141" y="495"/>
                </a:moveTo>
                <a:cubicBezTo>
                  <a:pt x="1139" y="491"/>
                  <a:pt x="1146" y="482"/>
                  <a:pt x="1147" y="478"/>
                </a:cubicBezTo>
                <a:cubicBezTo>
                  <a:pt x="1148" y="475"/>
                  <a:pt x="1154" y="442"/>
                  <a:pt x="1158" y="453"/>
                </a:cubicBezTo>
                <a:cubicBezTo>
                  <a:pt x="1161" y="462"/>
                  <a:pt x="1159" y="473"/>
                  <a:pt x="1157" y="482"/>
                </a:cubicBezTo>
                <a:cubicBezTo>
                  <a:pt x="1155" y="492"/>
                  <a:pt x="1156" y="505"/>
                  <a:pt x="1148" y="513"/>
                </a:cubicBezTo>
                <a:cubicBezTo>
                  <a:pt x="1144" y="517"/>
                  <a:pt x="1143" y="519"/>
                  <a:pt x="1136" y="519"/>
                </a:cubicBezTo>
                <a:cubicBezTo>
                  <a:pt x="1124" y="518"/>
                  <a:pt x="1132" y="509"/>
                  <a:pt x="1137" y="503"/>
                </a:cubicBezTo>
                <a:lnTo>
                  <a:pt x="1141" y="495"/>
                </a:lnTo>
                <a:close/>
                <a:moveTo>
                  <a:pt x="1159" y="527"/>
                </a:moveTo>
                <a:cubicBezTo>
                  <a:pt x="1167" y="524"/>
                  <a:pt x="1166" y="517"/>
                  <a:pt x="1168" y="511"/>
                </a:cubicBezTo>
                <a:cubicBezTo>
                  <a:pt x="1170" y="501"/>
                  <a:pt x="1197" y="512"/>
                  <a:pt x="1192" y="503"/>
                </a:cubicBezTo>
                <a:lnTo>
                  <a:pt x="1185" y="490"/>
                </a:lnTo>
                <a:cubicBezTo>
                  <a:pt x="1181" y="484"/>
                  <a:pt x="1179" y="483"/>
                  <a:pt x="1187" y="478"/>
                </a:cubicBezTo>
                <a:cubicBezTo>
                  <a:pt x="1192" y="475"/>
                  <a:pt x="1195" y="468"/>
                  <a:pt x="1201" y="466"/>
                </a:cubicBezTo>
                <a:cubicBezTo>
                  <a:pt x="1206" y="464"/>
                  <a:pt x="1200" y="489"/>
                  <a:pt x="1202" y="493"/>
                </a:cubicBezTo>
                <a:cubicBezTo>
                  <a:pt x="1206" y="501"/>
                  <a:pt x="1202" y="506"/>
                  <a:pt x="1205" y="513"/>
                </a:cubicBezTo>
                <a:cubicBezTo>
                  <a:pt x="1207" y="517"/>
                  <a:pt x="1238" y="519"/>
                  <a:pt x="1238" y="510"/>
                </a:cubicBezTo>
                <a:cubicBezTo>
                  <a:pt x="1239" y="504"/>
                  <a:pt x="1234" y="500"/>
                  <a:pt x="1235" y="495"/>
                </a:cubicBezTo>
                <a:cubicBezTo>
                  <a:pt x="1235" y="492"/>
                  <a:pt x="1246" y="485"/>
                  <a:pt x="1249" y="485"/>
                </a:cubicBezTo>
                <a:cubicBezTo>
                  <a:pt x="1249" y="493"/>
                  <a:pt x="1247" y="502"/>
                  <a:pt x="1247" y="510"/>
                </a:cubicBezTo>
                <a:cubicBezTo>
                  <a:pt x="1247" y="519"/>
                  <a:pt x="1226" y="536"/>
                  <a:pt x="1218" y="541"/>
                </a:cubicBezTo>
                <a:cubicBezTo>
                  <a:pt x="1214" y="544"/>
                  <a:pt x="1201" y="562"/>
                  <a:pt x="1196" y="557"/>
                </a:cubicBezTo>
                <a:cubicBezTo>
                  <a:pt x="1193" y="553"/>
                  <a:pt x="1195" y="548"/>
                  <a:pt x="1190" y="546"/>
                </a:cubicBezTo>
                <a:cubicBezTo>
                  <a:pt x="1178" y="543"/>
                  <a:pt x="1182" y="557"/>
                  <a:pt x="1177" y="561"/>
                </a:cubicBezTo>
                <a:cubicBezTo>
                  <a:pt x="1171" y="565"/>
                  <a:pt x="1168" y="563"/>
                  <a:pt x="1168" y="556"/>
                </a:cubicBezTo>
                <a:cubicBezTo>
                  <a:pt x="1168" y="539"/>
                  <a:pt x="1162" y="559"/>
                  <a:pt x="1153" y="556"/>
                </a:cubicBezTo>
                <a:cubicBezTo>
                  <a:pt x="1147" y="554"/>
                  <a:pt x="1147" y="544"/>
                  <a:pt x="1149" y="539"/>
                </a:cubicBezTo>
                <a:lnTo>
                  <a:pt x="1159" y="527"/>
                </a:lnTo>
                <a:close/>
                <a:moveTo>
                  <a:pt x="1089" y="584"/>
                </a:moveTo>
                <a:cubicBezTo>
                  <a:pt x="1093" y="579"/>
                  <a:pt x="1094" y="572"/>
                  <a:pt x="1098" y="568"/>
                </a:cubicBezTo>
                <a:cubicBezTo>
                  <a:pt x="1104" y="560"/>
                  <a:pt x="1120" y="558"/>
                  <a:pt x="1129" y="556"/>
                </a:cubicBezTo>
                <a:cubicBezTo>
                  <a:pt x="1140" y="554"/>
                  <a:pt x="1137" y="560"/>
                  <a:pt x="1131" y="565"/>
                </a:cubicBezTo>
                <a:cubicBezTo>
                  <a:pt x="1120" y="573"/>
                  <a:pt x="1114" y="585"/>
                  <a:pt x="1104" y="593"/>
                </a:cubicBezTo>
                <a:cubicBezTo>
                  <a:pt x="1097" y="599"/>
                  <a:pt x="1085" y="609"/>
                  <a:pt x="1086" y="591"/>
                </a:cubicBezTo>
                <a:lnTo>
                  <a:pt x="1089" y="584"/>
                </a:lnTo>
                <a:close/>
                <a:moveTo>
                  <a:pt x="1019" y="597"/>
                </a:moveTo>
                <a:cubicBezTo>
                  <a:pt x="1023" y="592"/>
                  <a:pt x="1039" y="571"/>
                  <a:pt x="1046" y="574"/>
                </a:cubicBezTo>
                <a:cubicBezTo>
                  <a:pt x="1050" y="584"/>
                  <a:pt x="1057" y="579"/>
                  <a:pt x="1065" y="583"/>
                </a:cubicBezTo>
                <a:cubicBezTo>
                  <a:pt x="1065" y="583"/>
                  <a:pt x="1065" y="583"/>
                  <a:pt x="1065" y="583"/>
                </a:cubicBezTo>
                <a:cubicBezTo>
                  <a:pt x="1065" y="587"/>
                  <a:pt x="1056" y="594"/>
                  <a:pt x="1053" y="596"/>
                </a:cubicBezTo>
                <a:cubicBezTo>
                  <a:pt x="1046" y="603"/>
                  <a:pt x="1042" y="611"/>
                  <a:pt x="1032" y="614"/>
                </a:cubicBezTo>
                <a:cubicBezTo>
                  <a:pt x="1025" y="617"/>
                  <a:pt x="1014" y="620"/>
                  <a:pt x="1014" y="608"/>
                </a:cubicBezTo>
                <a:lnTo>
                  <a:pt x="1019" y="597"/>
                </a:lnTo>
                <a:close/>
                <a:moveTo>
                  <a:pt x="963" y="646"/>
                </a:moveTo>
                <a:cubicBezTo>
                  <a:pt x="965" y="638"/>
                  <a:pt x="969" y="629"/>
                  <a:pt x="973" y="622"/>
                </a:cubicBezTo>
                <a:cubicBezTo>
                  <a:pt x="976" y="619"/>
                  <a:pt x="985" y="607"/>
                  <a:pt x="990" y="609"/>
                </a:cubicBezTo>
                <a:cubicBezTo>
                  <a:pt x="991" y="615"/>
                  <a:pt x="987" y="619"/>
                  <a:pt x="985" y="624"/>
                </a:cubicBezTo>
                <a:cubicBezTo>
                  <a:pt x="982" y="633"/>
                  <a:pt x="975" y="661"/>
                  <a:pt x="961" y="655"/>
                </a:cubicBezTo>
                <a:lnTo>
                  <a:pt x="963" y="646"/>
                </a:lnTo>
                <a:close/>
                <a:moveTo>
                  <a:pt x="887" y="985"/>
                </a:moveTo>
                <a:cubicBezTo>
                  <a:pt x="891" y="984"/>
                  <a:pt x="893" y="980"/>
                  <a:pt x="896" y="977"/>
                </a:cubicBezTo>
                <a:cubicBezTo>
                  <a:pt x="899" y="974"/>
                  <a:pt x="903" y="963"/>
                  <a:pt x="909" y="965"/>
                </a:cubicBezTo>
                <a:cubicBezTo>
                  <a:pt x="912" y="966"/>
                  <a:pt x="910" y="975"/>
                  <a:pt x="909" y="977"/>
                </a:cubicBezTo>
                <a:cubicBezTo>
                  <a:pt x="908" y="980"/>
                  <a:pt x="906" y="981"/>
                  <a:pt x="906" y="984"/>
                </a:cubicBezTo>
                <a:cubicBezTo>
                  <a:pt x="906" y="990"/>
                  <a:pt x="902" y="990"/>
                  <a:pt x="898" y="993"/>
                </a:cubicBezTo>
                <a:cubicBezTo>
                  <a:pt x="894" y="996"/>
                  <a:pt x="888" y="1000"/>
                  <a:pt x="884" y="994"/>
                </a:cubicBezTo>
                <a:lnTo>
                  <a:pt x="887" y="985"/>
                </a:lnTo>
                <a:close/>
                <a:moveTo>
                  <a:pt x="471" y="1461"/>
                </a:moveTo>
                <a:cubicBezTo>
                  <a:pt x="483" y="1459"/>
                  <a:pt x="496" y="1442"/>
                  <a:pt x="509" y="1444"/>
                </a:cubicBezTo>
                <a:cubicBezTo>
                  <a:pt x="513" y="1444"/>
                  <a:pt x="511" y="1449"/>
                  <a:pt x="513" y="1452"/>
                </a:cubicBezTo>
                <a:cubicBezTo>
                  <a:pt x="516" y="1456"/>
                  <a:pt x="529" y="1462"/>
                  <a:pt x="521" y="1467"/>
                </a:cubicBezTo>
                <a:cubicBezTo>
                  <a:pt x="515" y="1472"/>
                  <a:pt x="507" y="1472"/>
                  <a:pt x="500" y="1472"/>
                </a:cubicBezTo>
                <a:cubicBezTo>
                  <a:pt x="494" y="1473"/>
                  <a:pt x="489" y="1475"/>
                  <a:pt x="483" y="1477"/>
                </a:cubicBezTo>
                <a:cubicBezTo>
                  <a:pt x="477" y="1479"/>
                  <a:pt x="472" y="1482"/>
                  <a:pt x="466" y="1480"/>
                </a:cubicBezTo>
                <a:cubicBezTo>
                  <a:pt x="456" y="1478"/>
                  <a:pt x="459" y="1469"/>
                  <a:pt x="465" y="1464"/>
                </a:cubicBezTo>
                <a:lnTo>
                  <a:pt x="471" y="1461"/>
                </a:lnTo>
                <a:close/>
                <a:moveTo>
                  <a:pt x="474" y="1418"/>
                </a:moveTo>
                <a:cubicBezTo>
                  <a:pt x="480" y="1417"/>
                  <a:pt x="486" y="1414"/>
                  <a:pt x="491" y="1412"/>
                </a:cubicBezTo>
                <a:cubicBezTo>
                  <a:pt x="495" y="1411"/>
                  <a:pt x="500" y="1409"/>
                  <a:pt x="504" y="1409"/>
                </a:cubicBezTo>
                <a:cubicBezTo>
                  <a:pt x="506" y="1412"/>
                  <a:pt x="506" y="1416"/>
                  <a:pt x="506" y="1420"/>
                </a:cubicBezTo>
                <a:cubicBezTo>
                  <a:pt x="506" y="1427"/>
                  <a:pt x="493" y="1425"/>
                  <a:pt x="488" y="1425"/>
                </a:cubicBezTo>
                <a:cubicBezTo>
                  <a:pt x="485" y="1425"/>
                  <a:pt x="481" y="1426"/>
                  <a:pt x="478" y="1427"/>
                </a:cubicBezTo>
                <a:cubicBezTo>
                  <a:pt x="471" y="1428"/>
                  <a:pt x="469" y="1427"/>
                  <a:pt x="464" y="1423"/>
                </a:cubicBezTo>
                <a:lnTo>
                  <a:pt x="474" y="1418"/>
                </a:lnTo>
                <a:close/>
                <a:moveTo>
                  <a:pt x="439" y="1482"/>
                </a:moveTo>
                <a:cubicBezTo>
                  <a:pt x="432" y="1483"/>
                  <a:pt x="428" y="1485"/>
                  <a:pt x="424" y="1492"/>
                </a:cubicBezTo>
                <a:cubicBezTo>
                  <a:pt x="423" y="1495"/>
                  <a:pt x="427" y="1499"/>
                  <a:pt x="428" y="1501"/>
                </a:cubicBezTo>
                <a:cubicBezTo>
                  <a:pt x="432" y="1508"/>
                  <a:pt x="438" y="1505"/>
                  <a:pt x="445" y="1505"/>
                </a:cubicBezTo>
                <a:cubicBezTo>
                  <a:pt x="450" y="1505"/>
                  <a:pt x="452" y="1502"/>
                  <a:pt x="453" y="1497"/>
                </a:cubicBezTo>
                <a:cubicBezTo>
                  <a:pt x="453" y="1492"/>
                  <a:pt x="449" y="1488"/>
                  <a:pt x="446" y="1485"/>
                </a:cubicBezTo>
                <a:lnTo>
                  <a:pt x="439" y="1482"/>
                </a:lnTo>
                <a:close/>
                <a:moveTo>
                  <a:pt x="97" y="1995"/>
                </a:moveTo>
                <a:cubicBezTo>
                  <a:pt x="95" y="1993"/>
                  <a:pt x="95" y="1990"/>
                  <a:pt x="94" y="1988"/>
                </a:cubicBezTo>
                <a:cubicBezTo>
                  <a:pt x="91" y="1984"/>
                  <a:pt x="73" y="1961"/>
                  <a:pt x="69" y="1964"/>
                </a:cubicBezTo>
                <a:cubicBezTo>
                  <a:pt x="63" y="1967"/>
                  <a:pt x="69" y="1976"/>
                  <a:pt x="71" y="1979"/>
                </a:cubicBezTo>
                <a:cubicBezTo>
                  <a:pt x="76" y="1985"/>
                  <a:pt x="91" y="1991"/>
                  <a:pt x="91" y="2000"/>
                </a:cubicBezTo>
                <a:cubicBezTo>
                  <a:pt x="91" y="2008"/>
                  <a:pt x="91" y="2025"/>
                  <a:pt x="102" y="2026"/>
                </a:cubicBezTo>
                <a:cubicBezTo>
                  <a:pt x="107" y="2027"/>
                  <a:pt x="117" y="2023"/>
                  <a:pt x="117" y="2017"/>
                </a:cubicBezTo>
                <a:cubicBezTo>
                  <a:pt x="118" y="2009"/>
                  <a:pt x="106" y="2005"/>
                  <a:pt x="101" y="2002"/>
                </a:cubicBezTo>
                <a:lnTo>
                  <a:pt x="97" y="1995"/>
                </a:lnTo>
                <a:close/>
                <a:moveTo>
                  <a:pt x="70" y="2137"/>
                </a:moveTo>
                <a:cubicBezTo>
                  <a:pt x="66" y="2137"/>
                  <a:pt x="66" y="2137"/>
                  <a:pt x="64" y="2135"/>
                </a:cubicBezTo>
                <a:cubicBezTo>
                  <a:pt x="63" y="2134"/>
                  <a:pt x="62" y="2130"/>
                  <a:pt x="62" y="2129"/>
                </a:cubicBezTo>
                <a:cubicBezTo>
                  <a:pt x="61" y="2124"/>
                  <a:pt x="63" y="2121"/>
                  <a:pt x="65" y="2116"/>
                </a:cubicBezTo>
                <a:cubicBezTo>
                  <a:pt x="66" y="2113"/>
                  <a:pt x="66" y="2109"/>
                  <a:pt x="70" y="2108"/>
                </a:cubicBezTo>
                <a:cubicBezTo>
                  <a:pt x="75" y="2106"/>
                  <a:pt x="78" y="2109"/>
                  <a:pt x="78" y="2114"/>
                </a:cubicBezTo>
                <a:cubicBezTo>
                  <a:pt x="78" y="2117"/>
                  <a:pt x="78" y="2119"/>
                  <a:pt x="78" y="2122"/>
                </a:cubicBezTo>
                <a:cubicBezTo>
                  <a:pt x="79" y="2125"/>
                  <a:pt x="79" y="2127"/>
                  <a:pt x="77" y="2130"/>
                </a:cubicBezTo>
                <a:lnTo>
                  <a:pt x="70" y="2137"/>
                </a:lnTo>
                <a:close/>
                <a:moveTo>
                  <a:pt x="52" y="2138"/>
                </a:moveTo>
                <a:cubicBezTo>
                  <a:pt x="49" y="2136"/>
                  <a:pt x="48" y="2132"/>
                  <a:pt x="45" y="2129"/>
                </a:cubicBezTo>
                <a:cubicBezTo>
                  <a:pt x="43" y="2127"/>
                  <a:pt x="37" y="2121"/>
                  <a:pt x="35" y="2126"/>
                </a:cubicBezTo>
                <a:cubicBezTo>
                  <a:pt x="33" y="2130"/>
                  <a:pt x="33" y="2134"/>
                  <a:pt x="33" y="2137"/>
                </a:cubicBezTo>
                <a:cubicBezTo>
                  <a:pt x="33" y="2140"/>
                  <a:pt x="34" y="2141"/>
                  <a:pt x="35" y="2143"/>
                </a:cubicBezTo>
                <a:cubicBezTo>
                  <a:pt x="35" y="2146"/>
                  <a:pt x="35" y="2152"/>
                  <a:pt x="39" y="2154"/>
                </a:cubicBezTo>
                <a:cubicBezTo>
                  <a:pt x="45" y="2158"/>
                  <a:pt x="51" y="2151"/>
                  <a:pt x="52" y="2146"/>
                </a:cubicBezTo>
                <a:lnTo>
                  <a:pt x="52" y="2138"/>
                </a:lnTo>
                <a:close/>
                <a:moveTo>
                  <a:pt x="24" y="2154"/>
                </a:moveTo>
                <a:cubicBezTo>
                  <a:pt x="22" y="2149"/>
                  <a:pt x="17" y="2142"/>
                  <a:pt x="11" y="2142"/>
                </a:cubicBezTo>
                <a:cubicBezTo>
                  <a:pt x="8" y="2142"/>
                  <a:pt x="8" y="2146"/>
                  <a:pt x="8" y="2148"/>
                </a:cubicBezTo>
                <a:cubicBezTo>
                  <a:pt x="8" y="2150"/>
                  <a:pt x="8" y="2153"/>
                  <a:pt x="8" y="2155"/>
                </a:cubicBezTo>
                <a:cubicBezTo>
                  <a:pt x="8" y="2159"/>
                  <a:pt x="5" y="2163"/>
                  <a:pt x="8" y="2166"/>
                </a:cubicBezTo>
                <a:cubicBezTo>
                  <a:pt x="12" y="2171"/>
                  <a:pt x="19" y="2164"/>
                  <a:pt x="21" y="2162"/>
                </a:cubicBezTo>
                <a:lnTo>
                  <a:pt x="24" y="2154"/>
                </a:lnTo>
                <a:close/>
                <a:moveTo>
                  <a:pt x="0" y="2271"/>
                </a:moveTo>
                <a:cubicBezTo>
                  <a:pt x="0" y="2268"/>
                  <a:pt x="1" y="2263"/>
                  <a:pt x="2" y="2260"/>
                </a:cubicBezTo>
                <a:cubicBezTo>
                  <a:pt x="3" y="2257"/>
                  <a:pt x="7" y="2247"/>
                  <a:pt x="11" y="2247"/>
                </a:cubicBezTo>
                <a:cubicBezTo>
                  <a:pt x="15" y="2246"/>
                  <a:pt x="16" y="2250"/>
                  <a:pt x="15" y="2254"/>
                </a:cubicBezTo>
                <a:cubicBezTo>
                  <a:pt x="14" y="2258"/>
                  <a:pt x="12" y="2261"/>
                  <a:pt x="11" y="2265"/>
                </a:cubicBezTo>
                <a:cubicBezTo>
                  <a:pt x="10" y="2269"/>
                  <a:pt x="11" y="2272"/>
                  <a:pt x="10" y="2276"/>
                </a:cubicBezTo>
                <a:cubicBezTo>
                  <a:pt x="9" y="2280"/>
                  <a:pt x="3" y="2286"/>
                  <a:pt x="0" y="2280"/>
                </a:cubicBezTo>
                <a:lnTo>
                  <a:pt x="0" y="2271"/>
                </a:lnTo>
                <a:close/>
                <a:moveTo>
                  <a:pt x="630" y="2393"/>
                </a:moveTo>
                <a:cubicBezTo>
                  <a:pt x="633" y="2392"/>
                  <a:pt x="634" y="2391"/>
                  <a:pt x="635" y="2389"/>
                </a:cubicBezTo>
                <a:cubicBezTo>
                  <a:pt x="637" y="2384"/>
                  <a:pt x="624" y="2374"/>
                  <a:pt x="620" y="2373"/>
                </a:cubicBezTo>
                <a:cubicBezTo>
                  <a:pt x="615" y="2372"/>
                  <a:pt x="607" y="2372"/>
                  <a:pt x="605" y="2367"/>
                </a:cubicBezTo>
                <a:cubicBezTo>
                  <a:pt x="601" y="2360"/>
                  <a:pt x="600" y="2358"/>
                  <a:pt x="592" y="2358"/>
                </a:cubicBezTo>
                <a:cubicBezTo>
                  <a:pt x="577" y="2358"/>
                  <a:pt x="569" y="2364"/>
                  <a:pt x="577" y="2344"/>
                </a:cubicBezTo>
                <a:cubicBezTo>
                  <a:pt x="579" y="2338"/>
                  <a:pt x="573" y="2337"/>
                  <a:pt x="571" y="2333"/>
                </a:cubicBezTo>
                <a:cubicBezTo>
                  <a:pt x="569" y="2328"/>
                  <a:pt x="570" y="2301"/>
                  <a:pt x="570" y="2293"/>
                </a:cubicBezTo>
                <a:cubicBezTo>
                  <a:pt x="570" y="2283"/>
                  <a:pt x="572" y="2272"/>
                  <a:pt x="572" y="2261"/>
                </a:cubicBezTo>
                <a:cubicBezTo>
                  <a:pt x="573" y="2249"/>
                  <a:pt x="581" y="2239"/>
                  <a:pt x="582" y="2228"/>
                </a:cubicBezTo>
                <a:cubicBezTo>
                  <a:pt x="582" y="2221"/>
                  <a:pt x="564" y="2229"/>
                  <a:pt x="564" y="2239"/>
                </a:cubicBezTo>
                <a:cubicBezTo>
                  <a:pt x="564" y="2247"/>
                  <a:pt x="567" y="2275"/>
                  <a:pt x="563" y="2281"/>
                </a:cubicBezTo>
                <a:cubicBezTo>
                  <a:pt x="560" y="2286"/>
                  <a:pt x="551" y="2290"/>
                  <a:pt x="547" y="2284"/>
                </a:cubicBezTo>
                <a:cubicBezTo>
                  <a:pt x="545" y="2281"/>
                  <a:pt x="542" y="2264"/>
                  <a:pt x="539" y="2264"/>
                </a:cubicBezTo>
                <a:cubicBezTo>
                  <a:pt x="537" y="2272"/>
                  <a:pt x="534" y="2278"/>
                  <a:pt x="530" y="2286"/>
                </a:cubicBezTo>
                <a:cubicBezTo>
                  <a:pt x="527" y="2292"/>
                  <a:pt x="537" y="2302"/>
                  <a:pt x="537" y="2311"/>
                </a:cubicBezTo>
                <a:cubicBezTo>
                  <a:pt x="537" y="2333"/>
                  <a:pt x="531" y="2337"/>
                  <a:pt x="519" y="2353"/>
                </a:cubicBezTo>
                <a:cubicBezTo>
                  <a:pt x="507" y="2369"/>
                  <a:pt x="527" y="2396"/>
                  <a:pt x="500" y="2393"/>
                </a:cubicBezTo>
                <a:cubicBezTo>
                  <a:pt x="492" y="2392"/>
                  <a:pt x="462" y="2394"/>
                  <a:pt x="462" y="2388"/>
                </a:cubicBezTo>
                <a:cubicBezTo>
                  <a:pt x="462" y="2381"/>
                  <a:pt x="467" y="2372"/>
                  <a:pt x="460" y="2367"/>
                </a:cubicBezTo>
                <a:cubicBezTo>
                  <a:pt x="455" y="2364"/>
                  <a:pt x="440" y="2369"/>
                  <a:pt x="434" y="2369"/>
                </a:cubicBezTo>
                <a:cubicBezTo>
                  <a:pt x="446" y="2378"/>
                  <a:pt x="438" y="2399"/>
                  <a:pt x="425" y="2402"/>
                </a:cubicBezTo>
                <a:cubicBezTo>
                  <a:pt x="404" y="2407"/>
                  <a:pt x="417" y="2425"/>
                  <a:pt x="398" y="2428"/>
                </a:cubicBezTo>
                <a:cubicBezTo>
                  <a:pt x="391" y="2429"/>
                  <a:pt x="371" y="2424"/>
                  <a:pt x="382" y="2436"/>
                </a:cubicBezTo>
                <a:cubicBezTo>
                  <a:pt x="392" y="2448"/>
                  <a:pt x="367" y="2458"/>
                  <a:pt x="356" y="2463"/>
                </a:cubicBezTo>
                <a:cubicBezTo>
                  <a:pt x="340" y="2471"/>
                  <a:pt x="315" y="2509"/>
                  <a:pt x="299" y="2509"/>
                </a:cubicBezTo>
                <a:cubicBezTo>
                  <a:pt x="293" y="2515"/>
                  <a:pt x="277" y="2530"/>
                  <a:pt x="269" y="2534"/>
                </a:cubicBezTo>
                <a:cubicBezTo>
                  <a:pt x="259" y="2539"/>
                  <a:pt x="256" y="2524"/>
                  <a:pt x="251" y="2521"/>
                </a:cubicBezTo>
                <a:cubicBezTo>
                  <a:pt x="235" y="2513"/>
                  <a:pt x="216" y="2544"/>
                  <a:pt x="199" y="2544"/>
                </a:cubicBezTo>
                <a:cubicBezTo>
                  <a:pt x="186" y="2545"/>
                  <a:pt x="177" y="2531"/>
                  <a:pt x="167" y="2532"/>
                </a:cubicBezTo>
                <a:cubicBezTo>
                  <a:pt x="158" y="2534"/>
                  <a:pt x="157" y="2537"/>
                  <a:pt x="149" y="2529"/>
                </a:cubicBezTo>
                <a:cubicBezTo>
                  <a:pt x="145" y="2524"/>
                  <a:pt x="141" y="2517"/>
                  <a:pt x="135" y="2515"/>
                </a:cubicBezTo>
                <a:cubicBezTo>
                  <a:pt x="120" y="2510"/>
                  <a:pt x="118" y="2519"/>
                  <a:pt x="106" y="2521"/>
                </a:cubicBezTo>
                <a:cubicBezTo>
                  <a:pt x="97" y="2522"/>
                  <a:pt x="90" y="2506"/>
                  <a:pt x="96" y="2501"/>
                </a:cubicBezTo>
                <a:cubicBezTo>
                  <a:pt x="104" y="2493"/>
                  <a:pt x="114" y="2494"/>
                  <a:pt x="122" y="2489"/>
                </a:cubicBezTo>
                <a:cubicBezTo>
                  <a:pt x="135" y="2480"/>
                  <a:pt x="113" y="2476"/>
                  <a:pt x="107" y="2474"/>
                </a:cubicBezTo>
                <a:cubicBezTo>
                  <a:pt x="95" y="2471"/>
                  <a:pt x="81" y="2459"/>
                  <a:pt x="73" y="2449"/>
                </a:cubicBezTo>
                <a:cubicBezTo>
                  <a:pt x="60" y="2434"/>
                  <a:pt x="41" y="2424"/>
                  <a:pt x="28" y="2409"/>
                </a:cubicBezTo>
                <a:cubicBezTo>
                  <a:pt x="17" y="2383"/>
                  <a:pt x="17" y="2347"/>
                  <a:pt x="25" y="2320"/>
                </a:cubicBezTo>
                <a:cubicBezTo>
                  <a:pt x="33" y="2296"/>
                  <a:pt x="52" y="2331"/>
                  <a:pt x="57" y="2335"/>
                </a:cubicBezTo>
                <a:cubicBezTo>
                  <a:pt x="107" y="2382"/>
                  <a:pt x="62" y="2309"/>
                  <a:pt x="91" y="2287"/>
                </a:cubicBezTo>
                <a:cubicBezTo>
                  <a:pt x="95" y="2285"/>
                  <a:pt x="113" y="2281"/>
                  <a:pt x="104" y="2273"/>
                </a:cubicBezTo>
                <a:cubicBezTo>
                  <a:pt x="91" y="2263"/>
                  <a:pt x="93" y="2258"/>
                  <a:pt x="106" y="2247"/>
                </a:cubicBezTo>
                <a:cubicBezTo>
                  <a:pt x="112" y="2243"/>
                  <a:pt x="135" y="2230"/>
                  <a:pt x="135" y="2222"/>
                </a:cubicBezTo>
                <a:cubicBezTo>
                  <a:pt x="125" y="2222"/>
                  <a:pt x="121" y="2213"/>
                  <a:pt x="110" y="2231"/>
                </a:cubicBezTo>
                <a:cubicBezTo>
                  <a:pt x="105" y="2239"/>
                  <a:pt x="83" y="2258"/>
                  <a:pt x="89" y="2235"/>
                </a:cubicBezTo>
                <a:cubicBezTo>
                  <a:pt x="93" y="2221"/>
                  <a:pt x="83" y="2223"/>
                  <a:pt x="78" y="2232"/>
                </a:cubicBezTo>
                <a:cubicBezTo>
                  <a:pt x="72" y="2243"/>
                  <a:pt x="71" y="2265"/>
                  <a:pt x="60" y="2249"/>
                </a:cubicBezTo>
                <a:cubicBezTo>
                  <a:pt x="41" y="2221"/>
                  <a:pt x="47" y="2266"/>
                  <a:pt x="29" y="2255"/>
                </a:cubicBezTo>
                <a:cubicBezTo>
                  <a:pt x="19" y="2249"/>
                  <a:pt x="20" y="2199"/>
                  <a:pt x="26" y="2189"/>
                </a:cubicBezTo>
                <a:cubicBezTo>
                  <a:pt x="31" y="2182"/>
                  <a:pt x="43" y="2181"/>
                  <a:pt x="51" y="2175"/>
                </a:cubicBezTo>
                <a:cubicBezTo>
                  <a:pt x="58" y="2185"/>
                  <a:pt x="41" y="2202"/>
                  <a:pt x="45" y="2209"/>
                </a:cubicBezTo>
                <a:cubicBezTo>
                  <a:pt x="52" y="2219"/>
                  <a:pt x="63" y="2197"/>
                  <a:pt x="67" y="2193"/>
                </a:cubicBezTo>
                <a:cubicBezTo>
                  <a:pt x="73" y="2188"/>
                  <a:pt x="80" y="2195"/>
                  <a:pt x="84" y="2188"/>
                </a:cubicBezTo>
                <a:cubicBezTo>
                  <a:pt x="92" y="2172"/>
                  <a:pt x="102" y="2182"/>
                  <a:pt x="112" y="2175"/>
                </a:cubicBezTo>
                <a:cubicBezTo>
                  <a:pt x="115" y="2173"/>
                  <a:pt x="117" y="2165"/>
                  <a:pt x="113" y="2164"/>
                </a:cubicBezTo>
                <a:lnTo>
                  <a:pt x="113" y="2163"/>
                </a:lnTo>
                <a:cubicBezTo>
                  <a:pt x="80" y="2163"/>
                  <a:pt x="89" y="2157"/>
                  <a:pt x="106" y="2140"/>
                </a:cubicBezTo>
                <a:cubicBezTo>
                  <a:pt x="119" y="2134"/>
                  <a:pt x="131" y="2126"/>
                  <a:pt x="143" y="2117"/>
                </a:cubicBezTo>
                <a:cubicBezTo>
                  <a:pt x="152" y="2110"/>
                  <a:pt x="132" y="2107"/>
                  <a:pt x="135" y="2099"/>
                </a:cubicBezTo>
                <a:cubicBezTo>
                  <a:pt x="137" y="2090"/>
                  <a:pt x="169" y="2066"/>
                  <a:pt x="178" y="2066"/>
                </a:cubicBezTo>
                <a:cubicBezTo>
                  <a:pt x="182" y="2083"/>
                  <a:pt x="176" y="2096"/>
                  <a:pt x="176" y="2113"/>
                </a:cubicBezTo>
                <a:cubicBezTo>
                  <a:pt x="176" y="2134"/>
                  <a:pt x="183" y="2126"/>
                  <a:pt x="182" y="2114"/>
                </a:cubicBezTo>
                <a:cubicBezTo>
                  <a:pt x="179" y="2078"/>
                  <a:pt x="206" y="2056"/>
                  <a:pt x="237" y="2048"/>
                </a:cubicBezTo>
                <a:cubicBezTo>
                  <a:pt x="237" y="2035"/>
                  <a:pt x="188" y="2047"/>
                  <a:pt x="179" y="2047"/>
                </a:cubicBezTo>
                <a:cubicBezTo>
                  <a:pt x="148" y="2045"/>
                  <a:pt x="125" y="2074"/>
                  <a:pt x="114" y="2101"/>
                </a:cubicBezTo>
                <a:cubicBezTo>
                  <a:pt x="106" y="2117"/>
                  <a:pt x="100" y="2132"/>
                  <a:pt x="94" y="2106"/>
                </a:cubicBezTo>
                <a:cubicBezTo>
                  <a:pt x="90" y="2092"/>
                  <a:pt x="108" y="2073"/>
                  <a:pt x="81" y="2073"/>
                </a:cubicBezTo>
                <a:cubicBezTo>
                  <a:pt x="56" y="2073"/>
                  <a:pt x="80" y="2058"/>
                  <a:pt x="70" y="2048"/>
                </a:cubicBezTo>
                <a:cubicBezTo>
                  <a:pt x="51" y="2029"/>
                  <a:pt x="75" y="2037"/>
                  <a:pt x="78" y="2023"/>
                </a:cubicBezTo>
                <a:cubicBezTo>
                  <a:pt x="89" y="2023"/>
                  <a:pt x="105" y="2046"/>
                  <a:pt x="115" y="2033"/>
                </a:cubicBezTo>
                <a:lnTo>
                  <a:pt x="135" y="2006"/>
                </a:lnTo>
                <a:cubicBezTo>
                  <a:pt x="137" y="2003"/>
                  <a:pt x="133" y="1990"/>
                  <a:pt x="133" y="1986"/>
                </a:cubicBezTo>
                <a:cubicBezTo>
                  <a:pt x="131" y="1970"/>
                  <a:pt x="105" y="1991"/>
                  <a:pt x="100" y="1978"/>
                </a:cubicBezTo>
                <a:lnTo>
                  <a:pt x="94" y="1964"/>
                </a:lnTo>
                <a:cubicBezTo>
                  <a:pt x="91" y="1957"/>
                  <a:pt x="110" y="1961"/>
                  <a:pt x="108" y="1951"/>
                </a:cubicBezTo>
                <a:cubicBezTo>
                  <a:pt x="108" y="1949"/>
                  <a:pt x="82" y="1951"/>
                  <a:pt x="76" y="1949"/>
                </a:cubicBezTo>
                <a:cubicBezTo>
                  <a:pt x="51" y="1941"/>
                  <a:pt x="73" y="1926"/>
                  <a:pt x="83" y="1920"/>
                </a:cubicBezTo>
                <a:cubicBezTo>
                  <a:pt x="87" y="1918"/>
                  <a:pt x="83" y="1909"/>
                  <a:pt x="86" y="1910"/>
                </a:cubicBezTo>
                <a:cubicBezTo>
                  <a:pt x="97" y="1912"/>
                  <a:pt x="108" y="1910"/>
                  <a:pt x="118" y="1911"/>
                </a:cubicBezTo>
                <a:cubicBezTo>
                  <a:pt x="137" y="1914"/>
                  <a:pt x="154" y="1915"/>
                  <a:pt x="171" y="1924"/>
                </a:cubicBezTo>
                <a:cubicBezTo>
                  <a:pt x="185" y="1931"/>
                  <a:pt x="189" y="1933"/>
                  <a:pt x="205" y="1929"/>
                </a:cubicBezTo>
                <a:cubicBezTo>
                  <a:pt x="208" y="1928"/>
                  <a:pt x="218" y="1920"/>
                  <a:pt x="219" y="1920"/>
                </a:cubicBezTo>
                <a:cubicBezTo>
                  <a:pt x="221" y="1921"/>
                  <a:pt x="232" y="1939"/>
                  <a:pt x="234" y="1943"/>
                </a:cubicBezTo>
                <a:cubicBezTo>
                  <a:pt x="238" y="1954"/>
                  <a:pt x="223" y="1976"/>
                  <a:pt x="242" y="1971"/>
                </a:cubicBezTo>
                <a:lnTo>
                  <a:pt x="262" y="1965"/>
                </a:lnTo>
                <a:cubicBezTo>
                  <a:pt x="264" y="1964"/>
                  <a:pt x="252" y="1950"/>
                  <a:pt x="251" y="1948"/>
                </a:cubicBezTo>
                <a:cubicBezTo>
                  <a:pt x="245" y="1935"/>
                  <a:pt x="297" y="1932"/>
                  <a:pt x="308" y="1933"/>
                </a:cubicBezTo>
                <a:cubicBezTo>
                  <a:pt x="318" y="1935"/>
                  <a:pt x="336" y="1923"/>
                  <a:pt x="344" y="1915"/>
                </a:cubicBezTo>
                <a:cubicBezTo>
                  <a:pt x="347" y="1912"/>
                  <a:pt x="317" y="1906"/>
                  <a:pt x="315" y="1898"/>
                </a:cubicBezTo>
                <a:cubicBezTo>
                  <a:pt x="310" y="1881"/>
                  <a:pt x="321" y="1876"/>
                  <a:pt x="321" y="1860"/>
                </a:cubicBezTo>
                <a:cubicBezTo>
                  <a:pt x="300" y="1865"/>
                  <a:pt x="292" y="1854"/>
                  <a:pt x="292" y="1878"/>
                </a:cubicBezTo>
                <a:cubicBezTo>
                  <a:pt x="292" y="1878"/>
                  <a:pt x="292" y="1877"/>
                  <a:pt x="292" y="1877"/>
                </a:cubicBezTo>
                <a:cubicBezTo>
                  <a:pt x="296" y="1912"/>
                  <a:pt x="310" y="1928"/>
                  <a:pt x="260" y="1924"/>
                </a:cubicBezTo>
                <a:cubicBezTo>
                  <a:pt x="252" y="1923"/>
                  <a:pt x="261" y="1906"/>
                  <a:pt x="260" y="1903"/>
                </a:cubicBezTo>
                <a:cubicBezTo>
                  <a:pt x="258" y="1892"/>
                  <a:pt x="236" y="1918"/>
                  <a:pt x="230" y="1912"/>
                </a:cubicBezTo>
                <a:cubicBezTo>
                  <a:pt x="215" y="1898"/>
                  <a:pt x="236" y="1880"/>
                  <a:pt x="229" y="1873"/>
                </a:cubicBezTo>
                <a:cubicBezTo>
                  <a:pt x="227" y="1871"/>
                  <a:pt x="210" y="1885"/>
                  <a:pt x="208" y="1887"/>
                </a:cubicBezTo>
                <a:cubicBezTo>
                  <a:pt x="200" y="1896"/>
                  <a:pt x="203" y="1911"/>
                  <a:pt x="189" y="1911"/>
                </a:cubicBezTo>
                <a:cubicBezTo>
                  <a:pt x="177" y="1911"/>
                  <a:pt x="165" y="1899"/>
                  <a:pt x="152" y="1896"/>
                </a:cubicBezTo>
                <a:cubicBezTo>
                  <a:pt x="142" y="1894"/>
                  <a:pt x="99" y="1893"/>
                  <a:pt x="96" y="1882"/>
                </a:cubicBezTo>
                <a:cubicBezTo>
                  <a:pt x="94" y="1874"/>
                  <a:pt x="91" y="1847"/>
                  <a:pt x="100" y="1844"/>
                </a:cubicBezTo>
                <a:lnTo>
                  <a:pt x="100" y="1842"/>
                </a:lnTo>
                <a:cubicBezTo>
                  <a:pt x="82" y="1836"/>
                  <a:pt x="100" y="1826"/>
                  <a:pt x="114" y="1832"/>
                </a:cubicBezTo>
                <a:cubicBezTo>
                  <a:pt x="125" y="1836"/>
                  <a:pt x="149" y="1840"/>
                  <a:pt x="131" y="1822"/>
                </a:cubicBezTo>
                <a:cubicBezTo>
                  <a:pt x="124" y="1816"/>
                  <a:pt x="126" y="1810"/>
                  <a:pt x="121" y="1804"/>
                </a:cubicBezTo>
                <a:cubicBezTo>
                  <a:pt x="116" y="1799"/>
                  <a:pt x="83" y="1783"/>
                  <a:pt x="96" y="1778"/>
                </a:cubicBezTo>
                <a:cubicBezTo>
                  <a:pt x="102" y="1775"/>
                  <a:pt x="115" y="1776"/>
                  <a:pt x="119" y="1770"/>
                </a:cubicBezTo>
                <a:cubicBezTo>
                  <a:pt x="137" y="1741"/>
                  <a:pt x="141" y="1757"/>
                  <a:pt x="165" y="1773"/>
                </a:cubicBezTo>
                <a:cubicBezTo>
                  <a:pt x="184" y="1785"/>
                  <a:pt x="241" y="1791"/>
                  <a:pt x="260" y="1779"/>
                </a:cubicBezTo>
                <a:cubicBezTo>
                  <a:pt x="267" y="1775"/>
                  <a:pt x="233" y="1774"/>
                  <a:pt x="228" y="1773"/>
                </a:cubicBezTo>
                <a:cubicBezTo>
                  <a:pt x="214" y="1771"/>
                  <a:pt x="187" y="1768"/>
                  <a:pt x="179" y="1755"/>
                </a:cubicBezTo>
                <a:cubicBezTo>
                  <a:pt x="169" y="1739"/>
                  <a:pt x="125" y="1749"/>
                  <a:pt x="120" y="1736"/>
                </a:cubicBezTo>
                <a:cubicBezTo>
                  <a:pt x="117" y="1728"/>
                  <a:pt x="127" y="1717"/>
                  <a:pt x="126" y="1708"/>
                </a:cubicBezTo>
                <a:cubicBezTo>
                  <a:pt x="125" y="1697"/>
                  <a:pt x="125" y="1687"/>
                  <a:pt x="131" y="1703"/>
                </a:cubicBezTo>
                <a:cubicBezTo>
                  <a:pt x="133" y="1707"/>
                  <a:pt x="131" y="1713"/>
                  <a:pt x="133" y="1718"/>
                </a:cubicBezTo>
                <a:cubicBezTo>
                  <a:pt x="135" y="1727"/>
                  <a:pt x="155" y="1725"/>
                  <a:pt x="146" y="1708"/>
                </a:cubicBezTo>
                <a:cubicBezTo>
                  <a:pt x="138" y="1692"/>
                  <a:pt x="155" y="1706"/>
                  <a:pt x="165" y="1705"/>
                </a:cubicBezTo>
                <a:cubicBezTo>
                  <a:pt x="174" y="1705"/>
                  <a:pt x="193" y="1696"/>
                  <a:pt x="194" y="1708"/>
                </a:cubicBezTo>
                <a:cubicBezTo>
                  <a:pt x="196" y="1729"/>
                  <a:pt x="192" y="1732"/>
                  <a:pt x="212" y="1732"/>
                </a:cubicBezTo>
                <a:cubicBezTo>
                  <a:pt x="223" y="1732"/>
                  <a:pt x="222" y="1735"/>
                  <a:pt x="219" y="1723"/>
                </a:cubicBezTo>
                <a:cubicBezTo>
                  <a:pt x="216" y="1715"/>
                  <a:pt x="194" y="1696"/>
                  <a:pt x="201" y="1690"/>
                </a:cubicBezTo>
                <a:cubicBezTo>
                  <a:pt x="207" y="1686"/>
                  <a:pt x="231" y="1674"/>
                  <a:pt x="235" y="1680"/>
                </a:cubicBezTo>
                <a:cubicBezTo>
                  <a:pt x="242" y="1690"/>
                  <a:pt x="248" y="1728"/>
                  <a:pt x="263" y="1725"/>
                </a:cubicBezTo>
                <a:cubicBezTo>
                  <a:pt x="272" y="1722"/>
                  <a:pt x="263" y="1707"/>
                  <a:pt x="261" y="1701"/>
                </a:cubicBezTo>
                <a:cubicBezTo>
                  <a:pt x="255" y="1687"/>
                  <a:pt x="240" y="1680"/>
                  <a:pt x="260" y="1675"/>
                </a:cubicBezTo>
                <a:cubicBezTo>
                  <a:pt x="308" y="1664"/>
                  <a:pt x="283" y="1731"/>
                  <a:pt x="298" y="1731"/>
                </a:cubicBezTo>
                <a:cubicBezTo>
                  <a:pt x="304" y="1731"/>
                  <a:pt x="311" y="1736"/>
                  <a:pt x="308" y="1727"/>
                </a:cubicBezTo>
                <a:cubicBezTo>
                  <a:pt x="296" y="1697"/>
                  <a:pt x="326" y="1704"/>
                  <a:pt x="326" y="1699"/>
                </a:cubicBezTo>
                <a:cubicBezTo>
                  <a:pt x="326" y="1692"/>
                  <a:pt x="305" y="1692"/>
                  <a:pt x="300" y="1689"/>
                </a:cubicBezTo>
                <a:cubicBezTo>
                  <a:pt x="293" y="1684"/>
                  <a:pt x="299" y="1671"/>
                  <a:pt x="294" y="1667"/>
                </a:cubicBezTo>
                <a:cubicBezTo>
                  <a:pt x="284" y="1658"/>
                  <a:pt x="263" y="1659"/>
                  <a:pt x="250" y="1660"/>
                </a:cubicBezTo>
                <a:cubicBezTo>
                  <a:pt x="243" y="1661"/>
                  <a:pt x="206" y="1659"/>
                  <a:pt x="211" y="1650"/>
                </a:cubicBezTo>
                <a:cubicBezTo>
                  <a:pt x="216" y="1639"/>
                  <a:pt x="233" y="1640"/>
                  <a:pt x="243" y="1640"/>
                </a:cubicBezTo>
                <a:cubicBezTo>
                  <a:pt x="270" y="1640"/>
                  <a:pt x="227" y="1621"/>
                  <a:pt x="227" y="1620"/>
                </a:cubicBezTo>
                <a:cubicBezTo>
                  <a:pt x="227" y="1608"/>
                  <a:pt x="268" y="1622"/>
                  <a:pt x="274" y="1622"/>
                </a:cubicBezTo>
                <a:cubicBezTo>
                  <a:pt x="281" y="1623"/>
                  <a:pt x="293" y="1620"/>
                  <a:pt x="299" y="1623"/>
                </a:cubicBezTo>
                <a:cubicBezTo>
                  <a:pt x="307" y="1627"/>
                  <a:pt x="308" y="1640"/>
                  <a:pt x="319" y="1637"/>
                </a:cubicBezTo>
                <a:cubicBezTo>
                  <a:pt x="328" y="1635"/>
                  <a:pt x="336" y="1631"/>
                  <a:pt x="342" y="1641"/>
                </a:cubicBezTo>
                <a:cubicBezTo>
                  <a:pt x="346" y="1649"/>
                  <a:pt x="352" y="1662"/>
                  <a:pt x="363" y="1662"/>
                </a:cubicBezTo>
                <a:cubicBezTo>
                  <a:pt x="366" y="1662"/>
                  <a:pt x="383" y="1660"/>
                  <a:pt x="380" y="1657"/>
                </a:cubicBezTo>
                <a:cubicBezTo>
                  <a:pt x="375" y="1651"/>
                  <a:pt x="361" y="1650"/>
                  <a:pt x="356" y="1644"/>
                </a:cubicBezTo>
                <a:cubicBezTo>
                  <a:pt x="352" y="1638"/>
                  <a:pt x="368" y="1634"/>
                  <a:pt x="371" y="1631"/>
                </a:cubicBezTo>
                <a:cubicBezTo>
                  <a:pt x="378" y="1624"/>
                  <a:pt x="408" y="1631"/>
                  <a:pt x="419" y="1631"/>
                </a:cubicBezTo>
                <a:cubicBezTo>
                  <a:pt x="408" y="1623"/>
                  <a:pt x="415" y="1618"/>
                  <a:pt x="395" y="1616"/>
                </a:cubicBezTo>
                <a:cubicBezTo>
                  <a:pt x="391" y="1617"/>
                  <a:pt x="345" y="1630"/>
                  <a:pt x="363" y="1613"/>
                </a:cubicBezTo>
                <a:cubicBezTo>
                  <a:pt x="364" y="1611"/>
                  <a:pt x="372" y="1607"/>
                  <a:pt x="372" y="1605"/>
                </a:cubicBezTo>
                <a:cubicBezTo>
                  <a:pt x="372" y="1598"/>
                  <a:pt x="315" y="1602"/>
                  <a:pt x="319" y="1588"/>
                </a:cubicBezTo>
                <a:cubicBezTo>
                  <a:pt x="323" y="1577"/>
                  <a:pt x="344" y="1578"/>
                  <a:pt x="337" y="1570"/>
                </a:cubicBezTo>
                <a:cubicBezTo>
                  <a:pt x="315" y="1544"/>
                  <a:pt x="330" y="1556"/>
                  <a:pt x="351" y="1552"/>
                </a:cubicBezTo>
                <a:cubicBezTo>
                  <a:pt x="362" y="1550"/>
                  <a:pt x="361" y="1556"/>
                  <a:pt x="366" y="1565"/>
                </a:cubicBezTo>
                <a:cubicBezTo>
                  <a:pt x="372" y="1573"/>
                  <a:pt x="389" y="1573"/>
                  <a:pt x="398" y="1574"/>
                </a:cubicBezTo>
                <a:cubicBezTo>
                  <a:pt x="404" y="1575"/>
                  <a:pt x="426" y="1576"/>
                  <a:pt x="429" y="1580"/>
                </a:cubicBezTo>
                <a:cubicBezTo>
                  <a:pt x="437" y="1593"/>
                  <a:pt x="443" y="1608"/>
                  <a:pt x="452" y="1621"/>
                </a:cubicBezTo>
                <a:cubicBezTo>
                  <a:pt x="470" y="1646"/>
                  <a:pt x="464" y="1613"/>
                  <a:pt x="458" y="1606"/>
                </a:cubicBezTo>
                <a:cubicBezTo>
                  <a:pt x="451" y="1597"/>
                  <a:pt x="425" y="1568"/>
                  <a:pt x="425" y="1560"/>
                </a:cubicBezTo>
                <a:cubicBezTo>
                  <a:pt x="425" y="1550"/>
                  <a:pt x="456" y="1567"/>
                  <a:pt x="459" y="1571"/>
                </a:cubicBezTo>
                <a:cubicBezTo>
                  <a:pt x="464" y="1579"/>
                  <a:pt x="470" y="1592"/>
                  <a:pt x="481" y="1590"/>
                </a:cubicBezTo>
                <a:cubicBezTo>
                  <a:pt x="488" y="1589"/>
                  <a:pt x="483" y="1571"/>
                  <a:pt x="478" y="1568"/>
                </a:cubicBezTo>
                <a:cubicBezTo>
                  <a:pt x="468" y="1560"/>
                  <a:pt x="465" y="1549"/>
                  <a:pt x="465" y="1536"/>
                </a:cubicBezTo>
                <a:cubicBezTo>
                  <a:pt x="465" y="1519"/>
                  <a:pt x="471" y="1531"/>
                  <a:pt x="471" y="1542"/>
                </a:cubicBezTo>
                <a:cubicBezTo>
                  <a:pt x="474" y="1543"/>
                  <a:pt x="476" y="1548"/>
                  <a:pt x="480" y="1548"/>
                </a:cubicBezTo>
                <a:cubicBezTo>
                  <a:pt x="485" y="1548"/>
                  <a:pt x="486" y="1548"/>
                  <a:pt x="491" y="1549"/>
                </a:cubicBezTo>
                <a:cubicBezTo>
                  <a:pt x="500" y="1551"/>
                  <a:pt x="502" y="1542"/>
                  <a:pt x="492" y="1537"/>
                </a:cubicBezTo>
                <a:cubicBezTo>
                  <a:pt x="483" y="1533"/>
                  <a:pt x="484" y="1527"/>
                  <a:pt x="483" y="1517"/>
                </a:cubicBezTo>
                <a:cubicBezTo>
                  <a:pt x="485" y="1507"/>
                  <a:pt x="492" y="1500"/>
                  <a:pt x="502" y="1503"/>
                </a:cubicBezTo>
                <a:cubicBezTo>
                  <a:pt x="512" y="1506"/>
                  <a:pt x="522" y="1501"/>
                  <a:pt x="528" y="1502"/>
                </a:cubicBezTo>
                <a:cubicBezTo>
                  <a:pt x="528" y="1509"/>
                  <a:pt x="518" y="1533"/>
                  <a:pt x="536" y="1528"/>
                </a:cubicBezTo>
                <a:cubicBezTo>
                  <a:pt x="545" y="1526"/>
                  <a:pt x="566" y="1521"/>
                  <a:pt x="552" y="1510"/>
                </a:cubicBezTo>
                <a:cubicBezTo>
                  <a:pt x="540" y="1502"/>
                  <a:pt x="554" y="1501"/>
                  <a:pt x="552" y="1496"/>
                </a:cubicBezTo>
                <a:cubicBezTo>
                  <a:pt x="549" y="1487"/>
                  <a:pt x="558" y="1481"/>
                  <a:pt x="567" y="1484"/>
                </a:cubicBezTo>
                <a:cubicBezTo>
                  <a:pt x="580" y="1487"/>
                  <a:pt x="593" y="1479"/>
                  <a:pt x="604" y="1493"/>
                </a:cubicBezTo>
                <a:cubicBezTo>
                  <a:pt x="621" y="1515"/>
                  <a:pt x="621" y="1501"/>
                  <a:pt x="614" y="1533"/>
                </a:cubicBezTo>
                <a:cubicBezTo>
                  <a:pt x="610" y="1549"/>
                  <a:pt x="626" y="1541"/>
                  <a:pt x="636" y="1541"/>
                </a:cubicBezTo>
                <a:cubicBezTo>
                  <a:pt x="639" y="1541"/>
                  <a:pt x="648" y="1542"/>
                  <a:pt x="649" y="1540"/>
                </a:cubicBezTo>
                <a:cubicBezTo>
                  <a:pt x="630" y="1534"/>
                  <a:pt x="648" y="1520"/>
                  <a:pt x="658" y="1518"/>
                </a:cubicBezTo>
                <a:cubicBezTo>
                  <a:pt x="667" y="1516"/>
                  <a:pt x="698" y="1526"/>
                  <a:pt x="697" y="1518"/>
                </a:cubicBezTo>
                <a:cubicBezTo>
                  <a:pt x="697" y="1513"/>
                  <a:pt x="703" y="1495"/>
                  <a:pt x="703" y="1494"/>
                </a:cubicBezTo>
                <a:cubicBezTo>
                  <a:pt x="702" y="1490"/>
                  <a:pt x="687" y="1494"/>
                  <a:pt x="684" y="1494"/>
                </a:cubicBezTo>
                <a:cubicBezTo>
                  <a:pt x="651" y="1495"/>
                  <a:pt x="696" y="1478"/>
                  <a:pt x="699" y="1476"/>
                </a:cubicBezTo>
                <a:cubicBezTo>
                  <a:pt x="719" y="1464"/>
                  <a:pt x="745" y="1470"/>
                  <a:pt x="745" y="1436"/>
                </a:cubicBezTo>
                <a:cubicBezTo>
                  <a:pt x="735" y="1437"/>
                  <a:pt x="710" y="1443"/>
                  <a:pt x="723" y="1424"/>
                </a:cubicBezTo>
                <a:cubicBezTo>
                  <a:pt x="727" y="1419"/>
                  <a:pt x="752" y="1406"/>
                  <a:pt x="750" y="1404"/>
                </a:cubicBezTo>
                <a:cubicBezTo>
                  <a:pt x="748" y="1402"/>
                  <a:pt x="741" y="1390"/>
                  <a:pt x="739" y="1390"/>
                </a:cubicBezTo>
                <a:cubicBezTo>
                  <a:pt x="731" y="1389"/>
                  <a:pt x="721" y="1405"/>
                  <a:pt x="716" y="1411"/>
                </a:cubicBezTo>
                <a:cubicBezTo>
                  <a:pt x="710" y="1416"/>
                  <a:pt x="665" y="1439"/>
                  <a:pt x="688" y="1443"/>
                </a:cubicBezTo>
                <a:cubicBezTo>
                  <a:pt x="692" y="1444"/>
                  <a:pt x="713" y="1441"/>
                  <a:pt x="703" y="1450"/>
                </a:cubicBezTo>
                <a:cubicBezTo>
                  <a:pt x="693" y="1459"/>
                  <a:pt x="646" y="1490"/>
                  <a:pt x="634" y="1487"/>
                </a:cubicBezTo>
                <a:cubicBezTo>
                  <a:pt x="628" y="1486"/>
                  <a:pt x="609" y="1473"/>
                  <a:pt x="611" y="1466"/>
                </a:cubicBezTo>
                <a:cubicBezTo>
                  <a:pt x="612" y="1463"/>
                  <a:pt x="645" y="1444"/>
                  <a:pt x="629" y="1446"/>
                </a:cubicBezTo>
                <a:cubicBezTo>
                  <a:pt x="623" y="1447"/>
                  <a:pt x="562" y="1464"/>
                  <a:pt x="584" y="1442"/>
                </a:cubicBezTo>
                <a:cubicBezTo>
                  <a:pt x="589" y="1437"/>
                  <a:pt x="602" y="1438"/>
                  <a:pt x="607" y="1433"/>
                </a:cubicBezTo>
                <a:cubicBezTo>
                  <a:pt x="612" y="1429"/>
                  <a:pt x="600" y="1420"/>
                  <a:pt x="609" y="1416"/>
                </a:cubicBezTo>
                <a:cubicBezTo>
                  <a:pt x="615" y="1413"/>
                  <a:pt x="625" y="1429"/>
                  <a:pt x="632" y="1426"/>
                </a:cubicBezTo>
                <a:cubicBezTo>
                  <a:pt x="647" y="1421"/>
                  <a:pt x="642" y="1410"/>
                  <a:pt x="640" y="1399"/>
                </a:cubicBezTo>
                <a:cubicBezTo>
                  <a:pt x="639" y="1392"/>
                  <a:pt x="675" y="1343"/>
                  <a:pt x="681" y="1328"/>
                </a:cubicBezTo>
                <a:cubicBezTo>
                  <a:pt x="698" y="1318"/>
                  <a:pt x="724" y="1305"/>
                  <a:pt x="724" y="1284"/>
                </a:cubicBezTo>
                <a:cubicBezTo>
                  <a:pt x="725" y="1284"/>
                  <a:pt x="740" y="1311"/>
                  <a:pt x="740" y="1316"/>
                </a:cubicBezTo>
                <a:cubicBezTo>
                  <a:pt x="740" y="1342"/>
                  <a:pt x="748" y="1336"/>
                  <a:pt x="762" y="1326"/>
                </a:cubicBezTo>
                <a:cubicBezTo>
                  <a:pt x="772" y="1320"/>
                  <a:pt x="778" y="1331"/>
                  <a:pt x="779" y="1312"/>
                </a:cubicBezTo>
                <a:cubicBezTo>
                  <a:pt x="781" y="1291"/>
                  <a:pt x="808" y="1307"/>
                  <a:pt x="790" y="1285"/>
                </a:cubicBezTo>
                <a:cubicBezTo>
                  <a:pt x="785" y="1279"/>
                  <a:pt x="790" y="1274"/>
                  <a:pt x="786" y="1268"/>
                </a:cubicBezTo>
                <a:cubicBezTo>
                  <a:pt x="771" y="1247"/>
                  <a:pt x="800" y="1239"/>
                  <a:pt x="816" y="1239"/>
                </a:cubicBezTo>
                <a:cubicBezTo>
                  <a:pt x="828" y="1239"/>
                  <a:pt x="809" y="1223"/>
                  <a:pt x="827" y="1221"/>
                </a:cubicBezTo>
                <a:cubicBezTo>
                  <a:pt x="840" y="1220"/>
                  <a:pt x="854" y="1226"/>
                  <a:pt x="866" y="1226"/>
                </a:cubicBezTo>
                <a:cubicBezTo>
                  <a:pt x="853" y="1188"/>
                  <a:pt x="777" y="1239"/>
                  <a:pt x="756" y="1239"/>
                </a:cubicBezTo>
                <a:cubicBezTo>
                  <a:pt x="762" y="1221"/>
                  <a:pt x="770" y="1220"/>
                  <a:pt x="784" y="1216"/>
                </a:cubicBezTo>
                <a:cubicBezTo>
                  <a:pt x="804" y="1211"/>
                  <a:pt x="807" y="1188"/>
                  <a:pt x="828" y="1183"/>
                </a:cubicBezTo>
                <a:cubicBezTo>
                  <a:pt x="835" y="1181"/>
                  <a:pt x="854" y="1166"/>
                  <a:pt x="858" y="1166"/>
                </a:cubicBezTo>
                <a:cubicBezTo>
                  <a:pt x="858" y="1176"/>
                  <a:pt x="851" y="1201"/>
                  <a:pt x="868" y="1190"/>
                </a:cubicBezTo>
                <a:cubicBezTo>
                  <a:pt x="876" y="1185"/>
                  <a:pt x="901" y="1179"/>
                  <a:pt x="901" y="1166"/>
                </a:cubicBezTo>
                <a:cubicBezTo>
                  <a:pt x="887" y="1166"/>
                  <a:pt x="874" y="1181"/>
                  <a:pt x="876" y="1152"/>
                </a:cubicBezTo>
                <a:cubicBezTo>
                  <a:pt x="878" y="1128"/>
                  <a:pt x="852" y="1153"/>
                  <a:pt x="864" y="1133"/>
                </a:cubicBezTo>
                <a:cubicBezTo>
                  <a:pt x="866" y="1128"/>
                  <a:pt x="870" y="1127"/>
                  <a:pt x="872" y="1123"/>
                </a:cubicBezTo>
                <a:cubicBezTo>
                  <a:pt x="883" y="1105"/>
                  <a:pt x="871" y="1127"/>
                  <a:pt x="890" y="1126"/>
                </a:cubicBezTo>
                <a:cubicBezTo>
                  <a:pt x="902" y="1125"/>
                  <a:pt x="874" y="1094"/>
                  <a:pt x="874" y="1091"/>
                </a:cubicBezTo>
                <a:cubicBezTo>
                  <a:pt x="882" y="1062"/>
                  <a:pt x="899" y="1090"/>
                  <a:pt x="906" y="1081"/>
                </a:cubicBezTo>
                <a:cubicBezTo>
                  <a:pt x="914" y="1070"/>
                  <a:pt x="889" y="1053"/>
                  <a:pt x="903" y="1048"/>
                </a:cubicBezTo>
                <a:cubicBezTo>
                  <a:pt x="906" y="1046"/>
                  <a:pt x="915" y="1036"/>
                  <a:pt x="916" y="1036"/>
                </a:cubicBezTo>
                <a:cubicBezTo>
                  <a:pt x="924" y="1036"/>
                  <a:pt x="939" y="1060"/>
                  <a:pt x="943" y="1056"/>
                </a:cubicBezTo>
                <a:cubicBezTo>
                  <a:pt x="948" y="1051"/>
                  <a:pt x="939" y="1031"/>
                  <a:pt x="941" y="1025"/>
                </a:cubicBezTo>
                <a:cubicBezTo>
                  <a:pt x="943" y="1021"/>
                  <a:pt x="953" y="1006"/>
                  <a:pt x="953" y="1005"/>
                </a:cubicBezTo>
                <a:cubicBezTo>
                  <a:pt x="953" y="997"/>
                  <a:pt x="925" y="998"/>
                  <a:pt x="922" y="995"/>
                </a:cubicBezTo>
                <a:cubicBezTo>
                  <a:pt x="921" y="993"/>
                  <a:pt x="926" y="987"/>
                  <a:pt x="928" y="986"/>
                </a:cubicBezTo>
                <a:cubicBezTo>
                  <a:pt x="933" y="985"/>
                  <a:pt x="938" y="987"/>
                  <a:pt x="942" y="989"/>
                </a:cubicBezTo>
                <a:cubicBezTo>
                  <a:pt x="956" y="995"/>
                  <a:pt x="964" y="983"/>
                  <a:pt x="973" y="986"/>
                </a:cubicBezTo>
                <a:cubicBezTo>
                  <a:pt x="980" y="987"/>
                  <a:pt x="988" y="995"/>
                  <a:pt x="995" y="990"/>
                </a:cubicBezTo>
                <a:cubicBezTo>
                  <a:pt x="1001" y="986"/>
                  <a:pt x="999" y="981"/>
                  <a:pt x="1010" y="980"/>
                </a:cubicBezTo>
                <a:cubicBezTo>
                  <a:pt x="1013" y="980"/>
                  <a:pt x="1026" y="972"/>
                  <a:pt x="1027" y="970"/>
                </a:cubicBezTo>
                <a:cubicBezTo>
                  <a:pt x="1014" y="970"/>
                  <a:pt x="998" y="970"/>
                  <a:pt x="985" y="967"/>
                </a:cubicBezTo>
                <a:cubicBezTo>
                  <a:pt x="964" y="963"/>
                  <a:pt x="965" y="964"/>
                  <a:pt x="978" y="948"/>
                </a:cubicBezTo>
                <a:cubicBezTo>
                  <a:pt x="982" y="942"/>
                  <a:pt x="968" y="931"/>
                  <a:pt x="965" y="928"/>
                </a:cubicBezTo>
                <a:cubicBezTo>
                  <a:pt x="951" y="915"/>
                  <a:pt x="983" y="924"/>
                  <a:pt x="990" y="922"/>
                </a:cubicBezTo>
                <a:cubicBezTo>
                  <a:pt x="1002" y="921"/>
                  <a:pt x="996" y="922"/>
                  <a:pt x="996" y="913"/>
                </a:cubicBezTo>
                <a:cubicBezTo>
                  <a:pt x="996" y="903"/>
                  <a:pt x="990" y="908"/>
                  <a:pt x="983" y="903"/>
                </a:cubicBezTo>
                <a:cubicBezTo>
                  <a:pt x="973" y="896"/>
                  <a:pt x="994" y="893"/>
                  <a:pt x="999" y="892"/>
                </a:cubicBezTo>
                <a:cubicBezTo>
                  <a:pt x="1012" y="888"/>
                  <a:pt x="996" y="877"/>
                  <a:pt x="990" y="869"/>
                </a:cubicBezTo>
                <a:cubicBezTo>
                  <a:pt x="1003" y="869"/>
                  <a:pt x="1016" y="868"/>
                  <a:pt x="1028" y="868"/>
                </a:cubicBezTo>
                <a:cubicBezTo>
                  <a:pt x="1028" y="867"/>
                  <a:pt x="1028" y="867"/>
                  <a:pt x="1028" y="867"/>
                </a:cubicBezTo>
                <a:cubicBezTo>
                  <a:pt x="1028" y="861"/>
                  <a:pt x="998" y="849"/>
                  <a:pt x="1002" y="834"/>
                </a:cubicBezTo>
                <a:cubicBezTo>
                  <a:pt x="1002" y="832"/>
                  <a:pt x="1019" y="835"/>
                  <a:pt x="1021" y="835"/>
                </a:cubicBezTo>
                <a:cubicBezTo>
                  <a:pt x="1034" y="834"/>
                  <a:pt x="1038" y="823"/>
                  <a:pt x="1051" y="823"/>
                </a:cubicBezTo>
                <a:cubicBezTo>
                  <a:pt x="1059" y="823"/>
                  <a:pt x="1074" y="829"/>
                  <a:pt x="1081" y="824"/>
                </a:cubicBezTo>
                <a:cubicBezTo>
                  <a:pt x="1088" y="820"/>
                  <a:pt x="1070" y="809"/>
                  <a:pt x="1080" y="804"/>
                </a:cubicBezTo>
                <a:cubicBezTo>
                  <a:pt x="1084" y="802"/>
                  <a:pt x="1101" y="798"/>
                  <a:pt x="1105" y="798"/>
                </a:cubicBezTo>
                <a:cubicBezTo>
                  <a:pt x="1112" y="798"/>
                  <a:pt x="1113" y="805"/>
                  <a:pt x="1118" y="806"/>
                </a:cubicBezTo>
                <a:cubicBezTo>
                  <a:pt x="1123" y="806"/>
                  <a:pt x="1125" y="799"/>
                  <a:pt x="1130" y="797"/>
                </a:cubicBezTo>
                <a:cubicBezTo>
                  <a:pt x="1141" y="793"/>
                  <a:pt x="1153" y="807"/>
                  <a:pt x="1161" y="798"/>
                </a:cubicBezTo>
                <a:cubicBezTo>
                  <a:pt x="1171" y="786"/>
                  <a:pt x="1160" y="785"/>
                  <a:pt x="1153" y="779"/>
                </a:cubicBezTo>
                <a:cubicBezTo>
                  <a:pt x="1144" y="772"/>
                  <a:pt x="1145" y="751"/>
                  <a:pt x="1127" y="763"/>
                </a:cubicBezTo>
                <a:cubicBezTo>
                  <a:pt x="1114" y="771"/>
                  <a:pt x="1103" y="781"/>
                  <a:pt x="1087" y="778"/>
                </a:cubicBezTo>
                <a:cubicBezTo>
                  <a:pt x="1064" y="779"/>
                  <a:pt x="1076" y="767"/>
                  <a:pt x="1083" y="758"/>
                </a:cubicBezTo>
                <a:cubicBezTo>
                  <a:pt x="1089" y="749"/>
                  <a:pt x="1099" y="758"/>
                  <a:pt x="1107" y="757"/>
                </a:cubicBezTo>
                <a:cubicBezTo>
                  <a:pt x="1115" y="756"/>
                  <a:pt x="1126" y="754"/>
                  <a:pt x="1120" y="744"/>
                </a:cubicBezTo>
                <a:cubicBezTo>
                  <a:pt x="1118" y="741"/>
                  <a:pt x="1107" y="741"/>
                  <a:pt x="1102" y="739"/>
                </a:cubicBezTo>
                <a:cubicBezTo>
                  <a:pt x="1091" y="732"/>
                  <a:pt x="1100" y="733"/>
                  <a:pt x="1105" y="728"/>
                </a:cubicBezTo>
                <a:cubicBezTo>
                  <a:pt x="1107" y="725"/>
                  <a:pt x="1114" y="716"/>
                  <a:pt x="1118" y="717"/>
                </a:cubicBezTo>
                <a:cubicBezTo>
                  <a:pt x="1122" y="718"/>
                  <a:pt x="1124" y="725"/>
                  <a:pt x="1127" y="728"/>
                </a:cubicBezTo>
                <a:cubicBezTo>
                  <a:pt x="1136" y="734"/>
                  <a:pt x="1146" y="729"/>
                  <a:pt x="1153" y="740"/>
                </a:cubicBezTo>
                <a:cubicBezTo>
                  <a:pt x="1156" y="744"/>
                  <a:pt x="1154" y="754"/>
                  <a:pt x="1158" y="756"/>
                </a:cubicBezTo>
                <a:cubicBezTo>
                  <a:pt x="1164" y="758"/>
                  <a:pt x="1169" y="759"/>
                  <a:pt x="1173" y="753"/>
                </a:cubicBezTo>
                <a:cubicBezTo>
                  <a:pt x="1178" y="744"/>
                  <a:pt x="1167" y="741"/>
                  <a:pt x="1170" y="735"/>
                </a:cubicBezTo>
                <a:cubicBezTo>
                  <a:pt x="1173" y="729"/>
                  <a:pt x="1180" y="726"/>
                  <a:pt x="1180" y="718"/>
                </a:cubicBezTo>
                <a:cubicBezTo>
                  <a:pt x="1176" y="718"/>
                  <a:pt x="1152" y="726"/>
                  <a:pt x="1152" y="716"/>
                </a:cubicBezTo>
                <a:cubicBezTo>
                  <a:pt x="1153" y="712"/>
                  <a:pt x="1165" y="706"/>
                  <a:pt x="1158" y="704"/>
                </a:cubicBezTo>
                <a:cubicBezTo>
                  <a:pt x="1145" y="701"/>
                  <a:pt x="1143" y="688"/>
                  <a:pt x="1160" y="690"/>
                </a:cubicBezTo>
                <a:cubicBezTo>
                  <a:pt x="1164" y="690"/>
                  <a:pt x="1173" y="694"/>
                  <a:pt x="1175" y="689"/>
                </a:cubicBezTo>
                <a:cubicBezTo>
                  <a:pt x="1178" y="684"/>
                  <a:pt x="1169" y="680"/>
                  <a:pt x="1166" y="676"/>
                </a:cubicBezTo>
                <a:cubicBezTo>
                  <a:pt x="1155" y="662"/>
                  <a:pt x="1146" y="672"/>
                  <a:pt x="1133" y="679"/>
                </a:cubicBezTo>
                <a:cubicBezTo>
                  <a:pt x="1096" y="697"/>
                  <a:pt x="1137" y="652"/>
                  <a:pt x="1149" y="648"/>
                </a:cubicBezTo>
                <a:cubicBezTo>
                  <a:pt x="1165" y="644"/>
                  <a:pt x="1191" y="669"/>
                  <a:pt x="1191" y="634"/>
                </a:cubicBezTo>
                <a:cubicBezTo>
                  <a:pt x="1186" y="633"/>
                  <a:pt x="1174" y="630"/>
                  <a:pt x="1173" y="625"/>
                </a:cubicBezTo>
                <a:cubicBezTo>
                  <a:pt x="1171" y="617"/>
                  <a:pt x="1163" y="627"/>
                  <a:pt x="1158" y="626"/>
                </a:cubicBezTo>
                <a:cubicBezTo>
                  <a:pt x="1152" y="626"/>
                  <a:pt x="1158" y="611"/>
                  <a:pt x="1168" y="611"/>
                </a:cubicBezTo>
                <a:cubicBezTo>
                  <a:pt x="1183" y="611"/>
                  <a:pt x="1203" y="591"/>
                  <a:pt x="1207" y="603"/>
                </a:cubicBezTo>
                <a:cubicBezTo>
                  <a:pt x="1211" y="615"/>
                  <a:pt x="1205" y="633"/>
                  <a:pt x="1214" y="642"/>
                </a:cubicBezTo>
                <a:cubicBezTo>
                  <a:pt x="1216" y="644"/>
                  <a:pt x="1237" y="671"/>
                  <a:pt x="1234" y="655"/>
                </a:cubicBezTo>
                <a:cubicBezTo>
                  <a:pt x="1233" y="649"/>
                  <a:pt x="1227" y="645"/>
                  <a:pt x="1233" y="639"/>
                </a:cubicBezTo>
                <a:cubicBezTo>
                  <a:pt x="1247" y="625"/>
                  <a:pt x="1226" y="626"/>
                  <a:pt x="1229" y="617"/>
                </a:cubicBezTo>
                <a:cubicBezTo>
                  <a:pt x="1233" y="605"/>
                  <a:pt x="1235" y="584"/>
                  <a:pt x="1249" y="578"/>
                </a:cubicBezTo>
                <a:cubicBezTo>
                  <a:pt x="1259" y="574"/>
                  <a:pt x="1262" y="581"/>
                  <a:pt x="1269" y="583"/>
                </a:cubicBezTo>
                <a:cubicBezTo>
                  <a:pt x="1278" y="585"/>
                  <a:pt x="1288" y="574"/>
                  <a:pt x="1294" y="582"/>
                </a:cubicBezTo>
                <a:cubicBezTo>
                  <a:pt x="1296" y="586"/>
                  <a:pt x="1310" y="605"/>
                  <a:pt x="1313" y="591"/>
                </a:cubicBezTo>
                <a:cubicBezTo>
                  <a:pt x="1315" y="582"/>
                  <a:pt x="1308" y="575"/>
                  <a:pt x="1310" y="574"/>
                </a:cubicBezTo>
                <a:cubicBezTo>
                  <a:pt x="1316" y="568"/>
                  <a:pt x="1325" y="570"/>
                  <a:pt x="1323" y="558"/>
                </a:cubicBezTo>
                <a:cubicBezTo>
                  <a:pt x="1320" y="546"/>
                  <a:pt x="1331" y="547"/>
                  <a:pt x="1331" y="537"/>
                </a:cubicBezTo>
                <a:cubicBezTo>
                  <a:pt x="1324" y="537"/>
                  <a:pt x="1317" y="549"/>
                  <a:pt x="1307" y="551"/>
                </a:cubicBezTo>
                <a:cubicBezTo>
                  <a:pt x="1297" y="552"/>
                  <a:pt x="1291" y="551"/>
                  <a:pt x="1283" y="547"/>
                </a:cubicBezTo>
                <a:cubicBezTo>
                  <a:pt x="1281" y="547"/>
                  <a:pt x="1247" y="556"/>
                  <a:pt x="1241" y="556"/>
                </a:cubicBezTo>
                <a:cubicBezTo>
                  <a:pt x="1222" y="554"/>
                  <a:pt x="1287" y="521"/>
                  <a:pt x="1297" y="519"/>
                </a:cubicBezTo>
                <a:cubicBezTo>
                  <a:pt x="1306" y="516"/>
                  <a:pt x="1326" y="508"/>
                  <a:pt x="1332" y="499"/>
                </a:cubicBezTo>
                <a:cubicBezTo>
                  <a:pt x="1341" y="484"/>
                  <a:pt x="1323" y="472"/>
                  <a:pt x="1327" y="457"/>
                </a:cubicBezTo>
                <a:cubicBezTo>
                  <a:pt x="1330" y="445"/>
                  <a:pt x="1323" y="424"/>
                  <a:pt x="1339" y="422"/>
                </a:cubicBezTo>
                <a:cubicBezTo>
                  <a:pt x="1350" y="420"/>
                  <a:pt x="1367" y="425"/>
                  <a:pt x="1376" y="422"/>
                </a:cubicBezTo>
                <a:cubicBezTo>
                  <a:pt x="1389" y="418"/>
                  <a:pt x="1369" y="399"/>
                  <a:pt x="1367" y="393"/>
                </a:cubicBezTo>
                <a:cubicBezTo>
                  <a:pt x="1366" y="387"/>
                  <a:pt x="1376" y="375"/>
                  <a:pt x="1376" y="365"/>
                </a:cubicBezTo>
                <a:cubicBezTo>
                  <a:pt x="1376" y="336"/>
                  <a:pt x="1398" y="383"/>
                  <a:pt x="1406" y="387"/>
                </a:cubicBezTo>
                <a:cubicBezTo>
                  <a:pt x="1409" y="389"/>
                  <a:pt x="1445" y="385"/>
                  <a:pt x="1434" y="378"/>
                </a:cubicBezTo>
                <a:cubicBezTo>
                  <a:pt x="1424" y="371"/>
                  <a:pt x="1409" y="365"/>
                  <a:pt x="1409" y="350"/>
                </a:cubicBezTo>
                <a:cubicBezTo>
                  <a:pt x="1409" y="328"/>
                  <a:pt x="1431" y="354"/>
                  <a:pt x="1436" y="359"/>
                </a:cubicBezTo>
                <a:cubicBezTo>
                  <a:pt x="1440" y="363"/>
                  <a:pt x="1441" y="370"/>
                  <a:pt x="1445" y="375"/>
                </a:cubicBezTo>
                <a:cubicBezTo>
                  <a:pt x="1451" y="382"/>
                  <a:pt x="1461" y="382"/>
                  <a:pt x="1461" y="393"/>
                </a:cubicBezTo>
                <a:cubicBezTo>
                  <a:pt x="1461" y="402"/>
                  <a:pt x="1463" y="407"/>
                  <a:pt x="1468" y="415"/>
                </a:cubicBezTo>
                <a:cubicBezTo>
                  <a:pt x="1471" y="420"/>
                  <a:pt x="1475" y="423"/>
                  <a:pt x="1482" y="420"/>
                </a:cubicBezTo>
                <a:cubicBezTo>
                  <a:pt x="1485" y="419"/>
                  <a:pt x="1480" y="415"/>
                  <a:pt x="1480" y="414"/>
                </a:cubicBezTo>
                <a:cubicBezTo>
                  <a:pt x="1471" y="401"/>
                  <a:pt x="1480" y="389"/>
                  <a:pt x="1464" y="379"/>
                </a:cubicBezTo>
                <a:cubicBezTo>
                  <a:pt x="1455" y="373"/>
                  <a:pt x="1452" y="366"/>
                  <a:pt x="1452" y="355"/>
                </a:cubicBezTo>
                <a:cubicBezTo>
                  <a:pt x="1452" y="347"/>
                  <a:pt x="1452" y="343"/>
                  <a:pt x="1457" y="337"/>
                </a:cubicBezTo>
                <a:cubicBezTo>
                  <a:pt x="1464" y="328"/>
                  <a:pt x="1456" y="318"/>
                  <a:pt x="1465" y="309"/>
                </a:cubicBezTo>
                <a:cubicBezTo>
                  <a:pt x="1469" y="306"/>
                  <a:pt x="1484" y="291"/>
                  <a:pt x="1488" y="291"/>
                </a:cubicBezTo>
                <a:cubicBezTo>
                  <a:pt x="1488" y="304"/>
                  <a:pt x="1486" y="316"/>
                  <a:pt x="1484" y="329"/>
                </a:cubicBezTo>
                <a:cubicBezTo>
                  <a:pt x="1478" y="356"/>
                  <a:pt x="1488" y="360"/>
                  <a:pt x="1497" y="332"/>
                </a:cubicBezTo>
                <a:cubicBezTo>
                  <a:pt x="1501" y="322"/>
                  <a:pt x="1497" y="312"/>
                  <a:pt x="1499" y="302"/>
                </a:cubicBezTo>
                <a:cubicBezTo>
                  <a:pt x="1502" y="286"/>
                  <a:pt x="1499" y="291"/>
                  <a:pt x="1514" y="284"/>
                </a:cubicBezTo>
                <a:cubicBezTo>
                  <a:pt x="1527" y="279"/>
                  <a:pt x="1538" y="268"/>
                  <a:pt x="1537" y="287"/>
                </a:cubicBezTo>
                <a:cubicBezTo>
                  <a:pt x="1536" y="305"/>
                  <a:pt x="1537" y="330"/>
                  <a:pt x="1525" y="344"/>
                </a:cubicBezTo>
                <a:cubicBezTo>
                  <a:pt x="1524" y="346"/>
                  <a:pt x="1514" y="360"/>
                  <a:pt x="1518" y="362"/>
                </a:cubicBezTo>
                <a:cubicBezTo>
                  <a:pt x="1523" y="364"/>
                  <a:pt x="1532" y="345"/>
                  <a:pt x="1534" y="342"/>
                </a:cubicBezTo>
                <a:cubicBezTo>
                  <a:pt x="1539" y="334"/>
                  <a:pt x="1546" y="330"/>
                  <a:pt x="1551" y="322"/>
                </a:cubicBezTo>
                <a:cubicBezTo>
                  <a:pt x="1559" y="309"/>
                  <a:pt x="1548" y="296"/>
                  <a:pt x="1567" y="282"/>
                </a:cubicBezTo>
                <a:cubicBezTo>
                  <a:pt x="1578" y="274"/>
                  <a:pt x="1579" y="253"/>
                  <a:pt x="1584" y="250"/>
                </a:cubicBezTo>
                <a:cubicBezTo>
                  <a:pt x="1609" y="235"/>
                  <a:pt x="1615" y="276"/>
                  <a:pt x="1621" y="288"/>
                </a:cubicBezTo>
                <a:cubicBezTo>
                  <a:pt x="1624" y="294"/>
                  <a:pt x="1648" y="317"/>
                  <a:pt x="1653" y="306"/>
                </a:cubicBezTo>
                <a:cubicBezTo>
                  <a:pt x="1654" y="303"/>
                  <a:pt x="1636" y="280"/>
                  <a:pt x="1634" y="276"/>
                </a:cubicBezTo>
                <a:cubicBezTo>
                  <a:pt x="1626" y="264"/>
                  <a:pt x="1648" y="239"/>
                  <a:pt x="1628" y="230"/>
                </a:cubicBezTo>
                <a:cubicBezTo>
                  <a:pt x="1613" y="222"/>
                  <a:pt x="1589" y="212"/>
                  <a:pt x="1589" y="192"/>
                </a:cubicBezTo>
                <a:lnTo>
                  <a:pt x="1589" y="191"/>
                </a:lnTo>
                <a:cubicBezTo>
                  <a:pt x="1607" y="199"/>
                  <a:pt x="1603" y="196"/>
                  <a:pt x="1619" y="193"/>
                </a:cubicBezTo>
                <a:cubicBezTo>
                  <a:pt x="1628" y="192"/>
                  <a:pt x="1629" y="200"/>
                  <a:pt x="1635" y="200"/>
                </a:cubicBezTo>
                <a:cubicBezTo>
                  <a:pt x="1639" y="200"/>
                  <a:pt x="1649" y="194"/>
                  <a:pt x="1651" y="199"/>
                </a:cubicBezTo>
                <a:cubicBezTo>
                  <a:pt x="1653" y="203"/>
                  <a:pt x="1656" y="231"/>
                  <a:pt x="1666" y="211"/>
                </a:cubicBezTo>
                <a:cubicBezTo>
                  <a:pt x="1674" y="195"/>
                  <a:pt x="1706" y="208"/>
                  <a:pt x="1698" y="212"/>
                </a:cubicBezTo>
                <a:cubicBezTo>
                  <a:pt x="1693" y="215"/>
                  <a:pt x="1668" y="231"/>
                  <a:pt x="1676" y="233"/>
                </a:cubicBezTo>
                <a:cubicBezTo>
                  <a:pt x="1681" y="234"/>
                  <a:pt x="1703" y="225"/>
                  <a:pt x="1704" y="231"/>
                </a:cubicBezTo>
                <a:cubicBezTo>
                  <a:pt x="1714" y="234"/>
                  <a:pt x="1692" y="273"/>
                  <a:pt x="1707" y="268"/>
                </a:cubicBezTo>
                <a:cubicBezTo>
                  <a:pt x="1713" y="265"/>
                  <a:pt x="1715" y="258"/>
                  <a:pt x="1722" y="256"/>
                </a:cubicBezTo>
                <a:cubicBezTo>
                  <a:pt x="1731" y="254"/>
                  <a:pt x="1749" y="260"/>
                  <a:pt x="1751" y="247"/>
                </a:cubicBezTo>
                <a:cubicBezTo>
                  <a:pt x="1751" y="240"/>
                  <a:pt x="1737" y="236"/>
                  <a:pt x="1732" y="232"/>
                </a:cubicBezTo>
                <a:cubicBezTo>
                  <a:pt x="1708" y="215"/>
                  <a:pt x="1752" y="215"/>
                  <a:pt x="1739" y="208"/>
                </a:cubicBezTo>
                <a:cubicBezTo>
                  <a:pt x="1723" y="198"/>
                  <a:pt x="1728" y="181"/>
                  <a:pt x="1740" y="169"/>
                </a:cubicBezTo>
                <a:cubicBezTo>
                  <a:pt x="1746" y="164"/>
                  <a:pt x="1749" y="154"/>
                  <a:pt x="1758" y="156"/>
                </a:cubicBezTo>
                <a:cubicBezTo>
                  <a:pt x="1765" y="157"/>
                  <a:pt x="1796" y="156"/>
                  <a:pt x="1800" y="150"/>
                </a:cubicBezTo>
                <a:cubicBezTo>
                  <a:pt x="1800" y="149"/>
                  <a:pt x="1788" y="134"/>
                  <a:pt x="1785" y="127"/>
                </a:cubicBezTo>
                <a:cubicBezTo>
                  <a:pt x="1784" y="124"/>
                  <a:pt x="1773" y="100"/>
                  <a:pt x="1789" y="107"/>
                </a:cubicBezTo>
                <a:cubicBezTo>
                  <a:pt x="1806" y="114"/>
                  <a:pt x="1819" y="122"/>
                  <a:pt x="1808" y="95"/>
                </a:cubicBezTo>
                <a:cubicBezTo>
                  <a:pt x="1805" y="86"/>
                  <a:pt x="1792" y="90"/>
                  <a:pt x="1785" y="81"/>
                </a:cubicBezTo>
                <a:cubicBezTo>
                  <a:pt x="1770" y="62"/>
                  <a:pt x="1805" y="49"/>
                  <a:pt x="1818" y="65"/>
                </a:cubicBezTo>
                <a:cubicBezTo>
                  <a:pt x="1823" y="71"/>
                  <a:pt x="1836" y="81"/>
                  <a:pt x="1844" y="84"/>
                </a:cubicBezTo>
                <a:cubicBezTo>
                  <a:pt x="1862" y="89"/>
                  <a:pt x="1852" y="68"/>
                  <a:pt x="1852" y="65"/>
                </a:cubicBezTo>
                <a:cubicBezTo>
                  <a:pt x="1877" y="65"/>
                  <a:pt x="1880" y="67"/>
                  <a:pt x="1872" y="87"/>
                </a:cubicBezTo>
                <a:cubicBezTo>
                  <a:pt x="1859" y="119"/>
                  <a:pt x="1844" y="158"/>
                  <a:pt x="1844" y="193"/>
                </a:cubicBezTo>
                <a:cubicBezTo>
                  <a:pt x="1844" y="201"/>
                  <a:pt x="1839" y="223"/>
                  <a:pt x="1847" y="221"/>
                </a:cubicBezTo>
                <a:cubicBezTo>
                  <a:pt x="1856" y="219"/>
                  <a:pt x="1872" y="222"/>
                  <a:pt x="1873" y="209"/>
                </a:cubicBezTo>
                <a:cubicBezTo>
                  <a:pt x="1873" y="195"/>
                  <a:pt x="1868" y="184"/>
                  <a:pt x="1868" y="173"/>
                </a:cubicBezTo>
                <a:cubicBezTo>
                  <a:pt x="1868" y="163"/>
                  <a:pt x="1880" y="154"/>
                  <a:pt x="1881" y="143"/>
                </a:cubicBezTo>
                <a:cubicBezTo>
                  <a:pt x="1885" y="118"/>
                  <a:pt x="1894" y="101"/>
                  <a:pt x="1906" y="80"/>
                </a:cubicBezTo>
                <a:cubicBezTo>
                  <a:pt x="1913" y="65"/>
                  <a:pt x="1937" y="56"/>
                  <a:pt x="1937" y="80"/>
                </a:cubicBezTo>
                <a:cubicBezTo>
                  <a:pt x="1937" y="93"/>
                  <a:pt x="1934" y="90"/>
                  <a:pt x="1928" y="100"/>
                </a:cubicBezTo>
                <a:cubicBezTo>
                  <a:pt x="1927" y="101"/>
                  <a:pt x="1942" y="127"/>
                  <a:pt x="1943" y="137"/>
                </a:cubicBezTo>
                <a:cubicBezTo>
                  <a:pt x="1944" y="157"/>
                  <a:pt x="1946" y="162"/>
                  <a:pt x="1963" y="148"/>
                </a:cubicBezTo>
                <a:cubicBezTo>
                  <a:pt x="1970" y="143"/>
                  <a:pt x="1996" y="138"/>
                  <a:pt x="1981" y="125"/>
                </a:cubicBezTo>
                <a:cubicBezTo>
                  <a:pt x="1974" y="118"/>
                  <a:pt x="1986" y="110"/>
                  <a:pt x="1980" y="102"/>
                </a:cubicBezTo>
                <a:cubicBezTo>
                  <a:pt x="1966" y="83"/>
                  <a:pt x="1987" y="87"/>
                  <a:pt x="1997" y="70"/>
                </a:cubicBezTo>
                <a:cubicBezTo>
                  <a:pt x="2001" y="63"/>
                  <a:pt x="1954" y="58"/>
                  <a:pt x="1957" y="37"/>
                </a:cubicBezTo>
                <a:cubicBezTo>
                  <a:pt x="1960" y="15"/>
                  <a:pt x="1983" y="40"/>
                  <a:pt x="1992" y="45"/>
                </a:cubicBezTo>
                <a:cubicBezTo>
                  <a:pt x="1997" y="48"/>
                  <a:pt x="2002" y="46"/>
                  <a:pt x="2000" y="39"/>
                </a:cubicBezTo>
                <a:cubicBezTo>
                  <a:pt x="1998" y="32"/>
                  <a:pt x="1989" y="29"/>
                  <a:pt x="1989" y="21"/>
                </a:cubicBezTo>
                <a:cubicBezTo>
                  <a:pt x="1987" y="13"/>
                  <a:pt x="1983" y="0"/>
                  <a:pt x="1995" y="4"/>
                </a:cubicBezTo>
                <a:cubicBezTo>
                  <a:pt x="2019" y="10"/>
                  <a:pt x="2010" y="25"/>
                  <a:pt x="2042" y="13"/>
                </a:cubicBezTo>
                <a:cubicBezTo>
                  <a:pt x="2057" y="7"/>
                  <a:pt x="2035" y="36"/>
                  <a:pt x="2035" y="39"/>
                </a:cubicBezTo>
                <a:cubicBezTo>
                  <a:pt x="2035" y="42"/>
                  <a:pt x="2049" y="37"/>
                  <a:pt x="2052" y="37"/>
                </a:cubicBezTo>
                <a:cubicBezTo>
                  <a:pt x="2065" y="37"/>
                  <a:pt x="2063" y="55"/>
                  <a:pt x="2058" y="62"/>
                </a:cubicBezTo>
                <a:cubicBezTo>
                  <a:pt x="2051" y="74"/>
                  <a:pt x="2036" y="67"/>
                  <a:pt x="2027" y="61"/>
                </a:cubicBezTo>
                <a:cubicBezTo>
                  <a:pt x="2024" y="58"/>
                  <a:pt x="2008" y="49"/>
                  <a:pt x="2009" y="61"/>
                </a:cubicBezTo>
                <a:cubicBezTo>
                  <a:pt x="2009" y="71"/>
                  <a:pt x="2052" y="83"/>
                  <a:pt x="2017" y="94"/>
                </a:cubicBezTo>
                <a:cubicBezTo>
                  <a:pt x="2008" y="96"/>
                  <a:pt x="1998" y="115"/>
                  <a:pt x="2011" y="117"/>
                </a:cubicBezTo>
                <a:cubicBezTo>
                  <a:pt x="2017" y="118"/>
                  <a:pt x="2036" y="102"/>
                  <a:pt x="2040" y="97"/>
                </a:cubicBezTo>
                <a:cubicBezTo>
                  <a:pt x="2053" y="79"/>
                  <a:pt x="2059" y="95"/>
                  <a:pt x="2044" y="109"/>
                </a:cubicBezTo>
                <a:cubicBezTo>
                  <a:pt x="2023" y="129"/>
                  <a:pt x="2045" y="126"/>
                  <a:pt x="2056" y="128"/>
                </a:cubicBezTo>
                <a:cubicBezTo>
                  <a:pt x="2058" y="140"/>
                  <a:pt x="2054" y="160"/>
                  <a:pt x="2063" y="167"/>
                </a:cubicBezTo>
                <a:cubicBezTo>
                  <a:pt x="2069" y="162"/>
                  <a:pt x="2068" y="140"/>
                  <a:pt x="2077" y="134"/>
                </a:cubicBezTo>
                <a:cubicBezTo>
                  <a:pt x="2078" y="133"/>
                  <a:pt x="2096" y="133"/>
                  <a:pt x="2089" y="128"/>
                </a:cubicBezTo>
                <a:cubicBezTo>
                  <a:pt x="2080" y="122"/>
                  <a:pt x="2080" y="110"/>
                  <a:pt x="2086" y="101"/>
                </a:cubicBezTo>
                <a:cubicBezTo>
                  <a:pt x="2088" y="96"/>
                  <a:pt x="2094" y="94"/>
                  <a:pt x="2096" y="89"/>
                </a:cubicBezTo>
                <a:cubicBezTo>
                  <a:pt x="2097" y="84"/>
                  <a:pt x="2094" y="78"/>
                  <a:pt x="2095" y="73"/>
                </a:cubicBezTo>
                <a:cubicBezTo>
                  <a:pt x="2101" y="73"/>
                  <a:pt x="2109" y="70"/>
                  <a:pt x="2115" y="70"/>
                </a:cubicBezTo>
                <a:cubicBezTo>
                  <a:pt x="2124" y="71"/>
                  <a:pt x="2119" y="78"/>
                  <a:pt x="2123" y="83"/>
                </a:cubicBezTo>
                <a:cubicBezTo>
                  <a:pt x="2130" y="91"/>
                  <a:pt x="2138" y="74"/>
                  <a:pt x="2151" y="84"/>
                </a:cubicBezTo>
                <a:cubicBezTo>
                  <a:pt x="2160" y="91"/>
                  <a:pt x="2168" y="82"/>
                  <a:pt x="2177" y="92"/>
                </a:cubicBezTo>
                <a:cubicBezTo>
                  <a:pt x="2197" y="113"/>
                  <a:pt x="2184" y="100"/>
                  <a:pt x="2219" y="110"/>
                </a:cubicBezTo>
                <a:lnTo>
                  <a:pt x="2247" y="117"/>
                </a:lnTo>
                <a:cubicBezTo>
                  <a:pt x="2248" y="117"/>
                  <a:pt x="2253" y="138"/>
                  <a:pt x="2251" y="139"/>
                </a:cubicBezTo>
                <a:cubicBezTo>
                  <a:pt x="2229" y="153"/>
                  <a:pt x="2229" y="151"/>
                  <a:pt x="2216" y="173"/>
                </a:cubicBezTo>
                <a:cubicBezTo>
                  <a:pt x="2201" y="198"/>
                  <a:pt x="2161" y="197"/>
                  <a:pt x="2135" y="197"/>
                </a:cubicBezTo>
                <a:cubicBezTo>
                  <a:pt x="2128" y="198"/>
                  <a:pt x="2123" y="195"/>
                  <a:pt x="2116" y="195"/>
                </a:cubicBezTo>
                <a:cubicBezTo>
                  <a:pt x="2097" y="194"/>
                  <a:pt x="2091" y="194"/>
                  <a:pt x="2112" y="207"/>
                </a:cubicBezTo>
                <a:cubicBezTo>
                  <a:pt x="2126" y="216"/>
                  <a:pt x="2129" y="215"/>
                  <a:pt x="2146" y="219"/>
                </a:cubicBezTo>
                <a:cubicBezTo>
                  <a:pt x="2159" y="221"/>
                  <a:pt x="2160" y="217"/>
                  <a:pt x="2152" y="229"/>
                </a:cubicBezTo>
                <a:cubicBezTo>
                  <a:pt x="2150" y="231"/>
                  <a:pt x="2135" y="249"/>
                  <a:pt x="2144" y="248"/>
                </a:cubicBezTo>
                <a:cubicBezTo>
                  <a:pt x="2148" y="248"/>
                  <a:pt x="2160" y="238"/>
                  <a:pt x="2169" y="237"/>
                </a:cubicBezTo>
                <a:cubicBezTo>
                  <a:pt x="2190" y="234"/>
                  <a:pt x="2172" y="261"/>
                  <a:pt x="2170" y="268"/>
                </a:cubicBezTo>
                <a:cubicBezTo>
                  <a:pt x="2162" y="296"/>
                  <a:pt x="2167" y="281"/>
                  <a:pt x="2186" y="275"/>
                </a:cubicBezTo>
                <a:cubicBezTo>
                  <a:pt x="2196" y="272"/>
                  <a:pt x="2205" y="286"/>
                  <a:pt x="2218" y="284"/>
                </a:cubicBezTo>
                <a:cubicBezTo>
                  <a:pt x="2242" y="280"/>
                  <a:pt x="2204" y="247"/>
                  <a:pt x="2222" y="242"/>
                </a:cubicBezTo>
                <a:cubicBezTo>
                  <a:pt x="2249" y="234"/>
                  <a:pt x="2227" y="265"/>
                  <a:pt x="2243" y="274"/>
                </a:cubicBezTo>
                <a:cubicBezTo>
                  <a:pt x="2253" y="279"/>
                  <a:pt x="2247" y="248"/>
                  <a:pt x="2257" y="247"/>
                </a:cubicBezTo>
                <a:cubicBezTo>
                  <a:pt x="2260" y="246"/>
                  <a:pt x="2263" y="246"/>
                  <a:pt x="2267" y="246"/>
                </a:cubicBezTo>
                <a:lnTo>
                  <a:pt x="2267" y="246"/>
                </a:lnTo>
                <a:lnTo>
                  <a:pt x="2264" y="282"/>
                </a:lnTo>
                <a:lnTo>
                  <a:pt x="2244" y="305"/>
                </a:lnTo>
                <a:cubicBezTo>
                  <a:pt x="2234" y="314"/>
                  <a:pt x="2234" y="312"/>
                  <a:pt x="2231" y="325"/>
                </a:cubicBezTo>
                <a:cubicBezTo>
                  <a:pt x="2229" y="333"/>
                  <a:pt x="2221" y="337"/>
                  <a:pt x="2220" y="345"/>
                </a:cubicBezTo>
                <a:cubicBezTo>
                  <a:pt x="2219" y="368"/>
                  <a:pt x="2220" y="380"/>
                  <a:pt x="2195" y="390"/>
                </a:cubicBezTo>
                <a:cubicBezTo>
                  <a:pt x="2188" y="393"/>
                  <a:pt x="2173" y="390"/>
                  <a:pt x="2171" y="398"/>
                </a:cubicBezTo>
                <a:cubicBezTo>
                  <a:pt x="2165" y="419"/>
                  <a:pt x="2153" y="410"/>
                  <a:pt x="2141" y="424"/>
                </a:cubicBezTo>
                <a:cubicBezTo>
                  <a:pt x="2133" y="432"/>
                  <a:pt x="2120" y="438"/>
                  <a:pt x="2109" y="439"/>
                </a:cubicBezTo>
                <a:lnTo>
                  <a:pt x="2109" y="439"/>
                </a:lnTo>
                <a:cubicBezTo>
                  <a:pt x="2109" y="430"/>
                  <a:pt x="2110" y="422"/>
                  <a:pt x="2112" y="414"/>
                </a:cubicBezTo>
                <a:cubicBezTo>
                  <a:pt x="2114" y="407"/>
                  <a:pt x="2113" y="400"/>
                  <a:pt x="2114" y="393"/>
                </a:cubicBezTo>
                <a:cubicBezTo>
                  <a:pt x="2115" y="388"/>
                  <a:pt x="2117" y="382"/>
                  <a:pt x="2117" y="375"/>
                </a:cubicBezTo>
                <a:cubicBezTo>
                  <a:pt x="2117" y="366"/>
                  <a:pt x="2116" y="357"/>
                  <a:pt x="2115" y="348"/>
                </a:cubicBezTo>
                <a:cubicBezTo>
                  <a:pt x="2114" y="327"/>
                  <a:pt x="2116" y="296"/>
                  <a:pt x="2107" y="277"/>
                </a:cubicBezTo>
                <a:cubicBezTo>
                  <a:pt x="2097" y="256"/>
                  <a:pt x="2062" y="254"/>
                  <a:pt x="2043" y="244"/>
                </a:cubicBezTo>
                <a:cubicBezTo>
                  <a:pt x="2037" y="240"/>
                  <a:pt x="2024" y="227"/>
                  <a:pt x="2017" y="227"/>
                </a:cubicBezTo>
                <a:cubicBezTo>
                  <a:pt x="1998" y="228"/>
                  <a:pt x="2009" y="248"/>
                  <a:pt x="1998" y="255"/>
                </a:cubicBezTo>
                <a:cubicBezTo>
                  <a:pt x="1992" y="258"/>
                  <a:pt x="1983" y="255"/>
                  <a:pt x="1977" y="257"/>
                </a:cubicBezTo>
                <a:cubicBezTo>
                  <a:pt x="1964" y="262"/>
                  <a:pt x="1962" y="273"/>
                  <a:pt x="1955" y="284"/>
                </a:cubicBezTo>
                <a:cubicBezTo>
                  <a:pt x="1952" y="297"/>
                  <a:pt x="1931" y="312"/>
                  <a:pt x="1938" y="325"/>
                </a:cubicBezTo>
                <a:cubicBezTo>
                  <a:pt x="1943" y="336"/>
                  <a:pt x="1942" y="342"/>
                  <a:pt x="1943" y="354"/>
                </a:cubicBezTo>
                <a:cubicBezTo>
                  <a:pt x="1944" y="381"/>
                  <a:pt x="1949" y="416"/>
                  <a:pt x="1940" y="442"/>
                </a:cubicBezTo>
                <a:cubicBezTo>
                  <a:pt x="1934" y="459"/>
                  <a:pt x="1912" y="460"/>
                  <a:pt x="1911" y="480"/>
                </a:cubicBezTo>
                <a:cubicBezTo>
                  <a:pt x="1909" y="510"/>
                  <a:pt x="1885" y="517"/>
                  <a:pt x="1861" y="523"/>
                </a:cubicBezTo>
                <a:cubicBezTo>
                  <a:pt x="1835" y="517"/>
                  <a:pt x="1825" y="512"/>
                  <a:pt x="1811" y="491"/>
                </a:cubicBezTo>
                <a:cubicBezTo>
                  <a:pt x="1801" y="476"/>
                  <a:pt x="1776" y="505"/>
                  <a:pt x="1766" y="509"/>
                </a:cubicBezTo>
                <a:cubicBezTo>
                  <a:pt x="1715" y="532"/>
                  <a:pt x="1680" y="464"/>
                  <a:pt x="1655" y="434"/>
                </a:cubicBezTo>
                <a:cubicBezTo>
                  <a:pt x="1647" y="426"/>
                  <a:pt x="1607" y="370"/>
                  <a:pt x="1600" y="383"/>
                </a:cubicBezTo>
                <a:cubicBezTo>
                  <a:pt x="1595" y="392"/>
                  <a:pt x="1590" y="415"/>
                  <a:pt x="1588" y="426"/>
                </a:cubicBezTo>
                <a:lnTo>
                  <a:pt x="1556" y="434"/>
                </a:lnTo>
                <a:lnTo>
                  <a:pt x="1556" y="434"/>
                </a:lnTo>
                <a:lnTo>
                  <a:pt x="1544" y="443"/>
                </a:lnTo>
                <a:cubicBezTo>
                  <a:pt x="1544" y="461"/>
                  <a:pt x="1561" y="471"/>
                  <a:pt x="1557" y="489"/>
                </a:cubicBezTo>
                <a:lnTo>
                  <a:pt x="1544" y="546"/>
                </a:lnTo>
                <a:cubicBezTo>
                  <a:pt x="1528" y="615"/>
                  <a:pt x="1505" y="567"/>
                  <a:pt x="1471" y="560"/>
                </a:cubicBezTo>
                <a:cubicBezTo>
                  <a:pt x="1453" y="556"/>
                  <a:pt x="1404" y="541"/>
                  <a:pt x="1390" y="551"/>
                </a:cubicBezTo>
                <a:cubicBezTo>
                  <a:pt x="1369" y="567"/>
                  <a:pt x="1364" y="656"/>
                  <a:pt x="1342" y="654"/>
                </a:cubicBezTo>
                <a:cubicBezTo>
                  <a:pt x="1326" y="653"/>
                  <a:pt x="1317" y="630"/>
                  <a:pt x="1299" y="636"/>
                </a:cubicBezTo>
                <a:cubicBezTo>
                  <a:pt x="1279" y="643"/>
                  <a:pt x="1271" y="679"/>
                  <a:pt x="1253" y="689"/>
                </a:cubicBezTo>
                <a:cubicBezTo>
                  <a:pt x="1218" y="724"/>
                  <a:pt x="1210" y="736"/>
                  <a:pt x="1210" y="784"/>
                </a:cubicBezTo>
                <a:cubicBezTo>
                  <a:pt x="1210" y="824"/>
                  <a:pt x="1197" y="851"/>
                  <a:pt x="1175" y="883"/>
                </a:cubicBezTo>
                <a:cubicBezTo>
                  <a:pt x="1157" y="908"/>
                  <a:pt x="1130" y="904"/>
                  <a:pt x="1128" y="941"/>
                </a:cubicBezTo>
                <a:cubicBezTo>
                  <a:pt x="1125" y="982"/>
                  <a:pt x="1092" y="978"/>
                  <a:pt x="1061" y="990"/>
                </a:cubicBezTo>
                <a:cubicBezTo>
                  <a:pt x="1054" y="1019"/>
                  <a:pt x="1044" y="1046"/>
                  <a:pt x="1038" y="1076"/>
                </a:cubicBezTo>
                <a:cubicBezTo>
                  <a:pt x="1034" y="1100"/>
                  <a:pt x="1034" y="1124"/>
                  <a:pt x="1034" y="1149"/>
                </a:cubicBezTo>
                <a:cubicBezTo>
                  <a:pt x="1033" y="1199"/>
                  <a:pt x="1004" y="1235"/>
                  <a:pt x="978" y="1277"/>
                </a:cubicBezTo>
                <a:cubicBezTo>
                  <a:pt x="954" y="1335"/>
                  <a:pt x="1039" y="1449"/>
                  <a:pt x="921" y="1419"/>
                </a:cubicBezTo>
                <a:cubicBezTo>
                  <a:pt x="842" y="1398"/>
                  <a:pt x="816" y="1514"/>
                  <a:pt x="783" y="1566"/>
                </a:cubicBezTo>
                <a:cubicBezTo>
                  <a:pt x="778" y="1586"/>
                  <a:pt x="784" y="1606"/>
                  <a:pt x="783" y="1627"/>
                </a:cubicBezTo>
                <a:cubicBezTo>
                  <a:pt x="783" y="1644"/>
                  <a:pt x="779" y="1661"/>
                  <a:pt x="779" y="1679"/>
                </a:cubicBezTo>
                <a:cubicBezTo>
                  <a:pt x="779" y="1711"/>
                  <a:pt x="787" y="1744"/>
                  <a:pt x="786" y="1774"/>
                </a:cubicBezTo>
                <a:cubicBezTo>
                  <a:pt x="785" y="1794"/>
                  <a:pt x="767" y="1815"/>
                  <a:pt x="764" y="1837"/>
                </a:cubicBezTo>
                <a:cubicBezTo>
                  <a:pt x="764" y="1879"/>
                  <a:pt x="794" y="1879"/>
                  <a:pt x="808" y="1910"/>
                </a:cubicBezTo>
                <a:cubicBezTo>
                  <a:pt x="815" y="1926"/>
                  <a:pt x="814" y="1967"/>
                  <a:pt x="798" y="1977"/>
                </a:cubicBezTo>
                <a:cubicBezTo>
                  <a:pt x="787" y="1984"/>
                  <a:pt x="763" y="1983"/>
                  <a:pt x="765" y="2000"/>
                </a:cubicBezTo>
                <a:cubicBezTo>
                  <a:pt x="767" y="2022"/>
                  <a:pt x="766" y="2041"/>
                  <a:pt x="773" y="2062"/>
                </a:cubicBezTo>
                <a:cubicBezTo>
                  <a:pt x="783" y="2090"/>
                  <a:pt x="789" y="2098"/>
                  <a:pt x="774" y="2124"/>
                </a:cubicBezTo>
                <a:cubicBezTo>
                  <a:pt x="765" y="2170"/>
                  <a:pt x="757" y="2207"/>
                  <a:pt x="716" y="2236"/>
                </a:cubicBezTo>
                <a:cubicBezTo>
                  <a:pt x="705" y="2243"/>
                  <a:pt x="702" y="2255"/>
                  <a:pt x="696" y="2266"/>
                </a:cubicBezTo>
                <a:cubicBezTo>
                  <a:pt x="675" y="2310"/>
                  <a:pt x="657" y="2351"/>
                  <a:pt x="657" y="2401"/>
                </a:cubicBezTo>
                <a:cubicBezTo>
                  <a:pt x="654" y="2404"/>
                  <a:pt x="655" y="2405"/>
                  <a:pt x="650" y="2406"/>
                </a:cubicBezTo>
                <a:lnTo>
                  <a:pt x="630" y="2393"/>
                </a:lnTo>
                <a:close/>
              </a:path>
            </a:pathLst>
          </a:custGeom>
          <a:noFill/>
          <a:ln w="31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 name="Rectangle 3"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buFont typeface="Wingdings 2" pitchFamily="18" charset="2"/>
              <a:buNone/>
            </a:pPr>
            <a:endParaRPr lang="en-GB" sz="2000" dirty="0">
              <a:solidFill>
                <a:schemeClr val="bg1"/>
              </a:solidFill>
              <a:latin typeface="Verdana" panose="020B0604030504040204" pitchFamily="34" charset="0"/>
              <a:ea typeface="+mj-ea"/>
              <a:cs typeface="+mj-cs"/>
              <a:sym typeface="Verdana" panose="020B0604030504040204" pitchFamily="34" charset="0"/>
            </a:endParaRPr>
          </a:p>
        </p:txBody>
      </p:sp>
      <p:sp>
        <p:nvSpPr>
          <p:cNvPr id="13" name="Title 1"/>
          <p:cNvSpPr>
            <a:spLocks noGrp="1"/>
          </p:cNvSpPr>
          <p:nvPr>
            <p:ph type="title"/>
          </p:nvPr>
        </p:nvSpPr>
        <p:spPr>
          <a:xfrm>
            <a:off x="469900" y="402586"/>
            <a:ext cx="11252200" cy="698501"/>
          </a:xfrm>
        </p:spPr>
        <p:txBody>
          <a:bodyPr vert="horz"/>
          <a:lstStyle/>
          <a:p>
            <a:r>
              <a:rPr lang="en-US" dirty="0"/>
              <a:t>Malgré des impacts </a:t>
            </a:r>
            <a:r>
              <a:rPr lang="en-US" dirty="0" err="1"/>
              <a:t>négatifs</a:t>
            </a:r>
            <a:r>
              <a:rPr lang="en-US" dirty="0"/>
              <a:t> </a:t>
            </a:r>
            <a:r>
              <a:rPr lang="en-US" dirty="0" err="1"/>
              <a:t>en</a:t>
            </a:r>
            <a:r>
              <a:rPr lang="en-US" dirty="0"/>
              <a:t> 2020, les </a:t>
            </a:r>
            <a:r>
              <a:rPr lang="en-US" dirty="0" err="1"/>
              <a:t>marchés</a:t>
            </a:r>
            <a:r>
              <a:rPr lang="en-US" dirty="0"/>
              <a:t> </a:t>
            </a:r>
            <a:r>
              <a:rPr lang="en-US" dirty="0" err="1"/>
              <a:t>britanniques</a:t>
            </a:r>
            <a:r>
              <a:rPr lang="en-US" dirty="0"/>
              <a:t> et </a:t>
            </a:r>
            <a:r>
              <a:rPr lang="en-US" dirty="0" err="1"/>
              <a:t>espagnols</a:t>
            </a:r>
            <a:r>
              <a:rPr lang="en-US" dirty="0"/>
              <a:t> se </a:t>
            </a:r>
            <a:r>
              <a:rPr lang="en-US" dirty="0" err="1"/>
              <a:t>sont</a:t>
            </a:r>
            <a:r>
              <a:rPr lang="en-US" dirty="0"/>
              <a:t> remis </a:t>
            </a:r>
            <a:r>
              <a:rPr lang="en-US" dirty="0" err="1"/>
              <a:t>en</a:t>
            </a:r>
            <a:r>
              <a:rPr lang="en-US" dirty="0"/>
              <a:t> 2021, </a:t>
            </a:r>
            <a:r>
              <a:rPr lang="en-US" dirty="0" err="1"/>
              <a:t>alors</a:t>
            </a:r>
            <a:r>
              <a:rPr lang="en-US" dirty="0"/>
              <a:t> que les </a:t>
            </a:r>
            <a:r>
              <a:rPr lang="en-US" dirty="0" err="1"/>
              <a:t>revenus</a:t>
            </a:r>
            <a:r>
              <a:rPr lang="en-US" dirty="0"/>
              <a:t> et </a:t>
            </a:r>
            <a:r>
              <a:rPr lang="en-US" dirty="0" err="1"/>
              <a:t>adhésions</a:t>
            </a:r>
            <a:r>
              <a:rPr lang="en-US" dirty="0"/>
              <a:t> </a:t>
            </a:r>
            <a:r>
              <a:rPr lang="en-US" dirty="0" err="1"/>
              <a:t>en</a:t>
            </a:r>
            <a:r>
              <a:rPr lang="en-US" dirty="0"/>
              <a:t> </a:t>
            </a:r>
            <a:r>
              <a:rPr lang="en-US" dirty="0" err="1"/>
              <a:t>Allemagne</a:t>
            </a:r>
            <a:r>
              <a:rPr lang="en-US" dirty="0"/>
              <a:t> </a:t>
            </a:r>
            <a:r>
              <a:rPr lang="en-US" dirty="0" err="1"/>
              <a:t>ont</a:t>
            </a:r>
            <a:r>
              <a:rPr lang="en-US" dirty="0"/>
              <a:t> </a:t>
            </a:r>
            <a:r>
              <a:rPr lang="en-US" dirty="0" err="1"/>
              <a:t>diminué</a:t>
            </a:r>
            <a:r>
              <a:rPr lang="en-US" dirty="0"/>
              <a:t> pour la </a:t>
            </a:r>
            <a:r>
              <a:rPr lang="en-US" dirty="0" err="1"/>
              <a:t>deuxième</a:t>
            </a:r>
            <a:r>
              <a:rPr lang="en-US" dirty="0"/>
              <a:t> </a:t>
            </a:r>
            <a:r>
              <a:rPr lang="en-US" dirty="0" err="1"/>
              <a:t>année</a:t>
            </a:r>
            <a:r>
              <a:rPr lang="en-US" dirty="0"/>
              <a:t> </a:t>
            </a:r>
            <a:r>
              <a:rPr lang="en-US" dirty="0" err="1"/>
              <a:t>consécutive</a:t>
            </a:r>
            <a:endParaRPr lang="en-GB" noProof="0" dirty="0">
              <a:solidFill>
                <a:schemeClr val="bg1"/>
              </a:solidFill>
            </a:endParaRPr>
          </a:p>
        </p:txBody>
      </p:sp>
      <p:sp>
        <p:nvSpPr>
          <p:cNvPr id="143" name="Rectangle 142"/>
          <p:cNvSpPr/>
          <p:nvPr/>
        </p:nvSpPr>
        <p:spPr bwMode="gray">
          <a:xfrm>
            <a:off x="0" y="6055729"/>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16" name="Freeform 303"/>
          <p:cNvSpPr>
            <a:spLocks noEditPoints="1"/>
          </p:cNvSpPr>
          <p:nvPr/>
        </p:nvSpPr>
        <p:spPr bwMode="auto">
          <a:xfrm>
            <a:off x="3241675" y="1818409"/>
            <a:ext cx="768350" cy="1704975"/>
          </a:xfrm>
          <a:custGeom>
            <a:avLst/>
            <a:gdLst>
              <a:gd name="T0" fmla="*/ 40 w 1242"/>
              <a:gd name="T1" fmla="*/ 2126 h 2753"/>
              <a:gd name="T2" fmla="*/ 41 w 1242"/>
              <a:gd name="T3" fmla="*/ 2143 h 2753"/>
              <a:gd name="T4" fmla="*/ 565 w 1242"/>
              <a:gd name="T5" fmla="*/ 2409 h 2753"/>
              <a:gd name="T6" fmla="*/ 512 w 1242"/>
              <a:gd name="T7" fmla="*/ 2573 h 2753"/>
              <a:gd name="T8" fmla="*/ 723 w 1242"/>
              <a:gd name="T9" fmla="*/ 2280 h 2753"/>
              <a:gd name="T10" fmla="*/ 803 w 1242"/>
              <a:gd name="T11" fmla="*/ 2235 h 2753"/>
              <a:gd name="T12" fmla="*/ 791 w 1242"/>
              <a:gd name="T13" fmla="*/ 2347 h 2753"/>
              <a:gd name="T14" fmla="*/ 713 w 1242"/>
              <a:gd name="T15" fmla="*/ 2390 h 2753"/>
              <a:gd name="T16" fmla="*/ 62 w 1242"/>
              <a:gd name="T17" fmla="*/ 1967 h 2753"/>
              <a:gd name="T18" fmla="*/ 178 w 1242"/>
              <a:gd name="T19" fmla="*/ 1628 h 2753"/>
              <a:gd name="T20" fmla="*/ 169 w 1242"/>
              <a:gd name="T21" fmla="*/ 1403 h 2753"/>
              <a:gd name="T22" fmla="*/ 188 w 1242"/>
              <a:gd name="T23" fmla="*/ 1132 h 2753"/>
              <a:gd name="T24" fmla="*/ 443 w 1242"/>
              <a:gd name="T25" fmla="*/ 642 h 2753"/>
              <a:gd name="T26" fmla="*/ 615 w 1242"/>
              <a:gd name="T27" fmla="*/ 350 h 2753"/>
              <a:gd name="T28" fmla="*/ 795 w 1242"/>
              <a:gd name="T29" fmla="*/ 117 h 2753"/>
              <a:gd name="T30" fmla="*/ 949 w 1242"/>
              <a:gd name="T31" fmla="*/ 9 h 2753"/>
              <a:gd name="T32" fmla="*/ 1075 w 1242"/>
              <a:gd name="T33" fmla="*/ 112 h 2753"/>
              <a:gd name="T34" fmla="*/ 1183 w 1242"/>
              <a:gd name="T35" fmla="*/ 249 h 2753"/>
              <a:gd name="T36" fmla="*/ 1219 w 1242"/>
              <a:gd name="T37" fmla="*/ 415 h 2753"/>
              <a:gd name="T38" fmla="*/ 1242 w 1242"/>
              <a:gd name="T39" fmla="*/ 620 h 2753"/>
              <a:gd name="T40" fmla="*/ 1114 w 1242"/>
              <a:gd name="T41" fmla="*/ 636 h 2753"/>
              <a:gd name="T42" fmla="*/ 1030 w 1242"/>
              <a:gd name="T43" fmla="*/ 631 h 2753"/>
              <a:gd name="T44" fmla="*/ 1046 w 1242"/>
              <a:gd name="T45" fmla="*/ 780 h 2753"/>
              <a:gd name="T46" fmla="*/ 993 w 1242"/>
              <a:gd name="T47" fmla="*/ 874 h 2753"/>
              <a:gd name="T48" fmla="*/ 972 w 1242"/>
              <a:gd name="T49" fmla="*/ 1063 h 2753"/>
              <a:gd name="T50" fmla="*/ 859 w 1242"/>
              <a:gd name="T51" fmla="*/ 1116 h 2753"/>
              <a:gd name="T52" fmla="*/ 774 w 1242"/>
              <a:gd name="T53" fmla="*/ 1251 h 2753"/>
              <a:gd name="T54" fmla="*/ 719 w 1242"/>
              <a:gd name="T55" fmla="*/ 1269 h 2753"/>
              <a:gd name="T56" fmla="*/ 659 w 1242"/>
              <a:gd name="T57" fmla="*/ 1358 h 2753"/>
              <a:gd name="T58" fmla="*/ 677 w 1242"/>
              <a:gd name="T59" fmla="*/ 1484 h 2753"/>
              <a:gd name="T60" fmla="*/ 621 w 1242"/>
              <a:gd name="T61" fmla="*/ 1587 h 2753"/>
              <a:gd name="T62" fmla="*/ 654 w 1242"/>
              <a:gd name="T63" fmla="*/ 1716 h 2753"/>
              <a:gd name="T64" fmla="*/ 665 w 1242"/>
              <a:gd name="T65" fmla="*/ 1735 h 2753"/>
              <a:gd name="T66" fmla="*/ 773 w 1242"/>
              <a:gd name="T67" fmla="*/ 1768 h 2753"/>
              <a:gd name="T68" fmla="*/ 784 w 1242"/>
              <a:gd name="T69" fmla="*/ 1812 h 2753"/>
              <a:gd name="T70" fmla="*/ 813 w 1242"/>
              <a:gd name="T71" fmla="*/ 1880 h 2753"/>
              <a:gd name="T72" fmla="*/ 740 w 1242"/>
              <a:gd name="T73" fmla="*/ 1952 h 2753"/>
              <a:gd name="T74" fmla="*/ 718 w 1242"/>
              <a:gd name="T75" fmla="*/ 2009 h 2753"/>
              <a:gd name="T76" fmla="*/ 618 w 1242"/>
              <a:gd name="T77" fmla="*/ 2066 h 2753"/>
              <a:gd name="T78" fmla="*/ 580 w 1242"/>
              <a:gd name="T79" fmla="*/ 2132 h 2753"/>
              <a:gd name="T80" fmla="*/ 565 w 1242"/>
              <a:gd name="T81" fmla="*/ 2228 h 2753"/>
              <a:gd name="T82" fmla="*/ 557 w 1242"/>
              <a:gd name="T83" fmla="*/ 2353 h 2753"/>
              <a:gd name="T84" fmla="*/ 490 w 1242"/>
              <a:gd name="T85" fmla="*/ 2540 h 2753"/>
              <a:gd name="T86" fmla="*/ 327 w 1242"/>
              <a:gd name="T87" fmla="*/ 2584 h 2753"/>
              <a:gd name="T88" fmla="*/ 232 w 1242"/>
              <a:gd name="T89" fmla="*/ 2717 h 2753"/>
              <a:gd name="T90" fmla="*/ 105 w 1242"/>
              <a:gd name="T91" fmla="*/ 2637 h 2753"/>
              <a:gd name="T92" fmla="*/ 113 w 1242"/>
              <a:gd name="T93" fmla="*/ 2505 h 2753"/>
              <a:gd name="T94" fmla="*/ 97 w 1242"/>
              <a:gd name="T95" fmla="*/ 2409 h 2753"/>
              <a:gd name="T96" fmla="*/ 54 w 1242"/>
              <a:gd name="T97" fmla="*/ 2210 h 2753"/>
              <a:gd name="T98" fmla="*/ 59 w 1242"/>
              <a:gd name="T99" fmla="*/ 2091 h 2753"/>
              <a:gd name="T100" fmla="*/ 11 w 1242"/>
              <a:gd name="T101" fmla="*/ 1970 h 2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2" h="2753">
                <a:moveTo>
                  <a:pt x="34" y="2147"/>
                </a:moveTo>
                <a:cubicBezTo>
                  <a:pt x="31" y="2151"/>
                  <a:pt x="28" y="2145"/>
                  <a:pt x="27" y="2143"/>
                </a:cubicBezTo>
                <a:cubicBezTo>
                  <a:pt x="26" y="2140"/>
                  <a:pt x="24" y="2137"/>
                  <a:pt x="25" y="2134"/>
                </a:cubicBezTo>
                <a:cubicBezTo>
                  <a:pt x="25" y="2132"/>
                  <a:pt x="38" y="2129"/>
                  <a:pt x="40" y="2126"/>
                </a:cubicBezTo>
                <a:cubicBezTo>
                  <a:pt x="43" y="2122"/>
                  <a:pt x="46" y="2119"/>
                  <a:pt x="52" y="2119"/>
                </a:cubicBezTo>
                <a:cubicBezTo>
                  <a:pt x="55" y="2119"/>
                  <a:pt x="54" y="2129"/>
                  <a:pt x="55" y="2131"/>
                </a:cubicBezTo>
                <a:cubicBezTo>
                  <a:pt x="56" y="2134"/>
                  <a:pt x="56" y="2135"/>
                  <a:pt x="53" y="2137"/>
                </a:cubicBezTo>
                <a:cubicBezTo>
                  <a:pt x="49" y="2139"/>
                  <a:pt x="44" y="2139"/>
                  <a:pt x="41" y="2143"/>
                </a:cubicBezTo>
                <a:lnTo>
                  <a:pt x="34" y="2147"/>
                </a:lnTo>
                <a:close/>
                <a:moveTo>
                  <a:pt x="519" y="2518"/>
                </a:moveTo>
                <a:cubicBezTo>
                  <a:pt x="520" y="2500"/>
                  <a:pt x="534" y="2474"/>
                  <a:pt x="538" y="2456"/>
                </a:cubicBezTo>
                <a:cubicBezTo>
                  <a:pt x="543" y="2434"/>
                  <a:pt x="555" y="2427"/>
                  <a:pt x="565" y="2409"/>
                </a:cubicBezTo>
                <a:cubicBezTo>
                  <a:pt x="571" y="2398"/>
                  <a:pt x="587" y="2339"/>
                  <a:pt x="601" y="2339"/>
                </a:cubicBezTo>
                <a:cubicBezTo>
                  <a:pt x="608" y="2339"/>
                  <a:pt x="603" y="2366"/>
                  <a:pt x="600" y="2370"/>
                </a:cubicBezTo>
                <a:cubicBezTo>
                  <a:pt x="579" y="2407"/>
                  <a:pt x="571" y="2450"/>
                  <a:pt x="550" y="2486"/>
                </a:cubicBezTo>
                <a:cubicBezTo>
                  <a:pt x="538" y="2507"/>
                  <a:pt x="535" y="2565"/>
                  <a:pt x="512" y="2573"/>
                </a:cubicBezTo>
                <a:cubicBezTo>
                  <a:pt x="512" y="2560"/>
                  <a:pt x="517" y="2548"/>
                  <a:pt x="517" y="2536"/>
                </a:cubicBezTo>
                <a:lnTo>
                  <a:pt x="519" y="2518"/>
                </a:lnTo>
                <a:close/>
                <a:moveTo>
                  <a:pt x="713" y="2364"/>
                </a:moveTo>
                <a:cubicBezTo>
                  <a:pt x="709" y="2335"/>
                  <a:pt x="708" y="2305"/>
                  <a:pt x="723" y="2280"/>
                </a:cubicBezTo>
                <a:cubicBezTo>
                  <a:pt x="730" y="2270"/>
                  <a:pt x="743" y="2266"/>
                  <a:pt x="750" y="2255"/>
                </a:cubicBezTo>
                <a:cubicBezTo>
                  <a:pt x="759" y="2240"/>
                  <a:pt x="761" y="2249"/>
                  <a:pt x="772" y="2252"/>
                </a:cubicBezTo>
                <a:cubicBezTo>
                  <a:pt x="781" y="2254"/>
                  <a:pt x="784" y="2240"/>
                  <a:pt x="790" y="2236"/>
                </a:cubicBezTo>
                <a:cubicBezTo>
                  <a:pt x="795" y="2232"/>
                  <a:pt x="797" y="2242"/>
                  <a:pt x="803" y="2235"/>
                </a:cubicBezTo>
                <a:cubicBezTo>
                  <a:pt x="814" y="2221"/>
                  <a:pt x="838" y="2209"/>
                  <a:pt x="815" y="2237"/>
                </a:cubicBezTo>
                <a:cubicBezTo>
                  <a:pt x="808" y="2247"/>
                  <a:pt x="803" y="2264"/>
                  <a:pt x="794" y="2270"/>
                </a:cubicBezTo>
                <a:cubicBezTo>
                  <a:pt x="783" y="2279"/>
                  <a:pt x="783" y="2323"/>
                  <a:pt x="793" y="2330"/>
                </a:cubicBezTo>
                <a:cubicBezTo>
                  <a:pt x="803" y="2338"/>
                  <a:pt x="799" y="2342"/>
                  <a:pt x="791" y="2347"/>
                </a:cubicBezTo>
                <a:cubicBezTo>
                  <a:pt x="775" y="2358"/>
                  <a:pt x="781" y="2375"/>
                  <a:pt x="762" y="2384"/>
                </a:cubicBezTo>
                <a:cubicBezTo>
                  <a:pt x="742" y="2393"/>
                  <a:pt x="739" y="2425"/>
                  <a:pt x="722" y="2436"/>
                </a:cubicBezTo>
                <a:cubicBezTo>
                  <a:pt x="705" y="2447"/>
                  <a:pt x="715" y="2430"/>
                  <a:pt x="718" y="2422"/>
                </a:cubicBezTo>
                <a:cubicBezTo>
                  <a:pt x="726" y="2403"/>
                  <a:pt x="720" y="2407"/>
                  <a:pt x="713" y="2390"/>
                </a:cubicBezTo>
                <a:lnTo>
                  <a:pt x="713" y="2364"/>
                </a:lnTo>
                <a:close/>
                <a:moveTo>
                  <a:pt x="35" y="1959"/>
                </a:moveTo>
                <a:lnTo>
                  <a:pt x="55" y="1972"/>
                </a:lnTo>
                <a:cubicBezTo>
                  <a:pt x="60" y="1971"/>
                  <a:pt x="59" y="1970"/>
                  <a:pt x="62" y="1967"/>
                </a:cubicBezTo>
                <a:cubicBezTo>
                  <a:pt x="62" y="1917"/>
                  <a:pt x="80" y="1876"/>
                  <a:pt x="101" y="1832"/>
                </a:cubicBezTo>
                <a:cubicBezTo>
                  <a:pt x="107" y="1821"/>
                  <a:pt x="110" y="1809"/>
                  <a:pt x="121" y="1802"/>
                </a:cubicBezTo>
                <a:cubicBezTo>
                  <a:pt x="162" y="1773"/>
                  <a:pt x="170" y="1736"/>
                  <a:pt x="179" y="1690"/>
                </a:cubicBezTo>
                <a:cubicBezTo>
                  <a:pt x="194" y="1664"/>
                  <a:pt x="188" y="1656"/>
                  <a:pt x="178" y="1628"/>
                </a:cubicBezTo>
                <a:cubicBezTo>
                  <a:pt x="171" y="1607"/>
                  <a:pt x="172" y="1588"/>
                  <a:pt x="170" y="1566"/>
                </a:cubicBezTo>
                <a:cubicBezTo>
                  <a:pt x="168" y="1549"/>
                  <a:pt x="192" y="1550"/>
                  <a:pt x="203" y="1543"/>
                </a:cubicBezTo>
                <a:cubicBezTo>
                  <a:pt x="219" y="1533"/>
                  <a:pt x="220" y="1492"/>
                  <a:pt x="213" y="1476"/>
                </a:cubicBezTo>
                <a:cubicBezTo>
                  <a:pt x="199" y="1445"/>
                  <a:pt x="169" y="1445"/>
                  <a:pt x="169" y="1403"/>
                </a:cubicBezTo>
                <a:cubicBezTo>
                  <a:pt x="172" y="1381"/>
                  <a:pt x="190" y="1360"/>
                  <a:pt x="191" y="1340"/>
                </a:cubicBezTo>
                <a:cubicBezTo>
                  <a:pt x="192" y="1310"/>
                  <a:pt x="184" y="1277"/>
                  <a:pt x="184" y="1245"/>
                </a:cubicBezTo>
                <a:cubicBezTo>
                  <a:pt x="184" y="1227"/>
                  <a:pt x="188" y="1210"/>
                  <a:pt x="188" y="1193"/>
                </a:cubicBezTo>
                <a:cubicBezTo>
                  <a:pt x="189" y="1172"/>
                  <a:pt x="183" y="1152"/>
                  <a:pt x="188" y="1132"/>
                </a:cubicBezTo>
                <a:cubicBezTo>
                  <a:pt x="221" y="1080"/>
                  <a:pt x="247" y="964"/>
                  <a:pt x="326" y="985"/>
                </a:cubicBezTo>
                <a:cubicBezTo>
                  <a:pt x="444" y="1015"/>
                  <a:pt x="358" y="901"/>
                  <a:pt x="383" y="843"/>
                </a:cubicBezTo>
                <a:cubicBezTo>
                  <a:pt x="409" y="801"/>
                  <a:pt x="438" y="765"/>
                  <a:pt x="439" y="715"/>
                </a:cubicBezTo>
                <a:cubicBezTo>
                  <a:pt x="439" y="690"/>
                  <a:pt x="439" y="666"/>
                  <a:pt x="443" y="642"/>
                </a:cubicBezTo>
                <a:cubicBezTo>
                  <a:pt x="449" y="612"/>
                  <a:pt x="459" y="585"/>
                  <a:pt x="465" y="556"/>
                </a:cubicBezTo>
                <a:cubicBezTo>
                  <a:pt x="497" y="544"/>
                  <a:pt x="530" y="548"/>
                  <a:pt x="533" y="508"/>
                </a:cubicBezTo>
                <a:cubicBezTo>
                  <a:pt x="535" y="470"/>
                  <a:pt x="562" y="474"/>
                  <a:pt x="580" y="449"/>
                </a:cubicBezTo>
                <a:cubicBezTo>
                  <a:pt x="602" y="417"/>
                  <a:pt x="615" y="390"/>
                  <a:pt x="615" y="350"/>
                </a:cubicBezTo>
                <a:cubicBezTo>
                  <a:pt x="615" y="302"/>
                  <a:pt x="623" y="290"/>
                  <a:pt x="658" y="255"/>
                </a:cubicBezTo>
                <a:cubicBezTo>
                  <a:pt x="676" y="245"/>
                  <a:pt x="684" y="209"/>
                  <a:pt x="704" y="202"/>
                </a:cubicBezTo>
                <a:cubicBezTo>
                  <a:pt x="722" y="196"/>
                  <a:pt x="731" y="219"/>
                  <a:pt x="747" y="220"/>
                </a:cubicBezTo>
                <a:cubicBezTo>
                  <a:pt x="769" y="222"/>
                  <a:pt x="774" y="133"/>
                  <a:pt x="795" y="117"/>
                </a:cubicBezTo>
                <a:cubicBezTo>
                  <a:pt x="809" y="107"/>
                  <a:pt x="858" y="122"/>
                  <a:pt x="876" y="126"/>
                </a:cubicBezTo>
                <a:cubicBezTo>
                  <a:pt x="910" y="133"/>
                  <a:pt x="933" y="181"/>
                  <a:pt x="949" y="112"/>
                </a:cubicBezTo>
                <a:lnTo>
                  <a:pt x="962" y="55"/>
                </a:lnTo>
                <a:cubicBezTo>
                  <a:pt x="966" y="37"/>
                  <a:pt x="949" y="27"/>
                  <a:pt x="949" y="9"/>
                </a:cubicBezTo>
                <a:lnTo>
                  <a:pt x="961" y="0"/>
                </a:lnTo>
                <a:lnTo>
                  <a:pt x="961" y="0"/>
                </a:lnTo>
                <a:cubicBezTo>
                  <a:pt x="976" y="18"/>
                  <a:pt x="989" y="41"/>
                  <a:pt x="1002" y="61"/>
                </a:cubicBezTo>
                <a:cubicBezTo>
                  <a:pt x="1020" y="88"/>
                  <a:pt x="1049" y="95"/>
                  <a:pt x="1075" y="112"/>
                </a:cubicBezTo>
                <a:cubicBezTo>
                  <a:pt x="1084" y="131"/>
                  <a:pt x="1099" y="152"/>
                  <a:pt x="1112" y="169"/>
                </a:cubicBezTo>
                <a:cubicBezTo>
                  <a:pt x="1117" y="176"/>
                  <a:pt x="1125" y="186"/>
                  <a:pt x="1135" y="186"/>
                </a:cubicBezTo>
                <a:cubicBezTo>
                  <a:pt x="1143" y="186"/>
                  <a:pt x="1159" y="180"/>
                  <a:pt x="1165" y="183"/>
                </a:cubicBezTo>
                <a:cubicBezTo>
                  <a:pt x="1169" y="204"/>
                  <a:pt x="1182" y="226"/>
                  <a:pt x="1183" y="249"/>
                </a:cubicBezTo>
                <a:cubicBezTo>
                  <a:pt x="1183" y="268"/>
                  <a:pt x="1167" y="297"/>
                  <a:pt x="1194" y="302"/>
                </a:cubicBezTo>
                <a:cubicBezTo>
                  <a:pt x="1201" y="312"/>
                  <a:pt x="1195" y="324"/>
                  <a:pt x="1191" y="335"/>
                </a:cubicBezTo>
                <a:cubicBezTo>
                  <a:pt x="1184" y="355"/>
                  <a:pt x="1184" y="353"/>
                  <a:pt x="1185" y="373"/>
                </a:cubicBezTo>
                <a:cubicBezTo>
                  <a:pt x="1196" y="392"/>
                  <a:pt x="1212" y="394"/>
                  <a:pt x="1219" y="415"/>
                </a:cubicBezTo>
                <a:cubicBezTo>
                  <a:pt x="1230" y="441"/>
                  <a:pt x="1210" y="471"/>
                  <a:pt x="1210" y="499"/>
                </a:cubicBezTo>
                <a:cubicBezTo>
                  <a:pt x="1210" y="538"/>
                  <a:pt x="1240" y="566"/>
                  <a:pt x="1242" y="601"/>
                </a:cubicBezTo>
                <a:lnTo>
                  <a:pt x="1242" y="620"/>
                </a:lnTo>
                <a:lnTo>
                  <a:pt x="1242" y="620"/>
                </a:lnTo>
                <a:cubicBezTo>
                  <a:pt x="1235" y="618"/>
                  <a:pt x="1214" y="630"/>
                  <a:pt x="1207" y="630"/>
                </a:cubicBezTo>
                <a:cubicBezTo>
                  <a:pt x="1191" y="631"/>
                  <a:pt x="1175" y="623"/>
                  <a:pt x="1159" y="632"/>
                </a:cubicBezTo>
                <a:cubicBezTo>
                  <a:pt x="1135" y="646"/>
                  <a:pt x="1138" y="611"/>
                  <a:pt x="1124" y="616"/>
                </a:cubicBezTo>
                <a:cubicBezTo>
                  <a:pt x="1117" y="619"/>
                  <a:pt x="1122" y="636"/>
                  <a:pt x="1114" y="636"/>
                </a:cubicBezTo>
                <a:cubicBezTo>
                  <a:pt x="1107" y="636"/>
                  <a:pt x="1096" y="621"/>
                  <a:pt x="1094" y="615"/>
                </a:cubicBezTo>
                <a:cubicBezTo>
                  <a:pt x="1091" y="615"/>
                  <a:pt x="1083" y="639"/>
                  <a:pt x="1083" y="639"/>
                </a:cubicBezTo>
                <a:cubicBezTo>
                  <a:pt x="1085" y="645"/>
                  <a:pt x="1124" y="656"/>
                  <a:pt x="1100" y="663"/>
                </a:cubicBezTo>
                <a:cubicBezTo>
                  <a:pt x="1075" y="671"/>
                  <a:pt x="1051" y="631"/>
                  <a:pt x="1030" y="631"/>
                </a:cubicBezTo>
                <a:cubicBezTo>
                  <a:pt x="1030" y="655"/>
                  <a:pt x="1077" y="654"/>
                  <a:pt x="1072" y="684"/>
                </a:cubicBezTo>
                <a:cubicBezTo>
                  <a:pt x="1066" y="696"/>
                  <a:pt x="1085" y="707"/>
                  <a:pt x="1072" y="714"/>
                </a:cubicBezTo>
                <a:cubicBezTo>
                  <a:pt x="1063" y="720"/>
                  <a:pt x="1044" y="723"/>
                  <a:pt x="1034" y="727"/>
                </a:cubicBezTo>
                <a:cubicBezTo>
                  <a:pt x="1002" y="738"/>
                  <a:pt x="1052" y="762"/>
                  <a:pt x="1046" y="780"/>
                </a:cubicBezTo>
                <a:cubicBezTo>
                  <a:pt x="1041" y="794"/>
                  <a:pt x="1023" y="806"/>
                  <a:pt x="1016" y="820"/>
                </a:cubicBezTo>
                <a:cubicBezTo>
                  <a:pt x="996" y="856"/>
                  <a:pt x="1019" y="840"/>
                  <a:pt x="1024" y="866"/>
                </a:cubicBezTo>
                <a:cubicBezTo>
                  <a:pt x="1028" y="884"/>
                  <a:pt x="1001" y="872"/>
                  <a:pt x="993" y="874"/>
                </a:cubicBezTo>
                <a:lnTo>
                  <a:pt x="993" y="874"/>
                </a:lnTo>
                <a:cubicBezTo>
                  <a:pt x="998" y="876"/>
                  <a:pt x="1020" y="895"/>
                  <a:pt x="1025" y="900"/>
                </a:cubicBezTo>
                <a:cubicBezTo>
                  <a:pt x="1036" y="911"/>
                  <a:pt x="1058" y="926"/>
                  <a:pt x="1047" y="942"/>
                </a:cubicBezTo>
                <a:cubicBezTo>
                  <a:pt x="1033" y="964"/>
                  <a:pt x="1001" y="981"/>
                  <a:pt x="995" y="1004"/>
                </a:cubicBezTo>
                <a:cubicBezTo>
                  <a:pt x="990" y="1022"/>
                  <a:pt x="993" y="1053"/>
                  <a:pt x="972" y="1063"/>
                </a:cubicBezTo>
                <a:cubicBezTo>
                  <a:pt x="956" y="1070"/>
                  <a:pt x="958" y="1048"/>
                  <a:pt x="944" y="1074"/>
                </a:cubicBezTo>
                <a:cubicBezTo>
                  <a:pt x="930" y="1098"/>
                  <a:pt x="925" y="1096"/>
                  <a:pt x="903" y="1110"/>
                </a:cubicBezTo>
                <a:cubicBezTo>
                  <a:pt x="892" y="1117"/>
                  <a:pt x="895" y="1127"/>
                  <a:pt x="886" y="1134"/>
                </a:cubicBezTo>
                <a:cubicBezTo>
                  <a:pt x="872" y="1144"/>
                  <a:pt x="867" y="1114"/>
                  <a:pt x="859" y="1116"/>
                </a:cubicBezTo>
                <a:cubicBezTo>
                  <a:pt x="855" y="1134"/>
                  <a:pt x="846" y="1177"/>
                  <a:pt x="826" y="1183"/>
                </a:cubicBezTo>
                <a:cubicBezTo>
                  <a:pt x="820" y="1188"/>
                  <a:pt x="808" y="1204"/>
                  <a:pt x="801" y="1206"/>
                </a:cubicBezTo>
                <a:cubicBezTo>
                  <a:pt x="793" y="1209"/>
                  <a:pt x="781" y="1194"/>
                  <a:pt x="777" y="1203"/>
                </a:cubicBezTo>
                <a:cubicBezTo>
                  <a:pt x="764" y="1229"/>
                  <a:pt x="799" y="1234"/>
                  <a:pt x="774" y="1251"/>
                </a:cubicBezTo>
                <a:cubicBezTo>
                  <a:pt x="748" y="1269"/>
                  <a:pt x="756" y="1248"/>
                  <a:pt x="737" y="1244"/>
                </a:cubicBezTo>
                <a:cubicBezTo>
                  <a:pt x="723" y="1240"/>
                  <a:pt x="725" y="1242"/>
                  <a:pt x="714" y="1233"/>
                </a:cubicBezTo>
                <a:cubicBezTo>
                  <a:pt x="710" y="1230"/>
                  <a:pt x="704" y="1216"/>
                  <a:pt x="698" y="1218"/>
                </a:cubicBezTo>
                <a:cubicBezTo>
                  <a:pt x="684" y="1223"/>
                  <a:pt x="718" y="1260"/>
                  <a:pt x="719" y="1269"/>
                </a:cubicBezTo>
                <a:cubicBezTo>
                  <a:pt x="720" y="1284"/>
                  <a:pt x="709" y="1293"/>
                  <a:pt x="710" y="1305"/>
                </a:cubicBezTo>
                <a:cubicBezTo>
                  <a:pt x="710" y="1311"/>
                  <a:pt x="717" y="1317"/>
                  <a:pt x="713" y="1324"/>
                </a:cubicBezTo>
                <a:cubicBezTo>
                  <a:pt x="694" y="1356"/>
                  <a:pt x="687" y="1329"/>
                  <a:pt x="674" y="1318"/>
                </a:cubicBezTo>
                <a:cubicBezTo>
                  <a:pt x="656" y="1305"/>
                  <a:pt x="655" y="1352"/>
                  <a:pt x="659" y="1358"/>
                </a:cubicBezTo>
                <a:cubicBezTo>
                  <a:pt x="660" y="1361"/>
                  <a:pt x="717" y="1391"/>
                  <a:pt x="681" y="1387"/>
                </a:cubicBezTo>
                <a:cubicBezTo>
                  <a:pt x="667" y="1386"/>
                  <a:pt x="678" y="1408"/>
                  <a:pt x="678" y="1416"/>
                </a:cubicBezTo>
                <a:cubicBezTo>
                  <a:pt x="673" y="1427"/>
                  <a:pt x="660" y="1448"/>
                  <a:pt x="662" y="1459"/>
                </a:cubicBezTo>
                <a:cubicBezTo>
                  <a:pt x="663" y="1467"/>
                  <a:pt x="674" y="1475"/>
                  <a:pt x="677" y="1484"/>
                </a:cubicBezTo>
                <a:cubicBezTo>
                  <a:pt x="684" y="1506"/>
                  <a:pt x="626" y="1447"/>
                  <a:pt x="638" y="1476"/>
                </a:cubicBezTo>
                <a:cubicBezTo>
                  <a:pt x="644" y="1490"/>
                  <a:pt x="650" y="1491"/>
                  <a:pt x="641" y="1506"/>
                </a:cubicBezTo>
                <a:cubicBezTo>
                  <a:pt x="632" y="1520"/>
                  <a:pt x="633" y="1542"/>
                  <a:pt x="641" y="1558"/>
                </a:cubicBezTo>
                <a:cubicBezTo>
                  <a:pt x="651" y="1578"/>
                  <a:pt x="621" y="1579"/>
                  <a:pt x="621" y="1587"/>
                </a:cubicBezTo>
                <a:cubicBezTo>
                  <a:pt x="621" y="1588"/>
                  <a:pt x="633" y="1591"/>
                  <a:pt x="635" y="1591"/>
                </a:cubicBezTo>
                <a:cubicBezTo>
                  <a:pt x="635" y="1599"/>
                  <a:pt x="631" y="1610"/>
                  <a:pt x="629" y="1618"/>
                </a:cubicBezTo>
                <a:cubicBezTo>
                  <a:pt x="627" y="1629"/>
                  <a:pt x="644" y="1673"/>
                  <a:pt x="655" y="1679"/>
                </a:cubicBezTo>
                <a:cubicBezTo>
                  <a:pt x="672" y="1688"/>
                  <a:pt x="663" y="1704"/>
                  <a:pt x="654" y="1716"/>
                </a:cubicBezTo>
                <a:cubicBezTo>
                  <a:pt x="648" y="1725"/>
                  <a:pt x="651" y="1734"/>
                  <a:pt x="646" y="1743"/>
                </a:cubicBezTo>
                <a:cubicBezTo>
                  <a:pt x="636" y="1765"/>
                  <a:pt x="608" y="1771"/>
                  <a:pt x="594" y="1787"/>
                </a:cubicBezTo>
                <a:cubicBezTo>
                  <a:pt x="582" y="1800"/>
                  <a:pt x="618" y="1782"/>
                  <a:pt x="622" y="1780"/>
                </a:cubicBezTo>
                <a:cubicBezTo>
                  <a:pt x="642" y="1768"/>
                  <a:pt x="653" y="1758"/>
                  <a:pt x="665" y="1735"/>
                </a:cubicBezTo>
                <a:cubicBezTo>
                  <a:pt x="670" y="1726"/>
                  <a:pt x="672" y="1703"/>
                  <a:pt x="683" y="1699"/>
                </a:cubicBezTo>
                <a:cubicBezTo>
                  <a:pt x="697" y="1693"/>
                  <a:pt x="705" y="1733"/>
                  <a:pt x="710" y="1742"/>
                </a:cubicBezTo>
                <a:cubicBezTo>
                  <a:pt x="729" y="1778"/>
                  <a:pt x="739" y="1708"/>
                  <a:pt x="749" y="1734"/>
                </a:cubicBezTo>
                <a:cubicBezTo>
                  <a:pt x="755" y="1751"/>
                  <a:pt x="755" y="1761"/>
                  <a:pt x="773" y="1768"/>
                </a:cubicBezTo>
                <a:cubicBezTo>
                  <a:pt x="778" y="1771"/>
                  <a:pt x="806" y="1783"/>
                  <a:pt x="806" y="1787"/>
                </a:cubicBezTo>
                <a:lnTo>
                  <a:pt x="806" y="1788"/>
                </a:lnTo>
                <a:cubicBezTo>
                  <a:pt x="798" y="1789"/>
                  <a:pt x="766" y="1789"/>
                  <a:pt x="763" y="1791"/>
                </a:cubicBezTo>
                <a:cubicBezTo>
                  <a:pt x="763" y="1803"/>
                  <a:pt x="782" y="1805"/>
                  <a:pt x="784" y="1812"/>
                </a:cubicBezTo>
                <a:cubicBezTo>
                  <a:pt x="789" y="1828"/>
                  <a:pt x="796" y="1827"/>
                  <a:pt x="807" y="1816"/>
                </a:cubicBezTo>
                <a:cubicBezTo>
                  <a:pt x="813" y="1811"/>
                  <a:pt x="809" y="1839"/>
                  <a:pt x="807" y="1844"/>
                </a:cubicBezTo>
                <a:cubicBezTo>
                  <a:pt x="800" y="1852"/>
                  <a:pt x="772" y="1870"/>
                  <a:pt x="776" y="1872"/>
                </a:cubicBezTo>
                <a:cubicBezTo>
                  <a:pt x="784" y="1875"/>
                  <a:pt x="815" y="1875"/>
                  <a:pt x="813" y="1880"/>
                </a:cubicBezTo>
                <a:cubicBezTo>
                  <a:pt x="811" y="1886"/>
                  <a:pt x="799" y="1890"/>
                  <a:pt x="794" y="1892"/>
                </a:cubicBezTo>
                <a:cubicBezTo>
                  <a:pt x="787" y="1895"/>
                  <a:pt x="787" y="1907"/>
                  <a:pt x="777" y="1914"/>
                </a:cubicBezTo>
                <a:cubicBezTo>
                  <a:pt x="760" y="1927"/>
                  <a:pt x="747" y="1925"/>
                  <a:pt x="728" y="1933"/>
                </a:cubicBezTo>
                <a:cubicBezTo>
                  <a:pt x="721" y="1936"/>
                  <a:pt x="736" y="1951"/>
                  <a:pt x="740" y="1952"/>
                </a:cubicBezTo>
                <a:cubicBezTo>
                  <a:pt x="748" y="1955"/>
                  <a:pt x="765" y="1948"/>
                  <a:pt x="769" y="1954"/>
                </a:cubicBezTo>
                <a:cubicBezTo>
                  <a:pt x="777" y="1963"/>
                  <a:pt x="756" y="1969"/>
                  <a:pt x="748" y="1965"/>
                </a:cubicBezTo>
                <a:cubicBezTo>
                  <a:pt x="734" y="1958"/>
                  <a:pt x="718" y="1962"/>
                  <a:pt x="735" y="1976"/>
                </a:cubicBezTo>
                <a:cubicBezTo>
                  <a:pt x="750" y="1988"/>
                  <a:pt x="728" y="1998"/>
                  <a:pt x="718" y="2009"/>
                </a:cubicBezTo>
                <a:cubicBezTo>
                  <a:pt x="708" y="2019"/>
                  <a:pt x="704" y="2068"/>
                  <a:pt x="685" y="2053"/>
                </a:cubicBezTo>
                <a:cubicBezTo>
                  <a:pt x="674" y="2045"/>
                  <a:pt x="674" y="2007"/>
                  <a:pt x="670" y="2007"/>
                </a:cubicBezTo>
                <a:cubicBezTo>
                  <a:pt x="667" y="2021"/>
                  <a:pt x="661" y="2028"/>
                  <a:pt x="659" y="2044"/>
                </a:cubicBezTo>
                <a:cubicBezTo>
                  <a:pt x="656" y="2061"/>
                  <a:pt x="628" y="2059"/>
                  <a:pt x="618" y="2066"/>
                </a:cubicBezTo>
                <a:cubicBezTo>
                  <a:pt x="609" y="2072"/>
                  <a:pt x="603" y="2080"/>
                  <a:pt x="593" y="2086"/>
                </a:cubicBezTo>
                <a:cubicBezTo>
                  <a:pt x="580" y="2094"/>
                  <a:pt x="556" y="2084"/>
                  <a:pt x="542" y="2087"/>
                </a:cubicBezTo>
                <a:cubicBezTo>
                  <a:pt x="542" y="2100"/>
                  <a:pt x="572" y="2100"/>
                  <a:pt x="581" y="2104"/>
                </a:cubicBezTo>
                <a:cubicBezTo>
                  <a:pt x="596" y="2112"/>
                  <a:pt x="610" y="2138"/>
                  <a:pt x="580" y="2132"/>
                </a:cubicBezTo>
                <a:lnTo>
                  <a:pt x="562" y="2131"/>
                </a:lnTo>
                <a:cubicBezTo>
                  <a:pt x="559" y="2141"/>
                  <a:pt x="580" y="2148"/>
                  <a:pt x="586" y="2155"/>
                </a:cubicBezTo>
                <a:cubicBezTo>
                  <a:pt x="599" y="2171"/>
                  <a:pt x="580" y="2172"/>
                  <a:pt x="573" y="2174"/>
                </a:cubicBezTo>
                <a:cubicBezTo>
                  <a:pt x="570" y="2189"/>
                  <a:pt x="604" y="2241"/>
                  <a:pt x="565" y="2228"/>
                </a:cubicBezTo>
                <a:cubicBezTo>
                  <a:pt x="561" y="2227"/>
                  <a:pt x="550" y="2212"/>
                  <a:pt x="550" y="2222"/>
                </a:cubicBezTo>
                <a:cubicBezTo>
                  <a:pt x="550" y="2232"/>
                  <a:pt x="557" y="2240"/>
                  <a:pt x="559" y="2249"/>
                </a:cubicBezTo>
                <a:cubicBezTo>
                  <a:pt x="562" y="2262"/>
                  <a:pt x="556" y="2278"/>
                  <a:pt x="556" y="2292"/>
                </a:cubicBezTo>
                <a:cubicBezTo>
                  <a:pt x="556" y="2310"/>
                  <a:pt x="564" y="2335"/>
                  <a:pt x="557" y="2353"/>
                </a:cubicBezTo>
                <a:cubicBezTo>
                  <a:pt x="552" y="2366"/>
                  <a:pt x="537" y="2379"/>
                  <a:pt x="528" y="2391"/>
                </a:cubicBezTo>
                <a:cubicBezTo>
                  <a:pt x="530" y="2414"/>
                  <a:pt x="521" y="2435"/>
                  <a:pt x="522" y="2458"/>
                </a:cubicBezTo>
                <a:cubicBezTo>
                  <a:pt x="523" y="2475"/>
                  <a:pt x="507" y="2486"/>
                  <a:pt x="502" y="2501"/>
                </a:cubicBezTo>
                <a:lnTo>
                  <a:pt x="490" y="2540"/>
                </a:lnTo>
                <a:cubicBezTo>
                  <a:pt x="485" y="2555"/>
                  <a:pt x="476" y="2569"/>
                  <a:pt x="474" y="2585"/>
                </a:cubicBezTo>
                <a:cubicBezTo>
                  <a:pt x="470" y="2613"/>
                  <a:pt x="442" y="2601"/>
                  <a:pt x="426" y="2593"/>
                </a:cubicBezTo>
                <a:cubicBezTo>
                  <a:pt x="411" y="2584"/>
                  <a:pt x="401" y="2584"/>
                  <a:pt x="384" y="2581"/>
                </a:cubicBezTo>
                <a:cubicBezTo>
                  <a:pt x="376" y="2579"/>
                  <a:pt x="314" y="2547"/>
                  <a:pt x="327" y="2584"/>
                </a:cubicBezTo>
                <a:cubicBezTo>
                  <a:pt x="340" y="2618"/>
                  <a:pt x="313" y="2587"/>
                  <a:pt x="301" y="2596"/>
                </a:cubicBezTo>
                <a:cubicBezTo>
                  <a:pt x="283" y="2610"/>
                  <a:pt x="278" y="2628"/>
                  <a:pt x="274" y="2649"/>
                </a:cubicBezTo>
                <a:cubicBezTo>
                  <a:pt x="269" y="2681"/>
                  <a:pt x="300" y="2688"/>
                  <a:pt x="284" y="2713"/>
                </a:cubicBezTo>
                <a:cubicBezTo>
                  <a:pt x="259" y="2753"/>
                  <a:pt x="270" y="2725"/>
                  <a:pt x="232" y="2717"/>
                </a:cubicBezTo>
                <a:cubicBezTo>
                  <a:pt x="206" y="2711"/>
                  <a:pt x="190" y="2728"/>
                  <a:pt x="166" y="2731"/>
                </a:cubicBezTo>
                <a:cubicBezTo>
                  <a:pt x="146" y="2734"/>
                  <a:pt x="126" y="2721"/>
                  <a:pt x="110" y="2710"/>
                </a:cubicBezTo>
                <a:cubicBezTo>
                  <a:pt x="106" y="2707"/>
                  <a:pt x="126" y="2675"/>
                  <a:pt x="126" y="2669"/>
                </a:cubicBezTo>
                <a:cubicBezTo>
                  <a:pt x="126" y="2656"/>
                  <a:pt x="111" y="2649"/>
                  <a:pt x="105" y="2637"/>
                </a:cubicBezTo>
                <a:cubicBezTo>
                  <a:pt x="93" y="2612"/>
                  <a:pt x="107" y="2555"/>
                  <a:pt x="89" y="2538"/>
                </a:cubicBezTo>
                <a:cubicBezTo>
                  <a:pt x="82" y="2531"/>
                  <a:pt x="60" y="2515"/>
                  <a:pt x="84" y="2516"/>
                </a:cubicBezTo>
                <a:cubicBezTo>
                  <a:pt x="102" y="2517"/>
                  <a:pt x="98" y="2536"/>
                  <a:pt x="112" y="2540"/>
                </a:cubicBezTo>
                <a:cubicBezTo>
                  <a:pt x="119" y="2542"/>
                  <a:pt x="115" y="2509"/>
                  <a:pt x="113" y="2505"/>
                </a:cubicBezTo>
                <a:cubicBezTo>
                  <a:pt x="108" y="2498"/>
                  <a:pt x="101" y="2494"/>
                  <a:pt x="101" y="2486"/>
                </a:cubicBezTo>
                <a:cubicBezTo>
                  <a:pt x="121" y="2481"/>
                  <a:pt x="130" y="2496"/>
                  <a:pt x="131" y="2470"/>
                </a:cubicBezTo>
                <a:cubicBezTo>
                  <a:pt x="131" y="2453"/>
                  <a:pt x="123" y="2449"/>
                  <a:pt x="110" y="2443"/>
                </a:cubicBezTo>
                <a:cubicBezTo>
                  <a:pt x="97" y="2436"/>
                  <a:pt x="105" y="2418"/>
                  <a:pt x="97" y="2409"/>
                </a:cubicBezTo>
                <a:cubicBezTo>
                  <a:pt x="90" y="2401"/>
                  <a:pt x="84" y="2398"/>
                  <a:pt x="81" y="2386"/>
                </a:cubicBezTo>
                <a:lnTo>
                  <a:pt x="71" y="2349"/>
                </a:lnTo>
                <a:cubicBezTo>
                  <a:pt x="66" y="2328"/>
                  <a:pt x="57" y="2311"/>
                  <a:pt x="51" y="2292"/>
                </a:cubicBezTo>
                <a:cubicBezTo>
                  <a:pt x="43" y="2263"/>
                  <a:pt x="59" y="2237"/>
                  <a:pt x="54" y="2210"/>
                </a:cubicBezTo>
                <a:cubicBezTo>
                  <a:pt x="48" y="2188"/>
                  <a:pt x="53" y="2188"/>
                  <a:pt x="63" y="2169"/>
                </a:cubicBezTo>
                <a:cubicBezTo>
                  <a:pt x="69" y="2156"/>
                  <a:pt x="65" y="2141"/>
                  <a:pt x="67" y="2128"/>
                </a:cubicBezTo>
                <a:cubicBezTo>
                  <a:pt x="68" y="2119"/>
                  <a:pt x="74" y="2113"/>
                  <a:pt x="76" y="2105"/>
                </a:cubicBezTo>
                <a:cubicBezTo>
                  <a:pt x="78" y="2097"/>
                  <a:pt x="64" y="2095"/>
                  <a:pt x="59" y="2091"/>
                </a:cubicBezTo>
                <a:cubicBezTo>
                  <a:pt x="56" y="2073"/>
                  <a:pt x="30" y="2113"/>
                  <a:pt x="30" y="2084"/>
                </a:cubicBezTo>
                <a:cubicBezTo>
                  <a:pt x="22" y="2079"/>
                  <a:pt x="9" y="2100"/>
                  <a:pt x="4" y="2090"/>
                </a:cubicBezTo>
                <a:cubicBezTo>
                  <a:pt x="0" y="2081"/>
                  <a:pt x="6" y="2066"/>
                  <a:pt x="8" y="2057"/>
                </a:cubicBezTo>
                <a:cubicBezTo>
                  <a:pt x="13" y="2031"/>
                  <a:pt x="17" y="1996"/>
                  <a:pt x="11" y="1970"/>
                </a:cubicBezTo>
                <a:cubicBezTo>
                  <a:pt x="15" y="1961"/>
                  <a:pt x="28" y="1961"/>
                  <a:pt x="35" y="1959"/>
                </a:cubicBezTo>
                <a:close/>
              </a:path>
            </a:pathLst>
          </a:custGeom>
          <a:noFill/>
          <a:ln w="31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21" name="Freeform 345"/>
          <p:cNvSpPr>
            <a:spLocks noEditPoints="1"/>
          </p:cNvSpPr>
          <p:nvPr/>
        </p:nvSpPr>
        <p:spPr bwMode="auto">
          <a:xfrm>
            <a:off x="8389937" y="4515572"/>
            <a:ext cx="1031875" cy="1330325"/>
          </a:xfrm>
          <a:custGeom>
            <a:avLst/>
            <a:gdLst>
              <a:gd name="T0" fmla="*/ 609 w 1666"/>
              <a:gd name="T1" fmla="*/ 2067 h 2146"/>
              <a:gd name="T2" fmla="*/ 1165 w 1666"/>
              <a:gd name="T3" fmla="*/ 1898 h 2146"/>
              <a:gd name="T4" fmla="*/ 1137 w 1666"/>
              <a:gd name="T5" fmla="*/ 2093 h 2146"/>
              <a:gd name="T6" fmla="*/ 992 w 1666"/>
              <a:gd name="T7" fmla="*/ 2053 h 2146"/>
              <a:gd name="T8" fmla="*/ 820 w 1666"/>
              <a:gd name="T9" fmla="*/ 1961 h 2146"/>
              <a:gd name="T10" fmla="*/ 702 w 1666"/>
              <a:gd name="T11" fmla="*/ 1899 h 2146"/>
              <a:gd name="T12" fmla="*/ 800 w 1666"/>
              <a:gd name="T13" fmla="*/ 1833 h 2146"/>
              <a:gd name="T14" fmla="*/ 999 w 1666"/>
              <a:gd name="T15" fmla="*/ 1867 h 2146"/>
              <a:gd name="T16" fmla="*/ 1211 w 1666"/>
              <a:gd name="T17" fmla="*/ 1828 h 2146"/>
              <a:gd name="T18" fmla="*/ 297 w 1666"/>
              <a:gd name="T19" fmla="*/ 1437 h 2146"/>
              <a:gd name="T20" fmla="*/ 333 w 1666"/>
              <a:gd name="T21" fmla="*/ 1300 h 2146"/>
              <a:gd name="T22" fmla="*/ 325 w 1666"/>
              <a:gd name="T23" fmla="*/ 1195 h 2146"/>
              <a:gd name="T24" fmla="*/ 282 w 1666"/>
              <a:gd name="T25" fmla="*/ 1164 h 2146"/>
              <a:gd name="T26" fmla="*/ 196 w 1666"/>
              <a:gd name="T27" fmla="*/ 1186 h 2146"/>
              <a:gd name="T28" fmla="*/ 96 w 1666"/>
              <a:gd name="T29" fmla="*/ 1220 h 2146"/>
              <a:gd name="T30" fmla="*/ 121 w 1666"/>
              <a:gd name="T31" fmla="*/ 1271 h 2146"/>
              <a:gd name="T32" fmla="*/ 109 w 1666"/>
              <a:gd name="T33" fmla="*/ 1386 h 2146"/>
              <a:gd name="T34" fmla="*/ 117 w 1666"/>
              <a:gd name="T35" fmla="*/ 1423 h 2146"/>
              <a:gd name="T36" fmla="*/ 104 w 1666"/>
              <a:gd name="T37" fmla="*/ 1539 h 2146"/>
              <a:gd name="T38" fmla="*/ 122 w 1666"/>
              <a:gd name="T39" fmla="*/ 1559 h 2146"/>
              <a:gd name="T40" fmla="*/ 190 w 1666"/>
              <a:gd name="T41" fmla="*/ 1566 h 2146"/>
              <a:gd name="T42" fmla="*/ 265 w 1666"/>
              <a:gd name="T43" fmla="*/ 1563 h 2146"/>
              <a:gd name="T44" fmla="*/ 442 w 1666"/>
              <a:gd name="T45" fmla="*/ 859 h 2146"/>
              <a:gd name="T46" fmla="*/ 472 w 1666"/>
              <a:gd name="T47" fmla="*/ 840 h 2146"/>
              <a:gd name="T48" fmla="*/ 796 w 1666"/>
              <a:gd name="T49" fmla="*/ 653 h 2146"/>
              <a:gd name="T50" fmla="*/ 803 w 1666"/>
              <a:gd name="T51" fmla="*/ 666 h 2146"/>
              <a:gd name="T52" fmla="*/ 186 w 1666"/>
              <a:gd name="T53" fmla="*/ 173 h 2146"/>
              <a:gd name="T54" fmla="*/ 325 w 1666"/>
              <a:gd name="T55" fmla="*/ 190 h 2146"/>
              <a:gd name="T56" fmla="*/ 434 w 1666"/>
              <a:gd name="T57" fmla="*/ 127 h 2146"/>
              <a:gd name="T58" fmla="*/ 513 w 1666"/>
              <a:gd name="T59" fmla="*/ 102 h 2146"/>
              <a:gd name="T60" fmla="*/ 569 w 1666"/>
              <a:gd name="T61" fmla="*/ 37 h 2146"/>
              <a:gd name="T62" fmla="*/ 700 w 1666"/>
              <a:gd name="T63" fmla="*/ 4 h 2146"/>
              <a:gd name="T64" fmla="*/ 899 w 1666"/>
              <a:gd name="T65" fmla="*/ 113 h 2146"/>
              <a:gd name="T66" fmla="*/ 1008 w 1666"/>
              <a:gd name="T67" fmla="*/ 196 h 2146"/>
              <a:gd name="T68" fmla="*/ 1005 w 1666"/>
              <a:gd name="T69" fmla="*/ 359 h 2146"/>
              <a:gd name="T70" fmla="*/ 917 w 1666"/>
              <a:gd name="T71" fmla="*/ 314 h 2146"/>
              <a:gd name="T72" fmla="*/ 831 w 1666"/>
              <a:gd name="T73" fmla="*/ 349 h 2146"/>
              <a:gd name="T74" fmla="*/ 803 w 1666"/>
              <a:gd name="T75" fmla="*/ 478 h 2146"/>
              <a:gd name="T76" fmla="*/ 920 w 1666"/>
              <a:gd name="T77" fmla="*/ 741 h 2146"/>
              <a:gd name="T78" fmla="*/ 997 w 1666"/>
              <a:gd name="T79" fmla="*/ 936 h 2146"/>
              <a:gd name="T80" fmla="*/ 1130 w 1666"/>
              <a:gd name="T81" fmla="*/ 1071 h 2146"/>
              <a:gd name="T82" fmla="*/ 1288 w 1666"/>
              <a:gd name="T83" fmla="*/ 1164 h 2146"/>
              <a:gd name="T84" fmla="*/ 1556 w 1666"/>
              <a:gd name="T85" fmla="*/ 1347 h 2146"/>
              <a:gd name="T86" fmla="*/ 1563 w 1666"/>
              <a:gd name="T87" fmla="*/ 1440 h 2146"/>
              <a:gd name="T88" fmla="*/ 1361 w 1666"/>
              <a:gd name="T89" fmla="*/ 1514 h 2146"/>
              <a:gd name="T90" fmla="*/ 1455 w 1666"/>
              <a:gd name="T91" fmla="*/ 1701 h 2146"/>
              <a:gd name="T92" fmla="*/ 1365 w 1666"/>
              <a:gd name="T93" fmla="*/ 1774 h 2146"/>
              <a:gd name="T94" fmla="*/ 1249 w 1666"/>
              <a:gd name="T95" fmla="*/ 1909 h 2146"/>
              <a:gd name="T96" fmla="*/ 1214 w 1666"/>
              <a:gd name="T97" fmla="*/ 1845 h 2146"/>
              <a:gd name="T98" fmla="*/ 1316 w 1666"/>
              <a:gd name="T99" fmla="*/ 1721 h 2146"/>
              <a:gd name="T100" fmla="*/ 1248 w 1666"/>
              <a:gd name="T101" fmla="*/ 1508 h 2146"/>
              <a:gd name="T102" fmla="*/ 1140 w 1666"/>
              <a:gd name="T103" fmla="*/ 1447 h 2146"/>
              <a:gd name="T104" fmla="*/ 1026 w 1666"/>
              <a:gd name="T105" fmla="*/ 1363 h 2146"/>
              <a:gd name="T106" fmla="*/ 988 w 1666"/>
              <a:gd name="T107" fmla="*/ 1287 h 2146"/>
              <a:gd name="T108" fmla="*/ 825 w 1666"/>
              <a:gd name="T109" fmla="*/ 1190 h 2146"/>
              <a:gd name="T110" fmla="*/ 616 w 1666"/>
              <a:gd name="T111" fmla="*/ 952 h 2146"/>
              <a:gd name="T112" fmla="*/ 535 w 1666"/>
              <a:gd name="T113" fmla="*/ 865 h 2146"/>
              <a:gd name="T114" fmla="*/ 463 w 1666"/>
              <a:gd name="T115" fmla="*/ 693 h 2146"/>
              <a:gd name="T116" fmla="*/ 295 w 1666"/>
              <a:gd name="T117" fmla="*/ 508 h 2146"/>
              <a:gd name="T118" fmla="*/ 81 w 1666"/>
              <a:gd name="T119" fmla="*/ 606 h 2146"/>
              <a:gd name="T120" fmla="*/ 10 w 1666"/>
              <a:gd name="T121" fmla="*/ 435 h 2146"/>
              <a:gd name="T122" fmla="*/ 21 w 1666"/>
              <a:gd name="T123" fmla="*/ 300 h 2146"/>
              <a:gd name="T124" fmla="*/ 44 w 1666"/>
              <a:gd name="T125" fmla="*/ 185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6" h="2146">
                <a:moveTo>
                  <a:pt x="624" y="2068"/>
                </a:moveTo>
                <a:cubicBezTo>
                  <a:pt x="619" y="2064"/>
                  <a:pt x="617" y="2060"/>
                  <a:pt x="612" y="2058"/>
                </a:cubicBezTo>
                <a:cubicBezTo>
                  <a:pt x="608" y="2056"/>
                  <a:pt x="605" y="2054"/>
                  <a:pt x="601" y="2056"/>
                </a:cubicBezTo>
                <a:cubicBezTo>
                  <a:pt x="598" y="2058"/>
                  <a:pt x="608" y="2066"/>
                  <a:pt x="609" y="2067"/>
                </a:cubicBezTo>
                <a:cubicBezTo>
                  <a:pt x="612" y="2070"/>
                  <a:pt x="612" y="2073"/>
                  <a:pt x="615" y="2074"/>
                </a:cubicBezTo>
                <a:cubicBezTo>
                  <a:pt x="618" y="2077"/>
                  <a:pt x="619" y="2078"/>
                  <a:pt x="624" y="2078"/>
                </a:cubicBezTo>
                <a:lnTo>
                  <a:pt x="624" y="2068"/>
                </a:lnTo>
                <a:close/>
                <a:moveTo>
                  <a:pt x="1165" y="1898"/>
                </a:moveTo>
                <a:lnTo>
                  <a:pt x="1119" y="1977"/>
                </a:lnTo>
                <a:cubicBezTo>
                  <a:pt x="1099" y="2011"/>
                  <a:pt x="1126" y="2002"/>
                  <a:pt x="1138" y="2022"/>
                </a:cubicBezTo>
                <a:cubicBezTo>
                  <a:pt x="1145" y="2033"/>
                  <a:pt x="1131" y="2041"/>
                  <a:pt x="1126" y="2048"/>
                </a:cubicBezTo>
                <a:cubicBezTo>
                  <a:pt x="1133" y="2060"/>
                  <a:pt x="1159" y="2082"/>
                  <a:pt x="1137" y="2093"/>
                </a:cubicBezTo>
                <a:cubicBezTo>
                  <a:pt x="1115" y="2104"/>
                  <a:pt x="1110" y="2143"/>
                  <a:pt x="1108" y="2144"/>
                </a:cubicBezTo>
                <a:cubicBezTo>
                  <a:pt x="1103" y="2146"/>
                  <a:pt x="1093" y="2129"/>
                  <a:pt x="1089" y="2126"/>
                </a:cubicBezTo>
                <a:cubicBezTo>
                  <a:pt x="1076" y="2114"/>
                  <a:pt x="1045" y="2123"/>
                  <a:pt x="1027" y="2116"/>
                </a:cubicBezTo>
                <a:cubicBezTo>
                  <a:pt x="992" y="2102"/>
                  <a:pt x="1011" y="2073"/>
                  <a:pt x="992" y="2053"/>
                </a:cubicBezTo>
                <a:cubicBezTo>
                  <a:pt x="981" y="2042"/>
                  <a:pt x="947" y="2048"/>
                  <a:pt x="930" y="2042"/>
                </a:cubicBezTo>
                <a:cubicBezTo>
                  <a:pt x="904" y="2033"/>
                  <a:pt x="890" y="2004"/>
                  <a:pt x="865" y="1998"/>
                </a:cubicBezTo>
                <a:cubicBezTo>
                  <a:pt x="855" y="1992"/>
                  <a:pt x="838" y="1990"/>
                  <a:pt x="830" y="1981"/>
                </a:cubicBezTo>
                <a:cubicBezTo>
                  <a:pt x="825" y="1975"/>
                  <a:pt x="824" y="1967"/>
                  <a:pt x="820" y="1961"/>
                </a:cubicBezTo>
                <a:cubicBezTo>
                  <a:pt x="809" y="1947"/>
                  <a:pt x="786" y="1964"/>
                  <a:pt x="777" y="1947"/>
                </a:cubicBezTo>
                <a:cubicBezTo>
                  <a:pt x="772" y="1935"/>
                  <a:pt x="766" y="1930"/>
                  <a:pt x="752" y="1931"/>
                </a:cubicBezTo>
                <a:cubicBezTo>
                  <a:pt x="727" y="1933"/>
                  <a:pt x="729" y="1936"/>
                  <a:pt x="718" y="1915"/>
                </a:cubicBezTo>
                <a:cubicBezTo>
                  <a:pt x="714" y="1908"/>
                  <a:pt x="706" y="1905"/>
                  <a:pt x="702" y="1899"/>
                </a:cubicBezTo>
                <a:cubicBezTo>
                  <a:pt x="698" y="1893"/>
                  <a:pt x="706" y="1882"/>
                  <a:pt x="707" y="1876"/>
                </a:cubicBezTo>
                <a:cubicBezTo>
                  <a:pt x="703" y="1866"/>
                  <a:pt x="709" y="1847"/>
                  <a:pt x="719" y="1837"/>
                </a:cubicBezTo>
                <a:lnTo>
                  <a:pt x="749" y="1806"/>
                </a:lnTo>
                <a:cubicBezTo>
                  <a:pt x="749" y="1822"/>
                  <a:pt x="787" y="1856"/>
                  <a:pt x="800" y="1833"/>
                </a:cubicBezTo>
                <a:cubicBezTo>
                  <a:pt x="808" y="1817"/>
                  <a:pt x="795" y="1787"/>
                  <a:pt x="829" y="1810"/>
                </a:cubicBezTo>
                <a:cubicBezTo>
                  <a:pt x="841" y="1817"/>
                  <a:pt x="856" y="1828"/>
                  <a:pt x="870" y="1829"/>
                </a:cubicBezTo>
                <a:cubicBezTo>
                  <a:pt x="887" y="1830"/>
                  <a:pt x="889" y="1859"/>
                  <a:pt x="899" y="1871"/>
                </a:cubicBezTo>
                <a:cubicBezTo>
                  <a:pt x="921" y="1897"/>
                  <a:pt x="973" y="1869"/>
                  <a:pt x="999" y="1867"/>
                </a:cubicBezTo>
                <a:cubicBezTo>
                  <a:pt x="1029" y="1870"/>
                  <a:pt x="1044" y="1856"/>
                  <a:pt x="1071" y="1848"/>
                </a:cubicBezTo>
                <a:cubicBezTo>
                  <a:pt x="1085" y="1844"/>
                  <a:pt x="1097" y="1859"/>
                  <a:pt x="1112" y="1859"/>
                </a:cubicBezTo>
                <a:cubicBezTo>
                  <a:pt x="1137" y="1859"/>
                  <a:pt x="1146" y="1831"/>
                  <a:pt x="1169" y="1830"/>
                </a:cubicBezTo>
                <a:cubicBezTo>
                  <a:pt x="1180" y="1829"/>
                  <a:pt x="1201" y="1826"/>
                  <a:pt x="1211" y="1828"/>
                </a:cubicBezTo>
                <a:cubicBezTo>
                  <a:pt x="1215" y="1841"/>
                  <a:pt x="1183" y="1872"/>
                  <a:pt x="1177" y="1883"/>
                </a:cubicBezTo>
                <a:lnTo>
                  <a:pt x="1165" y="1898"/>
                </a:lnTo>
                <a:close/>
                <a:moveTo>
                  <a:pt x="282" y="1524"/>
                </a:moveTo>
                <a:cubicBezTo>
                  <a:pt x="292" y="1499"/>
                  <a:pt x="293" y="1464"/>
                  <a:pt x="297" y="1437"/>
                </a:cubicBezTo>
                <a:cubicBezTo>
                  <a:pt x="300" y="1415"/>
                  <a:pt x="306" y="1393"/>
                  <a:pt x="301" y="1371"/>
                </a:cubicBezTo>
                <a:cubicBezTo>
                  <a:pt x="300" y="1363"/>
                  <a:pt x="303" y="1357"/>
                  <a:pt x="301" y="1349"/>
                </a:cubicBezTo>
                <a:lnTo>
                  <a:pt x="318" y="1317"/>
                </a:lnTo>
                <a:cubicBezTo>
                  <a:pt x="322" y="1311"/>
                  <a:pt x="331" y="1306"/>
                  <a:pt x="333" y="1300"/>
                </a:cubicBezTo>
                <a:cubicBezTo>
                  <a:pt x="337" y="1290"/>
                  <a:pt x="319" y="1278"/>
                  <a:pt x="320" y="1263"/>
                </a:cubicBezTo>
                <a:cubicBezTo>
                  <a:pt x="321" y="1252"/>
                  <a:pt x="331" y="1248"/>
                  <a:pt x="331" y="1240"/>
                </a:cubicBezTo>
                <a:cubicBezTo>
                  <a:pt x="331" y="1232"/>
                  <a:pt x="298" y="1227"/>
                  <a:pt x="298" y="1221"/>
                </a:cubicBezTo>
                <a:cubicBezTo>
                  <a:pt x="299" y="1212"/>
                  <a:pt x="325" y="1210"/>
                  <a:pt x="325" y="1195"/>
                </a:cubicBezTo>
                <a:lnTo>
                  <a:pt x="325" y="1194"/>
                </a:lnTo>
                <a:cubicBezTo>
                  <a:pt x="319" y="1194"/>
                  <a:pt x="311" y="1195"/>
                  <a:pt x="305" y="1193"/>
                </a:cubicBezTo>
                <a:cubicBezTo>
                  <a:pt x="297" y="1192"/>
                  <a:pt x="308" y="1174"/>
                  <a:pt x="307" y="1168"/>
                </a:cubicBezTo>
                <a:cubicBezTo>
                  <a:pt x="304" y="1151"/>
                  <a:pt x="293" y="1176"/>
                  <a:pt x="282" y="1164"/>
                </a:cubicBezTo>
                <a:cubicBezTo>
                  <a:pt x="278" y="1159"/>
                  <a:pt x="276" y="1149"/>
                  <a:pt x="273" y="1143"/>
                </a:cubicBezTo>
                <a:cubicBezTo>
                  <a:pt x="265" y="1128"/>
                  <a:pt x="253" y="1141"/>
                  <a:pt x="249" y="1151"/>
                </a:cubicBezTo>
                <a:cubicBezTo>
                  <a:pt x="242" y="1169"/>
                  <a:pt x="237" y="1162"/>
                  <a:pt x="220" y="1169"/>
                </a:cubicBezTo>
                <a:cubicBezTo>
                  <a:pt x="211" y="1172"/>
                  <a:pt x="204" y="1182"/>
                  <a:pt x="196" y="1186"/>
                </a:cubicBezTo>
                <a:cubicBezTo>
                  <a:pt x="167" y="1199"/>
                  <a:pt x="139" y="1204"/>
                  <a:pt x="114" y="1183"/>
                </a:cubicBezTo>
                <a:cubicBezTo>
                  <a:pt x="97" y="1169"/>
                  <a:pt x="101" y="1168"/>
                  <a:pt x="96" y="1186"/>
                </a:cubicBezTo>
                <a:cubicBezTo>
                  <a:pt x="94" y="1193"/>
                  <a:pt x="89" y="1197"/>
                  <a:pt x="86" y="1204"/>
                </a:cubicBezTo>
                <a:cubicBezTo>
                  <a:pt x="83" y="1213"/>
                  <a:pt x="97" y="1216"/>
                  <a:pt x="96" y="1220"/>
                </a:cubicBezTo>
                <a:cubicBezTo>
                  <a:pt x="94" y="1225"/>
                  <a:pt x="83" y="1235"/>
                  <a:pt x="83" y="1239"/>
                </a:cubicBezTo>
                <a:cubicBezTo>
                  <a:pt x="87" y="1240"/>
                  <a:pt x="98" y="1247"/>
                  <a:pt x="103" y="1249"/>
                </a:cubicBezTo>
                <a:cubicBezTo>
                  <a:pt x="106" y="1251"/>
                  <a:pt x="116" y="1250"/>
                  <a:pt x="117" y="1253"/>
                </a:cubicBezTo>
                <a:cubicBezTo>
                  <a:pt x="119" y="1254"/>
                  <a:pt x="120" y="1268"/>
                  <a:pt x="121" y="1271"/>
                </a:cubicBezTo>
                <a:cubicBezTo>
                  <a:pt x="118" y="1275"/>
                  <a:pt x="116" y="1286"/>
                  <a:pt x="115" y="1291"/>
                </a:cubicBezTo>
                <a:cubicBezTo>
                  <a:pt x="114" y="1297"/>
                  <a:pt x="129" y="1301"/>
                  <a:pt x="129" y="1313"/>
                </a:cubicBezTo>
                <a:cubicBezTo>
                  <a:pt x="129" y="1324"/>
                  <a:pt x="127" y="1349"/>
                  <a:pt x="120" y="1358"/>
                </a:cubicBezTo>
                <a:cubicBezTo>
                  <a:pt x="112" y="1366"/>
                  <a:pt x="109" y="1373"/>
                  <a:pt x="109" y="1386"/>
                </a:cubicBezTo>
                <a:cubicBezTo>
                  <a:pt x="109" y="1403"/>
                  <a:pt x="122" y="1382"/>
                  <a:pt x="126" y="1379"/>
                </a:cubicBezTo>
                <a:cubicBezTo>
                  <a:pt x="135" y="1370"/>
                  <a:pt x="133" y="1412"/>
                  <a:pt x="133" y="1416"/>
                </a:cubicBezTo>
                <a:cubicBezTo>
                  <a:pt x="133" y="1422"/>
                  <a:pt x="134" y="1431"/>
                  <a:pt x="130" y="1434"/>
                </a:cubicBezTo>
                <a:cubicBezTo>
                  <a:pt x="125" y="1438"/>
                  <a:pt x="122" y="1423"/>
                  <a:pt x="117" y="1423"/>
                </a:cubicBezTo>
                <a:cubicBezTo>
                  <a:pt x="115" y="1431"/>
                  <a:pt x="110" y="1437"/>
                  <a:pt x="109" y="1447"/>
                </a:cubicBezTo>
                <a:lnTo>
                  <a:pt x="103" y="1484"/>
                </a:lnTo>
                <a:cubicBezTo>
                  <a:pt x="94" y="1500"/>
                  <a:pt x="83" y="1523"/>
                  <a:pt x="106" y="1534"/>
                </a:cubicBezTo>
                <a:cubicBezTo>
                  <a:pt x="106" y="1536"/>
                  <a:pt x="105" y="1538"/>
                  <a:pt x="104" y="1539"/>
                </a:cubicBezTo>
                <a:cubicBezTo>
                  <a:pt x="102" y="1544"/>
                  <a:pt x="90" y="1532"/>
                  <a:pt x="87" y="1532"/>
                </a:cubicBezTo>
                <a:cubicBezTo>
                  <a:pt x="74" y="1532"/>
                  <a:pt x="81" y="1532"/>
                  <a:pt x="83" y="1540"/>
                </a:cubicBezTo>
                <a:cubicBezTo>
                  <a:pt x="85" y="1546"/>
                  <a:pt x="79" y="1559"/>
                  <a:pt x="88" y="1559"/>
                </a:cubicBezTo>
                <a:cubicBezTo>
                  <a:pt x="99" y="1558"/>
                  <a:pt x="120" y="1537"/>
                  <a:pt x="122" y="1559"/>
                </a:cubicBezTo>
                <a:cubicBezTo>
                  <a:pt x="122" y="1563"/>
                  <a:pt x="122" y="1594"/>
                  <a:pt x="123" y="1595"/>
                </a:cubicBezTo>
                <a:cubicBezTo>
                  <a:pt x="125" y="1598"/>
                  <a:pt x="150" y="1597"/>
                  <a:pt x="158" y="1600"/>
                </a:cubicBezTo>
                <a:cubicBezTo>
                  <a:pt x="168" y="1604"/>
                  <a:pt x="182" y="1600"/>
                  <a:pt x="189" y="1593"/>
                </a:cubicBezTo>
                <a:cubicBezTo>
                  <a:pt x="198" y="1584"/>
                  <a:pt x="193" y="1576"/>
                  <a:pt x="190" y="1566"/>
                </a:cubicBezTo>
                <a:cubicBezTo>
                  <a:pt x="186" y="1556"/>
                  <a:pt x="188" y="1555"/>
                  <a:pt x="195" y="1547"/>
                </a:cubicBezTo>
                <a:cubicBezTo>
                  <a:pt x="201" y="1541"/>
                  <a:pt x="184" y="1511"/>
                  <a:pt x="192" y="1509"/>
                </a:cubicBezTo>
                <a:cubicBezTo>
                  <a:pt x="200" y="1507"/>
                  <a:pt x="251" y="1534"/>
                  <a:pt x="255" y="1542"/>
                </a:cubicBezTo>
                <a:cubicBezTo>
                  <a:pt x="256" y="1546"/>
                  <a:pt x="262" y="1563"/>
                  <a:pt x="265" y="1563"/>
                </a:cubicBezTo>
                <a:cubicBezTo>
                  <a:pt x="278" y="1564"/>
                  <a:pt x="274" y="1545"/>
                  <a:pt x="279" y="1536"/>
                </a:cubicBezTo>
                <a:lnTo>
                  <a:pt x="282" y="1524"/>
                </a:lnTo>
                <a:close/>
                <a:moveTo>
                  <a:pt x="464" y="871"/>
                </a:moveTo>
                <a:cubicBezTo>
                  <a:pt x="462" y="861"/>
                  <a:pt x="450" y="862"/>
                  <a:pt x="442" y="859"/>
                </a:cubicBezTo>
                <a:cubicBezTo>
                  <a:pt x="437" y="857"/>
                  <a:pt x="433" y="855"/>
                  <a:pt x="430" y="851"/>
                </a:cubicBezTo>
                <a:cubicBezTo>
                  <a:pt x="422" y="838"/>
                  <a:pt x="438" y="844"/>
                  <a:pt x="443" y="846"/>
                </a:cubicBezTo>
                <a:cubicBezTo>
                  <a:pt x="449" y="847"/>
                  <a:pt x="458" y="844"/>
                  <a:pt x="463" y="842"/>
                </a:cubicBezTo>
                <a:cubicBezTo>
                  <a:pt x="465" y="842"/>
                  <a:pt x="472" y="837"/>
                  <a:pt x="472" y="840"/>
                </a:cubicBezTo>
                <a:cubicBezTo>
                  <a:pt x="472" y="847"/>
                  <a:pt x="473" y="852"/>
                  <a:pt x="474" y="859"/>
                </a:cubicBezTo>
                <a:cubicBezTo>
                  <a:pt x="474" y="863"/>
                  <a:pt x="476" y="875"/>
                  <a:pt x="469" y="874"/>
                </a:cubicBezTo>
                <a:lnTo>
                  <a:pt x="464" y="871"/>
                </a:lnTo>
                <a:close/>
                <a:moveTo>
                  <a:pt x="796" y="653"/>
                </a:moveTo>
                <a:cubicBezTo>
                  <a:pt x="790" y="649"/>
                  <a:pt x="782" y="645"/>
                  <a:pt x="775" y="648"/>
                </a:cubicBezTo>
                <a:cubicBezTo>
                  <a:pt x="770" y="649"/>
                  <a:pt x="766" y="657"/>
                  <a:pt x="766" y="661"/>
                </a:cubicBezTo>
                <a:cubicBezTo>
                  <a:pt x="766" y="668"/>
                  <a:pt x="771" y="676"/>
                  <a:pt x="777" y="680"/>
                </a:cubicBezTo>
                <a:cubicBezTo>
                  <a:pt x="788" y="687"/>
                  <a:pt x="805" y="682"/>
                  <a:pt x="803" y="666"/>
                </a:cubicBezTo>
                <a:lnTo>
                  <a:pt x="796" y="653"/>
                </a:lnTo>
                <a:close/>
                <a:moveTo>
                  <a:pt x="68" y="160"/>
                </a:moveTo>
                <a:cubicBezTo>
                  <a:pt x="84" y="166"/>
                  <a:pt x="94" y="173"/>
                  <a:pt x="112" y="166"/>
                </a:cubicBezTo>
                <a:cubicBezTo>
                  <a:pt x="154" y="151"/>
                  <a:pt x="144" y="167"/>
                  <a:pt x="186" y="173"/>
                </a:cubicBezTo>
                <a:cubicBezTo>
                  <a:pt x="219" y="179"/>
                  <a:pt x="215" y="143"/>
                  <a:pt x="229" y="126"/>
                </a:cubicBezTo>
                <a:cubicBezTo>
                  <a:pt x="237" y="117"/>
                  <a:pt x="262" y="95"/>
                  <a:pt x="273" y="93"/>
                </a:cubicBezTo>
                <a:cubicBezTo>
                  <a:pt x="303" y="86"/>
                  <a:pt x="250" y="124"/>
                  <a:pt x="291" y="140"/>
                </a:cubicBezTo>
                <a:cubicBezTo>
                  <a:pt x="313" y="149"/>
                  <a:pt x="315" y="172"/>
                  <a:pt x="325" y="190"/>
                </a:cubicBezTo>
                <a:cubicBezTo>
                  <a:pt x="336" y="208"/>
                  <a:pt x="348" y="211"/>
                  <a:pt x="359" y="189"/>
                </a:cubicBezTo>
                <a:cubicBezTo>
                  <a:pt x="371" y="166"/>
                  <a:pt x="396" y="154"/>
                  <a:pt x="397" y="128"/>
                </a:cubicBezTo>
                <a:cubicBezTo>
                  <a:pt x="397" y="120"/>
                  <a:pt x="403" y="99"/>
                  <a:pt x="412" y="97"/>
                </a:cubicBezTo>
                <a:cubicBezTo>
                  <a:pt x="417" y="96"/>
                  <a:pt x="430" y="123"/>
                  <a:pt x="434" y="127"/>
                </a:cubicBezTo>
                <a:cubicBezTo>
                  <a:pt x="443" y="129"/>
                  <a:pt x="452" y="135"/>
                  <a:pt x="461" y="135"/>
                </a:cubicBezTo>
                <a:cubicBezTo>
                  <a:pt x="470" y="136"/>
                  <a:pt x="474" y="136"/>
                  <a:pt x="483" y="139"/>
                </a:cubicBezTo>
                <a:cubicBezTo>
                  <a:pt x="497" y="144"/>
                  <a:pt x="510" y="148"/>
                  <a:pt x="510" y="127"/>
                </a:cubicBezTo>
                <a:cubicBezTo>
                  <a:pt x="510" y="121"/>
                  <a:pt x="505" y="104"/>
                  <a:pt x="513" y="102"/>
                </a:cubicBezTo>
                <a:cubicBezTo>
                  <a:pt x="522" y="98"/>
                  <a:pt x="550" y="117"/>
                  <a:pt x="556" y="95"/>
                </a:cubicBezTo>
                <a:cubicBezTo>
                  <a:pt x="559" y="88"/>
                  <a:pt x="557" y="83"/>
                  <a:pt x="554" y="76"/>
                </a:cubicBezTo>
                <a:cubicBezTo>
                  <a:pt x="550" y="68"/>
                  <a:pt x="555" y="62"/>
                  <a:pt x="558" y="55"/>
                </a:cubicBezTo>
                <a:lnTo>
                  <a:pt x="569" y="37"/>
                </a:lnTo>
                <a:lnTo>
                  <a:pt x="569" y="37"/>
                </a:lnTo>
                <a:cubicBezTo>
                  <a:pt x="583" y="34"/>
                  <a:pt x="593" y="22"/>
                  <a:pt x="605" y="15"/>
                </a:cubicBezTo>
                <a:cubicBezTo>
                  <a:pt x="608" y="13"/>
                  <a:pt x="625" y="24"/>
                  <a:pt x="630" y="25"/>
                </a:cubicBezTo>
                <a:cubicBezTo>
                  <a:pt x="655" y="30"/>
                  <a:pt x="675" y="4"/>
                  <a:pt x="700" y="4"/>
                </a:cubicBezTo>
                <a:cubicBezTo>
                  <a:pt x="717" y="3"/>
                  <a:pt x="736" y="10"/>
                  <a:pt x="754" y="10"/>
                </a:cubicBezTo>
                <a:cubicBezTo>
                  <a:pt x="770" y="10"/>
                  <a:pt x="827" y="0"/>
                  <a:pt x="828" y="22"/>
                </a:cubicBezTo>
                <a:cubicBezTo>
                  <a:pt x="830" y="57"/>
                  <a:pt x="818" y="70"/>
                  <a:pt x="847" y="97"/>
                </a:cubicBezTo>
                <a:cubicBezTo>
                  <a:pt x="865" y="109"/>
                  <a:pt x="878" y="111"/>
                  <a:pt x="899" y="113"/>
                </a:cubicBezTo>
                <a:cubicBezTo>
                  <a:pt x="934" y="116"/>
                  <a:pt x="949" y="140"/>
                  <a:pt x="981" y="144"/>
                </a:cubicBezTo>
                <a:cubicBezTo>
                  <a:pt x="1010" y="147"/>
                  <a:pt x="1021" y="163"/>
                  <a:pt x="1034" y="185"/>
                </a:cubicBezTo>
                <a:lnTo>
                  <a:pt x="1034" y="185"/>
                </a:lnTo>
                <a:lnTo>
                  <a:pt x="1008" y="196"/>
                </a:lnTo>
                <a:cubicBezTo>
                  <a:pt x="985" y="199"/>
                  <a:pt x="993" y="221"/>
                  <a:pt x="996" y="236"/>
                </a:cubicBezTo>
                <a:cubicBezTo>
                  <a:pt x="1000" y="255"/>
                  <a:pt x="995" y="273"/>
                  <a:pt x="1003" y="290"/>
                </a:cubicBezTo>
                <a:cubicBezTo>
                  <a:pt x="1012" y="307"/>
                  <a:pt x="1045" y="337"/>
                  <a:pt x="1024" y="356"/>
                </a:cubicBezTo>
                <a:lnTo>
                  <a:pt x="1005" y="359"/>
                </a:lnTo>
                <a:lnTo>
                  <a:pt x="1005" y="359"/>
                </a:lnTo>
                <a:cubicBezTo>
                  <a:pt x="1020" y="331"/>
                  <a:pt x="1026" y="351"/>
                  <a:pt x="1003" y="327"/>
                </a:cubicBezTo>
                <a:cubicBezTo>
                  <a:pt x="976" y="300"/>
                  <a:pt x="966" y="339"/>
                  <a:pt x="947" y="314"/>
                </a:cubicBezTo>
                <a:cubicBezTo>
                  <a:pt x="936" y="299"/>
                  <a:pt x="928" y="307"/>
                  <a:pt x="917" y="314"/>
                </a:cubicBezTo>
                <a:cubicBezTo>
                  <a:pt x="895" y="329"/>
                  <a:pt x="912" y="326"/>
                  <a:pt x="924" y="334"/>
                </a:cubicBezTo>
                <a:cubicBezTo>
                  <a:pt x="931" y="340"/>
                  <a:pt x="895" y="342"/>
                  <a:pt x="891" y="342"/>
                </a:cubicBezTo>
                <a:cubicBezTo>
                  <a:pt x="874" y="342"/>
                  <a:pt x="856" y="353"/>
                  <a:pt x="840" y="360"/>
                </a:cubicBezTo>
                <a:cubicBezTo>
                  <a:pt x="818" y="370"/>
                  <a:pt x="823" y="351"/>
                  <a:pt x="831" y="349"/>
                </a:cubicBezTo>
                <a:cubicBezTo>
                  <a:pt x="852" y="342"/>
                  <a:pt x="835" y="333"/>
                  <a:pt x="822" y="341"/>
                </a:cubicBezTo>
                <a:cubicBezTo>
                  <a:pt x="807" y="350"/>
                  <a:pt x="796" y="361"/>
                  <a:pt x="781" y="369"/>
                </a:cubicBezTo>
                <a:cubicBezTo>
                  <a:pt x="762" y="379"/>
                  <a:pt x="789" y="412"/>
                  <a:pt x="801" y="417"/>
                </a:cubicBezTo>
                <a:cubicBezTo>
                  <a:pt x="827" y="427"/>
                  <a:pt x="821" y="463"/>
                  <a:pt x="803" y="478"/>
                </a:cubicBezTo>
                <a:cubicBezTo>
                  <a:pt x="780" y="494"/>
                  <a:pt x="767" y="477"/>
                  <a:pt x="774" y="513"/>
                </a:cubicBezTo>
                <a:cubicBezTo>
                  <a:pt x="778" y="534"/>
                  <a:pt x="778" y="556"/>
                  <a:pt x="781" y="578"/>
                </a:cubicBezTo>
                <a:cubicBezTo>
                  <a:pt x="790" y="630"/>
                  <a:pt x="836" y="667"/>
                  <a:pt x="875" y="698"/>
                </a:cubicBezTo>
                <a:cubicBezTo>
                  <a:pt x="883" y="712"/>
                  <a:pt x="906" y="733"/>
                  <a:pt x="920" y="741"/>
                </a:cubicBezTo>
                <a:cubicBezTo>
                  <a:pt x="929" y="747"/>
                  <a:pt x="959" y="743"/>
                  <a:pt x="963" y="751"/>
                </a:cubicBezTo>
                <a:cubicBezTo>
                  <a:pt x="968" y="763"/>
                  <a:pt x="966" y="776"/>
                  <a:pt x="968" y="788"/>
                </a:cubicBezTo>
                <a:cubicBezTo>
                  <a:pt x="970" y="803"/>
                  <a:pt x="977" y="822"/>
                  <a:pt x="981" y="836"/>
                </a:cubicBezTo>
                <a:cubicBezTo>
                  <a:pt x="983" y="865"/>
                  <a:pt x="980" y="913"/>
                  <a:pt x="997" y="936"/>
                </a:cubicBezTo>
                <a:cubicBezTo>
                  <a:pt x="1015" y="960"/>
                  <a:pt x="1023" y="982"/>
                  <a:pt x="1046" y="1005"/>
                </a:cubicBezTo>
                <a:cubicBezTo>
                  <a:pt x="1053" y="1005"/>
                  <a:pt x="1056" y="1008"/>
                  <a:pt x="1061" y="1012"/>
                </a:cubicBezTo>
                <a:cubicBezTo>
                  <a:pt x="1061" y="1029"/>
                  <a:pt x="1078" y="1039"/>
                  <a:pt x="1094" y="1039"/>
                </a:cubicBezTo>
                <a:cubicBezTo>
                  <a:pt x="1111" y="1039"/>
                  <a:pt x="1115" y="1062"/>
                  <a:pt x="1130" y="1071"/>
                </a:cubicBezTo>
                <a:cubicBezTo>
                  <a:pt x="1172" y="1095"/>
                  <a:pt x="1199" y="1097"/>
                  <a:pt x="1244" y="1106"/>
                </a:cubicBezTo>
                <a:cubicBezTo>
                  <a:pt x="1269" y="1110"/>
                  <a:pt x="1296" y="1101"/>
                  <a:pt x="1318" y="1106"/>
                </a:cubicBezTo>
                <a:cubicBezTo>
                  <a:pt x="1323" y="1114"/>
                  <a:pt x="1315" y="1128"/>
                  <a:pt x="1314" y="1137"/>
                </a:cubicBezTo>
                <a:cubicBezTo>
                  <a:pt x="1302" y="1147"/>
                  <a:pt x="1306" y="1157"/>
                  <a:pt x="1288" y="1164"/>
                </a:cubicBezTo>
                <a:cubicBezTo>
                  <a:pt x="1267" y="1172"/>
                  <a:pt x="1279" y="1178"/>
                  <a:pt x="1291" y="1188"/>
                </a:cubicBezTo>
                <a:cubicBezTo>
                  <a:pt x="1314" y="1208"/>
                  <a:pt x="1342" y="1220"/>
                  <a:pt x="1369" y="1235"/>
                </a:cubicBezTo>
                <a:lnTo>
                  <a:pt x="1476" y="1294"/>
                </a:lnTo>
                <a:cubicBezTo>
                  <a:pt x="1503" y="1309"/>
                  <a:pt x="1529" y="1334"/>
                  <a:pt x="1556" y="1347"/>
                </a:cubicBezTo>
                <a:cubicBezTo>
                  <a:pt x="1604" y="1369"/>
                  <a:pt x="1630" y="1401"/>
                  <a:pt x="1653" y="1447"/>
                </a:cubicBezTo>
                <a:cubicBezTo>
                  <a:pt x="1666" y="1473"/>
                  <a:pt x="1645" y="1485"/>
                  <a:pt x="1645" y="1509"/>
                </a:cubicBezTo>
                <a:cubicBezTo>
                  <a:pt x="1645" y="1523"/>
                  <a:pt x="1652" y="1535"/>
                  <a:pt x="1632" y="1529"/>
                </a:cubicBezTo>
                <a:cubicBezTo>
                  <a:pt x="1580" y="1516"/>
                  <a:pt x="1612" y="1445"/>
                  <a:pt x="1563" y="1440"/>
                </a:cubicBezTo>
                <a:cubicBezTo>
                  <a:pt x="1552" y="1439"/>
                  <a:pt x="1467" y="1438"/>
                  <a:pt x="1473" y="1413"/>
                </a:cubicBezTo>
                <a:cubicBezTo>
                  <a:pt x="1477" y="1397"/>
                  <a:pt x="1481" y="1397"/>
                  <a:pt x="1460" y="1397"/>
                </a:cubicBezTo>
                <a:cubicBezTo>
                  <a:pt x="1445" y="1397"/>
                  <a:pt x="1435" y="1400"/>
                  <a:pt x="1426" y="1411"/>
                </a:cubicBezTo>
                <a:cubicBezTo>
                  <a:pt x="1395" y="1443"/>
                  <a:pt x="1380" y="1475"/>
                  <a:pt x="1361" y="1514"/>
                </a:cubicBezTo>
                <a:cubicBezTo>
                  <a:pt x="1359" y="1551"/>
                  <a:pt x="1365" y="1564"/>
                  <a:pt x="1400" y="1574"/>
                </a:cubicBezTo>
                <a:cubicBezTo>
                  <a:pt x="1419" y="1579"/>
                  <a:pt x="1439" y="1603"/>
                  <a:pt x="1455" y="1614"/>
                </a:cubicBezTo>
                <a:cubicBezTo>
                  <a:pt x="1461" y="1619"/>
                  <a:pt x="1457" y="1643"/>
                  <a:pt x="1457" y="1650"/>
                </a:cubicBezTo>
                <a:cubicBezTo>
                  <a:pt x="1457" y="1659"/>
                  <a:pt x="1460" y="1697"/>
                  <a:pt x="1455" y="1701"/>
                </a:cubicBezTo>
                <a:lnTo>
                  <a:pt x="1432" y="1716"/>
                </a:lnTo>
                <a:cubicBezTo>
                  <a:pt x="1429" y="1718"/>
                  <a:pt x="1420" y="1700"/>
                  <a:pt x="1415" y="1698"/>
                </a:cubicBezTo>
                <a:cubicBezTo>
                  <a:pt x="1403" y="1693"/>
                  <a:pt x="1381" y="1710"/>
                  <a:pt x="1375" y="1719"/>
                </a:cubicBezTo>
                <a:cubicBezTo>
                  <a:pt x="1364" y="1737"/>
                  <a:pt x="1365" y="1753"/>
                  <a:pt x="1365" y="1774"/>
                </a:cubicBezTo>
                <a:cubicBezTo>
                  <a:pt x="1367" y="1782"/>
                  <a:pt x="1363" y="1810"/>
                  <a:pt x="1361" y="1818"/>
                </a:cubicBezTo>
                <a:cubicBezTo>
                  <a:pt x="1358" y="1829"/>
                  <a:pt x="1338" y="1823"/>
                  <a:pt x="1330" y="1831"/>
                </a:cubicBezTo>
                <a:cubicBezTo>
                  <a:pt x="1311" y="1849"/>
                  <a:pt x="1292" y="1874"/>
                  <a:pt x="1287" y="1901"/>
                </a:cubicBezTo>
                <a:cubicBezTo>
                  <a:pt x="1285" y="1914"/>
                  <a:pt x="1258" y="1909"/>
                  <a:pt x="1249" y="1909"/>
                </a:cubicBezTo>
                <a:cubicBezTo>
                  <a:pt x="1225" y="1909"/>
                  <a:pt x="1220" y="1907"/>
                  <a:pt x="1213" y="1886"/>
                </a:cubicBezTo>
                <a:cubicBezTo>
                  <a:pt x="1209" y="1876"/>
                  <a:pt x="1213" y="1868"/>
                  <a:pt x="1213" y="1857"/>
                </a:cubicBezTo>
                <a:cubicBezTo>
                  <a:pt x="1213" y="1856"/>
                  <a:pt x="1212" y="1846"/>
                  <a:pt x="1214" y="1845"/>
                </a:cubicBezTo>
                <a:lnTo>
                  <a:pt x="1214" y="1845"/>
                </a:lnTo>
                <a:cubicBezTo>
                  <a:pt x="1229" y="1845"/>
                  <a:pt x="1244" y="1820"/>
                  <a:pt x="1252" y="1810"/>
                </a:cubicBezTo>
                <a:cubicBezTo>
                  <a:pt x="1292" y="1786"/>
                  <a:pt x="1223" y="1781"/>
                  <a:pt x="1243" y="1763"/>
                </a:cubicBezTo>
                <a:cubicBezTo>
                  <a:pt x="1255" y="1752"/>
                  <a:pt x="1271" y="1737"/>
                  <a:pt x="1286" y="1735"/>
                </a:cubicBezTo>
                <a:cubicBezTo>
                  <a:pt x="1304" y="1734"/>
                  <a:pt x="1313" y="1741"/>
                  <a:pt x="1316" y="1721"/>
                </a:cubicBezTo>
                <a:cubicBezTo>
                  <a:pt x="1318" y="1694"/>
                  <a:pt x="1312" y="1691"/>
                  <a:pt x="1295" y="1676"/>
                </a:cubicBezTo>
                <a:cubicBezTo>
                  <a:pt x="1274" y="1657"/>
                  <a:pt x="1300" y="1624"/>
                  <a:pt x="1280" y="1602"/>
                </a:cubicBezTo>
                <a:cubicBezTo>
                  <a:pt x="1267" y="1587"/>
                  <a:pt x="1254" y="1584"/>
                  <a:pt x="1246" y="1565"/>
                </a:cubicBezTo>
                <a:cubicBezTo>
                  <a:pt x="1238" y="1545"/>
                  <a:pt x="1255" y="1529"/>
                  <a:pt x="1248" y="1508"/>
                </a:cubicBezTo>
                <a:cubicBezTo>
                  <a:pt x="1246" y="1492"/>
                  <a:pt x="1217" y="1457"/>
                  <a:pt x="1199" y="1472"/>
                </a:cubicBezTo>
                <a:cubicBezTo>
                  <a:pt x="1161" y="1503"/>
                  <a:pt x="1186" y="1486"/>
                  <a:pt x="1152" y="1481"/>
                </a:cubicBezTo>
                <a:cubicBezTo>
                  <a:pt x="1151" y="1477"/>
                  <a:pt x="1157" y="1473"/>
                  <a:pt x="1154" y="1465"/>
                </a:cubicBezTo>
                <a:cubicBezTo>
                  <a:pt x="1152" y="1459"/>
                  <a:pt x="1144" y="1452"/>
                  <a:pt x="1140" y="1447"/>
                </a:cubicBezTo>
                <a:cubicBezTo>
                  <a:pt x="1130" y="1434"/>
                  <a:pt x="1090" y="1430"/>
                  <a:pt x="1105" y="1418"/>
                </a:cubicBezTo>
                <a:cubicBezTo>
                  <a:pt x="1114" y="1411"/>
                  <a:pt x="1116" y="1401"/>
                  <a:pt x="1112" y="1391"/>
                </a:cubicBezTo>
                <a:cubicBezTo>
                  <a:pt x="1107" y="1379"/>
                  <a:pt x="1102" y="1355"/>
                  <a:pt x="1086" y="1351"/>
                </a:cubicBezTo>
                <a:cubicBezTo>
                  <a:pt x="1066" y="1346"/>
                  <a:pt x="1045" y="1363"/>
                  <a:pt x="1026" y="1363"/>
                </a:cubicBezTo>
                <a:lnTo>
                  <a:pt x="1025" y="1363"/>
                </a:lnTo>
                <a:cubicBezTo>
                  <a:pt x="1025" y="1350"/>
                  <a:pt x="1060" y="1346"/>
                  <a:pt x="1051" y="1332"/>
                </a:cubicBezTo>
                <a:cubicBezTo>
                  <a:pt x="1035" y="1305"/>
                  <a:pt x="1018" y="1311"/>
                  <a:pt x="993" y="1314"/>
                </a:cubicBezTo>
                <a:cubicBezTo>
                  <a:pt x="981" y="1316"/>
                  <a:pt x="988" y="1295"/>
                  <a:pt x="988" y="1287"/>
                </a:cubicBezTo>
                <a:cubicBezTo>
                  <a:pt x="988" y="1281"/>
                  <a:pt x="973" y="1277"/>
                  <a:pt x="971" y="1267"/>
                </a:cubicBezTo>
                <a:cubicBezTo>
                  <a:pt x="956" y="1221"/>
                  <a:pt x="923" y="1201"/>
                  <a:pt x="874" y="1206"/>
                </a:cubicBezTo>
                <a:cubicBezTo>
                  <a:pt x="865" y="1207"/>
                  <a:pt x="849" y="1225"/>
                  <a:pt x="845" y="1222"/>
                </a:cubicBezTo>
                <a:cubicBezTo>
                  <a:pt x="840" y="1218"/>
                  <a:pt x="829" y="1197"/>
                  <a:pt x="825" y="1190"/>
                </a:cubicBezTo>
                <a:cubicBezTo>
                  <a:pt x="814" y="1172"/>
                  <a:pt x="787" y="1166"/>
                  <a:pt x="773" y="1146"/>
                </a:cubicBezTo>
                <a:lnTo>
                  <a:pt x="729" y="1076"/>
                </a:lnTo>
                <a:cubicBezTo>
                  <a:pt x="705" y="1038"/>
                  <a:pt x="662" y="1026"/>
                  <a:pt x="648" y="980"/>
                </a:cubicBezTo>
                <a:cubicBezTo>
                  <a:pt x="643" y="969"/>
                  <a:pt x="629" y="954"/>
                  <a:pt x="616" y="952"/>
                </a:cubicBezTo>
                <a:cubicBezTo>
                  <a:pt x="602" y="949"/>
                  <a:pt x="592" y="967"/>
                  <a:pt x="584" y="949"/>
                </a:cubicBezTo>
                <a:cubicBezTo>
                  <a:pt x="583" y="946"/>
                  <a:pt x="574" y="935"/>
                  <a:pt x="577" y="934"/>
                </a:cubicBezTo>
                <a:cubicBezTo>
                  <a:pt x="584" y="931"/>
                  <a:pt x="593" y="934"/>
                  <a:pt x="599" y="932"/>
                </a:cubicBezTo>
                <a:cubicBezTo>
                  <a:pt x="599" y="907"/>
                  <a:pt x="552" y="879"/>
                  <a:pt x="535" y="865"/>
                </a:cubicBezTo>
                <a:cubicBezTo>
                  <a:pt x="525" y="857"/>
                  <a:pt x="527" y="842"/>
                  <a:pt x="521" y="838"/>
                </a:cubicBezTo>
                <a:cubicBezTo>
                  <a:pt x="514" y="833"/>
                  <a:pt x="492" y="852"/>
                  <a:pt x="497" y="830"/>
                </a:cubicBezTo>
                <a:cubicBezTo>
                  <a:pt x="500" y="815"/>
                  <a:pt x="507" y="810"/>
                  <a:pt x="504" y="791"/>
                </a:cubicBezTo>
                <a:cubicBezTo>
                  <a:pt x="497" y="756"/>
                  <a:pt x="469" y="728"/>
                  <a:pt x="463" y="693"/>
                </a:cubicBezTo>
                <a:cubicBezTo>
                  <a:pt x="463" y="676"/>
                  <a:pt x="455" y="556"/>
                  <a:pt x="411" y="583"/>
                </a:cubicBezTo>
                <a:cubicBezTo>
                  <a:pt x="399" y="591"/>
                  <a:pt x="387" y="566"/>
                  <a:pt x="379" y="559"/>
                </a:cubicBezTo>
                <a:cubicBezTo>
                  <a:pt x="373" y="553"/>
                  <a:pt x="353" y="521"/>
                  <a:pt x="342" y="528"/>
                </a:cubicBezTo>
                <a:cubicBezTo>
                  <a:pt x="321" y="541"/>
                  <a:pt x="325" y="514"/>
                  <a:pt x="295" y="508"/>
                </a:cubicBezTo>
                <a:cubicBezTo>
                  <a:pt x="257" y="501"/>
                  <a:pt x="228" y="520"/>
                  <a:pt x="201" y="542"/>
                </a:cubicBezTo>
                <a:cubicBezTo>
                  <a:pt x="185" y="554"/>
                  <a:pt x="183" y="577"/>
                  <a:pt x="168" y="586"/>
                </a:cubicBezTo>
                <a:cubicBezTo>
                  <a:pt x="152" y="595"/>
                  <a:pt x="99" y="607"/>
                  <a:pt x="81" y="606"/>
                </a:cubicBezTo>
                <a:lnTo>
                  <a:pt x="81" y="606"/>
                </a:lnTo>
                <a:cubicBezTo>
                  <a:pt x="77" y="593"/>
                  <a:pt x="73" y="572"/>
                  <a:pt x="76" y="559"/>
                </a:cubicBezTo>
                <a:cubicBezTo>
                  <a:pt x="79" y="550"/>
                  <a:pt x="86" y="546"/>
                  <a:pt x="86" y="536"/>
                </a:cubicBezTo>
                <a:cubicBezTo>
                  <a:pt x="84" y="510"/>
                  <a:pt x="33" y="515"/>
                  <a:pt x="21" y="494"/>
                </a:cubicBezTo>
                <a:cubicBezTo>
                  <a:pt x="12" y="476"/>
                  <a:pt x="16" y="454"/>
                  <a:pt x="10" y="435"/>
                </a:cubicBezTo>
                <a:cubicBezTo>
                  <a:pt x="1" y="405"/>
                  <a:pt x="26" y="404"/>
                  <a:pt x="38" y="384"/>
                </a:cubicBezTo>
                <a:cubicBezTo>
                  <a:pt x="38" y="362"/>
                  <a:pt x="31" y="362"/>
                  <a:pt x="14" y="351"/>
                </a:cubicBezTo>
                <a:cubicBezTo>
                  <a:pt x="4" y="345"/>
                  <a:pt x="1" y="325"/>
                  <a:pt x="1" y="314"/>
                </a:cubicBezTo>
                <a:cubicBezTo>
                  <a:pt x="0" y="302"/>
                  <a:pt x="11" y="302"/>
                  <a:pt x="21" y="300"/>
                </a:cubicBezTo>
                <a:cubicBezTo>
                  <a:pt x="37" y="297"/>
                  <a:pt x="48" y="288"/>
                  <a:pt x="59" y="277"/>
                </a:cubicBezTo>
                <a:cubicBezTo>
                  <a:pt x="73" y="263"/>
                  <a:pt x="81" y="250"/>
                  <a:pt x="61" y="234"/>
                </a:cubicBezTo>
                <a:cubicBezTo>
                  <a:pt x="53" y="228"/>
                  <a:pt x="56" y="215"/>
                  <a:pt x="56" y="206"/>
                </a:cubicBezTo>
                <a:cubicBezTo>
                  <a:pt x="56" y="192"/>
                  <a:pt x="47" y="195"/>
                  <a:pt x="44" y="185"/>
                </a:cubicBezTo>
                <a:cubicBezTo>
                  <a:pt x="42" y="179"/>
                  <a:pt x="44" y="173"/>
                  <a:pt x="42" y="166"/>
                </a:cubicBezTo>
                <a:lnTo>
                  <a:pt x="68" y="160"/>
                </a:lnTo>
                <a:close/>
              </a:path>
            </a:pathLst>
          </a:custGeom>
          <a:noFill/>
          <a:ln w="3175"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93" name="Group 92"/>
          <p:cNvGrpSpPr/>
          <p:nvPr/>
        </p:nvGrpSpPr>
        <p:grpSpPr>
          <a:xfrm>
            <a:off x="0" y="1221262"/>
            <a:ext cx="1872351" cy="233523"/>
            <a:chOff x="0" y="1112402"/>
            <a:chExt cx="1872351" cy="233523"/>
          </a:xfrm>
        </p:grpSpPr>
        <p:sp>
          <p:nvSpPr>
            <p:cNvPr id="94" name="Freeform 93"/>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cxnSp>
          <p:nvCxnSpPr>
            <p:cNvPr id="95" name="Straight Connector 94"/>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grpSp>
        <p:nvGrpSpPr>
          <p:cNvPr id="97" name="Group 96"/>
          <p:cNvGrpSpPr/>
          <p:nvPr/>
        </p:nvGrpSpPr>
        <p:grpSpPr>
          <a:xfrm flipH="1">
            <a:off x="10319649" y="6223855"/>
            <a:ext cx="1872351" cy="233523"/>
            <a:chOff x="0" y="1112402"/>
            <a:chExt cx="1872351" cy="233523"/>
          </a:xfrm>
        </p:grpSpPr>
        <p:sp>
          <p:nvSpPr>
            <p:cNvPr id="98" name="Freeform 97"/>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cxnSp>
          <p:nvCxnSpPr>
            <p:cNvPr id="99" name="Straight Connector 98"/>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graphicFrame>
        <p:nvGraphicFramePr>
          <p:cNvPr id="300" name="Chart 299">
            <a:extLst>
              <a:ext uri="{FF2B5EF4-FFF2-40B4-BE49-F238E27FC236}">
                <a16:creationId xmlns:a16="http://schemas.microsoft.com/office/drawing/2014/main" id="{F992633D-8498-4336-854D-83A147704EA1}"/>
              </a:ext>
            </a:extLst>
          </p:cNvPr>
          <p:cNvGraphicFramePr/>
          <p:nvPr>
            <p:custDataLst>
              <p:tags r:id="rId3"/>
            </p:custDataLst>
          </p:nvPr>
        </p:nvGraphicFramePr>
        <p:xfrm>
          <a:off x="658813" y="2887663"/>
          <a:ext cx="4983162" cy="2389187"/>
        </p:xfrm>
        <a:graphic>
          <a:graphicData uri="http://schemas.openxmlformats.org/drawingml/2006/chart">
            <c:chart xmlns:c="http://schemas.openxmlformats.org/drawingml/2006/chart" xmlns:r="http://schemas.openxmlformats.org/officeDocument/2006/relationships" r:id="rId83"/>
          </a:graphicData>
        </a:graphic>
      </p:graphicFrame>
      <p:cxnSp>
        <p:nvCxnSpPr>
          <p:cNvPr id="191" name="Straight Connector 190">
            <a:extLst>
              <a:ext uri="{FF2B5EF4-FFF2-40B4-BE49-F238E27FC236}">
                <a16:creationId xmlns:a16="http://schemas.microsoft.com/office/drawing/2014/main" id="{C1797EDD-7114-4523-AAC9-9F19D4EF164C}"/>
              </a:ext>
            </a:extLst>
          </p:cNvPr>
          <p:cNvCxnSpPr/>
          <p:nvPr>
            <p:custDataLst>
              <p:tags r:id="rId4"/>
            </p:custDataLst>
          </p:nvPr>
        </p:nvCxnSpPr>
        <p:spPr bwMode="white">
          <a:xfrm>
            <a:off x="1755775" y="2724150"/>
            <a:ext cx="0" cy="354013"/>
          </a:xfrm>
          <a:prstGeom prst="line">
            <a:avLst/>
          </a:prstGeom>
          <a:ln w="6350" cap="flat" cmpd="sng" algn="ctr">
            <a:solidFill>
              <a:schemeClr val="bg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7C2A3D6E-C69D-4676-8539-0960381790EF}"/>
              </a:ext>
            </a:extLst>
          </p:cNvPr>
          <p:cNvCxnSpPr>
            <a:cxnSpLocks/>
          </p:cNvCxnSpPr>
          <p:nvPr>
            <p:custDataLst>
              <p:tags r:id="rId5"/>
            </p:custDataLst>
          </p:nvPr>
        </p:nvCxnSpPr>
        <p:spPr bwMode="white">
          <a:xfrm flipV="1">
            <a:off x="1458913" y="2724149"/>
            <a:ext cx="0" cy="107950"/>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84B815C7-866B-4423-BB27-69F345B9390B}"/>
              </a:ext>
            </a:extLst>
          </p:cNvPr>
          <p:cNvCxnSpPr/>
          <p:nvPr>
            <p:custDataLst>
              <p:tags r:id="rId6"/>
            </p:custDataLst>
          </p:nvPr>
        </p:nvCxnSpPr>
        <p:spPr bwMode="white">
          <a:xfrm flipV="1">
            <a:off x="1831975" y="2724150"/>
            <a:ext cx="0" cy="354013"/>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5D97AABB-8F8D-4419-AE9C-7CCCBA74C502}"/>
              </a:ext>
            </a:extLst>
          </p:cNvPr>
          <p:cNvCxnSpPr>
            <a:cxnSpLocks/>
          </p:cNvCxnSpPr>
          <p:nvPr>
            <p:custDataLst>
              <p:tags r:id="rId7"/>
            </p:custDataLst>
          </p:nvPr>
        </p:nvCxnSpPr>
        <p:spPr bwMode="white">
          <a:xfrm flipV="1">
            <a:off x="1831975" y="2432050"/>
            <a:ext cx="0" cy="139700"/>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A264C979-DA19-4828-8AE1-3A5694483688}"/>
              </a:ext>
            </a:extLst>
          </p:cNvPr>
          <p:cNvCxnSpPr/>
          <p:nvPr>
            <p:custDataLst>
              <p:tags r:id="rId8"/>
            </p:custDataLst>
          </p:nvPr>
        </p:nvCxnSpPr>
        <p:spPr bwMode="white">
          <a:xfrm>
            <a:off x="2128838" y="2432049"/>
            <a:ext cx="0" cy="838200"/>
          </a:xfrm>
          <a:prstGeom prst="line">
            <a:avLst/>
          </a:prstGeom>
          <a:ln w="6350" cap="flat" cmpd="sng" algn="ctr">
            <a:solidFill>
              <a:schemeClr val="bg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4FB9C001-1B68-437A-BE72-A0F0742293CF}"/>
              </a:ext>
            </a:extLst>
          </p:cNvPr>
          <p:cNvCxnSpPr/>
          <p:nvPr>
            <p:custDataLst>
              <p:tags r:id="rId9"/>
            </p:custDataLst>
          </p:nvPr>
        </p:nvCxnSpPr>
        <p:spPr bwMode="white">
          <a:xfrm>
            <a:off x="3262313" y="2955925"/>
            <a:ext cx="0" cy="493713"/>
          </a:xfrm>
          <a:prstGeom prst="line">
            <a:avLst/>
          </a:prstGeom>
          <a:ln w="6350" cap="flat" cmpd="sng" algn="ctr">
            <a:solidFill>
              <a:schemeClr val="bg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B96F29C5-14E1-43F1-89D8-F382F3FAEEFB}"/>
              </a:ext>
            </a:extLst>
          </p:cNvPr>
          <p:cNvCxnSpPr/>
          <p:nvPr>
            <p:custDataLst>
              <p:tags r:id="rId10"/>
            </p:custDataLst>
          </p:nvPr>
        </p:nvCxnSpPr>
        <p:spPr bwMode="white">
          <a:xfrm flipV="1">
            <a:off x="2965450" y="2955924"/>
            <a:ext cx="0" cy="107950"/>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AF335511-B4BA-4C71-82C3-99D56DAF4FA6}"/>
              </a:ext>
            </a:extLst>
          </p:cNvPr>
          <p:cNvCxnSpPr/>
          <p:nvPr>
            <p:custDataLst>
              <p:tags r:id="rId11"/>
            </p:custDataLst>
          </p:nvPr>
        </p:nvCxnSpPr>
        <p:spPr bwMode="white">
          <a:xfrm>
            <a:off x="3633788" y="2663825"/>
            <a:ext cx="0" cy="549275"/>
          </a:xfrm>
          <a:prstGeom prst="line">
            <a:avLst/>
          </a:prstGeom>
          <a:ln w="6350" cap="flat" cmpd="sng" algn="ctr">
            <a:solidFill>
              <a:schemeClr val="bg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C0A83928-7EFE-4405-B41B-03A053599C34}"/>
              </a:ext>
            </a:extLst>
          </p:cNvPr>
          <p:cNvCxnSpPr/>
          <p:nvPr>
            <p:custDataLst>
              <p:tags r:id="rId12"/>
            </p:custDataLst>
          </p:nvPr>
        </p:nvCxnSpPr>
        <p:spPr bwMode="white">
          <a:xfrm flipV="1">
            <a:off x="3338513" y="2955925"/>
            <a:ext cx="0" cy="493713"/>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p:cNvCxnSpPr>
            <a:cxnSpLocks/>
          </p:cNvCxnSpPr>
          <p:nvPr>
            <p:custDataLst>
              <p:tags r:id="rId13"/>
            </p:custDataLst>
          </p:nvPr>
        </p:nvCxnSpPr>
        <p:spPr bwMode="white">
          <a:xfrm flipV="1">
            <a:off x="3338513" y="2663824"/>
            <a:ext cx="0" cy="139700"/>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p:cNvCxnSpPr/>
          <p:nvPr>
            <p:custDataLst>
              <p:tags r:id="rId14"/>
            </p:custDataLst>
          </p:nvPr>
        </p:nvCxnSpPr>
        <p:spPr bwMode="grayWhite">
          <a:xfrm flipV="1">
            <a:off x="4470400" y="3848099"/>
            <a:ext cx="0" cy="107950"/>
          </a:xfrm>
          <a:prstGeom prst="line">
            <a:avLst/>
          </a:prstGeom>
          <a:ln w="6350" cap="flat" cmpd="sng" algn="ctr">
            <a:solidFill>
              <a:srgbClr val="FFFFF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p:cNvCxnSpPr/>
          <p:nvPr>
            <p:custDataLst>
              <p:tags r:id="rId15"/>
            </p:custDataLst>
          </p:nvPr>
        </p:nvCxnSpPr>
        <p:spPr bwMode="grayWhite">
          <a:xfrm>
            <a:off x="4767263" y="3848100"/>
            <a:ext cx="0" cy="325438"/>
          </a:xfrm>
          <a:prstGeom prst="line">
            <a:avLst/>
          </a:prstGeom>
          <a:ln w="6350" cap="flat" cmpd="sng" algn="ctr">
            <a:solidFill>
              <a:srgbClr val="FFFFFF"/>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A1DD2B30-FD9A-4805-8B2A-06EA8AFD04B6}"/>
              </a:ext>
            </a:extLst>
          </p:cNvPr>
          <p:cNvCxnSpPr/>
          <p:nvPr>
            <p:custDataLst>
              <p:tags r:id="rId16"/>
            </p:custDataLst>
          </p:nvPr>
        </p:nvCxnSpPr>
        <p:spPr bwMode="white">
          <a:xfrm flipV="1">
            <a:off x="4843463" y="3848099"/>
            <a:ext cx="0" cy="325438"/>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p:cNvCxnSpPr>
            <a:cxnSpLocks/>
          </p:cNvCxnSpPr>
          <p:nvPr>
            <p:custDataLst>
              <p:tags r:id="rId17"/>
            </p:custDataLst>
          </p:nvPr>
        </p:nvCxnSpPr>
        <p:spPr bwMode="white">
          <a:xfrm flipV="1">
            <a:off x="4843463" y="3555999"/>
            <a:ext cx="0" cy="139700"/>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32">
            <a:extLst>
              <a:ext uri="{FF2B5EF4-FFF2-40B4-BE49-F238E27FC236}">
                <a16:creationId xmlns:a16="http://schemas.microsoft.com/office/drawing/2014/main" id="{95B50C8C-6C9B-4FDA-9267-AADA966D5FD9}"/>
              </a:ext>
            </a:extLst>
          </p:cNvPr>
          <p:cNvCxnSpPr/>
          <p:nvPr>
            <p:custDataLst>
              <p:tags r:id="rId18"/>
            </p:custDataLst>
          </p:nvPr>
        </p:nvCxnSpPr>
        <p:spPr bwMode="white">
          <a:xfrm>
            <a:off x="5140325" y="3556000"/>
            <a:ext cx="0" cy="523875"/>
          </a:xfrm>
          <a:prstGeom prst="line">
            <a:avLst/>
          </a:prstGeom>
          <a:ln w="6350" cap="flat" cmpd="sng" algn="ctr">
            <a:solidFill>
              <a:schemeClr val="bg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0" name="Text Placeholder 18">
            <a:extLst>
              <a:ext uri="{FF2B5EF4-FFF2-40B4-BE49-F238E27FC236}">
                <a16:creationId xmlns:a16="http://schemas.microsoft.com/office/drawing/2014/main" id="{DF2FE801-5857-44C4-9B64-78C10FBAE250}"/>
              </a:ext>
            </a:extLst>
          </p:cNvPr>
          <p:cNvSpPr>
            <a:spLocks noGrp="1"/>
          </p:cNvSpPr>
          <p:nvPr>
            <p:custDataLst>
              <p:tags r:id="rId19"/>
            </p:custDataLst>
          </p:nvPr>
        </p:nvSpPr>
        <p:spPr bwMode="auto">
          <a:xfrm>
            <a:off x="4619625" y="5264150"/>
            <a:ext cx="371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AE5B97B5-0EEA-4511-A180-C9ADC3C25F7A}" type="datetime'''''''''''''''Sp''''a''''''i''''''''''''''''''''''n'''''''">
              <a:rPr lang="de-DE" altLang="en-US" sz="1000" smtClean="0">
                <a:solidFill>
                  <a:schemeClr val="bg1"/>
                </a:solidFill>
              </a:rPr>
              <a:pPr/>
              <a:t>Spain</a:t>
            </a:fld>
            <a:endParaRPr lang="de-DE" sz="1000" noProof="0" dirty="0">
              <a:solidFill>
                <a:schemeClr val="bg1"/>
              </a:solidFill>
            </a:endParaRPr>
          </a:p>
        </p:txBody>
      </p:sp>
      <p:sp>
        <p:nvSpPr>
          <p:cNvPr id="105" name="Text Placeholder 18">
            <a:extLst>
              <a:ext uri="{FF2B5EF4-FFF2-40B4-BE49-F238E27FC236}">
                <a16:creationId xmlns:a16="http://schemas.microsoft.com/office/drawing/2014/main" id="{DA3BFA56-E43B-4567-B82F-13E6956E475F}"/>
              </a:ext>
            </a:extLst>
          </p:cNvPr>
          <p:cNvSpPr>
            <a:spLocks noGrp="1"/>
          </p:cNvSpPr>
          <p:nvPr>
            <p:custDataLst>
              <p:tags r:id="rId20"/>
            </p:custDataLst>
          </p:nvPr>
        </p:nvSpPr>
        <p:spPr bwMode="gray">
          <a:xfrm>
            <a:off x="1631950" y="3116263"/>
            <a:ext cx="4492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DED77BD1-631C-40D1-BA26-FF13B5581F1E}" type="datetime'''''''''1''0''''''''''.31'''''''''''''''">
              <a:rPr lang="de-DE" altLang="en-US" sz="1000" b="1" smtClean="0">
                <a:solidFill>
                  <a:srgbClr val="FFFFFF"/>
                </a:solidFill>
                <a:effectLst/>
              </a:rPr>
              <a:pPr algn="ctr">
                <a:spcBef>
                  <a:spcPct val="0"/>
                </a:spcBef>
                <a:spcAft>
                  <a:spcPct val="0"/>
                </a:spcAft>
              </a:pPr>
              <a:t>10.31</a:t>
            </a:fld>
            <a:endParaRPr lang="de-DE" sz="1000" b="1" noProof="0" dirty="0">
              <a:solidFill>
                <a:srgbClr val="FFFFFF"/>
              </a:solidFill>
            </a:endParaRPr>
          </a:p>
        </p:txBody>
      </p:sp>
      <p:sp>
        <p:nvSpPr>
          <p:cNvPr id="410" name="Text Placeholder 18">
            <a:extLst>
              <a:ext uri="{FF2B5EF4-FFF2-40B4-BE49-F238E27FC236}">
                <a16:creationId xmlns:a16="http://schemas.microsoft.com/office/drawing/2014/main" id="{C4406922-7D3D-4FDD-9DFF-7715453A7B6C}"/>
              </a:ext>
            </a:extLst>
          </p:cNvPr>
          <p:cNvSpPr>
            <a:spLocks noGrp="1"/>
          </p:cNvSpPr>
          <p:nvPr>
            <p:custDataLst>
              <p:tags r:id="rId21"/>
            </p:custDataLst>
          </p:nvPr>
        </p:nvSpPr>
        <p:spPr bwMode="auto">
          <a:xfrm>
            <a:off x="496888" y="3438525"/>
            <a:ext cx="152400" cy="1287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r>
              <a:rPr lang="de-DE" altLang="en-US" sz="1000" dirty="0">
                <a:solidFill>
                  <a:schemeClr val="bg1"/>
                </a:solidFill>
              </a:rPr>
              <a:t>Memberships (in m)</a:t>
            </a:r>
            <a:endParaRPr lang="de-DE" sz="1000" noProof="0" dirty="0">
              <a:solidFill>
                <a:schemeClr val="bg1"/>
              </a:solidFill>
            </a:endParaRPr>
          </a:p>
        </p:txBody>
      </p:sp>
      <p:sp>
        <p:nvSpPr>
          <p:cNvPr id="108" name="Text Placeholder 18">
            <a:extLst>
              <a:ext uri="{FF2B5EF4-FFF2-40B4-BE49-F238E27FC236}">
                <a16:creationId xmlns:a16="http://schemas.microsoft.com/office/drawing/2014/main" id="{F92BBD49-B13D-46D6-A2BB-D408329075D9}"/>
              </a:ext>
            </a:extLst>
          </p:cNvPr>
          <p:cNvSpPr>
            <a:spLocks noGrp="1"/>
          </p:cNvSpPr>
          <p:nvPr>
            <p:custDataLst>
              <p:tags r:id="rId22"/>
            </p:custDataLst>
          </p:nvPr>
        </p:nvSpPr>
        <p:spPr bwMode="gray">
          <a:xfrm>
            <a:off x="3121025" y="3487738"/>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AEAEB3C4-8656-4BE3-9B15-0F8B4A9D2E5F}" type="datetime'''8''''''''''''''.''''''''''''''''2''''8'''''''''''''''">
              <a:rPr lang="de-DE" altLang="en-US" sz="1000" b="1" smtClean="0">
                <a:solidFill>
                  <a:srgbClr val="FFFFFF"/>
                </a:solidFill>
                <a:effectLst/>
              </a:rPr>
              <a:pPr algn="ctr">
                <a:spcBef>
                  <a:spcPct val="0"/>
                </a:spcBef>
                <a:spcAft>
                  <a:spcPct val="0"/>
                </a:spcAft>
              </a:pPr>
              <a:t>8.28</a:t>
            </a:fld>
            <a:endParaRPr lang="de-DE" sz="1000" b="1" noProof="0" dirty="0">
              <a:solidFill>
                <a:srgbClr val="FFFFFF"/>
              </a:solidFill>
            </a:endParaRPr>
          </a:p>
        </p:txBody>
      </p:sp>
      <p:sp>
        <p:nvSpPr>
          <p:cNvPr id="29" name="Text Placeholder 18">
            <a:extLst>
              <a:ext uri="{FF2B5EF4-FFF2-40B4-BE49-F238E27FC236}">
                <a16:creationId xmlns:a16="http://schemas.microsoft.com/office/drawing/2014/main" id="{E221FFB2-30F6-45B5-BFA8-5BF0644FF2A2}"/>
              </a:ext>
            </a:extLst>
          </p:cNvPr>
          <p:cNvSpPr>
            <a:spLocks noGrp="1"/>
          </p:cNvSpPr>
          <p:nvPr>
            <p:custDataLst>
              <p:tags r:id="rId23"/>
            </p:custDataLst>
          </p:nvPr>
        </p:nvSpPr>
        <p:spPr bwMode="auto">
          <a:xfrm>
            <a:off x="3203575" y="5264150"/>
            <a:ext cx="1936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49472C2E-9203-4384-88E4-2A1B6AFCA9C7}" type="datetime'''''''''''''''''''''''U''K'">
              <a:rPr lang="de-DE" altLang="en-US" sz="1000" smtClean="0">
                <a:solidFill>
                  <a:schemeClr val="bg1"/>
                </a:solidFill>
              </a:rPr>
              <a:pPr/>
              <a:t>UK</a:t>
            </a:fld>
            <a:endParaRPr lang="de-DE" sz="1000" noProof="0" dirty="0">
              <a:solidFill>
                <a:schemeClr val="bg1"/>
              </a:solidFill>
            </a:endParaRPr>
          </a:p>
        </p:txBody>
      </p:sp>
      <p:sp>
        <p:nvSpPr>
          <p:cNvPr id="27" name="Text Placeholder 18">
            <a:extLst>
              <a:ext uri="{FF2B5EF4-FFF2-40B4-BE49-F238E27FC236}">
                <a16:creationId xmlns:a16="http://schemas.microsoft.com/office/drawing/2014/main" id="{409DF3E4-178E-4BFF-8EEE-AEAE0AEC2206}"/>
              </a:ext>
            </a:extLst>
          </p:cNvPr>
          <p:cNvSpPr>
            <a:spLocks noGrp="1"/>
          </p:cNvSpPr>
          <p:nvPr>
            <p:custDataLst>
              <p:tags r:id="rId24"/>
            </p:custDataLst>
          </p:nvPr>
        </p:nvSpPr>
        <p:spPr bwMode="auto">
          <a:xfrm>
            <a:off x="1495425" y="5264150"/>
            <a:ext cx="5969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FEBAC37C-96C4-460D-BFD7-87D754AE0A72}" type="datetime'''''''''G''''e''''''''''''r''''m''''''''''an''''''''y'''">
              <a:rPr lang="de-DE" altLang="en-US" sz="1000" smtClean="0">
                <a:solidFill>
                  <a:schemeClr val="bg1"/>
                </a:solidFill>
              </a:rPr>
              <a:pPr/>
              <a:t>Germany</a:t>
            </a:fld>
            <a:endParaRPr lang="de-DE" sz="1000" noProof="0" dirty="0">
              <a:solidFill>
                <a:schemeClr val="bg1"/>
              </a:solidFill>
            </a:endParaRPr>
          </a:p>
        </p:txBody>
      </p:sp>
      <p:sp>
        <p:nvSpPr>
          <p:cNvPr id="103" name="Text Placeholder 18">
            <a:extLst>
              <a:ext uri="{FF2B5EF4-FFF2-40B4-BE49-F238E27FC236}">
                <a16:creationId xmlns:a16="http://schemas.microsoft.com/office/drawing/2014/main" id="{F450C8F4-2261-491F-935F-D4FC3D4E516F}"/>
              </a:ext>
            </a:extLst>
          </p:cNvPr>
          <p:cNvSpPr>
            <a:spLocks noGrp="1"/>
          </p:cNvSpPr>
          <p:nvPr>
            <p:custDataLst>
              <p:tags r:id="rId25"/>
            </p:custDataLst>
          </p:nvPr>
        </p:nvSpPr>
        <p:spPr bwMode="gray">
          <a:xfrm>
            <a:off x="1235075" y="2870200"/>
            <a:ext cx="4492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044DC4AA-220C-4DBA-ADB4-2B540934249E}" type="datetime'''''''''''''''''''''1''''''''1.''''''6''6'''''''''''''''''''">
              <a:rPr lang="de-DE" altLang="en-US" sz="1000" b="1" smtClean="0">
                <a:solidFill>
                  <a:srgbClr val="FFFFFF"/>
                </a:solidFill>
                <a:effectLst/>
              </a:rPr>
              <a:pPr algn="ctr">
                <a:spcBef>
                  <a:spcPct val="0"/>
                </a:spcBef>
                <a:spcAft>
                  <a:spcPct val="0"/>
                </a:spcAft>
              </a:pPr>
              <a:t>11.66</a:t>
            </a:fld>
            <a:endParaRPr lang="de-DE" sz="1000" b="1" noProof="0" dirty="0">
              <a:solidFill>
                <a:srgbClr val="FFFFFF"/>
              </a:solidFill>
            </a:endParaRPr>
          </a:p>
        </p:txBody>
      </p:sp>
      <p:sp>
        <p:nvSpPr>
          <p:cNvPr id="106" name="Text Placeholder 18">
            <a:extLst>
              <a:ext uri="{FF2B5EF4-FFF2-40B4-BE49-F238E27FC236}">
                <a16:creationId xmlns:a16="http://schemas.microsoft.com/office/drawing/2014/main" id="{F70B8663-BFF9-4773-A51B-06E987DD0808}"/>
              </a:ext>
            </a:extLst>
          </p:cNvPr>
          <p:cNvSpPr>
            <a:spLocks noGrp="1"/>
          </p:cNvSpPr>
          <p:nvPr>
            <p:custDataLst>
              <p:tags r:id="rId26"/>
            </p:custDataLst>
          </p:nvPr>
        </p:nvSpPr>
        <p:spPr bwMode="gray">
          <a:xfrm>
            <a:off x="1949450" y="3308350"/>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E8CEF66A-7D75-4F41-B397-A541FF8A9953}" type="datetime'''''''''''''''''9.''''''''''''''''''''''''''2''''''''''''6'''">
              <a:rPr lang="de-DE" altLang="en-US" sz="1000" b="1" smtClean="0">
                <a:solidFill>
                  <a:srgbClr val="FFFFFF"/>
                </a:solidFill>
                <a:effectLst/>
              </a:rPr>
              <a:pPr algn="ctr">
                <a:spcBef>
                  <a:spcPct val="0"/>
                </a:spcBef>
                <a:spcAft>
                  <a:spcPct val="0"/>
                </a:spcAft>
              </a:pPr>
              <a:t>9.26</a:t>
            </a:fld>
            <a:endParaRPr lang="de-DE" sz="1000" b="1" noProof="0" dirty="0">
              <a:solidFill>
                <a:srgbClr val="FFFFFF"/>
              </a:solidFill>
            </a:endParaRPr>
          </a:p>
        </p:txBody>
      </p:sp>
      <p:sp>
        <p:nvSpPr>
          <p:cNvPr id="107" name="Text Placeholder 18">
            <a:extLst>
              <a:ext uri="{FF2B5EF4-FFF2-40B4-BE49-F238E27FC236}">
                <a16:creationId xmlns:a16="http://schemas.microsoft.com/office/drawing/2014/main" id="{A84BBBE1-3712-4040-ACFB-C079FD832460}"/>
              </a:ext>
            </a:extLst>
          </p:cNvPr>
          <p:cNvSpPr>
            <a:spLocks noGrp="1"/>
          </p:cNvSpPr>
          <p:nvPr>
            <p:custDataLst>
              <p:tags r:id="rId27"/>
            </p:custDataLst>
          </p:nvPr>
        </p:nvSpPr>
        <p:spPr bwMode="gray">
          <a:xfrm>
            <a:off x="2741613" y="3101975"/>
            <a:ext cx="4492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831B8A6B-1D67-4C5A-AB65-3DA994BDB032}" type="datetime'''''''''''''1''''0''''.''''''''''''3''''''''''''''''9'">
              <a:rPr lang="de-DE" altLang="en-US" sz="1000" b="1" smtClean="0">
                <a:solidFill>
                  <a:srgbClr val="FFFFFF"/>
                </a:solidFill>
                <a:effectLst/>
              </a:rPr>
              <a:pPr algn="ctr">
                <a:spcBef>
                  <a:spcPct val="0"/>
                </a:spcBef>
                <a:spcAft>
                  <a:spcPct val="0"/>
                </a:spcAft>
              </a:pPr>
              <a:t>10.39</a:t>
            </a:fld>
            <a:endParaRPr lang="de-DE" sz="1000" b="1" noProof="0" dirty="0">
              <a:solidFill>
                <a:srgbClr val="FFFFFF"/>
              </a:solidFill>
            </a:endParaRPr>
          </a:p>
        </p:txBody>
      </p:sp>
      <p:sp>
        <p:nvSpPr>
          <p:cNvPr id="109" name="Text Placeholder 18">
            <a:extLst>
              <a:ext uri="{FF2B5EF4-FFF2-40B4-BE49-F238E27FC236}">
                <a16:creationId xmlns:a16="http://schemas.microsoft.com/office/drawing/2014/main" id="{EC00C18F-24B5-49AA-8EAE-EEA39BD4643D}"/>
              </a:ext>
            </a:extLst>
          </p:cNvPr>
          <p:cNvSpPr>
            <a:spLocks noGrp="1"/>
          </p:cNvSpPr>
          <p:nvPr>
            <p:custDataLst>
              <p:tags r:id="rId28"/>
            </p:custDataLst>
          </p:nvPr>
        </p:nvSpPr>
        <p:spPr bwMode="gray">
          <a:xfrm>
            <a:off x="3454400" y="3251200"/>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1E539FBA-18D1-4F7B-B2AE-D7E078794994}" type="datetime'9''''''''''''.''''5''''''''''7'''''''''''">
              <a:rPr lang="de-DE" altLang="en-US" sz="1000" b="1" smtClean="0">
                <a:solidFill>
                  <a:srgbClr val="FFFFFF"/>
                </a:solidFill>
                <a:effectLst/>
              </a:rPr>
              <a:pPr algn="ctr">
                <a:spcBef>
                  <a:spcPct val="0"/>
                </a:spcBef>
                <a:spcAft>
                  <a:spcPct val="0"/>
                </a:spcAft>
              </a:pPr>
              <a:t>9.57</a:t>
            </a:fld>
            <a:endParaRPr lang="de-DE" sz="1000" b="1" noProof="0" dirty="0">
              <a:solidFill>
                <a:srgbClr val="FFFFFF"/>
              </a:solidFill>
            </a:endParaRPr>
          </a:p>
        </p:txBody>
      </p:sp>
      <p:sp>
        <p:nvSpPr>
          <p:cNvPr id="110" name="Text Placeholder 18">
            <a:extLst>
              <a:ext uri="{FF2B5EF4-FFF2-40B4-BE49-F238E27FC236}">
                <a16:creationId xmlns:a16="http://schemas.microsoft.com/office/drawing/2014/main" id="{55083D37-2AB5-49C5-B29B-37A481878988}"/>
              </a:ext>
            </a:extLst>
          </p:cNvPr>
          <p:cNvSpPr>
            <a:spLocks noGrp="1"/>
          </p:cNvSpPr>
          <p:nvPr>
            <p:custDataLst>
              <p:tags r:id="rId29"/>
            </p:custDataLst>
          </p:nvPr>
        </p:nvSpPr>
        <p:spPr bwMode="gray">
          <a:xfrm>
            <a:off x="4291013" y="3994150"/>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69220A24-DDAC-4F54-8E17-9C5B6448A071}" type="datetime'''''''''5''''.''5''''''1'''''''''''''">
              <a:rPr lang="de-DE" altLang="en-US" sz="1000" b="1" smtClean="0">
                <a:solidFill>
                  <a:srgbClr val="FFFFFF"/>
                </a:solidFill>
                <a:effectLst/>
              </a:rPr>
              <a:pPr algn="ctr">
                <a:spcBef>
                  <a:spcPct val="0"/>
                </a:spcBef>
                <a:spcAft>
                  <a:spcPct val="0"/>
                </a:spcAft>
              </a:pPr>
              <a:t>5.51</a:t>
            </a:fld>
            <a:endParaRPr lang="de-DE" sz="1000" b="1" noProof="0" dirty="0">
              <a:solidFill>
                <a:srgbClr val="FFFFFF"/>
              </a:solidFill>
            </a:endParaRPr>
          </a:p>
        </p:txBody>
      </p:sp>
      <p:sp>
        <p:nvSpPr>
          <p:cNvPr id="111" name="Text Placeholder 18">
            <a:extLst>
              <a:ext uri="{FF2B5EF4-FFF2-40B4-BE49-F238E27FC236}">
                <a16:creationId xmlns:a16="http://schemas.microsoft.com/office/drawing/2014/main" id="{6B325DA4-5B2D-4668-839F-8D4DA6460A7D}"/>
              </a:ext>
            </a:extLst>
          </p:cNvPr>
          <p:cNvSpPr>
            <a:spLocks noGrp="1"/>
          </p:cNvSpPr>
          <p:nvPr>
            <p:custDataLst>
              <p:tags r:id="rId30"/>
            </p:custDataLst>
          </p:nvPr>
        </p:nvSpPr>
        <p:spPr bwMode="gray">
          <a:xfrm>
            <a:off x="4625975" y="4211638"/>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2D37AD1E-6A23-4050-98AC-C6ED0EDA808E}" type="datetime'''''''''''4''.''''''''3''''''''''''''2'''''''''''''''''">
              <a:rPr lang="de-DE" altLang="en-US" sz="1000" b="1" smtClean="0">
                <a:solidFill>
                  <a:srgbClr val="FFFFFF"/>
                </a:solidFill>
                <a:effectLst/>
              </a:rPr>
              <a:pPr algn="ctr">
                <a:spcBef>
                  <a:spcPct val="0"/>
                </a:spcBef>
                <a:spcAft>
                  <a:spcPct val="0"/>
                </a:spcAft>
              </a:pPr>
              <a:t>4.32</a:t>
            </a:fld>
            <a:endParaRPr lang="de-DE" sz="1000" b="1" noProof="0" dirty="0">
              <a:solidFill>
                <a:srgbClr val="FFFFFF"/>
              </a:solidFill>
            </a:endParaRPr>
          </a:p>
        </p:txBody>
      </p:sp>
      <p:sp>
        <p:nvSpPr>
          <p:cNvPr id="112" name="Text Placeholder 18">
            <a:extLst>
              <a:ext uri="{FF2B5EF4-FFF2-40B4-BE49-F238E27FC236}">
                <a16:creationId xmlns:a16="http://schemas.microsoft.com/office/drawing/2014/main" id="{EEDC4FEB-A6EF-4324-9AE0-2DDAA7798828}"/>
              </a:ext>
            </a:extLst>
          </p:cNvPr>
          <p:cNvSpPr>
            <a:spLocks noGrp="1"/>
          </p:cNvSpPr>
          <p:nvPr>
            <p:custDataLst>
              <p:tags r:id="rId31"/>
            </p:custDataLst>
          </p:nvPr>
        </p:nvSpPr>
        <p:spPr bwMode="gray">
          <a:xfrm>
            <a:off x="4987925" y="4117975"/>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3A70FACA-9B70-4146-8F4D-EDC3532AEAB3}" type="datetime'''''''''''''''''''''''''4''''''.''''''''8''''''''''3'''''">
              <a:rPr lang="de-DE" altLang="en-US" sz="1000" b="1" smtClean="0">
                <a:solidFill>
                  <a:srgbClr val="FFFFFF"/>
                </a:solidFill>
                <a:effectLst/>
              </a:rPr>
              <a:pPr algn="ctr">
                <a:spcBef>
                  <a:spcPct val="0"/>
                </a:spcBef>
                <a:spcAft>
                  <a:spcPct val="0"/>
                </a:spcAft>
              </a:pPr>
              <a:t>4.83</a:t>
            </a:fld>
            <a:endParaRPr lang="de-DE" sz="1000" b="1" noProof="0" dirty="0">
              <a:solidFill>
                <a:srgbClr val="FFFFFF"/>
              </a:solidFill>
            </a:endParaRPr>
          </a:p>
        </p:txBody>
      </p:sp>
      <p:sp>
        <p:nvSpPr>
          <p:cNvPr id="80" name="Text Placeholder 18">
            <a:extLst>
              <a:ext uri="{FF2B5EF4-FFF2-40B4-BE49-F238E27FC236}">
                <a16:creationId xmlns:a16="http://schemas.microsoft.com/office/drawing/2014/main" id="{1938EEEA-6835-492B-AEF9-8FB87EC93F46}"/>
              </a:ext>
            </a:extLst>
          </p:cNvPr>
          <p:cNvSpPr>
            <a:spLocks noGrp="1"/>
          </p:cNvSpPr>
          <p:nvPr>
            <p:custDataLst>
              <p:tags r:id="rId32"/>
            </p:custDataLst>
          </p:nvPr>
        </p:nvSpPr>
        <p:spPr bwMode="auto">
          <a:xfrm>
            <a:off x="1265238" y="2540000"/>
            <a:ext cx="682625"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bg1"/>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B3546BE5-BB10-438B-9453-E8C6794B5007}" type="datetime'-''''1''''''1''.''''''''''6''''''''''''''%'">
              <a:rPr lang="de-DE" altLang="en-US" sz="1000" smtClean="0">
                <a:solidFill>
                  <a:srgbClr val="FFFFFF"/>
                </a:solidFill>
                <a:effectLst/>
              </a:rPr>
              <a:pPr/>
              <a:t>-11.6%</a:t>
            </a:fld>
            <a:endParaRPr lang="de-DE" sz="1000" noProof="0" dirty="0">
              <a:solidFill>
                <a:srgbClr val="FFFFFF"/>
              </a:solidFill>
            </a:endParaRPr>
          </a:p>
        </p:txBody>
      </p:sp>
      <p:sp>
        <p:nvSpPr>
          <p:cNvPr id="104" name="Text Placeholder 18">
            <a:extLst>
              <a:ext uri="{FF2B5EF4-FFF2-40B4-BE49-F238E27FC236}">
                <a16:creationId xmlns:a16="http://schemas.microsoft.com/office/drawing/2014/main" id="{8AEEBEC2-36B6-4EE0-9C9F-C85C45B8454F}"/>
              </a:ext>
            </a:extLst>
          </p:cNvPr>
          <p:cNvSpPr>
            <a:spLocks noGrp="1"/>
          </p:cNvSpPr>
          <p:nvPr>
            <p:custDataLst>
              <p:tags r:id="rId33"/>
            </p:custDataLst>
          </p:nvPr>
        </p:nvSpPr>
        <p:spPr bwMode="auto">
          <a:xfrm>
            <a:off x="1638300" y="2247900"/>
            <a:ext cx="682625"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bg1"/>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27B52ACA-CF67-4A97-9207-44505EA0A3B0}" type="datetime'''''''''-''''''10''''''''''''.''''''2''''''''''''''''%'''''''">
              <a:rPr lang="de-DE" altLang="en-US" sz="1000" smtClean="0">
                <a:solidFill>
                  <a:srgbClr val="FFFFFF"/>
                </a:solidFill>
                <a:effectLst/>
              </a:rPr>
              <a:pPr/>
              <a:t>-10.2%</a:t>
            </a:fld>
            <a:endParaRPr lang="de-DE" sz="1000" noProof="0" dirty="0">
              <a:solidFill>
                <a:srgbClr val="FFFFFF"/>
              </a:solidFill>
            </a:endParaRPr>
          </a:p>
        </p:txBody>
      </p:sp>
      <p:sp>
        <p:nvSpPr>
          <p:cNvPr id="207" name="Text Placeholder 18">
            <a:extLst>
              <a:ext uri="{FF2B5EF4-FFF2-40B4-BE49-F238E27FC236}">
                <a16:creationId xmlns:a16="http://schemas.microsoft.com/office/drawing/2014/main" id="{855BDA0A-CDD7-4CEF-841B-25BEA6F19229}"/>
              </a:ext>
            </a:extLst>
          </p:cNvPr>
          <p:cNvSpPr>
            <a:spLocks noGrp="1"/>
          </p:cNvSpPr>
          <p:nvPr>
            <p:custDataLst>
              <p:tags r:id="rId34"/>
            </p:custDataLst>
          </p:nvPr>
        </p:nvSpPr>
        <p:spPr bwMode="auto">
          <a:xfrm>
            <a:off x="2771775" y="2771775"/>
            <a:ext cx="682625"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bg1"/>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5772FD3F-99E4-49D0-88D4-2E6DE240BB98}" type="datetime'-2''0''''.''''3''''''''''''''''%'''''''''''''''''">
              <a:rPr lang="de-DE" altLang="en-US" sz="1000" smtClean="0">
                <a:solidFill>
                  <a:srgbClr val="FFFFFF"/>
                </a:solidFill>
                <a:effectLst/>
              </a:rPr>
              <a:pPr/>
              <a:t>-20.3%</a:t>
            </a:fld>
            <a:endParaRPr lang="de-DE" sz="1000" noProof="0" dirty="0">
              <a:solidFill>
                <a:srgbClr val="FFFFFF"/>
              </a:solidFill>
            </a:endParaRPr>
          </a:p>
        </p:txBody>
      </p:sp>
      <p:sp>
        <p:nvSpPr>
          <p:cNvPr id="123" name="Text Placeholder 18">
            <a:extLst>
              <a:ext uri="{FF2B5EF4-FFF2-40B4-BE49-F238E27FC236}">
                <a16:creationId xmlns:a16="http://schemas.microsoft.com/office/drawing/2014/main" id="{621FBF2D-524C-411C-817E-AE51E3996283}"/>
              </a:ext>
            </a:extLst>
          </p:cNvPr>
          <p:cNvSpPr>
            <a:spLocks noGrp="1"/>
          </p:cNvSpPr>
          <p:nvPr>
            <p:custDataLst>
              <p:tags r:id="rId35"/>
            </p:custDataLst>
          </p:nvPr>
        </p:nvSpPr>
        <p:spPr bwMode="auto">
          <a:xfrm>
            <a:off x="3184525" y="2479675"/>
            <a:ext cx="603250"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bg1"/>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DEDFA5AC-D2DF-4387-8D97-84219171C9EF}" type="datetime'''''''''''''''1''5''''.''''''''''''''''''7''%'">
              <a:rPr lang="de-DE" altLang="en-US" sz="1000" smtClean="0">
                <a:solidFill>
                  <a:srgbClr val="FFFFFF"/>
                </a:solidFill>
                <a:effectLst/>
              </a:rPr>
              <a:pPr/>
              <a:t>15.7%</a:t>
            </a:fld>
            <a:endParaRPr lang="de-DE" sz="1000" noProof="0" dirty="0">
              <a:solidFill>
                <a:srgbClr val="FFFFFF"/>
              </a:solidFill>
            </a:endParaRPr>
          </a:p>
        </p:txBody>
      </p:sp>
      <p:sp>
        <p:nvSpPr>
          <p:cNvPr id="236" name="Text Placeholder 18"/>
          <p:cNvSpPr>
            <a:spLocks noGrp="1"/>
          </p:cNvSpPr>
          <p:nvPr>
            <p:custDataLst>
              <p:tags r:id="rId36"/>
            </p:custDataLst>
          </p:nvPr>
        </p:nvSpPr>
        <p:spPr bwMode="auto">
          <a:xfrm>
            <a:off x="4276725" y="3663950"/>
            <a:ext cx="682625"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FFFFFF"/>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373B9DE6-A402-4485-8C86-8C6A0099839F}" type="datetime'''''''-2''1''''.''''''''''''''''''''''7''''%'''''''">
              <a:rPr lang="de-DE" altLang="en-US" sz="1000" smtClean="0">
                <a:solidFill>
                  <a:srgbClr val="FFFFFF"/>
                </a:solidFill>
                <a:effectLst/>
              </a:rPr>
              <a:pPr/>
              <a:t>-21.7%</a:t>
            </a:fld>
            <a:endParaRPr lang="de-DE" sz="1000" noProof="0" dirty="0">
              <a:solidFill>
                <a:srgbClr val="FFFFFF"/>
              </a:solidFill>
            </a:endParaRPr>
          </a:p>
        </p:txBody>
      </p:sp>
      <p:sp>
        <p:nvSpPr>
          <p:cNvPr id="230" name="Text Placeholder 18">
            <a:extLst>
              <a:ext uri="{FF2B5EF4-FFF2-40B4-BE49-F238E27FC236}">
                <a16:creationId xmlns:a16="http://schemas.microsoft.com/office/drawing/2014/main" id="{BEF6DF1B-8A1F-4CC0-8B85-944D855D0ADD}"/>
              </a:ext>
            </a:extLst>
          </p:cNvPr>
          <p:cNvSpPr>
            <a:spLocks noGrp="1"/>
          </p:cNvSpPr>
          <p:nvPr>
            <p:custDataLst>
              <p:tags r:id="rId37"/>
            </p:custDataLst>
          </p:nvPr>
        </p:nvSpPr>
        <p:spPr bwMode="auto">
          <a:xfrm>
            <a:off x="4689475" y="3371850"/>
            <a:ext cx="603250"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bg1"/>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2A5DDDB2-979D-4E0C-8C09-B9B7F8282237}" type="datetime'''''''1''''''''''''''''2''''''''''''''''''''''''''''.''0%'''''">
              <a:rPr lang="de-DE" altLang="en-US" sz="1000" smtClean="0">
                <a:solidFill>
                  <a:srgbClr val="FFFFFF"/>
                </a:solidFill>
                <a:effectLst/>
              </a:rPr>
              <a:pPr/>
              <a:t>12.0%</a:t>
            </a:fld>
            <a:endParaRPr lang="de-DE" sz="1000" noProof="0" dirty="0">
              <a:solidFill>
                <a:srgbClr val="FFFFFF"/>
              </a:solidFill>
            </a:endParaRPr>
          </a:p>
        </p:txBody>
      </p:sp>
      <p:sp>
        <p:nvSpPr>
          <p:cNvPr id="182" name="Rectangle 181" hidden="1">
            <a:extLst>
              <a:ext uri="{FF2B5EF4-FFF2-40B4-BE49-F238E27FC236}">
                <a16:creationId xmlns:a16="http://schemas.microsoft.com/office/drawing/2014/main" id="{5C96987E-8E1E-4CA8-84CE-465B0A90B073}"/>
              </a:ext>
            </a:extLst>
          </p:cNvPr>
          <p:cNvSpPr/>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pPr>
            <a:endParaRPr lang="de-DE" sz="1200" dirty="0">
              <a:solidFill>
                <a:schemeClr val="bg1"/>
              </a:solidFill>
            </a:endParaRPr>
          </a:p>
        </p:txBody>
      </p:sp>
      <p:sp>
        <p:nvSpPr>
          <p:cNvPr id="185" name="Rectangle 184" hidden="1">
            <a:extLst>
              <a:ext uri="{FF2B5EF4-FFF2-40B4-BE49-F238E27FC236}">
                <a16:creationId xmlns:a16="http://schemas.microsoft.com/office/drawing/2014/main" id="{0B6CB099-5A8E-49E2-B348-E62585D095C9}"/>
              </a:ext>
            </a:extLst>
          </p:cNvPr>
          <p:cNvSpPr/>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pPr>
            <a:endParaRPr lang="de-DE" sz="1200" dirty="0">
              <a:solidFill>
                <a:schemeClr val="bg1"/>
              </a:solidFill>
            </a:endParaRPr>
          </a:p>
        </p:txBody>
      </p:sp>
      <p:sp>
        <p:nvSpPr>
          <p:cNvPr id="572" name="Rectangle 571" hidden="1">
            <a:extLst>
              <a:ext uri="{FF2B5EF4-FFF2-40B4-BE49-F238E27FC236}">
                <a16:creationId xmlns:a16="http://schemas.microsoft.com/office/drawing/2014/main" id="{8C5AC6C5-818E-4B2F-B46D-052025C90A2D}"/>
              </a:ext>
            </a:extLst>
          </p:cNvPr>
          <p:cNvSpPr/>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pPr>
            <a:endParaRPr lang="de-DE" sz="800" dirty="0">
              <a:solidFill>
                <a:schemeClr val="bg1"/>
              </a:solidFill>
            </a:endParaRPr>
          </a:p>
        </p:txBody>
      </p:sp>
      <p:sp>
        <p:nvSpPr>
          <p:cNvPr id="665" name="Rectangle 664" hidden="1">
            <a:extLst>
              <a:ext uri="{FF2B5EF4-FFF2-40B4-BE49-F238E27FC236}">
                <a16:creationId xmlns:a16="http://schemas.microsoft.com/office/drawing/2014/main" id="{3D19F43A-70C0-4E80-80E7-8D7FB0D470DF}"/>
              </a:ext>
            </a:extLst>
          </p:cNvPr>
          <p:cNvSpPr/>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pPr>
            <a:endParaRPr lang="de-DE" sz="800" dirty="0">
              <a:solidFill>
                <a:schemeClr val="bg1"/>
              </a:solidFill>
            </a:endParaRPr>
          </a:p>
        </p:txBody>
      </p:sp>
      <p:sp>
        <p:nvSpPr>
          <p:cNvPr id="17" name="Rectangle 16" hidden="1"/>
          <p:cNvSpPr/>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de-DE" sz="1000" dirty="0">
              <a:solidFill>
                <a:schemeClr val="bg1"/>
              </a:solidFill>
            </a:endParaRPr>
          </a:p>
        </p:txBody>
      </p:sp>
      <p:sp>
        <p:nvSpPr>
          <p:cNvPr id="294" name="TextBox 293"/>
          <p:cNvSpPr txBox="1"/>
          <p:nvPr/>
        </p:nvSpPr>
        <p:spPr>
          <a:xfrm>
            <a:off x="469900" y="6317808"/>
            <a:ext cx="2835713" cy="122854"/>
          </a:xfrm>
          <a:prstGeom prst="rect">
            <a:avLst/>
          </a:prstGeom>
          <a:noFill/>
        </p:spPr>
        <p:txBody>
          <a:bodyPr wrap="none" lIns="0" tIns="0" rIns="0" bIns="0" rtlCol="0" anchor="b">
            <a:spAutoFit/>
          </a:bodyPr>
          <a:lstStyle/>
          <a:p>
            <a:pPr eaLnBrk="0" fontAlgn="base" hangingPunct="0">
              <a:lnSpc>
                <a:spcPct val="110000"/>
              </a:lnSpc>
              <a:spcBef>
                <a:spcPct val="0"/>
              </a:spcBef>
              <a:spcAft>
                <a:spcPct val="0"/>
              </a:spcAft>
            </a:pPr>
            <a:r>
              <a:rPr lang="en-GB" sz="800" dirty="0">
                <a:solidFill>
                  <a:schemeClr val="bg1"/>
                </a:solidFill>
                <a:latin typeface="+mj-lt"/>
              </a:rPr>
              <a:t>Sources: EuropeActive, national associations, Deloitte.</a:t>
            </a:r>
          </a:p>
        </p:txBody>
      </p:sp>
      <p:sp>
        <p:nvSpPr>
          <p:cNvPr id="141" name="TextBox 140">
            <a:extLst>
              <a:ext uri="{FF2B5EF4-FFF2-40B4-BE49-F238E27FC236}">
                <a16:creationId xmlns:a16="http://schemas.microsoft.com/office/drawing/2014/main" id="{0EE13DDC-2E74-45E5-B997-84334097D055}"/>
              </a:ext>
            </a:extLst>
          </p:cNvPr>
          <p:cNvSpPr txBox="1"/>
          <p:nvPr/>
        </p:nvSpPr>
        <p:spPr>
          <a:xfrm>
            <a:off x="469900" y="1671675"/>
            <a:ext cx="5454650" cy="324384"/>
          </a:xfrm>
          <a:prstGeom prst="rect">
            <a:avLst/>
          </a:prstGeom>
          <a:noFill/>
        </p:spPr>
        <p:txBody>
          <a:bodyPr wrap="none" lIns="0" tIns="0" rIns="0" bIns="0" rtlCol="0">
            <a:spAutoFit/>
          </a:bodyPr>
          <a:lstStyle/>
          <a:p>
            <a:pPr eaLnBrk="0" fontAlgn="base" hangingPunct="0">
              <a:lnSpc>
                <a:spcPct val="110000"/>
              </a:lnSpc>
              <a:spcBef>
                <a:spcPct val="0"/>
              </a:spcBef>
              <a:spcAft>
                <a:spcPct val="0"/>
              </a:spcAft>
            </a:pPr>
            <a:r>
              <a:rPr lang="en-GB" sz="1100" b="1" dirty="0">
                <a:solidFill>
                  <a:schemeClr val="bg1"/>
                </a:solidFill>
                <a:latin typeface="+mj-lt"/>
              </a:rPr>
              <a:t>Market development of memberships in selected markets since 2019</a:t>
            </a:r>
          </a:p>
          <a:p>
            <a:pPr eaLnBrk="0" fontAlgn="base" hangingPunct="0">
              <a:lnSpc>
                <a:spcPct val="110000"/>
              </a:lnSpc>
              <a:spcBef>
                <a:spcPct val="0"/>
              </a:spcBef>
              <a:spcAft>
                <a:spcPct val="0"/>
              </a:spcAft>
            </a:pPr>
            <a:r>
              <a:rPr lang="en-GB" sz="900" dirty="0">
                <a:solidFill>
                  <a:schemeClr val="bg1"/>
                </a:solidFill>
                <a:latin typeface="+mj-lt"/>
              </a:rPr>
              <a:t>Members in m</a:t>
            </a:r>
            <a:endParaRPr lang="en-GB" sz="900" dirty="0">
              <a:solidFill>
                <a:srgbClr val="FF0000"/>
              </a:solidFill>
              <a:latin typeface="+mj-lt"/>
            </a:endParaRPr>
          </a:p>
        </p:txBody>
      </p:sp>
      <p:grpSp>
        <p:nvGrpSpPr>
          <p:cNvPr id="234" name="Group 233">
            <a:extLst>
              <a:ext uri="{FF2B5EF4-FFF2-40B4-BE49-F238E27FC236}">
                <a16:creationId xmlns:a16="http://schemas.microsoft.com/office/drawing/2014/main" id="{3BE405A2-52A7-4211-B7F4-7338CE503870}"/>
              </a:ext>
            </a:extLst>
          </p:cNvPr>
          <p:cNvGrpSpPr/>
          <p:nvPr/>
        </p:nvGrpSpPr>
        <p:grpSpPr>
          <a:xfrm>
            <a:off x="10504919" y="2100634"/>
            <a:ext cx="710828" cy="710829"/>
            <a:chOff x="4361498" y="2018645"/>
            <a:chExt cx="514468" cy="514469"/>
          </a:xfrm>
        </p:grpSpPr>
        <p:grpSp>
          <p:nvGrpSpPr>
            <p:cNvPr id="235" name="Group 234">
              <a:extLst>
                <a:ext uri="{FF2B5EF4-FFF2-40B4-BE49-F238E27FC236}">
                  <a16:creationId xmlns:a16="http://schemas.microsoft.com/office/drawing/2014/main" id="{E712A5D9-325A-42D5-9BFD-90CB19AD64EE}"/>
                </a:ext>
              </a:extLst>
            </p:cNvPr>
            <p:cNvGrpSpPr/>
            <p:nvPr/>
          </p:nvGrpSpPr>
          <p:grpSpPr>
            <a:xfrm>
              <a:off x="4361498" y="2018645"/>
              <a:ext cx="514468" cy="514469"/>
              <a:chOff x="4361498" y="2018645"/>
              <a:chExt cx="514468" cy="514469"/>
            </a:xfrm>
          </p:grpSpPr>
          <p:sp>
            <p:nvSpPr>
              <p:cNvPr id="240" name="Oval 239">
                <a:extLst>
                  <a:ext uri="{FF2B5EF4-FFF2-40B4-BE49-F238E27FC236}">
                    <a16:creationId xmlns:a16="http://schemas.microsoft.com/office/drawing/2014/main" id="{A616ED5B-6683-45F1-9AA4-0151651C6FB2}"/>
                  </a:ext>
                </a:extLst>
              </p:cNvPr>
              <p:cNvSpPr/>
              <p:nvPr/>
            </p:nvSpPr>
            <p:spPr bwMode="gray">
              <a:xfrm>
                <a:off x="4361498" y="2018645"/>
                <a:ext cx="514468" cy="514469"/>
              </a:xfrm>
              <a:prstGeom prst="ellipse">
                <a:avLst/>
              </a:prstGeom>
              <a:noFill/>
              <a:ln w="22225" algn="ctr">
                <a:solidFill>
                  <a:schemeClr val="tx1">
                    <a:lumMod val="50000"/>
                    <a:lumOff val="50000"/>
                  </a:schemeClr>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241" name="Oval 240">
                <a:extLst>
                  <a:ext uri="{FF2B5EF4-FFF2-40B4-BE49-F238E27FC236}">
                    <a16:creationId xmlns:a16="http://schemas.microsoft.com/office/drawing/2014/main" id="{D7D388AA-45F3-4535-A1A8-B1B6A84D7DC0}"/>
                  </a:ext>
                </a:extLst>
              </p:cNvPr>
              <p:cNvSpPr>
                <a:spLocks/>
              </p:cNvSpPr>
              <p:nvPr/>
            </p:nvSpPr>
            <p:spPr bwMode="gray">
              <a:xfrm>
                <a:off x="4396460" y="2053607"/>
                <a:ext cx="444544" cy="444546"/>
              </a:xfrm>
              <a:prstGeom prst="ellipse">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grpSp>
        <p:grpSp>
          <p:nvGrpSpPr>
            <p:cNvPr id="237" name="Group 236">
              <a:extLst>
                <a:ext uri="{FF2B5EF4-FFF2-40B4-BE49-F238E27FC236}">
                  <a16:creationId xmlns:a16="http://schemas.microsoft.com/office/drawing/2014/main" id="{E2DFC533-3A9E-4F5B-BD4B-5A6285BAAD0C}"/>
                </a:ext>
              </a:extLst>
            </p:cNvPr>
            <p:cNvGrpSpPr/>
            <p:nvPr/>
          </p:nvGrpSpPr>
          <p:grpSpPr>
            <a:xfrm>
              <a:off x="4478213" y="2182360"/>
              <a:ext cx="281039" cy="187039"/>
              <a:chOff x="5365975" y="1801365"/>
              <a:chExt cx="201439" cy="134063"/>
            </a:xfrm>
          </p:grpSpPr>
          <p:sp>
            <p:nvSpPr>
              <p:cNvPr id="238" name="Graphic 4">
                <a:extLst>
                  <a:ext uri="{FF2B5EF4-FFF2-40B4-BE49-F238E27FC236}">
                    <a16:creationId xmlns:a16="http://schemas.microsoft.com/office/drawing/2014/main" id="{65FF109B-B006-4AF3-8DD2-536D676ACA46}"/>
                  </a:ext>
                </a:extLst>
              </p:cNvPr>
              <p:cNvSpPr/>
              <p:nvPr/>
            </p:nvSpPr>
            <p:spPr>
              <a:xfrm>
                <a:off x="5422250" y="1852437"/>
                <a:ext cx="49880" cy="59371"/>
              </a:xfrm>
              <a:custGeom>
                <a:avLst/>
                <a:gdLst>
                  <a:gd name="connsiteX0" fmla="*/ 5112 w 49841"/>
                  <a:gd name="connsiteY0" fmla="*/ 31920 h 59371"/>
                  <a:gd name="connsiteX1" fmla="*/ 0 w 49841"/>
                  <a:gd name="connsiteY1" fmla="*/ 37027 h 59371"/>
                  <a:gd name="connsiteX2" fmla="*/ 5112 w 49841"/>
                  <a:gd name="connsiteY2" fmla="*/ 42134 h 59371"/>
                  <a:gd name="connsiteX3" fmla="*/ 8946 w 49841"/>
                  <a:gd name="connsiteY3" fmla="*/ 42134 h 59371"/>
                  <a:gd name="connsiteX4" fmla="*/ 28116 w 49841"/>
                  <a:gd name="connsiteY4" fmla="*/ 59371 h 59371"/>
                  <a:gd name="connsiteX5" fmla="*/ 30672 w 49841"/>
                  <a:gd name="connsiteY5" fmla="*/ 59371 h 59371"/>
                  <a:gd name="connsiteX6" fmla="*/ 49842 w 49841"/>
                  <a:gd name="connsiteY6" fmla="*/ 40219 h 59371"/>
                  <a:gd name="connsiteX7" fmla="*/ 44730 w 49841"/>
                  <a:gd name="connsiteY7" fmla="*/ 35112 h 59371"/>
                  <a:gd name="connsiteX8" fmla="*/ 39618 w 49841"/>
                  <a:gd name="connsiteY8" fmla="*/ 40219 h 59371"/>
                  <a:gd name="connsiteX9" fmla="*/ 30033 w 49841"/>
                  <a:gd name="connsiteY9" fmla="*/ 49795 h 59371"/>
                  <a:gd name="connsiteX10" fmla="*/ 27477 w 49841"/>
                  <a:gd name="connsiteY10" fmla="*/ 49795 h 59371"/>
                  <a:gd name="connsiteX11" fmla="*/ 17892 w 49841"/>
                  <a:gd name="connsiteY11" fmla="*/ 42134 h 59371"/>
                  <a:gd name="connsiteX12" fmla="*/ 30033 w 49841"/>
                  <a:gd name="connsiteY12" fmla="*/ 42134 h 59371"/>
                  <a:gd name="connsiteX13" fmla="*/ 35145 w 49841"/>
                  <a:gd name="connsiteY13" fmla="*/ 37027 h 59371"/>
                  <a:gd name="connsiteX14" fmla="*/ 30033 w 49841"/>
                  <a:gd name="connsiteY14" fmla="*/ 31920 h 59371"/>
                  <a:gd name="connsiteX15" fmla="*/ 17892 w 49841"/>
                  <a:gd name="connsiteY15" fmla="*/ 31920 h 59371"/>
                  <a:gd name="connsiteX16" fmla="*/ 17892 w 49841"/>
                  <a:gd name="connsiteY16" fmla="*/ 30005 h 59371"/>
                  <a:gd name="connsiteX17" fmla="*/ 30033 w 49841"/>
                  <a:gd name="connsiteY17" fmla="*/ 30005 h 59371"/>
                  <a:gd name="connsiteX18" fmla="*/ 35145 w 49841"/>
                  <a:gd name="connsiteY18" fmla="*/ 24898 h 59371"/>
                  <a:gd name="connsiteX19" fmla="*/ 30033 w 49841"/>
                  <a:gd name="connsiteY19" fmla="*/ 19790 h 59371"/>
                  <a:gd name="connsiteX20" fmla="*/ 17892 w 49841"/>
                  <a:gd name="connsiteY20" fmla="*/ 19790 h 59371"/>
                  <a:gd name="connsiteX21" fmla="*/ 17892 w 49841"/>
                  <a:gd name="connsiteY21" fmla="*/ 19152 h 59371"/>
                  <a:gd name="connsiteX22" fmla="*/ 27477 w 49841"/>
                  <a:gd name="connsiteY22" fmla="*/ 9576 h 59371"/>
                  <a:gd name="connsiteX23" fmla="*/ 30033 w 49841"/>
                  <a:gd name="connsiteY23" fmla="*/ 9576 h 59371"/>
                  <a:gd name="connsiteX24" fmla="*/ 39618 w 49841"/>
                  <a:gd name="connsiteY24" fmla="*/ 19152 h 59371"/>
                  <a:gd name="connsiteX25" fmla="*/ 44730 w 49841"/>
                  <a:gd name="connsiteY25" fmla="*/ 24259 h 59371"/>
                  <a:gd name="connsiteX26" fmla="*/ 49842 w 49841"/>
                  <a:gd name="connsiteY26" fmla="*/ 19152 h 59371"/>
                  <a:gd name="connsiteX27" fmla="*/ 30672 w 49841"/>
                  <a:gd name="connsiteY27" fmla="*/ 0 h 59371"/>
                  <a:gd name="connsiteX28" fmla="*/ 28116 w 49841"/>
                  <a:gd name="connsiteY28" fmla="*/ 0 h 59371"/>
                  <a:gd name="connsiteX29" fmla="*/ 8946 w 49841"/>
                  <a:gd name="connsiteY29" fmla="*/ 19152 h 59371"/>
                  <a:gd name="connsiteX30" fmla="*/ 8946 w 49841"/>
                  <a:gd name="connsiteY30" fmla="*/ 19790 h 59371"/>
                  <a:gd name="connsiteX31" fmla="*/ 5112 w 49841"/>
                  <a:gd name="connsiteY31" fmla="*/ 19790 h 59371"/>
                  <a:gd name="connsiteX32" fmla="*/ 0 w 49841"/>
                  <a:gd name="connsiteY32" fmla="*/ 24898 h 59371"/>
                  <a:gd name="connsiteX33" fmla="*/ 5112 w 49841"/>
                  <a:gd name="connsiteY33" fmla="*/ 30005 h 59371"/>
                  <a:gd name="connsiteX34" fmla="*/ 8946 w 49841"/>
                  <a:gd name="connsiteY34" fmla="*/ 30005 h 59371"/>
                  <a:gd name="connsiteX35" fmla="*/ 8946 w 49841"/>
                  <a:gd name="connsiteY35" fmla="*/ 31920 h 59371"/>
                  <a:gd name="connsiteX36" fmla="*/ 5112 w 49841"/>
                  <a:gd name="connsiteY36" fmla="*/ 31920 h 5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9841" h="59371">
                    <a:moveTo>
                      <a:pt x="5112" y="31920"/>
                    </a:moveTo>
                    <a:cubicBezTo>
                      <a:pt x="2556" y="31920"/>
                      <a:pt x="0" y="33835"/>
                      <a:pt x="0" y="37027"/>
                    </a:cubicBezTo>
                    <a:cubicBezTo>
                      <a:pt x="0" y="40219"/>
                      <a:pt x="1917" y="42134"/>
                      <a:pt x="5112" y="42134"/>
                    </a:cubicBezTo>
                    <a:lnTo>
                      <a:pt x="8946" y="42134"/>
                    </a:lnTo>
                    <a:cubicBezTo>
                      <a:pt x="10225" y="51710"/>
                      <a:pt x="17892" y="59371"/>
                      <a:pt x="28116" y="59371"/>
                    </a:cubicBezTo>
                    <a:lnTo>
                      <a:pt x="30672" y="59371"/>
                    </a:lnTo>
                    <a:cubicBezTo>
                      <a:pt x="40896" y="59371"/>
                      <a:pt x="49842" y="51072"/>
                      <a:pt x="49842" y="40219"/>
                    </a:cubicBezTo>
                    <a:cubicBezTo>
                      <a:pt x="49842" y="37666"/>
                      <a:pt x="47925" y="35112"/>
                      <a:pt x="44730" y="35112"/>
                    </a:cubicBezTo>
                    <a:cubicBezTo>
                      <a:pt x="41535" y="35112"/>
                      <a:pt x="39618" y="37027"/>
                      <a:pt x="39618" y="40219"/>
                    </a:cubicBezTo>
                    <a:cubicBezTo>
                      <a:pt x="39618" y="45326"/>
                      <a:pt x="35145" y="49795"/>
                      <a:pt x="30033" y="49795"/>
                    </a:cubicBezTo>
                    <a:lnTo>
                      <a:pt x="27477" y="49795"/>
                    </a:lnTo>
                    <a:cubicBezTo>
                      <a:pt x="23004" y="49795"/>
                      <a:pt x="19170" y="46603"/>
                      <a:pt x="17892" y="42134"/>
                    </a:cubicBezTo>
                    <a:lnTo>
                      <a:pt x="30033" y="42134"/>
                    </a:lnTo>
                    <a:cubicBezTo>
                      <a:pt x="32589" y="42134"/>
                      <a:pt x="35145" y="40219"/>
                      <a:pt x="35145" y="37027"/>
                    </a:cubicBezTo>
                    <a:cubicBezTo>
                      <a:pt x="35145" y="33835"/>
                      <a:pt x="33228" y="31920"/>
                      <a:pt x="30033" y="31920"/>
                    </a:cubicBezTo>
                    <a:lnTo>
                      <a:pt x="17892" y="31920"/>
                    </a:lnTo>
                    <a:lnTo>
                      <a:pt x="17892" y="30005"/>
                    </a:lnTo>
                    <a:lnTo>
                      <a:pt x="30033" y="30005"/>
                    </a:lnTo>
                    <a:cubicBezTo>
                      <a:pt x="32589" y="30005"/>
                      <a:pt x="35145" y="28090"/>
                      <a:pt x="35145" y="24898"/>
                    </a:cubicBezTo>
                    <a:cubicBezTo>
                      <a:pt x="35145" y="21706"/>
                      <a:pt x="33228" y="19790"/>
                      <a:pt x="30033" y="19790"/>
                    </a:cubicBezTo>
                    <a:lnTo>
                      <a:pt x="17892" y="19790"/>
                    </a:lnTo>
                    <a:lnTo>
                      <a:pt x="17892" y="19152"/>
                    </a:lnTo>
                    <a:cubicBezTo>
                      <a:pt x="17892" y="14045"/>
                      <a:pt x="22365" y="9576"/>
                      <a:pt x="27477" y="9576"/>
                    </a:cubicBezTo>
                    <a:lnTo>
                      <a:pt x="30033" y="9576"/>
                    </a:lnTo>
                    <a:cubicBezTo>
                      <a:pt x="35145" y="9576"/>
                      <a:pt x="39618" y="14045"/>
                      <a:pt x="39618" y="19152"/>
                    </a:cubicBezTo>
                    <a:cubicBezTo>
                      <a:pt x="39618" y="21706"/>
                      <a:pt x="41535" y="24259"/>
                      <a:pt x="44730" y="24259"/>
                    </a:cubicBezTo>
                    <a:cubicBezTo>
                      <a:pt x="47925" y="24259"/>
                      <a:pt x="49842" y="22344"/>
                      <a:pt x="49842" y="19152"/>
                    </a:cubicBezTo>
                    <a:cubicBezTo>
                      <a:pt x="49842" y="8938"/>
                      <a:pt x="41535" y="0"/>
                      <a:pt x="30672" y="0"/>
                    </a:cubicBezTo>
                    <a:lnTo>
                      <a:pt x="28116" y="0"/>
                    </a:lnTo>
                    <a:cubicBezTo>
                      <a:pt x="17892" y="0"/>
                      <a:pt x="8946" y="8299"/>
                      <a:pt x="8946" y="19152"/>
                    </a:cubicBezTo>
                    <a:lnTo>
                      <a:pt x="8946" y="19790"/>
                    </a:lnTo>
                    <a:lnTo>
                      <a:pt x="5112" y="19790"/>
                    </a:lnTo>
                    <a:cubicBezTo>
                      <a:pt x="2556" y="19790"/>
                      <a:pt x="0" y="21706"/>
                      <a:pt x="0" y="24898"/>
                    </a:cubicBezTo>
                    <a:cubicBezTo>
                      <a:pt x="0" y="28090"/>
                      <a:pt x="1917" y="30005"/>
                      <a:pt x="5112" y="30005"/>
                    </a:cubicBezTo>
                    <a:lnTo>
                      <a:pt x="8946" y="30005"/>
                    </a:lnTo>
                    <a:lnTo>
                      <a:pt x="8946" y="31920"/>
                    </a:lnTo>
                    <a:lnTo>
                      <a:pt x="5112" y="31920"/>
                    </a:lnTo>
                    <a:close/>
                  </a:path>
                </a:pathLst>
              </a:custGeom>
              <a:solidFill>
                <a:schemeClr val="bg1"/>
              </a:solidFill>
              <a:ln w="6390" cap="flat">
                <a:noFill/>
                <a:prstDash val="solid"/>
                <a:miter/>
              </a:ln>
            </p:spPr>
            <p:txBody>
              <a:bodyPr rtlCol="0" anchor="ctr"/>
              <a:lstStyle/>
              <a:p>
                <a:endParaRPr lang="en-US"/>
              </a:p>
            </p:txBody>
          </p:sp>
          <p:sp>
            <p:nvSpPr>
              <p:cNvPr id="239" name="Graphic 4">
                <a:extLst>
                  <a:ext uri="{FF2B5EF4-FFF2-40B4-BE49-F238E27FC236}">
                    <a16:creationId xmlns:a16="http://schemas.microsoft.com/office/drawing/2014/main" id="{5839CE46-7D2B-4D49-8AD8-16D27670CFF6}"/>
                  </a:ext>
                </a:extLst>
              </p:cNvPr>
              <p:cNvSpPr/>
              <p:nvPr/>
            </p:nvSpPr>
            <p:spPr>
              <a:xfrm>
                <a:off x="5365975" y="1801365"/>
                <a:ext cx="201439" cy="134063"/>
              </a:xfrm>
              <a:custGeom>
                <a:avLst/>
                <a:gdLst>
                  <a:gd name="connsiteX0" fmla="*/ 194893 w 201283"/>
                  <a:gd name="connsiteY0" fmla="*/ 0 h 134063"/>
                  <a:gd name="connsiteX1" fmla="*/ 35145 w 201283"/>
                  <a:gd name="connsiteY1" fmla="*/ 0 h 134063"/>
                  <a:gd name="connsiteX2" fmla="*/ 28755 w 201283"/>
                  <a:gd name="connsiteY2" fmla="*/ 6384 h 134063"/>
                  <a:gd name="connsiteX3" fmla="*/ 28755 w 201283"/>
                  <a:gd name="connsiteY3" fmla="*/ 30005 h 134063"/>
                  <a:gd name="connsiteX4" fmla="*/ 6390 w 201283"/>
                  <a:gd name="connsiteY4" fmla="*/ 30005 h 134063"/>
                  <a:gd name="connsiteX5" fmla="*/ 0 w 201283"/>
                  <a:gd name="connsiteY5" fmla="*/ 36389 h 134063"/>
                  <a:gd name="connsiteX6" fmla="*/ 0 w 201283"/>
                  <a:gd name="connsiteY6" fmla="*/ 127680 h 134063"/>
                  <a:gd name="connsiteX7" fmla="*/ 6390 w 201283"/>
                  <a:gd name="connsiteY7" fmla="*/ 134064 h 134063"/>
                  <a:gd name="connsiteX8" fmla="*/ 164860 w 201283"/>
                  <a:gd name="connsiteY8" fmla="*/ 134064 h 134063"/>
                  <a:gd name="connsiteX9" fmla="*/ 171250 w 201283"/>
                  <a:gd name="connsiteY9" fmla="*/ 127680 h 134063"/>
                  <a:gd name="connsiteX10" fmla="*/ 171250 w 201283"/>
                  <a:gd name="connsiteY10" fmla="*/ 103421 h 134063"/>
                  <a:gd name="connsiteX11" fmla="*/ 194893 w 201283"/>
                  <a:gd name="connsiteY11" fmla="*/ 103421 h 134063"/>
                  <a:gd name="connsiteX12" fmla="*/ 201283 w 201283"/>
                  <a:gd name="connsiteY12" fmla="*/ 97037 h 134063"/>
                  <a:gd name="connsiteX13" fmla="*/ 201283 w 201283"/>
                  <a:gd name="connsiteY13" fmla="*/ 6384 h 134063"/>
                  <a:gd name="connsiteX14" fmla="*/ 194893 w 201283"/>
                  <a:gd name="connsiteY14" fmla="*/ 0 h 134063"/>
                  <a:gd name="connsiteX15" fmla="*/ 158470 w 201283"/>
                  <a:gd name="connsiteY15" fmla="*/ 120657 h 134063"/>
                  <a:gd name="connsiteX16" fmla="*/ 12780 w 201283"/>
                  <a:gd name="connsiteY16" fmla="*/ 120657 h 134063"/>
                  <a:gd name="connsiteX17" fmla="*/ 12780 w 201283"/>
                  <a:gd name="connsiteY17" fmla="*/ 42134 h 134063"/>
                  <a:gd name="connsiteX18" fmla="*/ 158470 w 201283"/>
                  <a:gd name="connsiteY18" fmla="*/ 42134 h 134063"/>
                  <a:gd name="connsiteX19" fmla="*/ 158470 w 201283"/>
                  <a:gd name="connsiteY19" fmla="*/ 120657 h 134063"/>
                  <a:gd name="connsiteX20" fmla="*/ 188503 w 201283"/>
                  <a:gd name="connsiteY20" fmla="*/ 90653 h 134063"/>
                  <a:gd name="connsiteX21" fmla="*/ 171250 w 201283"/>
                  <a:gd name="connsiteY21" fmla="*/ 90653 h 134063"/>
                  <a:gd name="connsiteX22" fmla="*/ 171250 w 201283"/>
                  <a:gd name="connsiteY22" fmla="*/ 35750 h 134063"/>
                  <a:gd name="connsiteX23" fmla="*/ 164860 w 201283"/>
                  <a:gd name="connsiteY23" fmla="*/ 29366 h 134063"/>
                  <a:gd name="connsiteX24" fmla="*/ 41535 w 201283"/>
                  <a:gd name="connsiteY24" fmla="*/ 29366 h 134063"/>
                  <a:gd name="connsiteX25" fmla="*/ 41535 w 201283"/>
                  <a:gd name="connsiteY25" fmla="*/ 12130 h 134063"/>
                  <a:gd name="connsiteX26" fmla="*/ 188503 w 201283"/>
                  <a:gd name="connsiteY26" fmla="*/ 12130 h 134063"/>
                  <a:gd name="connsiteX27" fmla="*/ 188503 w 201283"/>
                  <a:gd name="connsiteY27" fmla="*/ 90653 h 13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1283" h="134063">
                    <a:moveTo>
                      <a:pt x="194893" y="0"/>
                    </a:moveTo>
                    <a:lnTo>
                      <a:pt x="35145" y="0"/>
                    </a:lnTo>
                    <a:cubicBezTo>
                      <a:pt x="31311" y="0"/>
                      <a:pt x="28755" y="2554"/>
                      <a:pt x="28755" y="6384"/>
                    </a:cubicBezTo>
                    <a:lnTo>
                      <a:pt x="28755" y="30005"/>
                    </a:lnTo>
                    <a:lnTo>
                      <a:pt x="6390" y="30005"/>
                    </a:lnTo>
                    <a:cubicBezTo>
                      <a:pt x="2556" y="30005"/>
                      <a:pt x="0" y="32558"/>
                      <a:pt x="0" y="36389"/>
                    </a:cubicBezTo>
                    <a:lnTo>
                      <a:pt x="0" y="127680"/>
                    </a:lnTo>
                    <a:cubicBezTo>
                      <a:pt x="0" y="131510"/>
                      <a:pt x="2556" y="134064"/>
                      <a:pt x="6390" y="134064"/>
                    </a:cubicBezTo>
                    <a:lnTo>
                      <a:pt x="164860" y="134064"/>
                    </a:lnTo>
                    <a:cubicBezTo>
                      <a:pt x="168695" y="134064"/>
                      <a:pt x="171250" y="131510"/>
                      <a:pt x="171250" y="127680"/>
                    </a:cubicBezTo>
                    <a:lnTo>
                      <a:pt x="171250" y="103421"/>
                    </a:lnTo>
                    <a:lnTo>
                      <a:pt x="194893" y="103421"/>
                    </a:lnTo>
                    <a:cubicBezTo>
                      <a:pt x="198727" y="103421"/>
                      <a:pt x="201283" y="100867"/>
                      <a:pt x="201283" y="97037"/>
                    </a:cubicBezTo>
                    <a:lnTo>
                      <a:pt x="201283" y="6384"/>
                    </a:lnTo>
                    <a:cubicBezTo>
                      <a:pt x="201283" y="2554"/>
                      <a:pt x="198088" y="0"/>
                      <a:pt x="194893" y="0"/>
                    </a:cubicBezTo>
                    <a:close/>
                    <a:moveTo>
                      <a:pt x="158470" y="120657"/>
                    </a:moveTo>
                    <a:lnTo>
                      <a:pt x="12780" y="120657"/>
                    </a:lnTo>
                    <a:lnTo>
                      <a:pt x="12780" y="42134"/>
                    </a:lnTo>
                    <a:lnTo>
                      <a:pt x="158470" y="42134"/>
                    </a:lnTo>
                    <a:lnTo>
                      <a:pt x="158470" y="120657"/>
                    </a:lnTo>
                    <a:close/>
                    <a:moveTo>
                      <a:pt x="188503" y="90653"/>
                    </a:moveTo>
                    <a:lnTo>
                      <a:pt x="171250" y="90653"/>
                    </a:lnTo>
                    <a:lnTo>
                      <a:pt x="171250" y="35750"/>
                    </a:lnTo>
                    <a:cubicBezTo>
                      <a:pt x="171250" y="31920"/>
                      <a:pt x="168695" y="29366"/>
                      <a:pt x="164860" y="29366"/>
                    </a:cubicBezTo>
                    <a:lnTo>
                      <a:pt x="41535" y="29366"/>
                    </a:lnTo>
                    <a:lnTo>
                      <a:pt x="41535" y="12130"/>
                    </a:lnTo>
                    <a:lnTo>
                      <a:pt x="188503" y="12130"/>
                    </a:lnTo>
                    <a:lnTo>
                      <a:pt x="188503" y="90653"/>
                    </a:lnTo>
                    <a:close/>
                  </a:path>
                </a:pathLst>
              </a:custGeom>
              <a:solidFill>
                <a:schemeClr val="bg1"/>
              </a:solidFill>
              <a:ln w="6390" cap="flat">
                <a:noFill/>
                <a:prstDash val="solid"/>
                <a:miter/>
              </a:ln>
            </p:spPr>
            <p:txBody>
              <a:bodyPr rtlCol="0" anchor="ctr"/>
              <a:lstStyle/>
              <a:p>
                <a:endParaRPr lang="en-US"/>
              </a:p>
            </p:txBody>
          </p:sp>
        </p:grpSp>
      </p:grpSp>
      <p:sp>
        <p:nvSpPr>
          <p:cNvPr id="252" name="TextBox 251">
            <a:extLst>
              <a:ext uri="{FF2B5EF4-FFF2-40B4-BE49-F238E27FC236}">
                <a16:creationId xmlns:a16="http://schemas.microsoft.com/office/drawing/2014/main" id="{4AF24627-2EBF-4D09-9B75-2C59E3DCFC34}"/>
              </a:ext>
            </a:extLst>
          </p:cNvPr>
          <p:cNvSpPr txBox="1"/>
          <p:nvPr/>
        </p:nvSpPr>
        <p:spPr>
          <a:xfrm>
            <a:off x="6315075" y="1671675"/>
            <a:ext cx="5111750" cy="324384"/>
          </a:xfrm>
          <a:prstGeom prst="rect">
            <a:avLst/>
          </a:prstGeom>
          <a:noFill/>
        </p:spPr>
        <p:txBody>
          <a:bodyPr wrap="none" lIns="0" tIns="0" rIns="0" bIns="0" rtlCol="0">
            <a:spAutoFit/>
          </a:bodyPr>
          <a:lstStyle/>
          <a:p>
            <a:pPr eaLnBrk="0" fontAlgn="base" hangingPunct="0">
              <a:lnSpc>
                <a:spcPct val="110000"/>
              </a:lnSpc>
              <a:spcBef>
                <a:spcPct val="0"/>
              </a:spcBef>
              <a:spcAft>
                <a:spcPct val="0"/>
              </a:spcAft>
            </a:pPr>
            <a:r>
              <a:rPr lang="en-GB" sz="1100" b="1" dirty="0">
                <a:solidFill>
                  <a:schemeClr val="bg1"/>
                </a:solidFill>
                <a:latin typeface="+mj-lt"/>
              </a:rPr>
              <a:t>Market development of revenues in selected markets since 2019</a:t>
            </a:r>
          </a:p>
          <a:p>
            <a:pPr eaLnBrk="0" fontAlgn="base" hangingPunct="0">
              <a:lnSpc>
                <a:spcPct val="110000"/>
              </a:lnSpc>
              <a:spcBef>
                <a:spcPct val="0"/>
              </a:spcBef>
              <a:spcAft>
                <a:spcPct val="0"/>
              </a:spcAft>
            </a:pPr>
            <a:r>
              <a:rPr lang="en-GB" sz="900" dirty="0">
                <a:solidFill>
                  <a:schemeClr val="bg1"/>
                </a:solidFill>
                <a:latin typeface="+mj-lt"/>
              </a:rPr>
              <a:t>Revenue in billion €</a:t>
            </a:r>
            <a:endParaRPr lang="en-GB" sz="900" dirty="0">
              <a:solidFill>
                <a:srgbClr val="FF0000"/>
              </a:solidFill>
              <a:latin typeface="+mj-lt"/>
            </a:endParaRPr>
          </a:p>
        </p:txBody>
      </p:sp>
      <p:graphicFrame>
        <p:nvGraphicFramePr>
          <p:cNvPr id="309" name="Chart 308">
            <a:extLst>
              <a:ext uri="{FF2B5EF4-FFF2-40B4-BE49-F238E27FC236}">
                <a16:creationId xmlns:a16="http://schemas.microsoft.com/office/drawing/2014/main" id="{0C3F8307-87CD-4FCA-A37F-A106EDD41C3E}"/>
              </a:ext>
            </a:extLst>
          </p:cNvPr>
          <p:cNvGraphicFramePr/>
          <p:nvPr>
            <p:custDataLst>
              <p:tags r:id="rId38"/>
            </p:custDataLst>
          </p:nvPr>
        </p:nvGraphicFramePr>
        <p:xfrm>
          <a:off x="6557963" y="2887663"/>
          <a:ext cx="4740275" cy="2389187"/>
        </p:xfrm>
        <a:graphic>
          <a:graphicData uri="http://schemas.openxmlformats.org/drawingml/2006/chart">
            <c:chart xmlns:c="http://schemas.openxmlformats.org/drawingml/2006/chart" xmlns:r="http://schemas.openxmlformats.org/officeDocument/2006/relationships" r:id="rId84"/>
          </a:graphicData>
        </a:graphic>
      </p:graphicFrame>
      <p:cxnSp>
        <p:nvCxnSpPr>
          <p:cNvPr id="256" name="Straight Connector 255">
            <a:extLst>
              <a:ext uri="{FF2B5EF4-FFF2-40B4-BE49-F238E27FC236}">
                <a16:creationId xmlns:a16="http://schemas.microsoft.com/office/drawing/2014/main" id="{C43B8D0E-88FB-4B61-A32A-A6AE4CBC99CB}"/>
              </a:ext>
            </a:extLst>
          </p:cNvPr>
          <p:cNvCxnSpPr/>
          <p:nvPr>
            <p:custDataLst>
              <p:tags r:id="rId39"/>
            </p:custDataLst>
          </p:nvPr>
        </p:nvCxnSpPr>
        <p:spPr bwMode="white">
          <a:xfrm>
            <a:off x="7546975" y="2841625"/>
            <a:ext cx="0" cy="601663"/>
          </a:xfrm>
          <a:prstGeom prst="line">
            <a:avLst/>
          </a:prstGeom>
          <a:ln w="6350" cap="flat" cmpd="sng" algn="ctr">
            <a:solidFill>
              <a:schemeClr val="bg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BE0E3195-D072-493D-8235-D45EAB339FE3}"/>
              </a:ext>
            </a:extLst>
          </p:cNvPr>
          <p:cNvCxnSpPr/>
          <p:nvPr>
            <p:custDataLst>
              <p:tags r:id="rId40"/>
            </p:custDataLst>
          </p:nvPr>
        </p:nvCxnSpPr>
        <p:spPr bwMode="white">
          <a:xfrm flipV="1">
            <a:off x="7261225" y="2841624"/>
            <a:ext cx="0" cy="107950"/>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0A1DD1B6-46EA-4A3E-BC28-979FABB3794E}"/>
              </a:ext>
            </a:extLst>
          </p:cNvPr>
          <p:cNvCxnSpPr/>
          <p:nvPr>
            <p:custDataLst>
              <p:tags r:id="rId41"/>
            </p:custDataLst>
          </p:nvPr>
        </p:nvCxnSpPr>
        <p:spPr bwMode="white">
          <a:xfrm>
            <a:off x="7907338" y="2549525"/>
            <a:ext cx="0" cy="1598613"/>
          </a:xfrm>
          <a:prstGeom prst="line">
            <a:avLst/>
          </a:prstGeom>
          <a:ln w="6350" cap="flat" cmpd="sng" algn="ctr">
            <a:solidFill>
              <a:schemeClr val="bg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EFD48AFC-EF3C-4575-A283-33BCBB4888E2}"/>
              </a:ext>
            </a:extLst>
          </p:cNvPr>
          <p:cNvCxnSpPr>
            <a:cxnSpLocks/>
          </p:cNvCxnSpPr>
          <p:nvPr>
            <p:custDataLst>
              <p:tags r:id="rId42"/>
            </p:custDataLst>
          </p:nvPr>
        </p:nvCxnSpPr>
        <p:spPr bwMode="white">
          <a:xfrm flipV="1">
            <a:off x="7623175" y="2549524"/>
            <a:ext cx="0" cy="139700"/>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D3F55914-3741-450C-B077-DD081039F71F}"/>
              </a:ext>
            </a:extLst>
          </p:cNvPr>
          <p:cNvCxnSpPr>
            <a:cxnSpLocks/>
          </p:cNvCxnSpPr>
          <p:nvPr>
            <p:custDataLst>
              <p:tags r:id="rId43"/>
            </p:custDataLst>
          </p:nvPr>
        </p:nvCxnSpPr>
        <p:spPr bwMode="white">
          <a:xfrm flipV="1">
            <a:off x="7623175" y="2841625"/>
            <a:ext cx="0" cy="601663"/>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Straight Connector 260">
            <a:extLst>
              <a:ext uri="{FF2B5EF4-FFF2-40B4-BE49-F238E27FC236}">
                <a16:creationId xmlns:a16="http://schemas.microsoft.com/office/drawing/2014/main" id="{40D79924-0C78-4529-AF3B-2CEC15E64C49}"/>
              </a:ext>
            </a:extLst>
          </p:cNvPr>
          <p:cNvCxnSpPr>
            <a:cxnSpLocks/>
          </p:cNvCxnSpPr>
          <p:nvPr>
            <p:custDataLst>
              <p:tags r:id="rId44"/>
            </p:custDataLst>
          </p:nvPr>
        </p:nvCxnSpPr>
        <p:spPr bwMode="white">
          <a:xfrm flipV="1">
            <a:off x="8713788" y="2841624"/>
            <a:ext cx="0" cy="107950"/>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27AC5B4C-E6E5-4E1A-9669-D5D0CC99E720}"/>
              </a:ext>
            </a:extLst>
          </p:cNvPr>
          <p:cNvCxnSpPr/>
          <p:nvPr>
            <p:custDataLst>
              <p:tags r:id="rId45"/>
            </p:custDataLst>
          </p:nvPr>
        </p:nvCxnSpPr>
        <p:spPr bwMode="white">
          <a:xfrm>
            <a:off x="8999538" y="2841625"/>
            <a:ext cx="0" cy="1152525"/>
          </a:xfrm>
          <a:prstGeom prst="line">
            <a:avLst/>
          </a:prstGeom>
          <a:ln w="6350" cap="flat" cmpd="sng" algn="ctr">
            <a:solidFill>
              <a:schemeClr val="bg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3E66B429-990F-4FC1-822B-50AE914EC587}"/>
              </a:ext>
            </a:extLst>
          </p:cNvPr>
          <p:cNvCxnSpPr/>
          <p:nvPr>
            <p:custDataLst>
              <p:tags r:id="rId46"/>
            </p:custDataLst>
          </p:nvPr>
        </p:nvCxnSpPr>
        <p:spPr bwMode="white">
          <a:xfrm>
            <a:off x="9359900" y="2549524"/>
            <a:ext cx="0" cy="1112838"/>
          </a:xfrm>
          <a:prstGeom prst="line">
            <a:avLst/>
          </a:prstGeom>
          <a:ln w="6350" cap="flat" cmpd="sng" algn="ctr">
            <a:solidFill>
              <a:schemeClr val="bg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96294DF2-B362-47CB-9F51-94E5E92A3A8D}"/>
              </a:ext>
            </a:extLst>
          </p:cNvPr>
          <p:cNvCxnSpPr/>
          <p:nvPr>
            <p:custDataLst>
              <p:tags r:id="rId47"/>
            </p:custDataLst>
          </p:nvPr>
        </p:nvCxnSpPr>
        <p:spPr bwMode="white">
          <a:xfrm flipV="1">
            <a:off x="9075738" y="2841625"/>
            <a:ext cx="0" cy="1152525"/>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4F917458-280A-428B-A20E-638E653B8CF1}"/>
              </a:ext>
            </a:extLst>
          </p:cNvPr>
          <p:cNvCxnSpPr>
            <a:cxnSpLocks/>
          </p:cNvCxnSpPr>
          <p:nvPr>
            <p:custDataLst>
              <p:tags r:id="rId48"/>
            </p:custDataLst>
          </p:nvPr>
        </p:nvCxnSpPr>
        <p:spPr bwMode="white">
          <a:xfrm flipV="1">
            <a:off x="9075738" y="2549525"/>
            <a:ext cx="0" cy="139700"/>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591CCC21-C0CF-4249-9570-73531DA52FC9}"/>
              </a:ext>
            </a:extLst>
          </p:cNvPr>
          <p:cNvCxnSpPr/>
          <p:nvPr>
            <p:custDataLst>
              <p:tags r:id="rId49"/>
            </p:custDataLst>
          </p:nvPr>
        </p:nvCxnSpPr>
        <p:spPr bwMode="white">
          <a:xfrm flipV="1">
            <a:off x="10164763" y="3995737"/>
            <a:ext cx="0" cy="107950"/>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F211CCAB-346E-4B7B-8593-EFCEF3B08C1D}"/>
              </a:ext>
            </a:extLst>
          </p:cNvPr>
          <p:cNvCxnSpPr/>
          <p:nvPr>
            <p:custDataLst>
              <p:tags r:id="rId50"/>
            </p:custDataLst>
          </p:nvPr>
        </p:nvCxnSpPr>
        <p:spPr bwMode="white">
          <a:xfrm>
            <a:off x="10450513" y="3995737"/>
            <a:ext cx="0" cy="477838"/>
          </a:xfrm>
          <a:prstGeom prst="line">
            <a:avLst/>
          </a:prstGeom>
          <a:ln w="6350" cap="flat" cmpd="sng" algn="ctr">
            <a:solidFill>
              <a:schemeClr val="bg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D91F901F-B624-43A4-A693-5ADFBA776532}"/>
              </a:ext>
            </a:extLst>
          </p:cNvPr>
          <p:cNvCxnSpPr/>
          <p:nvPr>
            <p:custDataLst>
              <p:tags r:id="rId51"/>
            </p:custDataLst>
          </p:nvPr>
        </p:nvCxnSpPr>
        <p:spPr bwMode="white">
          <a:xfrm flipV="1">
            <a:off x="10526713" y="3995738"/>
            <a:ext cx="0" cy="477838"/>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3F3ADEB-50E9-454B-9EA2-E731D8EA4CD4}"/>
              </a:ext>
            </a:extLst>
          </p:cNvPr>
          <p:cNvCxnSpPr>
            <a:cxnSpLocks/>
          </p:cNvCxnSpPr>
          <p:nvPr>
            <p:custDataLst>
              <p:tags r:id="rId52"/>
            </p:custDataLst>
          </p:nvPr>
        </p:nvCxnSpPr>
        <p:spPr bwMode="white">
          <a:xfrm flipV="1">
            <a:off x="10526713" y="3703638"/>
            <a:ext cx="0" cy="139700"/>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2BAF89DC-4DC1-4C78-9A10-E6815A3E8B04}"/>
              </a:ext>
            </a:extLst>
          </p:cNvPr>
          <p:cNvCxnSpPr/>
          <p:nvPr>
            <p:custDataLst>
              <p:tags r:id="rId53"/>
            </p:custDataLst>
          </p:nvPr>
        </p:nvCxnSpPr>
        <p:spPr bwMode="white">
          <a:xfrm>
            <a:off x="10810875" y="3703637"/>
            <a:ext cx="0" cy="681038"/>
          </a:xfrm>
          <a:prstGeom prst="line">
            <a:avLst/>
          </a:prstGeom>
          <a:ln w="6350" cap="flat" cmpd="sng" algn="ctr">
            <a:solidFill>
              <a:schemeClr val="bg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71" name="Text Placeholder 18">
            <a:extLst>
              <a:ext uri="{FF2B5EF4-FFF2-40B4-BE49-F238E27FC236}">
                <a16:creationId xmlns:a16="http://schemas.microsoft.com/office/drawing/2014/main" id="{AF7E729A-BD2A-444C-82C5-FD90E324519D}"/>
              </a:ext>
            </a:extLst>
          </p:cNvPr>
          <p:cNvSpPr>
            <a:spLocks noGrp="1"/>
          </p:cNvSpPr>
          <p:nvPr>
            <p:custDataLst>
              <p:tags r:id="rId54"/>
            </p:custDataLst>
          </p:nvPr>
        </p:nvSpPr>
        <p:spPr bwMode="auto">
          <a:xfrm>
            <a:off x="6396038" y="3302000"/>
            <a:ext cx="152400" cy="15589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r>
              <a:rPr lang="de-DE" sz="1000" noProof="0" dirty="0">
                <a:solidFill>
                  <a:schemeClr val="bg1"/>
                </a:solidFill>
              </a:rPr>
              <a:t>Revenue (in EUR </a:t>
            </a:r>
            <a:r>
              <a:rPr lang="de-DE" sz="1000" dirty="0" err="1">
                <a:solidFill>
                  <a:schemeClr val="bg1"/>
                </a:solidFill>
              </a:rPr>
              <a:t>billion</a:t>
            </a:r>
            <a:r>
              <a:rPr lang="de-DE" sz="1000" dirty="0">
                <a:solidFill>
                  <a:schemeClr val="bg1"/>
                </a:solidFill>
              </a:rPr>
              <a:t>)</a:t>
            </a:r>
            <a:endParaRPr lang="de-DE" sz="1000" noProof="0" dirty="0">
              <a:solidFill>
                <a:schemeClr val="bg1"/>
              </a:solidFill>
            </a:endParaRPr>
          </a:p>
        </p:txBody>
      </p:sp>
      <p:sp>
        <p:nvSpPr>
          <p:cNvPr id="273" name="Text Placeholder 18">
            <a:extLst>
              <a:ext uri="{FF2B5EF4-FFF2-40B4-BE49-F238E27FC236}">
                <a16:creationId xmlns:a16="http://schemas.microsoft.com/office/drawing/2014/main" id="{9671E50E-F149-4A15-9B53-1F11D11BDDB6}"/>
              </a:ext>
            </a:extLst>
          </p:cNvPr>
          <p:cNvSpPr>
            <a:spLocks noGrp="1"/>
          </p:cNvSpPr>
          <p:nvPr>
            <p:custDataLst>
              <p:tags r:id="rId55"/>
            </p:custDataLst>
          </p:nvPr>
        </p:nvSpPr>
        <p:spPr bwMode="auto">
          <a:xfrm>
            <a:off x="7286625" y="5264150"/>
            <a:ext cx="5969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574A6FC7-87C7-45BF-856D-0A7C49BA7E1E}" type="datetime'G''e''r''m''''''a''''''''''''''''''''''''''''''''''''''ny'">
              <a:rPr lang="de-DE" altLang="en-US" sz="1000" smtClean="0">
                <a:solidFill>
                  <a:schemeClr val="bg1"/>
                </a:solidFill>
              </a:rPr>
              <a:pPr/>
              <a:t>Germany</a:t>
            </a:fld>
            <a:endParaRPr lang="de-DE" sz="1000" noProof="0" dirty="0">
              <a:solidFill>
                <a:schemeClr val="bg1"/>
              </a:solidFill>
            </a:endParaRPr>
          </a:p>
        </p:txBody>
      </p:sp>
      <p:sp>
        <p:nvSpPr>
          <p:cNvPr id="274" name="Text Placeholder 18">
            <a:extLst>
              <a:ext uri="{FF2B5EF4-FFF2-40B4-BE49-F238E27FC236}">
                <a16:creationId xmlns:a16="http://schemas.microsoft.com/office/drawing/2014/main" id="{9D4BE952-868E-4FDF-815E-E89CF7438121}"/>
              </a:ext>
            </a:extLst>
          </p:cNvPr>
          <p:cNvSpPr>
            <a:spLocks noGrp="1"/>
          </p:cNvSpPr>
          <p:nvPr>
            <p:custDataLst>
              <p:tags r:id="rId56"/>
            </p:custDataLst>
          </p:nvPr>
        </p:nvSpPr>
        <p:spPr bwMode="auto">
          <a:xfrm>
            <a:off x="8940800" y="5264150"/>
            <a:ext cx="1936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223E438F-0115-4F22-96E2-267136D37A3E}" type="datetime'U''''K'''''''''''''''''">
              <a:rPr lang="de-DE" altLang="en-US" sz="1000" smtClean="0">
                <a:solidFill>
                  <a:schemeClr val="bg1"/>
                </a:solidFill>
              </a:rPr>
              <a:pPr/>
              <a:t>UK</a:t>
            </a:fld>
            <a:endParaRPr lang="de-DE" sz="1000" noProof="0" dirty="0">
              <a:solidFill>
                <a:schemeClr val="bg1"/>
              </a:solidFill>
            </a:endParaRPr>
          </a:p>
        </p:txBody>
      </p:sp>
      <p:sp>
        <p:nvSpPr>
          <p:cNvPr id="276" name="Text Placeholder 18">
            <a:extLst>
              <a:ext uri="{FF2B5EF4-FFF2-40B4-BE49-F238E27FC236}">
                <a16:creationId xmlns:a16="http://schemas.microsoft.com/office/drawing/2014/main" id="{C33280BA-F97E-4BE7-A203-E462D47E8F4C}"/>
              </a:ext>
            </a:extLst>
          </p:cNvPr>
          <p:cNvSpPr>
            <a:spLocks noGrp="1"/>
          </p:cNvSpPr>
          <p:nvPr>
            <p:custDataLst>
              <p:tags r:id="rId57"/>
            </p:custDataLst>
          </p:nvPr>
        </p:nvSpPr>
        <p:spPr bwMode="auto">
          <a:xfrm>
            <a:off x="10302875" y="5264150"/>
            <a:ext cx="371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494729CA-8DA6-43B1-B2C8-AC75A012627D}" type="datetime'''''''''''''''''''''''''''''''''S''''''p''''''a''''''''in'">
              <a:rPr lang="de-DE" altLang="en-US" sz="1000" smtClean="0">
                <a:solidFill>
                  <a:schemeClr val="bg1"/>
                </a:solidFill>
              </a:rPr>
              <a:pPr/>
              <a:t>Spain</a:t>
            </a:fld>
            <a:endParaRPr lang="de-DE" sz="1000" noProof="0" dirty="0">
              <a:solidFill>
                <a:schemeClr val="bg1"/>
              </a:solidFill>
            </a:endParaRPr>
          </a:p>
        </p:txBody>
      </p:sp>
      <p:sp>
        <p:nvSpPr>
          <p:cNvPr id="275" name="Text Placeholder 18">
            <a:extLst>
              <a:ext uri="{FF2B5EF4-FFF2-40B4-BE49-F238E27FC236}">
                <a16:creationId xmlns:a16="http://schemas.microsoft.com/office/drawing/2014/main" id="{C5A989E8-9AFC-45A6-86E2-DF4726911990}"/>
              </a:ext>
            </a:extLst>
          </p:cNvPr>
          <p:cNvSpPr>
            <a:spLocks noGrp="1"/>
          </p:cNvSpPr>
          <p:nvPr>
            <p:custDataLst>
              <p:tags r:id="rId58"/>
            </p:custDataLst>
          </p:nvPr>
        </p:nvSpPr>
        <p:spPr bwMode="gray">
          <a:xfrm>
            <a:off x="8534400" y="2987675"/>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63607CAA-BECF-4F5F-8154-85D555E27C60}" type="datetime'''''5''.5''''''''''''''''''''1'''''''''''">
              <a:rPr lang="de-DE" altLang="en-US" sz="1000" b="1" smtClean="0">
                <a:solidFill>
                  <a:schemeClr val="bg1"/>
                </a:solidFill>
              </a:rPr>
              <a:pPr/>
              <a:t>5.51</a:t>
            </a:fld>
            <a:endParaRPr lang="de-DE" sz="1000" b="1" noProof="0" dirty="0">
              <a:solidFill>
                <a:schemeClr val="bg1"/>
              </a:solidFill>
            </a:endParaRPr>
          </a:p>
        </p:txBody>
      </p:sp>
      <p:sp>
        <p:nvSpPr>
          <p:cNvPr id="280" name="Text Placeholder 18">
            <a:extLst>
              <a:ext uri="{FF2B5EF4-FFF2-40B4-BE49-F238E27FC236}">
                <a16:creationId xmlns:a16="http://schemas.microsoft.com/office/drawing/2014/main" id="{4098B49E-4569-4769-9FE5-5D7E40C18304}"/>
              </a:ext>
            </a:extLst>
          </p:cNvPr>
          <p:cNvSpPr>
            <a:spLocks noGrp="1"/>
          </p:cNvSpPr>
          <p:nvPr>
            <p:custDataLst>
              <p:tags r:id="rId59"/>
            </p:custDataLst>
          </p:nvPr>
        </p:nvSpPr>
        <p:spPr bwMode="gray">
          <a:xfrm>
            <a:off x="9180513" y="3700463"/>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A867CDAB-4AD6-498D-B8D2-2477528FFBF9}" type="datetime'''''''''''3''''''''''''.''''5''''''6'''''''''">
              <a:rPr lang="de-DE" altLang="en-US" sz="1000" b="1" smtClean="0">
                <a:solidFill>
                  <a:schemeClr val="bg1"/>
                </a:solidFill>
              </a:rPr>
              <a:pPr/>
              <a:t>3.56</a:t>
            </a:fld>
            <a:endParaRPr lang="de-DE" sz="1000" b="1" noProof="0" dirty="0">
              <a:solidFill>
                <a:schemeClr val="bg1"/>
              </a:solidFill>
            </a:endParaRPr>
          </a:p>
        </p:txBody>
      </p:sp>
      <p:sp>
        <p:nvSpPr>
          <p:cNvPr id="278" name="Text Placeholder 18">
            <a:extLst>
              <a:ext uri="{FF2B5EF4-FFF2-40B4-BE49-F238E27FC236}">
                <a16:creationId xmlns:a16="http://schemas.microsoft.com/office/drawing/2014/main" id="{673B3BDE-A32E-4376-9BE1-CDAA4A3E54D0}"/>
              </a:ext>
            </a:extLst>
          </p:cNvPr>
          <p:cNvSpPr>
            <a:spLocks noGrp="1"/>
          </p:cNvSpPr>
          <p:nvPr>
            <p:custDataLst>
              <p:tags r:id="rId60"/>
            </p:custDataLst>
          </p:nvPr>
        </p:nvSpPr>
        <p:spPr bwMode="gray">
          <a:xfrm>
            <a:off x="7081838" y="2987675"/>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3D531DED-479E-419D-B481-2009233CCA3A}" type="datetime'''''''''''''''''''''''''''''5''''''''''''.5''''1'">
              <a:rPr lang="de-DE" altLang="en-US" sz="1000" b="1" smtClean="0">
                <a:solidFill>
                  <a:schemeClr val="bg1"/>
                </a:solidFill>
              </a:rPr>
              <a:pPr/>
              <a:t>5.51</a:t>
            </a:fld>
            <a:endParaRPr lang="de-DE" sz="1000" b="1" noProof="0" dirty="0">
              <a:solidFill>
                <a:schemeClr val="bg1"/>
              </a:solidFill>
            </a:endParaRPr>
          </a:p>
        </p:txBody>
      </p:sp>
      <p:sp>
        <p:nvSpPr>
          <p:cNvPr id="279" name="Text Placeholder 18">
            <a:extLst>
              <a:ext uri="{FF2B5EF4-FFF2-40B4-BE49-F238E27FC236}">
                <a16:creationId xmlns:a16="http://schemas.microsoft.com/office/drawing/2014/main" id="{0366805B-3B50-4C78-840E-8786535F5750}"/>
              </a:ext>
            </a:extLst>
          </p:cNvPr>
          <p:cNvSpPr>
            <a:spLocks noGrp="1"/>
          </p:cNvSpPr>
          <p:nvPr>
            <p:custDataLst>
              <p:tags r:id="rId61"/>
            </p:custDataLst>
          </p:nvPr>
        </p:nvSpPr>
        <p:spPr bwMode="gray">
          <a:xfrm>
            <a:off x="7405688" y="3481388"/>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8B90FFA1-4B0C-4E92-AAAF-DB2C6FFCA044}" type="datetime'''''''''''''''''4''''''''.''''''''''1''''''''6'''''''''''''''">
              <a:rPr lang="de-DE" altLang="en-US" sz="1000" b="1" smtClean="0">
                <a:solidFill>
                  <a:schemeClr val="bg1"/>
                </a:solidFill>
              </a:rPr>
              <a:pPr/>
              <a:t>4.16</a:t>
            </a:fld>
            <a:endParaRPr lang="de-DE" sz="1000" b="1" noProof="0" dirty="0">
              <a:solidFill>
                <a:schemeClr val="bg1"/>
              </a:solidFill>
            </a:endParaRPr>
          </a:p>
        </p:txBody>
      </p:sp>
      <p:sp>
        <p:nvSpPr>
          <p:cNvPr id="277" name="Text Placeholder 18">
            <a:extLst>
              <a:ext uri="{FF2B5EF4-FFF2-40B4-BE49-F238E27FC236}">
                <a16:creationId xmlns:a16="http://schemas.microsoft.com/office/drawing/2014/main" id="{8BE71984-F895-4451-A5C4-501569F4332E}"/>
              </a:ext>
            </a:extLst>
          </p:cNvPr>
          <p:cNvSpPr>
            <a:spLocks noGrp="1"/>
          </p:cNvSpPr>
          <p:nvPr>
            <p:custDataLst>
              <p:tags r:id="rId62"/>
            </p:custDataLst>
          </p:nvPr>
        </p:nvSpPr>
        <p:spPr bwMode="gray">
          <a:xfrm>
            <a:off x="7727950" y="4186238"/>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4C6E994C-CC05-4A79-9ECB-AD1854FD0E15}" type="datetime'2''''''''''''''''''''''''''''.''''''''''''''''''''2''''3'''''">
              <a:rPr lang="de-DE" altLang="en-US" sz="1000" b="1" smtClean="0">
                <a:solidFill>
                  <a:schemeClr val="bg1"/>
                </a:solidFill>
              </a:rPr>
              <a:pPr/>
              <a:t>2.23</a:t>
            </a:fld>
            <a:endParaRPr lang="de-DE" sz="1000" b="1" noProof="0" dirty="0">
              <a:solidFill>
                <a:schemeClr val="bg1"/>
              </a:solidFill>
            </a:endParaRPr>
          </a:p>
        </p:txBody>
      </p:sp>
      <p:sp>
        <p:nvSpPr>
          <p:cNvPr id="272" name="Text Placeholder 18">
            <a:extLst>
              <a:ext uri="{FF2B5EF4-FFF2-40B4-BE49-F238E27FC236}">
                <a16:creationId xmlns:a16="http://schemas.microsoft.com/office/drawing/2014/main" id="{DC35C1AF-94E1-4278-9A0C-CB0F93832ED5}"/>
              </a:ext>
            </a:extLst>
          </p:cNvPr>
          <p:cNvSpPr>
            <a:spLocks noGrp="1"/>
          </p:cNvSpPr>
          <p:nvPr>
            <p:custDataLst>
              <p:tags r:id="rId63"/>
            </p:custDataLst>
          </p:nvPr>
        </p:nvSpPr>
        <p:spPr bwMode="gray">
          <a:xfrm>
            <a:off x="8858250" y="4032250"/>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489FF453-7E23-4305-B321-082E2CC49482}" type="datetime'''''2''''''''''.6''''''''''''''''''5'''''''''''''">
              <a:rPr lang="de-DE" altLang="en-US" sz="1000" b="1" smtClean="0">
                <a:solidFill>
                  <a:schemeClr val="bg1"/>
                </a:solidFill>
              </a:rPr>
              <a:pPr/>
              <a:t>2.65</a:t>
            </a:fld>
            <a:endParaRPr lang="de-DE" sz="1000" b="1" noProof="0" dirty="0">
              <a:solidFill>
                <a:schemeClr val="bg1"/>
              </a:solidFill>
            </a:endParaRPr>
          </a:p>
        </p:txBody>
      </p:sp>
      <p:sp>
        <p:nvSpPr>
          <p:cNvPr id="281" name="Text Placeholder 18">
            <a:extLst>
              <a:ext uri="{FF2B5EF4-FFF2-40B4-BE49-F238E27FC236}">
                <a16:creationId xmlns:a16="http://schemas.microsoft.com/office/drawing/2014/main" id="{053A799E-8030-47DC-8CD4-C74C68D2DB9B}"/>
              </a:ext>
            </a:extLst>
          </p:cNvPr>
          <p:cNvSpPr>
            <a:spLocks noGrp="1"/>
          </p:cNvSpPr>
          <p:nvPr>
            <p:custDataLst>
              <p:tags r:id="rId64"/>
            </p:custDataLst>
          </p:nvPr>
        </p:nvSpPr>
        <p:spPr bwMode="gray">
          <a:xfrm>
            <a:off x="9985375" y="4141788"/>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DF9045F2-381F-4DD3-9D5D-03DD5D3285A5}" type="datetime'2''''''''''''''''''''''''''''''''''''''''''.''''''3''''5'">
              <a:rPr lang="de-DE" altLang="en-US" sz="1000" b="1" smtClean="0">
                <a:solidFill>
                  <a:schemeClr val="bg1"/>
                </a:solidFill>
              </a:rPr>
              <a:pPr/>
              <a:t>2.35</a:t>
            </a:fld>
            <a:endParaRPr lang="de-DE" sz="1000" b="1" noProof="0" dirty="0">
              <a:solidFill>
                <a:schemeClr val="bg1"/>
              </a:solidFill>
            </a:endParaRPr>
          </a:p>
        </p:txBody>
      </p:sp>
      <p:sp>
        <p:nvSpPr>
          <p:cNvPr id="282" name="Text Placeholder 18">
            <a:extLst>
              <a:ext uri="{FF2B5EF4-FFF2-40B4-BE49-F238E27FC236}">
                <a16:creationId xmlns:a16="http://schemas.microsoft.com/office/drawing/2014/main" id="{A43DFADB-2D21-4B5A-9003-387E68B30337}"/>
              </a:ext>
            </a:extLst>
          </p:cNvPr>
          <p:cNvSpPr>
            <a:spLocks noGrp="1"/>
          </p:cNvSpPr>
          <p:nvPr>
            <p:custDataLst>
              <p:tags r:id="rId65"/>
            </p:custDataLst>
          </p:nvPr>
        </p:nvSpPr>
        <p:spPr bwMode="gray">
          <a:xfrm>
            <a:off x="10309225" y="4511675"/>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06AEE719-4126-4DBD-B57F-98E2879D84FC}" type="datetime'''''''''''1.''''''''''''''3''''''''''4'''''''''''''''''''''">
              <a:rPr lang="de-DE" altLang="en-US" sz="1000" b="1" smtClean="0">
                <a:solidFill>
                  <a:schemeClr val="bg1"/>
                </a:solidFill>
              </a:rPr>
              <a:pPr/>
              <a:t>1.34</a:t>
            </a:fld>
            <a:endParaRPr lang="de-DE" sz="1000" b="1" noProof="0" dirty="0">
              <a:solidFill>
                <a:schemeClr val="bg1"/>
              </a:solidFill>
            </a:endParaRPr>
          </a:p>
        </p:txBody>
      </p:sp>
      <p:sp>
        <p:nvSpPr>
          <p:cNvPr id="270" name="Text Placeholder 18">
            <a:extLst>
              <a:ext uri="{FF2B5EF4-FFF2-40B4-BE49-F238E27FC236}">
                <a16:creationId xmlns:a16="http://schemas.microsoft.com/office/drawing/2014/main" id="{92402540-24FE-4D0F-B937-F2ADC7E6622B}"/>
              </a:ext>
            </a:extLst>
          </p:cNvPr>
          <p:cNvSpPr>
            <a:spLocks noGrp="1"/>
          </p:cNvSpPr>
          <p:nvPr>
            <p:custDataLst>
              <p:tags r:id="rId66"/>
            </p:custDataLst>
          </p:nvPr>
        </p:nvSpPr>
        <p:spPr bwMode="gray">
          <a:xfrm>
            <a:off x="10671175" y="4422775"/>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4162BF0A-3ADA-4876-BF9E-41441AE7A47D}" type="datetime'1''''''''''.''5''8'''''''''''''''''''''">
              <a:rPr lang="de-DE" altLang="en-US" sz="1000" b="1" smtClean="0">
                <a:solidFill>
                  <a:schemeClr val="bg1"/>
                </a:solidFill>
              </a:rPr>
              <a:pPr/>
              <a:t>1.58</a:t>
            </a:fld>
            <a:endParaRPr lang="de-DE" sz="1000" b="1" noProof="0" dirty="0">
              <a:solidFill>
                <a:schemeClr val="bg1"/>
              </a:solidFill>
            </a:endParaRPr>
          </a:p>
        </p:txBody>
      </p:sp>
      <p:sp>
        <p:nvSpPr>
          <p:cNvPr id="283" name="Text Placeholder 18">
            <a:extLst>
              <a:ext uri="{FF2B5EF4-FFF2-40B4-BE49-F238E27FC236}">
                <a16:creationId xmlns:a16="http://schemas.microsoft.com/office/drawing/2014/main" id="{91406379-8416-4B49-BAC0-58A167E7153D}"/>
              </a:ext>
            </a:extLst>
          </p:cNvPr>
          <p:cNvSpPr>
            <a:spLocks noGrp="1"/>
          </p:cNvSpPr>
          <p:nvPr>
            <p:custDataLst>
              <p:tags r:id="rId67"/>
            </p:custDataLst>
          </p:nvPr>
        </p:nvSpPr>
        <p:spPr bwMode="auto">
          <a:xfrm>
            <a:off x="7062788" y="2657475"/>
            <a:ext cx="682625"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bg1"/>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BB37C79A-A494-4733-A527-223F1535311D}" type="datetime'''-''''''2''''4''.''''''''5''''''''''''''%'''''''''''''''">
              <a:rPr lang="de-DE" altLang="en-US" sz="1000" smtClean="0">
                <a:solidFill>
                  <a:srgbClr val="FFFFFF"/>
                </a:solidFill>
              </a:rPr>
              <a:pPr/>
              <a:t>-24.5%</a:t>
            </a:fld>
            <a:endParaRPr lang="de-DE" sz="1000" noProof="0" dirty="0">
              <a:solidFill>
                <a:srgbClr val="FFFFFF"/>
              </a:solidFill>
            </a:endParaRPr>
          </a:p>
        </p:txBody>
      </p:sp>
      <p:sp>
        <p:nvSpPr>
          <p:cNvPr id="284" name="Text Placeholder 18">
            <a:extLst>
              <a:ext uri="{FF2B5EF4-FFF2-40B4-BE49-F238E27FC236}">
                <a16:creationId xmlns:a16="http://schemas.microsoft.com/office/drawing/2014/main" id="{C59D239B-A8A8-484D-88FE-1847BEFF93F4}"/>
              </a:ext>
            </a:extLst>
          </p:cNvPr>
          <p:cNvSpPr>
            <a:spLocks noGrp="1"/>
          </p:cNvSpPr>
          <p:nvPr>
            <p:custDataLst>
              <p:tags r:id="rId68"/>
            </p:custDataLst>
          </p:nvPr>
        </p:nvSpPr>
        <p:spPr bwMode="auto">
          <a:xfrm>
            <a:off x="7423150" y="2365375"/>
            <a:ext cx="682625"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bg1"/>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8417526C-924C-4CBD-87B6-9C47FD135547}" type="datetime'''''-''''''''''''''''''4''''6''''''''.''''''4''''''''%'''">
              <a:rPr lang="de-DE" altLang="en-US" sz="1000" smtClean="0">
                <a:solidFill>
                  <a:srgbClr val="FFFFFF"/>
                </a:solidFill>
              </a:rPr>
              <a:pPr/>
              <a:t>-46.4%</a:t>
            </a:fld>
            <a:endParaRPr lang="de-DE" sz="1000" noProof="0" dirty="0">
              <a:solidFill>
                <a:srgbClr val="FFFFFF"/>
              </a:solidFill>
            </a:endParaRPr>
          </a:p>
        </p:txBody>
      </p:sp>
      <p:sp>
        <p:nvSpPr>
          <p:cNvPr id="285" name="Text Placeholder 18">
            <a:extLst>
              <a:ext uri="{FF2B5EF4-FFF2-40B4-BE49-F238E27FC236}">
                <a16:creationId xmlns:a16="http://schemas.microsoft.com/office/drawing/2014/main" id="{65E008BB-A950-44FF-8597-E775BEFF35DD}"/>
              </a:ext>
            </a:extLst>
          </p:cNvPr>
          <p:cNvSpPr>
            <a:spLocks noGrp="1"/>
          </p:cNvSpPr>
          <p:nvPr>
            <p:custDataLst>
              <p:tags r:id="rId69"/>
            </p:custDataLst>
          </p:nvPr>
        </p:nvSpPr>
        <p:spPr bwMode="auto">
          <a:xfrm>
            <a:off x="8515350" y="2657475"/>
            <a:ext cx="682625"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bg1"/>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r>
              <a:rPr lang="de-DE" altLang="en-US" sz="1000" dirty="0">
                <a:solidFill>
                  <a:srgbClr val="FFFFFF"/>
                </a:solidFill>
              </a:rPr>
              <a:t>-51.9%</a:t>
            </a:r>
            <a:endParaRPr lang="de-DE" sz="1000" noProof="0" dirty="0">
              <a:solidFill>
                <a:srgbClr val="FFFFFF"/>
              </a:solidFill>
            </a:endParaRPr>
          </a:p>
        </p:txBody>
      </p:sp>
      <p:sp>
        <p:nvSpPr>
          <p:cNvPr id="286" name="Text Placeholder 18">
            <a:extLst>
              <a:ext uri="{FF2B5EF4-FFF2-40B4-BE49-F238E27FC236}">
                <a16:creationId xmlns:a16="http://schemas.microsoft.com/office/drawing/2014/main" id="{FE73BF29-5B68-4DFC-B593-5D230D322A7C}"/>
              </a:ext>
            </a:extLst>
          </p:cNvPr>
          <p:cNvSpPr>
            <a:spLocks noGrp="1"/>
          </p:cNvSpPr>
          <p:nvPr>
            <p:custDataLst>
              <p:tags r:id="rId70"/>
            </p:custDataLst>
          </p:nvPr>
        </p:nvSpPr>
        <p:spPr bwMode="auto">
          <a:xfrm>
            <a:off x="8843963" y="2365375"/>
            <a:ext cx="747713"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bg1"/>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fld id="{B7424C1A-B619-41E8-9ABE-8CA20F06682B}" type="datetime'''''''''''''''''+''''''''34''''''''.''''''3''%'''''''''''''''">
              <a:rPr lang="de-DE" altLang="en-US" sz="1000" smtClean="0">
                <a:solidFill>
                  <a:srgbClr val="FFFFFF"/>
                </a:solidFill>
              </a:rPr>
              <a:pPr/>
              <a:t>+34.3%</a:t>
            </a:fld>
            <a:endParaRPr lang="de-DE" sz="1000" noProof="0" dirty="0">
              <a:solidFill>
                <a:srgbClr val="FFFFFF"/>
              </a:solidFill>
            </a:endParaRPr>
          </a:p>
        </p:txBody>
      </p:sp>
      <p:sp>
        <p:nvSpPr>
          <p:cNvPr id="287" name="Text Placeholder 18">
            <a:extLst>
              <a:ext uri="{FF2B5EF4-FFF2-40B4-BE49-F238E27FC236}">
                <a16:creationId xmlns:a16="http://schemas.microsoft.com/office/drawing/2014/main" id="{10E1EEF1-6348-45BD-89BE-CD1F0342B504}"/>
              </a:ext>
            </a:extLst>
          </p:cNvPr>
          <p:cNvSpPr>
            <a:spLocks noGrp="1"/>
          </p:cNvSpPr>
          <p:nvPr>
            <p:custDataLst>
              <p:tags r:id="rId71"/>
            </p:custDataLst>
          </p:nvPr>
        </p:nvSpPr>
        <p:spPr bwMode="auto">
          <a:xfrm>
            <a:off x="9966325" y="3811588"/>
            <a:ext cx="682625"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bg1"/>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r>
              <a:rPr lang="de-DE" altLang="en-US" sz="1000" dirty="0">
                <a:solidFill>
                  <a:srgbClr val="FFFFFF"/>
                </a:solidFill>
              </a:rPr>
              <a:t>-43.1%</a:t>
            </a:r>
            <a:endParaRPr lang="de-DE" sz="1000" noProof="0" dirty="0">
              <a:solidFill>
                <a:srgbClr val="FFFFFF"/>
              </a:solidFill>
            </a:endParaRPr>
          </a:p>
        </p:txBody>
      </p:sp>
      <p:sp>
        <p:nvSpPr>
          <p:cNvPr id="288" name="Text Placeholder 18">
            <a:extLst>
              <a:ext uri="{FF2B5EF4-FFF2-40B4-BE49-F238E27FC236}">
                <a16:creationId xmlns:a16="http://schemas.microsoft.com/office/drawing/2014/main" id="{2F16E2CB-59CD-4616-9CC7-EE6A7BB9DAB1}"/>
              </a:ext>
            </a:extLst>
          </p:cNvPr>
          <p:cNvSpPr>
            <a:spLocks noGrp="1"/>
          </p:cNvSpPr>
          <p:nvPr>
            <p:custDataLst>
              <p:tags r:id="rId72"/>
            </p:custDataLst>
          </p:nvPr>
        </p:nvSpPr>
        <p:spPr bwMode="auto">
          <a:xfrm>
            <a:off x="10294938" y="3519488"/>
            <a:ext cx="747713" cy="215900"/>
          </a:xfrm>
          <a:prstGeom prst="ellipse">
            <a:avLst/>
          </a:prstGeom>
          <a:noFill/>
          <a:ln w="9525" algn="ctr">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bg1"/>
                </a:solidFill>
              </a14:hiddenLine>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spcBef>
                <a:spcPct val="0"/>
              </a:spcBef>
              <a:spcAft>
                <a:spcPct val="0"/>
              </a:spcAft>
            </a:pPr>
            <a:r>
              <a:rPr lang="de-DE" altLang="en-US" sz="1000" dirty="0">
                <a:solidFill>
                  <a:srgbClr val="FFFFFF"/>
                </a:solidFill>
                <a:effectLst/>
              </a:rPr>
              <a:t>+18.2%</a:t>
            </a:r>
            <a:endParaRPr lang="de-DE" sz="1000" noProof="0" dirty="0">
              <a:solidFill>
                <a:srgbClr val="FFFFFF"/>
              </a:solidFill>
            </a:endParaRPr>
          </a:p>
        </p:txBody>
      </p:sp>
      <p:sp>
        <p:nvSpPr>
          <p:cNvPr id="290" name="Rectangle 289">
            <a:extLst>
              <a:ext uri="{FF2B5EF4-FFF2-40B4-BE49-F238E27FC236}">
                <a16:creationId xmlns:a16="http://schemas.microsoft.com/office/drawing/2014/main" id="{20568FE2-7701-4860-952D-794695A391FD}"/>
              </a:ext>
            </a:extLst>
          </p:cNvPr>
          <p:cNvSpPr/>
          <p:nvPr>
            <p:custDataLst>
              <p:tags r:id="rId73"/>
            </p:custDataLst>
          </p:nvPr>
        </p:nvSpPr>
        <p:spPr bwMode="auto">
          <a:xfrm>
            <a:off x="6477000" y="5645150"/>
            <a:ext cx="179388" cy="133350"/>
          </a:xfrm>
          <a:prstGeom prst="rect">
            <a:avLst/>
          </a:prstGeom>
          <a:solidFill>
            <a:srgbClr val="62B5E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
        <p:nvSpPr>
          <p:cNvPr id="289" name="Rectangle 288">
            <a:extLst>
              <a:ext uri="{FF2B5EF4-FFF2-40B4-BE49-F238E27FC236}">
                <a16:creationId xmlns:a16="http://schemas.microsoft.com/office/drawing/2014/main" id="{1C148777-E065-46F1-8255-94A7A71F0084}"/>
              </a:ext>
            </a:extLst>
          </p:cNvPr>
          <p:cNvSpPr/>
          <p:nvPr>
            <p:custDataLst>
              <p:tags r:id="rId74"/>
            </p:custDataLst>
          </p:nvPr>
        </p:nvSpPr>
        <p:spPr bwMode="auto">
          <a:xfrm>
            <a:off x="5165725" y="5645150"/>
            <a:ext cx="179388" cy="133350"/>
          </a:xfrm>
          <a:prstGeom prst="rect">
            <a:avLst/>
          </a:prstGeom>
          <a:solidFill>
            <a:srgbClr val="86BC25"/>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
        <p:nvSpPr>
          <p:cNvPr id="291" name="Rectangle 290">
            <a:extLst>
              <a:ext uri="{FF2B5EF4-FFF2-40B4-BE49-F238E27FC236}">
                <a16:creationId xmlns:a16="http://schemas.microsoft.com/office/drawing/2014/main" id="{CBF3D08A-2461-4C22-8732-65C72A2A0910}"/>
              </a:ext>
            </a:extLst>
          </p:cNvPr>
          <p:cNvSpPr/>
          <p:nvPr>
            <p:custDataLst>
              <p:tags r:id="rId75"/>
            </p:custDataLst>
          </p:nvPr>
        </p:nvSpPr>
        <p:spPr bwMode="auto">
          <a:xfrm>
            <a:off x="5821363" y="5645150"/>
            <a:ext cx="179388" cy="133350"/>
          </a:xfrm>
          <a:prstGeom prst="rect">
            <a:avLst/>
          </a:prstGeom>
          <a:solidFill>
            <a:srgbClr val="046A38"/>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
        <p:nvSpPr>
          <p:cNvPr id="292" name="Text Placeholder 18">
            <a:extLst>
              <a:ext uri="{FF2B5EF4-FFF2-40B4-BE49-F238E27FC236}">
                <a16:creationId xmlns:a16="http://schemas.microsoft.com/office/drawing/2014/main" id="{3393D244-DB61-4D09-8F6F-D30082387AF6}"/>
              </a:ext>
            </a:extLst>
          </p:cNvPr>
          <p:cNvSpPr>
            <a:spLocks noGrp="1"/>
          </p:cNvSpPr>
          <p:nvPr>
            <p:custDataLst>
              <p:tags r:id="rId76"/>
            </p:custDataLst>
          </p:nvPr>
        </p:nvSpPr>
        <p:spPr bwMode="auto">
          <a:xfrm>
            <a:off x="5395913" y="5640388"/>
            <a:ext cx="323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ct val="0"/>
              </a:spcBef>
              <a:spcAft>
                <a:spcPct val="0"/>
              </a:spcAft>
            </a:pPr>
            <a:fld id="{E334C470-A8CD-427A-B502-0F1CE0F5BD9C}" type="datetime'''''''''''20''''''''''''''''''''''''''1''''''''9'''''''''''''">
              <a:rPr lang="de-DE" altLang="en-US" sz="1000" smtClean="0">
                <a:solidFill>
                  <a:schemeClr val="bg1"/>
                </a:solidFill>
              </a:rPr>
              <a:pPr/>
              <a:t>2019</a:t>
            </a:fld>
            <a:endParaRPr lang="de-DE" sz="1000" noProof="0" dirty="0">
              <a:solidFill>
                <a:schemeClr val="bg1"/>
              </a:solidFill>
            </a:endParaRPr>
          </a:p>
        </p:txBody>
      </p:sp>
      <p:sp>
        <p:nvSpPr>
          <p:cNvPr id="295" name="Text Placeholder 18">
            <a:extLst>
              <a:ext uri="{FF2B5EF4-FFF2-40B4-BE49-F238E27FC236}">
                <a16:creationId xmlns:a16="http://schemas.microsoft.com/office/drawing/2014/main" id="{5691A020-01EE-4EE9-9D33-30625D5E204A}"/>
              </a:ext>
            </a:extLst>
          </p:cNvPr>
          <p:cNvSpPr>
            <a:spLocks noGrp="1"/>
          </p:cNvSpPr>
          <p:nvPr>
            <p:custDataLst>
              <p:tags r:id="rId77"/>
            </p:custDataLst>
          </p:nvPr>
        </p:nvSpPr>
        <p:spPr bwMode="auto">
          <a:xfrm>
            <a:off x="6051550" y="5640388"/>
            <a:ext cx="323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ct val="0"/>
              </a:spcBef>
              <a:spcAft>
                <a:spcPct val="0"/>
              </a:spcAft>
            </a:pPr>
            <a:fld id="{FE417681-2208-4959-88C9-4D28C89B474A}" type="datetime'''''''''''2''''''0''''''''''''''''''''''2''''''''0'''''''">
              <a:rPr lang="de-DE" altLang="en-US" sz="1000" smtClean="0">
                <a:solidFill>
                  <a:schemeClr val="bg1"/>
                </a:solidFill>
              </a:rPr>
              <a:pPr/>
              <a:t>2020</a:t>
            </a:fld>
            <a:endParaRPr lang="de-DE" sz="1000" noProof="0" dirty="0">
              <a:solidFill>
                <a:schemeClr val="bg1"/>
              </a:solidFill>
            </a:endParaRPr>
          </a:p>
        </p:txBody>
      </p:sp>
      <p:sp>
        <p:nvSpPr>
          <p:cNvPr id="293" name="Text Placeholder 18">
            <a:extLst>
              <a:ext uri="{FF2B5EF4-FFF2-40B4-BE49-F238E27FC236}">
                <a16:creationId xmlns:a16="http://schemas.microsoft.com/office/drawing/2014/main" id="{20E6C7FE-A856-4EAC-9BE2-23ECE33BC176}"/>
              </a:ext>
            </a:extLst>
          </p:cNvPr>
          <p:cNvSpPr>
            <a:spLocks noGrp="1"/>
          </p:cNvSpPr>
          <p:nvPr>
            <p:custDataLst>
              <p:tags r:id="rId78"/>
            </p:custDataLst>
          </p:nvPr>
        </p:nvSpPr>
        <p:spPr bwMode="auto">
          <a:xfrm>
            <a:off x="6707188" y="5640388"/>
            <a:ext cx="323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Bef>
                <a:spcPct val="0"/>
              </a:spcBef>
              <a:spcAft>
                <a:spcPct val="0"/>
              </a:spcAft>
            </a:pPr>
            <a:fld id="{5E4EE26E-ACD2-4502-9587-5529DCE0A217}" type="datetime'''''''''''2''''''''0''''''''''''''''2''''''''''''1'''''''''">
              <a:rPr lang="de-DE" altLang="en-US" sz="1000" smtClean="0">
                <a:solidFill>
                  <a:schemeClr val="bg1"/>
                </a:solidFill>
              </a:rPr>
              <a:pPr/>
              <a:t>2021</a:t>
            </a:fld>
            <a:endParaRPr lang="de-DE" sz="1000" noProof="0" dirty="0">
              <a:solidFill>
                <a:schemeClr val="bg1"/>
              </a:solidFill>
            </a:endParaRPr>
          </a:p>
        </p:txBody>
      </p:sp>
      <p:sp>
        <p:nvSpPr>
          <p:cNvPr id="3" name="Rectangle 2">
            <a:extLst>
              <a:ext uri="{FF2B5EF4-FFF2-40B4-BE49-F238E27FC236}">
                <a16:creationId xmlns:a16="http://schemas.microsoft.com/office/drawing/2014/main" id="{188A4779-C7D3-4A02-9AD2-D01169FCA692}"/>
              </a:ext>
            </a:extLst>
          </p:cNvPr>
          <p:cNvSpPr/>
          <p:nvPr/>
        </p:nvSpPr>
        <p:spPr bwMode="gray">
          <a:xfrm>
            <a:off x="5014818" y="5481163"/>
            <a:ext cx="2608357" cy="468787"/>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
        <p:nvSpPr>
          <p:cNvPr id="124" name="Rectangle 123">
            <a:extLst>
              <a:ext uri="{FF2B5EF4-FFF2-40B4-BE49-F238E27FC236}">
                <a16:creationId xmlns:a16="http://schemas.microsoft.com/office/drawing/2014/main" id="{7C23BA2E-27A2-44F3-B2D7-99FB9AA12256}"/>
              </a:ext>
            </a:extLst>
          </p:cNvPr>
          <p:cNvSpPr/>
          <p:nvPr/>
        </p:nvSpPr>
        <p:spPr bwMode="gray">
          <a:xfrm>
            <a:off x="0" y="1449705"/>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Tree>
    <p:extLst>
      <p:ext uri="{BB962C8B-B14F-4D97-AF65-F5344CB8AC3E}">
        <p14:creationId xmlns:p14="http://schemas.microsoft.com/office/powerpoint/2010/main" val="43138538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93" imgH="493" progId="TCLayout.ActiveDocument.1">
                  <p:embed/>
                </p:oleObj>
              </mc:Choice>
              <mc:Fallback>
                <p:oleObj name="think-cell Folie" r:id="rId5" imgW="493" imgH="493"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buFont typeface="Wingdings 2" pitchFamily="18" charset="2"/>
              <a:buNone/>
            </a:pPr>
            <a:endParaRPr lang="en-GB" sz="2000" dirty="0">
              <a:solidFill>
                <a:schemeClr val="bg1"/>
              </a:solidFill>
              <a:latin typeface="Verdana" panose="020B0604030504040204" pitchFamily="34" charset="0"/>
              <a:ea typeface="+mj-ea"/>
              <a:cs typeface="+mj-cs"/>
              <a:sym typeface="Verdana" panose="020B0604030504040204" pitchFamily="34" charset="0"/>
            </a:endParaRPr>
          </a:p>
        </p:txBody>
      </p:sp>
      <p:sp>
        <p:nvSpPr>
          <p:cNvPr id="13" name="Title 1"/>
          <p:cNvSpPr>
            <a:spLocks noGrp="1"/>
          </p:cNvSpPr>
          <p:nvPr>
            <p:ph type="title"/>
          </p:nvPr>
        </p:nvSpPr>
        <p:spPr>
          <a:xfrm>
            <a:off x="469899" y="271957"/>
            <a:ext cx="11463953" cy="698501"/>
          </a:xfrm>
        </p:spPr>
        <p:txBody>
          <a:bodyPr vert="horz"/>
          <a:lstStyle/>
          <a:p>
            <a:r>
              <a:rPr lang="en-US" dirty="0" err="1"/>
              <a:t>Particulièrement</a:t>
            </a:r>
            <a:r>
              <a:rPr lang="fr-FR" dirty="0"/>
              <a:t> encouragés par le développement des salles de sport petit budget, le top-10 des opérateurs ont pu dépasser le développement moyen du marché pendant la pandémie</a:t>
            </a:r>
            <a:endParaRPr lang="en-GB" noProof="0" dirty="0">
              <a:solidFill>
                <a:schemeClr val="bg1"/>
              </a:solidFill>
            </a:endParaRPr>
          </a:p>
        </p:txBody>
      </p:sp>
      <p:sp>
        <p:nvSpPr>
          <p:cNvPr id="137" name="Rectangle 136"/>
          <p:cNvSpPr/>
          <p:nvPr/>
        </p:nvSpPr>
        <p:spPr bwMode="gray">
          <a:xfrm>
            <a:off x="0" y="1449705"/>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43" name="Rectangle 142"/>
          <p:cNvSpPr/>
          <p:nvPr/>
        </p:nvSpPr>
        <p:spPr bwMode="gray">
          <a:xfrm>
            <a:off x="0" y="6055729"/>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93" name="Group 92"/>
          <p:cNvGrpSpPr/>
          <p:nvPr/>
        </p:nvGrpSpPr>
        <p:grpSpPr>
          <a:xfrm>
            <a:off x="0" y="1155946"/>
            <a:ext cx="1872351" cy="233523"/>
            <a:chOff x="0" y="1112402"/>
            <a:chExt cx="1872351" cy="233523"/>
          </a:xfrm>
        </p:grpSpPr>
        <p:sp>
          <p:nvSpPr>
            <p:cNvPr id="94" name="Freeform 93"/>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cxnSp>
          <p:nvCxnSpPr>
            <p:cNvPr id="95" name="Straight Connector 94"/>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grpSp>
        <p:nvGrpSpPr>
          <p:cNvPr id="97" name="Group 96"/>
          <p:cNvGrpSpPr/>
          <p:nvPr/>
        </p:nvGrpSpPr>
        <p:grpSpPr>
          <a:xfrm flipH="1">
            <a:off x="10319649" y="6223855"/>
            <a:ext cx="1872351" cy="233523"/>
            <a:chOff x="0" y="1112402"/>
            <a:chExt cx="1872351" cy="233523"/>
          </a:xfrm>
        </p:grpSpPr>
        <p:sp>
          <p:nvSpPr>
            <p:cNvPr id="98" name="Freeform 97"/>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solidFill>
                  <a:schemeClr val="bg1"/>
                </a:solidFill>
              </a:endParaRPr>
            </a:p>
          </p:txBody>
        </p:sp>
        <p:cxnSp>
          <p:nvCxnSpPr>
            <p:cNvPr id="99" name="Straight Connector 98"/>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sp>
        <p:nvSpPr>
          <p:cNvPr id="16" name="Rectangle 15" hidden="1">
            <a:extLst>
              <a:ext uri="{FF2B5EF4-FFF2-40B4-BE49-F238E27FC236}">
                <a16:creationId xmlns:a16="http://schemas.microsoft.com/office/drawing/2014/main" id="{5016AD51-20B0-4DC1-A1F8-943AA89F97E9}"/>
              </a:ext>
            </a:extLst>
          </p:cNvPr>
          <p:cNvSpPr/>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pPr>
            <a:endParaRPr lang="de-DE" sz="800" spc="-30" dirty="0">
              <a:solidFill>
                <a:schemeClr val="bg1"/>
              </a:solidFill>
              <a:ea typeface="Verdana" panose="020B0604030504040204" pitchFamily="34" charset="0"/>
              <a:sym typeface="Verdana" panose="020B0604030504040204" pitchFamily="34" charset="0"/>
            </a:endParaRPr>
          </a:p>
        </p:txBody>
      </p:sp>
      <p:sp>
        <p:nvSpPr>
          <p:cNvPr id="41" name="Rectangle 40" hidden="1">
            <a:extLst>
              <a:ext uri="{FF2B5EF4-FFF2-40B4-BE49-F238E27FC236}">
                <a16:creationId xmlns:a16="http://schemas.microsoft.com/office/drawing/2014/main" id="{D989C36E-FA80-4555-8BA6-4DFB70EFF5E8}"/>
              </a:ext>
            </a:extLst>
          </p:cNvPr>
          <p:cNvSpPr/>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pPr>
            <a:endParaRPr lang="de-DE" sz="800" spc="-30" dirty="0">
              <a:solidFill>
                <a:schemeClr val="bg1"/>
              </a:solidFill>
              <a:ea typeface="Verdana" panose="020B0604030504040204" pitchFamily="34" charset="0"/>
              <a:sym typeface="Verdana" panose="020B0604030504040204"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2737686170"/>
              </p:ext>
            </p:extLst>
          </p:nvPr>
        </p:nvGraphicFramePr>
        <p:xfrm>
          <a:off x="469899" y="2057233"/>
          <a:ext cx="7920000" cy="3852803"/>
        </p:xfrm>
        <a:graphic>
          <a:graphicData uri="http://schemas.openxmlformats.org/drawingml/2006/table">
            <a:tbl>
              <a:tblPr/>
              <a:tblGrid>
                <a:gridCol w="461296">
                  <a:extLst>
                    <a:ext uri="{9D8B030D-6E8A-4147-A177-3AD203B41FA5}">
                      <a16:colId xmlns:a16="http://schemas.microsoft.com/office/drawing/2014/main" val="2629614229"/>
                    </a:ext>
                  </a:extLst>
                </a:gridCol>
                <a:gridCol w="1593486">
                  <a:extLst>
                    <a:ext uri="{9D8B030D-6E8A-4147-A177-3AD203B41FA5}">
                      <a16:colId xmlns:a16="http://schemas.microsoft.com/office/drawing/2014/main" val="952200064"/>
                    </a:ext>
                  </a:extLst>
                </a:gridCol>
                <a:gridCol w="932592">
                  <a:extLst>
                    <a:ext uri="{9D8B030D-6E8A-4147-A177-3AD203B41FA5}">
                      <a16:colId xmlns:a16="http://schemas.microsoft.com/office/drawing/2014/main" val="4274627730"/>
                    </a:ext>
                  </a:extLst>
                </a:gridCol>
                <a:gridCol w="932592">
                  <a:extLst>
                    <a:ext uri="{9D8B030D-6E8A-4147-A177-3AD203B41FA5}">
                      <a16:colId xmlns:a16="http://schemas.microsoft.com/office/drawing/2014/main" val="767481263"/>
                    </a:ext>
                  </a:extLst>
                </a:gridCol>
                <a:gridCol w="50410">
                  <a:extLst>
                    <a:ext uri="{9D8B030D-6E8A-4147-A177-3AD203B41FA5}">
                      <a16:colId xmlns:a16="http://schemas.microsoft.com/office/drawing/2014/main" val="1331115667"/>
                    </a:ext>
                  </a:extLst>
                </a:gridCol>
                <a:gridCol w="932592">
                  <a:extLst>
                    <a:ext uri="{9D8B030D-6E8A-4147-A177-3AD203B41FA5}">
                      <a16:colId xmlns:a16="http://schemas.microsoft.com/office/drawing/2014/main" val="552909378"/>
                    </a:ext>
                  </a:extLst>
                </a:gridCol>
                <a:gridCol w="932592">
                  <a:extLst>
                    <a:ext uri="{9D8B030D-6E8A-4147-A177-3AD203B41FA5}">
                      <a16:colId xmlns:a16="http://schemas.microsoft.com/office/drawing/2014/main" val="1706663658"/>
                    </a:ext>
                  </a:extLst>
                </a:gridCol>
                <a:gridCol w="63787">
                  <a:extLst>
                    <a:ext uri="{9D8B030D-6E8A-4147-A177-3AD203B41FA5}">
                      <a16:colId xmlns:a16="http://schemas.microsoft.com/office/drawing/2014/main" val="4261984359"/>
                    </a:ext>
                  </a:extLst>
                </a:gridCol>
                <a:gridCol w="933641">
                  <a:extLst>
                    <a:ext uri="{9D8B030D-6E8A-4147-A177-3AD203B41FA5}">
                      <a16:colId xmlns:a16="http://schemas.microsoft.com/office/drawing/2014/main" val="967743005"/>
                    </a:ext>
                  </a:extLst>
                </a:gridCol>
                <a:gridCol w="62849">
                  <a:extLst>
                    <a:ext uri="{9D8B030D-6E8A-4147-A177-3AD203B41FA5}">
                      <a16:colId xmlns:a16="http://schemas.microsoft.com/office/drawing/2014/main" val="3895810596"/>
                    </a:ext>
                  </a:extLst>
                </a:gridCol>
                <a:gridCol w="1024163">
                  <a:extLst>
                    <a:ext uri="{9D8B030D-6E8A-4147-A177-3AD203B41FA5}">
                      <a16:colId xmlns:a16="http://schemas.microsoft.com/office/drawing/2014/main" val="1823661266"/>
                    </a:ext>
                  </a:extLst>
                </a:gridCol>
              </a:tblGrid>
              <a:tr h="258267">
                <a:tc>
                  <a:txBody>
                    <a:bodyPr/>
                    <a:lstStyle/>
                    <a:p>
                      <a:pPr algn="l" rtl="0" fontAlgn="ctr"/>
                      <a:r>
                        <a:rPr lang="en-GB" sz="900" b="1" i="0" u="none" strike="noStrike" noProof="0" dirty="0">
                          <a:solidFill>
                            <a:schemeClr val="tx1"/>
                          </a:solidFill>
                          <a:effectLst/>
                          <a:latin typeface="+mj-lt"/>
                        </a:rPr>
                        <a:t> </a:t>
                      </a:r>
                    </a:p>
                  </a:txBody>
                  <a:tcPr marL="9525" marR="9525" marT="9525" marB="0" anchor="ctr">
                    <a:lnL>
                      <a:noFill/>
                    </a:lnL>
                    <a:lnR>
                      <a:noFill/>
                    </a:lnR>
                    <a:lnT>
                      <a:noFill/>
                    </a:lnT>
                    <a:lnB>
                      <a:noFill/>
                    </a:lnB>
                    <a:solidFill>
                      <a:srgbClr val="86BC25"/>
                    </a:solidFill>
                  </a:tcPr>
                </a:tc>
                <a:tc>
                  <a:txBody>
                    <a:bodyPr/>
                    <a:lstStyle/>
                    <a:p>
                      <a:pPr algn="ctr" rtl="0" fontAlgn="ctr"/>
                      <a:endParaRPr lang="en-GB" sz="900" b="1" i="0" u="sng" strike="noStrike" noProof="0" dirty="0">
                        <a:solidFill>
                          <a:schemeClr val="tx1"/>
                        </a:solidFill>
                        <a:effectLst/>
                        <a:latin typeface="+mj-lt"/>
                      </a:endParaRPr>
                    </a:p>
                  </a:txBody>
                  <a:tcPr marL="9525" marR="9525" marT="9525" marB="0" anchor="ctr">
                    <a:lnL>
                      <a:noFill/>
                    </a:lnL>
                    <a:lnR>
                      <a:noFill/>
                    </a:lnR>
                    <a:lnT>
                      <a:noFill/>
                    </a:lnT>
                    <a:lnB>
                      <a:noFill/>
                    </a:lnB>
                    <a:solidFill>
                      <a:srgbClr val="86BC25"/>
                    </a:solidFill>
                  </a:tcPr>
                </a:tc>
                <a:tc gridSpan="2">
                  <a:txBody>
                    <a:bodyPr/>
                    <a:lstStyle/>
                    <a:p>
                      <a:pPr algn="ctr" rtl="0" fontAlgn="ctr"/>
                      <a:r>
                        <a:rPr lang="en-GB" sz="900" b="1" i="0" u="none" strike="noStrike" noProof="0" dirty="0">
                          <a:solidFill>
                            <a:schemeClr val="tx1"/>
                          </a:solidFill>
                          <a:effectLst/>
                          <a:latin typeface="+mj-lt"/>
                        </a:rPr>
                        <a:t>Total </a:t>
                      </a:r>
                      <a:r>
                        <a:rPr lang="en-GB" sz="900" b="1" i="0" u="none" strike="noStrike" noProof="0" dirty="0" err="1">
                          <a:solidFill>
                            <a:schemeClr val="tx1"/>
                          </a:solidFill>
                          <a:effectLst/>
                          <a:latin typeface="+mj-lt"/>
                        </a:rPr>
                        <a:t>membres</a:t>
                      </a:r>
                      <a:endParaRPr lang="en-GB" sz="900" b="1" i="0" u="none" strike="noStrike" noProof="0" dirty="0">
                        <a:solidFill>
                          <a:schemeClr val="tx1"/>
                        </a:solidFill>
                        <a:effectLst/>
                        <a:latin typeface="+mj-lt"/>
                      </a:endParaRP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rgbClr val="86BC25"/>
                    </a:solidFill>
                  </a:tcPr>
                </a:tc>
                <a:tc hMerge="1">
                  <a:txBody>
                    <a:bodyPr/>
                    <a:lstStyle/>
                    <a:p>
                      <a:endParaRPr lang="de-DE"/>
                    </a:p>
                  </a:txBody>
                  <a:tcPr/>
                </a:tc>
                <a:tc>
                  <a:txBody>
                    <a:bodyPr/>
                    <a:lstStyle/>
                    <a:p>
                      <a:pPr algn="ctr" rtl="0" fontAlgn="ctr"/>
                      <a:endParaRPr lang="en-GB" sz="900" b="1" i="0" u="none" strike="noStrike" noProof="0" dirty="0">
                        <a:solidFill>
                          <a:schemeClr val="tx1"/>
                        </a:solidFill>
                        <a:effectLst/>
                        <a:latin typeface="+mj-lt"/>
                      </a:endParaRP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6BC25"/>
                    </a:solidFill>
                  </a:tcPr>
                </a:tc>
                <a:tc gridSpan="2">
                  <a:txBody>
                    <a:bodyPr/>
                    <a:lstStyle/>
                    <a:p>
                      <a:pPr algn="ctr" rtl="0" fontAlgn="ctr"/>
                      <a:r>
                        <a:rPr lang="en-GB" sz="900" b="1" i="0" u="none" strike="noStrike" noProof="0" dirty="0">
                          <a:solidFill>
                            <a:schemeClr val="tx1"/>
                          </a:solidFill>
                          <a:effectLst/>
                          <a:latin typeface="+mj-lt"/>
                        </a:rPr>
                        <a:t>  </a:t>
                      </a:r>
                      <a:r>
                        <a:rPr lang="en-GB" sz="900" b="1" i="0" u="none" strike="noStrike" noProof="0" dirty="0" err="1">
                          <a:solidFill>
                            <a:schemeClr val="tx1"/>
                          </a:solidFill>
                          <a:effectLst/>
                          <a:latin typeface="+mj-lt"/>
                        </a:rPr>
                        <a:t>Membres</a:t>
                      </a:r>
                      <a:r>
                        <a:rPr lang="en-GB" sz="900" b="1" i="0" u="none" strike="noStrike" noProof="0" dirty="0">
                          <a:solidFill>
                            <a:schemeClr val="tx1"/>
                          </a:solidFill>
                          <a:effectLst/>
                          <a:latin typeface="+mj-lt"/>
                        </a:rPr>
                        <a:t> evolution</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rgbClr val="86BC25"/>
                    </a:solidFill>
                  </a:tcPr>
                </a:tc>
                <a:tc hMerge="1">
                  <a:txBody>
                    <a:bodyPr/>
                    <a:lstStyle/>
                    <a:p>
                      <a:endParaRPr lang="de-DE"/>
                    </a:p>
                  </a:txBody>
                  <a:tcPr/>
                </a:tc>
                <a:tc>
                  <a:txBody>
                    <a:bodyPr/>
                    <a:lstStyle/>
                    <a:p>
                      <a:pPr algn="ctr" rtl="0" fontAlgn="ctr"/>
                      <a:endParaRPr lang="en-GB" sz="900" b="1" i="0" u="none" strike="noStrike" noProof="0" dirty="0">
                        <a:solidFill>
                          <a:schemeClr val="tx1"/>
                        </a:solidFill>
                        <a:effectLst/>
                        <a:latin typeface="+mj-lt"/>
                      </a:endParaRP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algn="ctr" rtl="0" fontAlgn="ctr"/>
                      <a:r>
                        <a:rPr lang="en-GB" sz="900" b="1" i="0" u="none" strike="noStrike" noProof="0" dirty="0">
                          <a:solidFill>
                            <a:schemeClr val="tx1"/>
                          </a:solidFill>
                          <a:effectLst/>
                          <a:latin typeface="+mj-lt"/>
                        </a:rPr>
                        <a:t>Clubs</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rgbClr val="86BC25"/>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GB" sz="900" b="1" i="0" u="none" strike="noStrike" kern="1200" noProof="0" dirty="0">
                        <a:solidFill>
                          <a:schemeClr val="tx1"/>
                        </a:solidFill>
                        <a:effectLst/>
                        <a:latin typeface="+mj-lt"/>
                        <a:ea typeface="+mn-ea"/>
                        <a:cs typeface="+mn-cs"/>
                      </a:endParaRP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GB" sz="900" b="1" i="0" u="none" strike="noStrike" kern="1200" noProof="0" dirty="0">
                        <a:solidFill>
                          <a:schemeClr val="tx1"/>
                        </a:solidFill>
                        <a:effectLst/>
                        <a:latin typeface="+mj-lt"/>
                        <a:ea typeface="+mn-ea"/>
                        <a:cs typeface="+mn-cs"/>
                      </a:endParaRP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6BC25"/>
                    </a:solidFill>
                  </a:tcPr>
                </a:tc>
                <a:extLst>
                  <a:ext uri="{0D108BD9-81ED-4DB2-BD59-A6C34878D82A}">
                    <a16:rowId xmlns:a16="http://schemas.microsoft.com/office/drawing/2014/main" val="855669864"/>
                  </a:ext>
                </a:extLst>
              </a:tr>
              <a:tr h="258267">
                <a:tc>
                  <a:txBody>
                    <a:bodyPr/>
                    <a:lstStyle/>
                    <a:p>
                      <a:pPr algn="l" rtl="0" fontAlgn="ctr"/>
                      <a:r>
                        <a:rPr lang="en-GB" sz="900" b="1" i="0" u="none" strike="noStrike" noProof="0" dirty="0">
                          <a:solidFill>
                            <a:schemeClr val="tx1"/>
                          </a:solidFill>
                          <a:effectLst/>
                          <a:latin typeface="+mj-lt"/>
                        </a:rPr>
                        <a:t>Rank</a:t>
                      </a:r>
                    </a:p>
                  </a:txBody>
                  <a:tcPr marL="9525" marR="9525" marT="9525" marB="0" anchor="ctr">
                    <a:lnL>
                      <a:noFill/>
                    </a:lnL>
                    <a:lnR>
                      <a:noFill/>
                    </a:lnR>
                    <a:lnT>
                      <a:noFill/>
                    </a:lnT>
                    <a:lnB>
                      <a:noFill/>
                    </a:lnB>
                    <a:solidFill>
                      <a:srgbClr val="86BC25"/>
                    </a:solidFill>
                  </a:tcPr>
                </a:tc>
                <a:tc>
                  <a:txBody>
                    <a:bodyPr/>
                    <a:lstStyle/>
                    <a:p>
                      <a:pPr algn="l" rtl="0" fontAlgn="ctr"/>
                      <a:r>
                        <a:rPr lang="en-GB" sz="1050" b="1" i="0" u="none" strike="noStrike" noProof="0" dirty="0" err="1">
                          <a:solidFill>
                            <a:schemeClr val="tx1"/>
                          </a:solidFill>
                          <a:effectLst/>
                          <a:latin typeface="+mj-lt"/>
                        </a:rPr>
                        <a:t>Op</a:t>
                      </a:r>
                      <a:r>
                        <a:rPr lang="en-GB" sz="1050" b="1" i="0" u="none" strike="noStrike" noProof="0" dirty="0" err="1">
                          <a:solidFill>
                            <a:schemeClr val="tx1"/>
                          </a:solidFill>
                          <a:effectLst/>
                          <a:latin typeface="Calibri" panose="020F0502020204030204" pitchFamily="34" charset="0"/>
                          <a:cs typeface="Calibri" panose="020F0502020204030204" pitchFamily="34" charset="0"/>
                        </a:rPr>
                        <a:t>érateur</a:t>
                      </a:r>
                      <a:endParaRPr lang="en-GB" sz="1050" b="1" i="0" u="none" strike="noStrike" noProof="0" dirty="0">
                        <a:solidFill>
                          <a:schemeClr val="tx1"/>
                        </a:solidFill>
                        <a:effectLst/>
                        <a:latin typeface="+mj-lt"/>
                      </a:endParaRPr>
                    </a:p>
                  </a:txBody>
                  <a:tcPr marL="9525" marR="9525" marT="9525" marB="0" anchor="ctr">
                    <a:lnL>
                      <a:noFill/>
                    </a:lnL>
                    <a:lnR>
                      <a:noFill/>
                    </a:lnR>
                    <a:lnT>
                      <a:noFill/>
                    </a:lnT>
                    <a:lnB>
                      <a:noFill/>
                    </a:lnB>
                    <a:solidFill>
                      <a:srgbClr val="86BC25"/>
                    </a:solidFill>
                  </a:tcPr>
                </a:tc>
                <a:tc>
                  <a:txBody>
                    <a:bodyPr/>
                    <a:lstStyle/>
                    <a:p>
                      <a:pPr algn="r" rtl="0" fontAlgn="ctr"/>
                      <a:r>
                        <a:rPr lang="en-GB" sz="900" b="1" i="0" u="none" strike="noStrike" noProof="0" dirty="0">
                          <a:solidFill>
                            <a:schemeClr val="tx1"/>
                          </a:solidFill>
                          <a:effectLst/>
                          <a:latin typeface="+mj-lt"/>
                        </a:rPr>
                        <a:t>2020</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86BC25"/>
                    </a:solidFill>
                  </a:tcPr>
                </a:tc>
                <a:tc>
                  <a:txBody>
                    <a:bodyPr/>
                    <a:lstStyle/>
                    <a:p>
                      <a:pPr algn="r" rtl="0" fontAlgn="ctr"/>
                      <a:r>
                        <a:rPr lang="en-GB" sz="900" b="1" i="0" u="none" strike="noStrike" noProof="0" dirty="0">
                          <a:solidFill>
                            <a:schemeClr val="tx1"/>
                          </a:solidFill>
                          <a:effectLst/>
                          <a:latin typeface="+mj-lt"/>
                        </a:rPr>
                        <a:t>2021</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86BC25"/>
                    </a:solidFill>
                  </a:tcPr>
                </a:tc>
                <a:tc>
                  <a:txBody>
                    <a:bodyPr/>
                    <a:lstStyle/>
                    <a:p>
                      <a:pPr algn="r" rtl="0" fontAlgn="ctr"/>
                      <a:endParaRPr lang="en-GB" sz="900" b="1" i="0" u="none" strike="noStrike" noProof="0" dirty="0">
                        <a:solidFill>
                          <a:schemeClr val="tx1"/>
                        </a:solidFill>
                        <a:effectLst/>
                        <a:latin typeface="+mj-lt"/>
                      </a:endParaRPr>
                    </a:p>
                  </a:txBody>
                  <a:tcPr marL="9525" marR="9525" marT="9525"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86BC25"/>
                    </a:solidFill>
                  </a:tcPr>
                </a:tc>
                <a:tc>
                  <a:txBody>
                    <a:bodyPr/>
                    <a:lstStyle/>
                    <a:p>
                      <a:pPr algn="r" rtl="0" fontAlgn="ctr"/>
                      <a:r>
                        <a:rPr lang="en-GB" sz="900" b="1" i="0" u="none" strike="noStrike" noProof="0" dirty="0">
                          <a:solidFill>
                            <a:schemeClr val="tx1"/>
                          </a:solidFill>
                          <a:effectLst/>
                          <a:latin typeface="+mj-lt"/>
                        </a:rPr>
                        <a:t>Absolute</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86BC25"/>
                    </a:solidFill>
                  </a:tcPr>
                </a:tc>
                <a:tc>
                  <a:txBody>
                    <a:bodyPr/>
                    <a:lstStyle/>
                    <a:p>
                      <a:pPr algn="r" rtl="0" fontAlgn="ctr"/>
                      <a:r>
                        <a:rPr lang="en-GB" sz="900" b="1" i="0" u="none" strike="noStrike" noProof="0" dirty="0">
                          <a:solidFill>
                            <a:schemeClr val="tx1"/>
                          </a:solidFill>
                          <a:effectLst/>
                          <a:latin typeface="+mj-lt"/>
                        </a:rPr>
                        <a:t>In %</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86BC25"/>
                    </a:solidFill>
                  </a:tcPr>
                </a:tc>
                <a:tc>
                  <a:txBody>
                    <a:bodyPr/>
                    <a:lstStyle/>
                    <a:p>
                      <a:pPr algn="r" rtl="0" fontAlgn="ctr"/>
                      <a:endParaRPr lang="en-GB" sz="900" b="1" i="0" u="none" strike="noStrike" noProof="0" dirty="0">
                        <a:solidFill>
                          <a:schemeClr val="tx1"/>
                        </a:solidFill>
                        <a:effectLst/>
                        <a:latin typeface="+mj-lt"/>
                      </a:endParaRPr>
                    </a:p>
                  </a:txBody>
                  <a:tcPr marL="9525" marR="9525" marT="9525"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86BC25"/>
                    </a:solidFill>
                  </a:tcPr>
                </a:tc>
                <a:tc>
                  <a:txBody>
                    <a:bodyPr/>
                    <a:lstStyle/>
                    <a:p>
                      <a:pPr algn="r" rtl="0" fontAlgn="ctr"/>
                      <a:r>
                        <a:rPr lang="de-DE" sz="900" b="1" dirty="0">
                          <a:solidFill>
                            <a:schemeClr val="tx1"/>
                          </a:solidFill>
                        </a:rPr>
                        <a:t>∆ 2020 -2021</a:t>
                      </a:r>
                      <a:endParaRPr lang="en-GB" sz="900" b="1" i="0" u="none" strike="noStrike" noProof="0" dirty="0">
                        <a:solidFill>
                          <a:schemeClr val="tx1"/>
                        </a:solidFill>
                        <a:effectLst/>
                        <a:latin typeface="+mj-lt"/>
                      </a:endParaRP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86BC25"/>
                    </a:solidFill>
                  </a:tcPr>
                </a:tc>
                <a:tc>
                  <a:txBody>
                    <a:bodyPr/>
                    <a:lstStyle/>
                    <a:p>
                      <a:pPr algn="r" rtl="0" fontAlgn="ctr"/>
                      <a:endParaRPr lang="en-GB" sz="900" b="1" i="0" u="none" strike="noStrike" noProof="0" dirty="0">
                        <a:solidFill>
                          <a:schemeClr val="tx1"/>
                        </a:solidFill>
                        <a:effectLst/>
                        <a:latin typeface="+mj-lt"/>
                      </a:endParaRPr>
                    </a:p>
                  </a:txBody>
                  <a:tcPr marL="9525" marR="9525" marT="9525"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0" marR="0" lvl="0" indent="0" algn="r" defTabSz="1219170" rtl="0" eaLnBrk="1" fontAlgn="ctr" latinLnBrk="0" hangingPunct="1">
                        <a:lnSpc>
                          <a:spcPct val="100000"/>
                        </a:lnSpc>
                        <a:spcBef>
                          <a:spcPts val="0"/>
                        </a:spcBef>
                        <a:spcAft>
                          <a:spcPts val="0"/>
                        </a:spcAft>
                        <a:buClrTx/>
                        <a:buSzTx/>
                        <a:buFontTx/>
                        <a:buNone/>
                        <a:tabLst/>
                        <a:defRPr/>
                      </a:pPr>
                      <a:r>
                        <a:rPr lang="en-GB" sz="900" b="1" i="0" u="none" strike="noStrike" kern="1200" noProof="0" dirty="0">
                          <a:solidFill>
                            <a:schemeClr val="tx1"/>
                          </a:solidFill>
                          <a:effectLst/>
                          <a:latin typeface="+mn-lt"/>
                          <a:ea typeface="+mn-ea"/>
                          <a:cs typeface="+mn-cs"/>
                        </a:rPr>
                        <a:t>Key countries</a:t>
                      </a:r>
                      <a:r>
                        <a:rPr lang="en-GB" sz="900" b="1" i="0" u="none" strike="noStrike" kern="1200" baseline="30000" noProof="0" dirty="0">
                          <a:solidFill>
                            <a:schemeClr val="tx1"/>
                          </a:solidFill>
                          <a:effectLst/>
                          <a:latin typeface="+mn-lt"/>
                          <a:ea typeface="+mn-ea"/>
                          <a:cs typeface="+mn-cs"/>
                        </a:rPr>
                        <a:t>4</a:t>
                      </a:r>
                      <a:endParaRPr lang="en-GB" sz="900" b="1" i="0" u="none" strike="noStrike" kern="1200" noProof="0" dirty="0">
                        <a:solidFill>
                          <a:schemeClr val="tx1"/>
                        </a:solidFill>
                        <a:effectLst/>
                        <a:latin typeface="+mn-lt"/>
                        <a:ea typeface="+mn-ea"/>
                        <a:cs typeface="+mn-cs"/>
                      </a:endParaRPr>
                    </a:p>
                  </a:txBody>
                  <a:tcPr marL="9525" marR="9525" marT="9525" marB="0" anchor="ctr">
                    <a:lnL>
                      <a:noFill/>
                    </a:lnL>
                    <a:lnR>
                      <a:noFill/>
                    </a:lnR>
                    <a:lnT w="12700" cap="flat" cmpd="sng" algn="ctr">
                      <a:noFill/>
                      <a:prstDash val="solid"/>
                      <a:round/>
                      <a:headEnd type="none" w="med" len="med"/>
                      <a:tailEnd type="none" w="med" len="med"/>
                    </a:lnT>
                    <a:lnB>
                      <a:noFill/>
                    </a:lnB>
                    <a:solidFill>
                      <a:srgbClr val="86BC25"/>
                    </a:solidFill>
                  </a:tcPr>
                </a:tc>
                <a:extLst>
                  <a:ext uri="{0D108BD9-81ED-4DB2-BD59-A6C34878D82A}">
                    <a16:rowId xmlns:a16="http://schemas.microsoft.com/office/drawing/2014/main" val="4018219937"/>
                  </a:ext>
                </a:extLst>
              </a:tr>
              <a:tr h="160744">
                <a:tc>
                  <a:txBody>
                    <a:bodyPr/>
                    <a:lstStyle/>
                    <a:p>
                      <a:pPr algn="l" rtl="0" fontAlgn="b"/>
                      <a:endParaRPr lang="en-GB" sz="900" b="1" i="0" u="none" strike="noStrike" dirty="0">
                        <a:solidFill>
                          <a:schemeClr val="bg1"/>
                        </a:solidFill>
                        <a:effectLst/>
                        <a:latin typeface="+mj-lt"/>
                      </a:endParaRPr>
                    </a:p>
                  </a:txBody>
                  <a:tcPr marL="0" marR="0" marT="0" marB="0" anchor="b">
                    <a:lnL>
                      <a:noFill/>
                    </a:lnL>
                    <a:lnR>
                      <a:noFill/>
                    </a:lnR>
                    <a:lnT>
                      <a:noFill/>
                    </a:lnT>
                    <a:lnB>
                      <a:noFill/>
                    </a:lnB>
                    <a:solidFill>
                      <a:schemeClr val="tx1"/>
                    </a:solidFill>
                  </a:tcPr>
                </a:tc>
                <a:tc>
                  <a:txBody>
                    <a:bodyPr/>
                    <a:lstStyle/>
                    <a:p>
                      <a:pPr algn="l"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solidFill>
                      <a:schemeClr val="tx1"/>
                    </a:solidFill>
                  </a:tcPr>
                </a:tc>
                <a:tc>
                  <a:txBody>
                    <a:bodyPr/>
                    <a:lstStyle/>
                    <a:p>
                      <a:pPr algn="l"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solidFill>
                      <a:schemeClr val="tx1"/>
                    </a:solidFill>
                  </a:tcPr>
                </a:tc>
                <a:tc>
                  <a:txBody>
                    <a:bodyPr/>
                    <a:lstStyle/>
                    <a:p>
                      <a:pPr algn="l"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solidFill>
                      <a:schemeClr val="tx1"/>
                    </a:solidFill>
                  </a:tcPr>
                </a:tc>
                <a:tc>
                  <a:txBody>
                    <a:bodyPr/>
                    <a:lstStyle/>
                    <a:p>
                      <a:pPr algn="l"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solidFill>
                      <a:schemeClr val="tx1"/>
                    </a:solidFill>
                  </a:tcPr>
                </a:tc>
                <a:tc>
                  <a:txBody>
                    <a:bodyPr/>
                    <a:lstStyle/>
                    <a:p>
                      <a:pPr algn="l"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solidFill>
                      <a:schemeClr val="tx1"/>
                    </a:solidFill>
                  </a:tcPr>
                </a:tc>
                <a:tc>
                  <a:txBody>
                    <a:bodyPr/>
                    <a:lstStyle/>
                    <a:p>
                      <a:pPr algn="l"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solidFill>
                      <a:schemeClr val="tx1"/>
                    </a:solidFill>
                  </a:tcPr>
                </a:tc>
                <a:tc>
                  <a:txBody>
                    <a:bodyPr/>
                    <a:lstStyle/>
                    <a:p>
                      <a:pPr algn="r"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r"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solidFill>
                      <a:schemeClr val="tx1"/>
                    </a:solidFill>
                  </a:tcPr>
                </a:tc>
                <a:tc>
                  <a:txBody>
                    <a:bodyPr/>
                    <a:lstStyle/>
                    <a:p>
                      <a:pPr algn="r" rtl="0" fontAlgn="b"/>
                      <a:endParaRPr lang="en-GB" sz="900" b="1" i="0" u="none" strike="noStrike" dirty="0">
                        <a:solidFill>
                          <a:schemeClr val="bg1"/>
                        </a:solidFill>
                        <a:effectLst/>
                        <a:latin typeface="+mj-lt"/>
                      </a:endParaRPr>
                    </a:p>
                  </a:txBody>
                  <a:tcPr marL="9525" marR="9525" marT="9525" marB="0" anchor="b">
                    <a:lnL>
                      <a:noFill/>
                    </a:lnL>
                    <a:lnR>
                      <a:noFill/>
                    </a:lnR>
                    <a:lnT w="12700" cap="flat" cmpd="sng" algn="ctr">
                      <a:noFill/>
                      <a:prstDash val="solid"/>
                      <a:round/>
                      <a:headEnd type="none" w="med" len="med"/>
                      <a:tailEnd type="none" w="med" len="med"/>
                    </a:lnT>
                    <a:lnB>
                      <a:noFill/>
                    </a:lnB>
                    <a:solidFill>
                      <a:schemeClr val="tx1"/>
                    </a:solidFill>
                  </a:tcPr>
                </a:tc>
                <a:tc>
                  <a:txBody>
                    <a:bodyPr/>
                    <a:lstStyle/>
                    <a:p>
                      <a:pPr algn="r"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solidFill>
                      <a:schemeClr val="tx1"/>
                    </a:solidFill>
                  </a:tcPr>
                </a:tc>
                <a:extLst>
                  <a:ext uri="{0D108BD9-81ED-4DB2-BD59-A6C34878D82A}">
                    <a16:rowId xmlns:a16="http://schemas.microsoft.com/office/drawing/2014/main" val="3223020725"/>
                  </a:ext>
                </a:extLst>
              </a:tr>
              <a:tr h="248518">
                <a:tc>
                  <a:txBody>
                    <a:bodyPr/>
                    <a:lstStyle/>
                    <a:p>
                      <a:pPr algn="l" rtl="0" fontAlgn="ctr"/>
                      <a:r>
                        <a:rPr lang="en-GB" sz="900" b="0" i="0" u="none" strike="noStrike" dirty="0">
                          <a:solidFill>
                            <a:schemeClr val="bg1"/>
                          </a:solidFill>
                          <a:effectLst/>
                          <a:latin typeface="+mj-lt"/>
                        </a:rPr>
                        <a:t>1</a:t>
                      </a:r>
                    </a:p>
                  </a:txBody>
                  <a:tcPr marL="9525" marR="9525" marT="9525" marB="0" anchor="ctr">
                    <a:lnL>
                      <a:noFill/>
                    </a:lnL>
                    <a:lnR>
                      <a:noFill/>
                    </a:lnR>
                    <a:lnT>
                      <a:noFill/>
                    </a:lnT>
                    <a:lnB>
                      <a:noFill/>
                    </a:lnB>
                  </a:tcPr>
                </a:tc>
                <a:tc>
                  <a:txBody>
                    <a:bodyPr/>
                    <a:lstStyle/>
                    <a:p>
                      <a:pPr algn="l" rtl="0" fontAlgn="ctr"/>
                      <a:r>
                        <a:rPr lang="en-GB" sz="900" b="0" i="0" u="none" strike="noStrike" dirty="0">
                          <a:solidFill>
                            <a:srgbClr val="FFFF00"/>
                          </a:solidFill>
                          <a:effectLst/>
                          <a:latin typeface="+mj-lt"/>
                        </a:rPr>
                        <a:t>Basic-Fit</a:t>
                      </a: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 </a:t>
                      </a:r>
                      <a:r>
                        <a:rPr lang="en-GB" sz="900" b="0" i="0" u="none" strike="noStrike" kern="1200" dirty="0">
                          <a:solidFill>
                            <a:schemeClr val="bg1"/>
                          </a:solidFill>
                          <a:effectLst/>
                          <a:latin typeface="+mj-lt"/>
                          <a:ea typeface="+mn-ea"/>
                          <a:cs typeface="+mn-cs"/>
                        </a:rPr>
                        <a:t>2,001,000</a:t>
                      </a:r>
                      <a:r>
                        <a:rPr lang="en-GB" sz="900" b="0" i="0" u="none" strike="noStrike" dirty="0">
                          <a:solidFill>
                            <a:schemeClr val="bg1"/>
                          </a:solidFill>
                          <a:effectLst/>
                          <a:latin typeface="+mj-lt"/>
                        </a:rPr>
                        <a:t> </a:t>
                      </a:r>
                    </a:p>
                  </a:txBody>
                  <a:tcPr marL="9525" marR="9525" marT="9525" marB="0" anchor="ctr">
                    <a:lnL>
                      <a:noFill/>
                    </a:lnL>
                    <a:lnR>
                      <a:noFill/>
                    </a:lnR>
                    <a:lnT>
                      <a:noFill/>
                    </a:lnT>
                    <a:lnB>
                      <a:noFill/>
                    </a:lnB>
                  </a:tcPr>
                </a:tc>
                <a:tc>
                  <a:txBody>
                    <a:bodyPr/>
                    <a:lstStyle/>
                    <a:p>
                      <a:pPr algn="r" rtl="0" fontAlgn="ctr"/>
                      <a:r>
                        <a:rPr lang="en-GB" sz="900" b="0" i="0" u="none" strike="noStrike">
                          <a:solidFill>
                            <a:schemeClr val="bg1"/>
                          </a:solidFill>
                          <a:effectLst/>
                          <a:latin typeface="+mj-lt"/>
                        </a:rPr>
                        <a:t>2,220,000</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219,000</a:t>
                      </a: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rgbClr val="FFFF00"/>
                          </a:solidFill>
                          <a:effectLst/>
                          <a:latin typeface="+mj-lt"/>
                          <a:ea typeface="+mn-ea"/>
                          <a:cs typeface="+mn-cs"/>
                        </a:rPr>
                        <a:t>+11% </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rgbClr val="FFFF00"/>
                          </a:solidFill>
                          <a:effectLst/>
                          <a:latin typeface="+mj-lt"/>
                          <a:ea typeface="+mn-ea"/>
                          <a:cs typeface="+mn-cs"/>
                        </a:rPr>
                        <a:t>+110</a:t>
                      </a: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1945620012"/>
                  </a:ext>
                </a:extLst>
              </a:tr>
              <a:tr h="248518">
                <a:tc>
                  <a:txBody>
                    <a:bodyPr/>
                    <a:lstStyle/>
                    <a:p>
                      <a:pPr algn="l" rtl="0" fontAlgn="ctr"/>
                      <a:r>
                        <a:rPr lang="en-GB" sz="900" b="0" i="0" u="none" strike="noStrike" dirty="0">
                          <a:solidFill>
                            <a:schemeClr val="bg1"/>
                          </a:solidFill>
                          <a:effectLst/>
                          <a:latin typeface="+mj-lt"/>
                        </a:rPr>
                        <a:t>2</a:t>
                      </a:r>
                    </a:p>
                  </a:txBody>
                  <a:tcPr marL="9525" marR="9525" marT="9525" marB="0" anchor="ctr">
                    <a:lnL>
                      <a:noFill/>
                    </a:lnL>
                    <a:lnR>
                      <a:noFill/>
                    </a:lnR>
                    <a:lnT>
                      <a:noFill/>
                    </a:lnT>
                    <a:lnB>
                      <a:noFill/>
                    </a:lnB>
                  </a:tcPr>
                </a:tc>
                <a:tc>
                  <a:txBody>
                    <a:bodyPr/>
                    <a:lstStyle/>
                    <a:p>
                      <a:pPr algn="l" rtl="0" fontAlgn="ctr"/>
                      <a:r>
                        <a:rPr lang="en-GB" sz="900" b="0" i="0" u="none" strike="noStrike" dirty="0">
                          <a:solidFill>
                            <a:srgbClr val="FFFF00"/>
                          </a:solidFill>
                          <a:effectLst/>
                          <a:latin typeface="+mj-lt"/>
                        </a:rPr>
                        <a:t>RSG Group</a:t>
                      </a:r>
                      <a:r>
                        <a:rPr lang="en-GB" sz="1000" b="0" i="0" u="none" strike="noStrike" baseline="30000" dirty="0">
                          <a:solidFill>
                            <a:srgbClr val="FFFF00"/>
                          </a:solidFill>
                          <a:effectLst/>
                          <a:latin typeface="+mj-lt"/>
                        </a:rPr>
                        <a:t>1</a:t>
                      </a:r>
                      <a:endParaRPr lang="en-GB" sz="900" b="0" i="0" u="none" strike="noStrike" dirty="0">
                        <a:solidFill>
                          <a:srgbClr val="FFFF00"/>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a:solidFill>
                            <a:schemeClr val="bg1"/>
                          </a:solidFill>
                          <a:effectLst/>
                          <a:latin typeface="+mj-lt"/>
                        </a:rPr>
                        <a:t> 1,856,000 </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a:solidFill>
                            <a:schemeClr val="bg1"/>
                          </a:solidFill>
                          <a:effectLst/>
                          <a:latin typeface="+mj-lt"/>
                        </a:rPr>
                        <a:t>1,691,000</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165,000)</a:t>
                      </a: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rgbClr val="FFFF00"/>
                          </a:solidFill>
                          <a:effectLst/>
                          <a:latin typeface="+mj-lt"/>
                          <a:ea typeface="+mn-ea"/>
                          <a:cs typeface="+mn-cs"/>
                        </a:rPr>
                        <a:t>(9%)</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18</a:t>
                      </a: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4164760267"/>
                  </a:ext>
                </a:extLst>
              </a:tr>
              <a:tr h="248518">
                <a:tc>
                  <a:txBody>
                    <a:bodyPr/>
                    <a:lstStyle/>
                    <a:p>
                      <a:pPr algn="l" rtl="0" fontAlgn="ctr"/>
                      <a:r>
                        <a:rPr lang="en-GB" sz="900" b="0" i="0" u="none" strike="noStrike" dirty="0">
                          <a:solidFill>
                            <a:schemeClr val="bg1"/>
                          </a:solidFill>
                          <a:effectLst/>
                          <a:latin typeface="+mj-lt"/>
                        </a:rPr>
                        <a:t>3</a:t>
                      </a:r>
                    </a:p>
                  </a:txBody>
                  <a:tcPr marL="9525" marR="9525" marT="9525" marB="0" anchor="ctr">
                    <a:lnL>
                      <a:noFill/>
                    </a:lnL>
                    <a:lnR>
                      <a:noFill/>
                    </a:lnR>
                    <a:lnT>
                      <a:noFill/>
                    </a:lnT>
                    <a:lnB>
                      <a:noFill/>
                    </a:lnB>
                  </a:tcPr>
                </a:tc>
                <a:tc>
                  <a:txBody>
                    <a:bodyPr/>
                    <a:lstStyle/>
                    <a:p>
                      <a:pPr algn="l" rtl="0" fontAlgn="ctr"/>
                      <a:r>
                        <a:rPr lang="en-GB" sz="900" b="0" i="0" u="none" strike="noStrike" dirty="0">
                          <a:solidFill>
                            <a:srgbClr val="FFFF00"/>
                          </a:solidFill>
                          <a:effectLst/>
                          <a:latin typeface="+mj-lt"/>
                        </a:rPr>
                        <a:t>PureGym</a:t>
                      </a:r>
                      <a:r>
                        <a:rPr lang="en-GB" sz="900" b="0" i="0" u="none" strike="noStrike" baseline="30000" dirty="0">
                          <a:solidFill>
                            <a:srgbClr val="FFFF00"/>
                          </a:solidFill>
                          <a:effectLst/>
                          <a:latin typeface="+mj-lt"/>
                        </a:rPr>
                        <a:t>2</a:t>
                      </a:r>
                      <a:endParaRPr lang="en-GB" sz="900" b="0" i="0" u="none" strike="noStrike" dirty="0">
                        <a:solidFill>
                          <a:srgbClr val="FFFF00"/>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a:solidFill>
                            <a:schemeClr val="bg1"/>
                          </a:solidFill>
                          <a:effectLst/>
                          <a:latin typeface="+mj-lt"/>
                        </a:rPr>
                        <a:t> 1,451,000 </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a:solidFill>
                            <a:schemeClr val="bg1"/>
                          </a:solidFill>
                          <a:effectLst/>
                          <a:latin typeface="+mj-lt"/>
                        </a:rPr>
                        <a:t>1,635,000</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a:solidFill>
                            <a:schemeClr val="bg1"/>
                          </a:solidFill>
                          <a:effectLst/>
                          <a:latin typeface="+mj-lt"/>
                        </a:rPr>
                        <a:t>184,000</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rgbClr val="FFFF00"/>
                          </a:solidFill>
                          <a:effectLst/>
                          <a:latin typeface="+mj-lt"/>
                          <a:ea typeface="+mn-ea"/>
                          <a:cs typeface="+mn-cs"/>
                        </a:rPr>
                        <a:t>+13% </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11</a:t>
                      </a: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3962133663"/>
                  </a:ext>
                </a:extLst>
              </a:tr>
              <a:tr h="248518">
                <a:tc>
                  <a:txBody>
                    <a:bodyPr/>
                    <a:lstStyle/>
                    <a:p>
                      <a:pPr algn="l" rtl="0" fontAlgn="ctr"/>
                      <a:r>
                        <a:rPr lang="en-GB" sz="900" b="0" i="0" u="none" strike="noStrike" dirty="0">
                          <a:solidFill>
                            <a:schemeClr val="bg1"/>
                          </a:solidFill>
                          <a:effectLst/>
                          <a:latin typeface="+mj-lt"/>
                        </a:rPr>
                        <a:t>4</a:t>
                      </a:r>
                    </a:p>
                  </a:txBody>
                  <a:tcPr marL="9525" marR="9525" marT="9525" marB="0" anchor="ctr">
                    <a:lnL>
                      <a:noFill/>
                    </a:lnL>
                    <a:lnR>
                      <a:noFill/>
                    </a:lnR>
                    <a:lnT>
                      <a:noFill/>
                    </a:lnT>
                    <a:lnB>
                      <a:noFill/>
                    </a:lnB>
                  </a:tcPr>
                </a:tc>
                <a:tc>
                  <a:txBody>
                    <a:bodyPr/>
                    <a:lstStyle/>
                    <a:p>
                      <a:pPr algn="l" rtl="0" fontAlgn="ctr"/>
                      <a:r>
                        <a:rPr lang="en-GB" sz="900" b="0" i="0" u="none" strike="noStrike" dirty="0">
                          <a:solidFill>
                            <a:srgbClr val="FFFF00"/>
                          </a:solidFill>
                          <a:effectLst/>
                          <a:latin typeface="+mj-lt"/>
                        </a:rPr>
                        <a:t>The Gym Group</a:t>
                      </a: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 578,000 </a:t>
                      </a:r>
                    </a:p>
                  </a:txBody>
                  <a:tcPr marL="9525" marR="9525" marT="9525" marB="0" anchor="ctr">
                    <a:lnL>
                      <a:noFill/>
                    </a:lnL>
                    <a:lnR>
                      <a:noFill/>
                    </a:lnR>
                    <a:lnT>
                      <a:noFill/>
                    </a:lnT>
                    <a:lnB>
                      <a:noFill/>
                    </a:lnB>
                  </a:tcPr>
                </a:tc>
                <a:tc>
                  <a:txBody>
                    <a:bodyPr/>
                    <a:lstStyle/>
                    <a:p>
                      <a:pPr algn="r" rtl="0" fontAlgn="ctr"/>
                      <a:r>
                        <a:rPr lang="en-GB" sz="900" b="0" i="0" u="none" strike="noStrike">
                          <a:solidFill>
                            <a:schemeClr val="bg1"/>
                          </a:solidFill>
                          <a:effectLst/>
                          <a:latin typeface="+mj-lt"/>
                        </a:rPr>
                        <a:t>718,000</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140,000</a:t>
                      </a: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rgbClr val="FFFF00"/>
                          </a:solidFill>
                          <a:effectLst/>
                          <a:latin typeface="+mj-lt"/>
                          <a:ea typeface="+mn-ea"/>
                          <a:cs typeface="+mn-cs"/>
                        </a:rPr>
                        <a:t>+24% </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19</a:t>
                      </a: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3600946751"/>
                  </a:ext>
                </a:extLst>
              </a:tr>
              <a:tr h="248518">
                <a:tc>
                  <a:txBody>
                    <a:bodyPr/>
                    <a:lstStyle/>
                    <a:p>
                      <a:pPr algn="l" rtl="0" fontAlgn="ctr"/>
                      <a:r>
                        <a:rPr lang="en-GB" sz="900" b="0" i="0" u="none" strike="noStrike">
                          <a:solidFill>
                            <a:schemeClr val="bg1"/>
                          </a:solidFill>
                          <a:effectLst/>
                          <a:latin typeface="+mj-lt"/>
                        </a:rPr>
                        <a:t>5</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l" rtl="0" fontAlgn="ctr"/>
                      <a:r>
                        <a:rPr lang="en-GB" sz="900" b="0" i="0" u="none" strike="noStrike" dirty="0" err="1">
                          <a:solidFill>
                            <a:srgbClr val="FFFF00"/>
                          </a:solidFill>
                          <a:effectLst/>
                          <a:latin typeface="+mj-lt"/>
                        </a:rPr>
                        <a:t>FitX</a:t>
                      </a:r>
                      <a:endParaRPr lang="en-GB" sz="900" b="0" i="0" u="none" strike="noStrike" dirty="0">
                        <a:solidFill>
                          <a:srgbClr val="FFFF00"/>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    756,000 </a:t>
                      </a:r>
                    </a:p>
                  </a:txBody>
                  <a:tcPr marL="9525" marR="9525" marT="9525" marB="0" anchor="ctr">
                    <a:lnL>
                      <a:noFill/>
                    </a:lnL>
                    <a:lnR>
                      <a:noFill/>
                    </a:lnR>
                    <a:lnT>
                      <a:noFill/>
                    </a:lnT>
                    <a:lnB>
                      <a:noFill/>
                    </a:lnB>
                  </a:tcPr>
                </a:tc>
                <a:tc>
                  <a:txBody>
                    <a:bodyPr/>
                    <a:lstStyle/>
                    <a:p>
                      <a:pPr algn="r" rtl="0" fontAlgn="ctr"/>
                      <a:r>
                        <a:rPr lang="en-GB" sz="900" b="0" i="0" u="none" strike="noStrike">
                          <a:solidFill>
                            <a:schemeClr val="bg1"/>
                          </a:solidFill>
                          <a:effectLst/>
                          <a:latin typeface="+mj-lt"/>
                        </a:rPr>
                        <a:t>716,000</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40,000)</a:t>
                      </a: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rgbClr val="FFFF00"/>
                          </a:solidFill>
                          <a:effectLst/>
                          <a:latin typeface="+mj-lt"/>
                          <a:ea typeface="+mn-ea"/>
                          <a:cs typeface="+mn-cs"/>
                        </a:rPr>
                        <a:t>(5%)</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4</a:t>
                      </a: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1154587663"/>
                  </a:ext>
                </a:extLst>
              </a:tr>
              <a:tr h="248518">
                <a:tc>
                  <a:txBody>
                    <a:bodyPr/>
                    <a:lstStyle/>
                    <a:p>
                      <a:pPr algn="l" rtl="0" fontAlgn="ctr"/>
                      <a:r>
                        <a:rPr lang="en-GB" sz="900" b="0" i="0" u="none" strike="noStrike">
                          <a:solidFill>
                            <a:schemeClr val="bg1"/>
                          </a:solidFill>
                          <a:effectLst/>
                          <a:latin typeface="+mj-lt"/>
                        </a:rPr>
                        <a:t>6</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l" rtl="0" fontAlgn="ctr"/>
                      <a:r>
                        <a:rPr lang="en-GB" sz="900" b="0" i="0" u="none" strike="noStrike" dirty="0">
                          <a:solidFill>
                            <a:schemeClr val="bg1"/>
                          </a:solidFill>
                          <a:effectLst/>
                          <a:latin typeface="+mj-lt"/>
                        </a:rPr>
                        <a:t>David Lloyd Leisure</a:t>
                      </a: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601,000</a:t>
                      </a: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703,000</a:t>
                      </a: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102,000</a:t>
                      </a: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17% </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3</a:t>
                      </a: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250517962"/>
                  </a:ext>
                </a:extLst>
              </a:tr>
              <a:tr h="248518">
                <a:tc>
                  <a:txBody>
                    <a:bodyPr/>
                    <a:lstStyle/>
                    <a:p>
                      <a:pPr algn="l" rtl="0" fontAlgn="ctr"/>
                      <a:r>
                        <a:rPr lang="en-GB" sz="900" b="0" i="0" u="none" strike="noStrike">
                          <a:solidFill>
                            <a:schemeClr val="bg1"/>
                          </a:solidFill>
                          <a:effectLst/>
                          <a:latin typeface="+mj-lt"/>
                        </a:rPr>
                        <a:t>7</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l" rtl="0" fontAlgn="ctr"/>
                      <a:r>
                        <a:rPr lang="en-GB" sz="900" b="0" i="0" u="none" strike="noStrike" dirty="0">
                          <a:solidFill>
                            <a:schemeClr val="bg1"/>
                          </a:solidFill>
                          <a:effectLst/>
                          <a:latin typeface="+mj-lt"/>
                        </a:rPr>
                        <a:t>Greenwich Leisure Limited</a:t>
                      </a: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600,000</a:t>
                      </a: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700,000</a:t>
                      </a: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100,000</a:t>
                      </a: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17% </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0</a:t>
                      </a: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426764952"/>
                  </a:ext>
                </a:extLst>
              </a:tr>
              <a:tr h="248518">
                <a:tc>
                  <a:txBody>
                    <a:bodyPr/>
                    <a:lstStyle/>
                    <a:p>
                      <a:pPr algn="l" rtl="0" fontAlgn="ctr"/>
                      <a:r>
                        <a:rPr lang="en-GB" sz="900" b="0" i="0" u="none" strike="noStrike">
                          <a:solidFill>
                            <a:schemeClr val="bg1"/>
                          </a:solidFill>
                          <a:effectLst/>
                          <a:latin typeface="+mj-lt"/>
                        </a:rPr>
                        <a:t>8</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l" rtl="0" fontAlgn="ctr"/>
                      <a:r>
                        <a:rPr lang="en-GB" sz="900" b="0" i="0" u="none" strike="noStrike" dirty="0">
                          <a:solidFill>
                            <a:schemeClr val="bg1"/>
                          </a:solidFill>
                          <a:effectLst/>
                          <a:latin typeface="+mj-lt"/>
                        </a:rPr>
                        <a:t>SATS Group</a:t>
                      </a: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    628,000 </a:t>
                      </a: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669,000</a:t>
                      </a: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41,000</a:t>
                      </a: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7% </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9</a:t>
                      </a:r>
                    </a:p>
                  </a:txBody>
                  <a:tcPr marL="9525" marR="9525" marT="9525"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highlight>
                          <a:srgbClr val="FF0000"/>
                        </a:highlight>
                        <a:latin typeface="+mj-lt"/>
                        <a:ea typeface="+mn-ea"/>
                        <a:cs typeface="+mn-cs"/>
                      </a:endParaRPr>
                    </a:p>
                  </a:txBody>
                  <a:tcPr marL="9525" marR="9525" marT="9525"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highlight>
                          <a:srgbClr val="FF0000"/>
                        </a:highlight>
                        <a:latin typeface="+mj-lt"/>
                        <a:ea typeface="+mn-ea"/>
                        <a:cs typeface="+mn-cs"/>
                      </a:endParaRPr>
                    </a:p>
                  </a:txBody>
                  <a:tcPr marL="9525" marR="9525" marT="9525" marB="0" anchor="ctr">
                    <a:lnL>
                      <a:noFill/>
                    </a:lnL>
                    <a:lnR>
                      <a:noFill/>
                    </a:lnR>
                    <a:lnT>
                      <a:noFill/>
                    </a:lnT>
                    <a:lnB>
                      <a:noFill/>
                    </a:lnB>
                  </a:tcPr>
                </a:tc>
                <a:extLst>
                  <a:ext uri="{0D108BD9-81ED-4DB2-BD59-A6C34878D82A}">
                    <a16:rowId xmlns:a16="http://schemas.microsoft.com/office/drawing/2014/main" val="913306711"/>
                  </a:ext>
                </a:extLst>
              </a:tr>
              <a:tr h="248518">
                <a:tc>
                  <a:txBody>
                    <a:bodyPr/>
                    <a:lstStyle/>
                    <a:p>
                      <a:pPr algn="l" rtl="0" fontAlgn="ctr"/>
                      <a:r>
                        <a:rPr lang="en-GB" sz="900" b="0" i="0" u="none" strike="noStrike">
                          <a:solidFill>
                            <a:schemeClr val="bg1"/>
                          </a:solidFill>
                          <a:effectLst/>
                          <a:latin typeface="+mj-lt"/>
                        </a:rPr>
                        <a:t>9</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l" rtl="0" fontAlgn="ctr"/>
                      <a:r>
                        <a:rPr lang="en-GB" sz="900" b="0" i="0" u="none" strike="noStrike" dirty="0">
                          <a:solidFill>
                            <a:srgbClr val="FFFF00"/>
                          </a:solidFill>
                          <a:effectLst/>
                          <a:latin typeface="+mj-lt"/>
                        </a:rPr>
                        <a:t>Fitness Park Group</a:t>
                      </a: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550,000</a:t>
                      </a:r>
                    </a:p>
                  </a:txBody>
                  <a:tcPr marL="9525" marR="9525" marT="9525" marB="0" anchor="ctr">
                    <a:lnL>
                      <a:noFill/>
                    </a:lnL>
                    <a:lnR>
                      <a:noFill/>
                    </a:lnR>
                    <a:lnT>
                      <a:noFill/>
                    </a:lnT>
                    <a:lnB>
                      <a:noFill/>
                    </a:lnB>
                  </a:tcPr>
                </a:tc>
                <a:tc>
                  <a:txBody>
                    <a:bodyPr/>
                    <a:lstStyle/>
                    <a:p>
                      <a:pPr algn="r" rtl="0" fontAlgn="ctr"/>
                      <a:r>
                        <a:rPr lang="en-GB" sz="900" b="0" i="0" u="none" strike="noStrike">
                          <a:solidFill>
                            <a:schemeClr val="bg1"/>
                          </a:solidFill>
                          <a:effectLst/>
                          <a:latin typeface="+mj-lt"/>
                        </a:rPr>
                        <a:t>630,000</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80,000</a:t>
                      </a: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rgbClr val="FFFF00"/>
                          </a:solidFill>
                          <a:effectLst/>
                          <a:latin typeface="+mj-lt"/>
                          <a:ea typeface="+mn-ea"/>
                          <a:cs typeface="+mn-cs"/>
                        </a:rPr>
                        <a:t>+15% </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24</a:t>
                      </a: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2616671315"/>
                  </a:ext>
                </a:extLst>
              </a:tr>
              <a:tr h="248518">
                <a:tc>
                  <a:txBody>
                    <a:bodyPr/>
                    <a:lstStyle/>
                    <a:p>
                      <a:pPr algn="l" rtl="0" fontAlgn="ctr"/>
                      <a:r>
                        <a:rPr lang="en-GB" sz="900" b="0" i="0" u="none" strike="noStrike">
                          <a:solidFill>
                            <a:schemeClr val="bg1"/>
                          </a:solidFill>
                          <a:effectLst/>
                          <a:latin typeface="+mj-lt"/>
                        </a:rPr>
                        <a:t>10</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lang="en-GB" sz="900" b="0" i="0" u="none" strike="noStrike" dirty="0">
                          <a:solidFill>
                            <a:schemeClr val="bg1"/>
                          </a:solidFill>
                          <a:effectLst/>
                          <a:latin typeface="+mj-lt"/>
                        </a:rPr>
                        <a:t>Friskis&amp;Svettis</a:t>
                      </a:r>
                      <a:r>
                        <a:rPr lang="en-GB" sz="900" b="0" i="0" u="none" strike="noStrike" baseline="30000" dirty="0">
                          <a:solidFill>
                            <a:schemeClr val="bg1"/>
                          </a:solidFill>
                          <a:effectLst/>
                          <a:latin typeface="+mj-lt"/>
                        </a:rPr>
                        <a:t>3</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kern="1200">
                          <a:solidFill>
                            <a:schemeClr val="bg1"/>
                          </a:solidFill>
                          <a:effectLst/>
                          <a:latin typeface="+mj-lt"/>
                          <a:ea typeface="+mn-ea"/>
                          <a:cs typeface="+mn-cs"/>
                        </a:rPr>
                        <a:t> 498,000 </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a:solidFill>
                            <a:schemeClr val="bg1"/>
                          </a:solidFill>
                          <a:effectLst/>
                          <a:latin typeface="+mj-lt"/>
                        </a:rPr>
                        <a:t>449,000</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0" i="0" u="none" strike="noStrike" dirty="0">
                          <a:solidFill>
                            <a:schemeClr val="bg1"/>
                          </a:solidFill>
                          <a:effectLst/>
                          <a:latin typeface="+mj-lt"/>
                        </a:rPr>
                        <a:t>(49,000)</a:t>
                      </a: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10%)</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2</a:t>
                      </a: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3178843647"/>
                  </a:ext>
                </a:extLst>
              </a:tr>
              <a:tr h="446098">
                <a:tc gridSpan="2">
                  <a:txBody>
                    <a:bodyPr/>
                    <a:lstStyle/>
                    <a:p>
                      <a:pPr algn="l" rtl="0" fontAlgn="ctr"/>
                      <a:r>
                        <a:rPr lang="en-GB" sz="900" b="1" i="0" u="none" strike="noStrike" dirty="0">
                          <a:solidFill>
                            <a:schemeClr val="bg1"/>
                          </a:solidFill>
                          <a:effectLst/>
                          <a:latin typeface="+mj-lt"/>
                        </a:rPr>
                        <a:t>Sum of Top-10 operators</a:t>
                      </a:r>
                    </a:p>
                  </a:txBody>
                  <a:tcPr marL="9525" marR="9525" marT="9525" marB="0" anchor="ctr">
                    <a:lnL>
                      <a:noFill/>
                    </a:lnL>
                    <a:lnR>
                      <a:noFill/>
                    </a:lnR>
                    <a:lnT>
                      <a:noFill/>
                    </a:lnT>
                    <a:lnB>
                      <a:noFill/>
                    </a:lnB>
                  </a:tcPr>
                </a:tc>
                <a:tc hMerge="1">
                  <a:txBody>
                    <a:bodyPr/>
                    <a:lstStyle/>
                    <a:p>
                      <a:endParaRPr lang="de-DE"/>
                    </a:p>
                  </a:txBody>
                  <a:tcPr/>
                </a:tc>
                <a:tc>
                  <a:txBody>
                    <a:bodyPr/>
                    <a:lstStyle/>
                    <a:p>
                      <a:pPr algn="r" rtl="0" fontAlgn="ctr"/>
                      <a:r>
                        <a:rPr lang="en-GB" sz="900" b="1" i="0" u="none" strike="noStrike">
                          <a:solidFill>
                            <a:schemeClr val="bg1"/>
                          </a:solidFill>
                          <a:effectLst/>
                          <a:latin typeface="+mj-lt"/>
                        </a:rPr>
                        <a:t>9,519,000</a:t>
                      </a:r>
                      <a:endParaRPr lang="en-GB" sz="900" b="1"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r>
                        <a:rPr lang="en-GB" sz="900" b="1" i="0" u="none" strike="noStrike">
                          <a:solidFill>
                            <a:schemeClr val="bg1"/>
                          </a:solidFill>
                          <a:effectLst/>
                          <a:latin typeface="+mj-lt"/>
                        </a:rPr>
                        <a:t>10,131,000</a:t>
                      </a:r>
                      <a:endParaRPr lang="en-GB" sz="900" b="1"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endParaRPr lang="en-GB" sz="900" b="1" i="0" u="none" strike="noStrike" dirty="0">
                        <a:solidFill>
                          <a:schemeClr val="bg1"/>
                        </a:solidFill>
                        <a:effectLst/>
                        <a:latin typeface="+mj-lt"/>
                      </a:endParaRPr>
                    </a:p>
                  </a:txBody>
                  <a:tcPr marL="9525" marR="9525" marT="9525" marB="0" anchor="ctr">
                    <a:lnL>
                      <a:noFill/>
                    </a:lnL>
                    <a:lnR>
                      <a:noFill/>
                    </a:lnR>
                    <a:lnT>
                      <a:noFill/>
                    </a:lnT>
                    <a:lnB>
                      <a:noFill/>
                    </a:lnB>
                    <a:solidFill>
                      <a:schemeClr val="tx1"/>
                    </a:solidFill>
                  </a:tcPr>
                </a:tc>
                <a:tc>
                  <a:txBody>
                    <a:bodyPr/>
                    <a:lstStyle/>
                    <a:p>
                      <a:pPr algn="r" rtl="0" fontAlgn="ctr"/>
                      <a:r>
                        <a:rPr lang="en-GB" sz="900" b="1" i="0" u="none" strike="noStrike" dirty="0">
                          <a:solidFill>
                            <a:schemeClr val="bg1"/>
                          </a:solidFill>
                          <a:effectLst/>
                          <a:latin typeface="+mj-lt"/>
                        </a:rPr>
                        <a:t>612,000</a:t>
                      </a:r>
                    </a:p>
                  </a:txBody>
                  <a:tcPr marL="9525" marR="9525" marT="9525" marB="0" anchor="ctr">
                    <a:lnL>
                      <a:noFill/>
                    </a:lnL>
                    <a:lnR>
                      <a:noFill/>
                    </a:lnR>
                    <a:lnT>
                      <a:noFill/>
                    </a:lnT>
                    <a:lnB>
                      <a:noFill/>
                    </a:lnB>
                    <a:solidFill>
                      <a:schemeClr val="tx1"/>
                    </a:solidFill>
                  </a:tcPr>
                </a:tc>
                <a:tc>
                  <a:txBody>
                    <a:bodyPr/>
                    <a:lstStyle/>
                    <a:p>
                      <a:pPr algn="r" rtl="0" fontAlgn="ctr"/>
                      <a:r>
                        <a:rPr lang="en-GB" sz="900" b="0" i="0" u="none" strike="noStrike" kern="1200" dirty="0">
                          <a:solidFill>
                            <a:schemeClr val="bg1"/>
                          </a:solidFill>
                          <a:effectLst/>
                          <a:latin typeface="+mj-lt"/>
                          <a:ea typeface="+mn-ea"/>
                          <a:cs typeface="+mn-cs"/>
                        </a:rPr>
                        <a:t>+6%</a:t>
                      </a:r>
                    </a:p>
                  </a:txBody>
                  <a:tcPr marL="9525" marR="9525" marT="9525"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200</a:t>
                      </a:r>
                    </a:p>
                  </a:txBody>
                  <a:tcPr marL="9525" marR="9525" marT="9525" marB="0" anchor="ctr">
                    <a:lnL>
                      <a:noFill/>
                    </a:lnL>
                    <a:lnR>
                      <a:noFill/>
                    </a:lnR>
                    <a:lnT>
                      <a:noFill/>
                    </a:lnT>
                    <a:lnB>
                      <a:noFill/>
                    </a:lnB>
                  </a:tcPr>
                </a:tc>
                <a:tc>
                  <a:txBody>
                    <a:bodyPr/>
                    <a:lstStyle/>
                    <a:p>
                      <a:pPr algn="r" rtl="0" fontAlgn="ctr"/>
                      <a:endParaRPr lang="en-GB" sz="900" b="1"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ctr"/>
                      <a:endParaRPr lang="en-GB" sz="900" b="1" i="0" u="none" strike="noStrike" dirty="0">
                        <a:solidFill>
                          <a:schemeClr val="bg1"/>
                        </a:solidFill>
                        <a:effectLs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391657914"/>
                  </a:ext>
                </a:extLst>
              </a:tr>
              <a:tr h="244247">
                <a:tc gridSpan="11">
                  <a:txBody>
                    <a:bodyPr/>
                    <a:lstStyle/>
                    <a:p>
                      <a:pPr algn="l" rtl="0" fontAlgn="t"/>
                      <a:endParaRPr lang="en-GB" sz="800" b="0" i="0" u="none" strike="noStrike" dirty="0">
                        <a:solidFill>
                          <a:schemeClr val="bg1"/>
                        </a:solidFill>
                        <a:effectLst/>
                        <a:latin typeface="+mj-lt"/>
                      </a:endParaRPr>
                    </a:p>
                  </a:txBody>
                  <a:tcPr marL="9525" marR="9525" marT="9525" marB="0">
                    <a:lnL>
                      <a:noFill/>
                    </a:lnL>
                    <a:lnR>
                      <a:noFill/>
                    </a:lnR>
                    <a:lnT>
                      <a:noFill/>
                    </a:lnT>
                    <a:lnB>
                      <a:noFill/>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pPr algn="r" fontAlgn="t"/>
                      <a:endParaRPr lang="en-US" sz="700" b="0" i="0" u="none" strike="noStrike" dirty="0">
                        <a:solidFill>
                          <a:schemeClr val="bg1"/>
                        </a:solidFill>
                        <a:effectLst/>
                        <a:latin typeface="Arial" panose="020B0604020202020204" pitchFamily="34" charset="0"/>
                      </a:endParaRPr>
                    </a:p>
                  </a:txBody>
                  <a:tcPr marL="9525" marR="9525" marT="9525" marB="0">
                    <a:lnL w="12700" cmpd="sng">
                      <a:noFill/>
                      <a:prstDash val="solid"/>
                    </a:lnL>
                    <a:lnR>
                      <a:noFill/>
                    </a:lnR>
                    <a:lnT>
                      <a:noFill/>
                    </a:lnT>
                    <a:lnB>
                      <a:noFill/>
                    </a:lnB>
                  </a:tcPr>
                </a:tc>
                <a:extLst>
                  <a:ext uri="{0D108BD9-81ED-4DB2-BD59-A6C34878D82A}">
                    <a16:rowId xmlns:a16="http://schemas.microsoft.com/office/drawing/2014/main" val="855467912"/>
                  </a:ext>
                </a:extLst>
              </a:tr>
            </a:tbl>
          </a:graphicData>
        </a:graphic>
      </p:graphicFrame>
      <p:sp>
        <p:nvSpPr>
          <p:cNvPr id="175" name="TextBox 174"/>
          <p:cNvSpPr txBox="1"/>
          <p:nvPr/>
        </p:nvSpPr>
        <p:spPr>
          <a:xfrm>
            <a:off x="480878" y="1671675"/>
            <a:ext cx="4846902" cy="168892"/>
          </a:xfrm>
          <a:prstGeom prst="rect">
            <a:avLst/>
          </a:prstGeom>
          <a:noFill/>
        </p:spPr>
        <p:txBody>
          <a:bodyPr wrap="square" lIns="0" tIns="0" rIns="0" bIns="0" rtlCol="0">
            <a:spAutoFit/>
          </a:bodyPr>
          <a:lstStyle/>
          <a:p>
            <a:pPr eaLnBrk="0" fontAlgn="base" hangingPunct="0">
              <a:lnSpc>
                <a:spcPct val="110000"/>
              </a:lnSpc>
              <a:spcBef>
                <a:spcPct val="0"/>
              </a:spcBef>
              <a:spcAft>
                <a:spcPct val="0"/>
              </a:spcAft>
            </a:pPr>
            <a:r>
              <a:rPr lang="en-GB" sz="1100" b="1" dirty="0">
                <a:solidFill>
                  <a:schemeClr val="bg1"/>
                </a:solidFill>
                <a:latin typeface="+mj-lt"/>
              </a:rPr>
              <a:t>Top-10 des </a:t>
            </a:r>
            <a:r>
              <a:rPr lang="en-GB" sz="1100" b="1" dirty="0" err="1">
                <a:solidFill>
                  <a:schemeClr val="bg1"/>
                </a:solidFill>
                <a:latin typeface="+mj-lt"/>
              </a:rPr>
              <a:t>opérateurs</a:t>
            </a:r>
            <a:r>
              <a:rPr lang="en-GB" sz="1100" b="1" dirty="0">
                <a:solidFill>
                  <a:schemeClr val="bg1"/>
                </a:solidFill>
                <a:latin typeface="+mj-lt"/>
              </a:rPr>
              <a:t> par </a:t>
            </a:r>
            <a:r>
              <a:rPr lang="en-GB" sz="1100" b="1" dirty="0" err="1">
                <a:solidFill>
                  <a:schemeClr val="bg1"/>
                </a:solidFill>
                <a:latin typeface="+mj-lt"/>
              </a:rPr>
              <a:t>membres</a:t>
            </a:r>
            <a:r>
              <a:rPr lang="en-GB" sz="1100" b="1" dirty="0">
                <a:solidFill>
                  <a:schemeClr val="bg1"/>
                </a:solidFill>
                <a:latin typeface="+mj-lt"/>
              </a:rPr>
              <a:t> </a:t>
            </a:r>
            <a:r>
              <a:rPr lang="en-GB" sz="1100" b="1" dirty="0" err="1">
                <a:solidFill>
                  <a:schemeClr val="bg1"/>
                </a:solidFill>
                <a:latin typeface="+mj-lt"/>
              </a:rPr>
              <a:t>en</a:t>
            </a:r>
            <a:r>
              <a:rPr lang="en-GB" sz="1100" b="1" dirty="0">
                <a:solidFill>
                  <a:schemeClr val="bg1"/>
                </a:solidFill>
                <a:latin typeface="+mj-lt"/>
              </a:rPr>
              <a:t> 2021 </a:t>
            </a:r>
            <a:r>
              <a:rPr lang="en-GB" sz="1100" b="1" dirty="0">
                <a:solidFill>
                  <a:srgbClr val="FFFF00"/>
                </a:solidFill>
                <a:latin typeface="+mj-lt"/>
              </a:rPr>
              <a:t>( HVLP )</a:t>
            </a:r>
          </a:p>
        </p:txBody>
      </p:sp>
      <p:pic>
        <p:nvPicPr>
          <p:cNvPr id="187" name="image40.png">
            <a:extLst>
              <a:ext uri="{FF2B5EF4-FFF2-40B4-BE49-F238E27FC236}">
                <a16:creationId xmlns:a16="http://schemas.microsoft.com/office/drawing/2014/main" id="{94DE99A3-AD25-4D78-80CE-10660848D071}"/>
              </a:ext>
            </a:extLst>
          </p:cNvPr>
          <p:cNvPicPr/>
          <p:nvPr/>
        </p:nvPicPr>
        <p:blipFill>
          <a:blip r:embed="rId7" cstate="print"/>
          <a:stretch>
            <a:fillRect/>
          </a:stretch>
        </p:blipFill>
        <p:spPr>
          <a:xfrm>
            <a:off x="8184538" y="2766853"/>
            <a:ext cx="180000" cy="180000"/>
          </a:xfrm>
          <a:prstGeom prst="rect">
            <a:avLst/>
          </a:prstGeom>
        </p:spPr>
      </p:pic>
      <p:pic>
        <p:nvPicPr>
          <p:cNvPr id="188" name="image27.png">
            <a:extLst>
              <a:ext uri="{FF2B5EF4-FFF2-40B4-BE49-F238E27FC236}">
                <a16:creationId xmlns:a16="http://schemas.microsoft.com/office/drawing/2014/main" id="{EFF7D5D5-E972-4E61-882F-79A993E6289B}"/>
              </a:ext>
            </a:extLst>
          </p:cNvPr>
          <p:cNvPicPr/>
          <p:nvPr/>
        </p:nvPicPr>
        <p:blipFill>
          <a:blip r:embed="rId8" cstate="print"/>
          <a:stretch>
            <a:fillRect/>
          </a:stretch>
        </p:blipFill>
        <p:spPr>
          <a:xfrm>
            <a:off x="7680539" y="2766853"/>
            <a:ext cx="180000" cy="180000"/>
          </a:xfrm>
          <a:prstGeom prst="rect">
            <a:avLst/>
          </a:prstGeom>
        </p:spPr>
      </p:pic>
      <p:pic>
        <p:nvPicPr>
          <p:cNvPr id="189" name="image31.png">
            <a:extLst>
              <a:ext uri="{FF2B5EF4-FFF2-40B4-BE49-F238E27FC236}">
                <a16:creationId xmlns:a16="http://schemas.microsoft.com/office/drawing/2014/main" id="{04499686-128C-41D1-8BAF-FCEA8C9B5DF7}"/>
              </a:ext>
            </a:extLst>
          </p:cNvPr>
          <p:cNvPicPr/>
          <p:nvPr/>
        </p:nvPicPr>
        <p:blipFill>
          <a:blip r:embed="rId9" cstate="print"/>
          <a:stretch>
            <a:fillRect/>
          </a:stretch>
        </p:blipFill>
        <p:spPr>
          <a:xfrm>
            <a:off x="7932538" y="2766853"/>
            <a:ext cx="180000" cy="180000"/>
          </a:xfrm>
          <a:prstGeom prst="rect">
            <a:avLst/>
          </a:prstGeom>
        </p:spPr>
      </p:pic>
      <p:pic>
        <p:nvPicPr>
          <p:cNvPr id="190" name="image39.png">
            <a:extLst>
              <a:ext uri="{FF2B5EF4-FFF2-40B4-BE49-F238E27FC236}">
                <a16:creationId xmlns:a16="http://schemas.microsoft.com/office/drawing/2014/main" id="{002D3B88-DD13-4988-9B58-F386B2510E70}"/>
              </a:ext>
            </a:extLst>
          </p:cNvPr>
          <p:cNvPicPr/>
          <p:nvPr/>
        </p:nvPicPr>
        <p:blipFill>
          <a:blip r:embed="rId10" cstate="print"/>
          <a:stretch>
            <a:fillRect/>
          </a:stretch>
        </p:blipFill>
        <p:spPr>
          <a:xfrm>
            <a:off x="8178367" y="3013071"/>
            <a:ext cx="180000" cy="180000"/>
          </a:xfrm>
          <a:prstGeom prst="rect">
            <a:avLst/>
          </a:prstGeom>
        </p:spPr>
      </p:pic>
      <p:pic>
        <p:nvPicPr>
          <p:cNvPr id="191" name="image24.png">
            <a:extLst>
              <a:ext uri="{FF2B5EF4-FFF2-40B4-BE49-F238E27FC236}">
                <a16:creationId xmlns:a16="http://schemas.microsoft.com/office/drawing/2014/main" id="{38B474BD-7304-43B2-98F4-57D85F0DBA49}"/>
              </a:ext>
            </a:extLst>
          </p:cNvPr>
          <p:cNvPicPr/>
          <p:nvPr/>
        </p:nvPicPr>
        <p:blipFill>
          <a:blip r:embed="rId11" cstate="print"/>
          <a:stretch>
            <a:fillRect/>
          </a:stretch>
        </p:blipFill>
        <p:spPr>
          <a:xfrm>
            <a:off x="8178367" y="3256459"/>
            <a:ext cx="180000" cy="180000"/>
          </a:xfrm>
          <a:prstGeom prst="rect">
            <a:avLst/>
          </a:prstGeom>
        </p:spPr>
      </p:pic>
      <p:pic>
        <p:nvPicPr>
          <p:cNvPr id="192" name="image38.png">
            <a:extLst>
              <a:ext uri="{FF2B5EF4-FFF2-40B4-BE49-F238E27FC236}">
                <a16:creationId xmlns:a16="http://schemas.microsoft.com/office/drawing/2014/main" id="{E13618E7-C156-48FF-BC99-49D4A2A8858B}"/>
              </a:ext>
            </a:extLst>
          </p:cNvPr>
          <p:cNvPicPr/>
          <p:nvPr/>
        </p:nvPicPr>
        <p:blipFill>
          <a:blip r:embed="rId12" cstate="print"/>
          <a:stretch>
            <a:fillRect/>
          </a:stretch>
        </p:blipFill>
        <p:spPr>
          <a:xfrm>
            <a:off x="7926368" y="3256459"/>
            <a:ext cx="180000" cy="180000"/>
          </a:xfrm>
          <a:prstGeom prst="rect">
            <a:avLst/>
          </a:prstGeom>
        </p:spPr>
      </p:pic>
      <p:pic>
        <p:nvPicPr>
          <p:cNvPr id="193" name="image38.png">
            <a:extLst>
              <a:ext uri="{FF2B5EF4-FFF2-40B4-BE49-F238E27FC236}">
                <a16:creationId xmlns:a16="http://schemas.microsoft.com/office/drawing/2014/main" id="{76C8F3B3-87B0-4CD2-B4E1-D39E0F49FBF9}"/>
              </a:ext>
            </a:extLst>
          </p:cNvPr>
          <p:cNvPicPr/>
          <p:nvPr/>
        </p:nvPicPr>
        <p:blipFill>
          <a:blip r:embed="rId12" cstate="print"/>
          <a:stretch>
            <a:fillRect/>
          </a:stretch>
        </p:blipFill>
        <p:spPr>
          <a:xfrm>
            <a:off x="8184538" y="3511326"/>
            <a:ext cx="180000" cy="180000"/>
          </a:xfrm>
          <a:prstGeom prst="rect">
            <a:avLst/>
          </a:prstGeom>
        </p:spPr>
      </p:pic>
      <p:pic>
        <p:nvPicPr>
          <p:cNvPr id="194" name="image39.png">
            <a:extLst>
              <a:ext uri="{FF2B5EF4-FFF2-40B4-BE49-F238E27FC236}">
                <a16:creationId xmlns:a16="http://schemas.microsoft.com/office/drawing/2014/main" id="{7CF27994-19E9-491E-B9A8-56C383D53727}"/>
              </a:ext>
            </a:extLst>
          </p:cNvPr>
          <p:cNvPicPr/>
          <p:nvPr/>
        </p:nvPicPr>
        <p:blipFill>
          <a:blip r:embed="rId10" cstate="print"/>
          <a:stretch>
            <a:fillRect/>
          </a:stretch>
        </p:blipFill>
        <p:spPr>
          <a:xfrm>
            <a:off x="8184538" y="3762184"/>
            <a:ext cx="180000" cy="180000"/>
          </a:xfrm>
          <a:prstGeom prst="rect">
            <a:avLst/>
          </a:prstGeom>
        </p:spPr>
      </p:pic>
      <p:pic>
        <p:nvPicPr>
          <p:cNvPr id="195" name="image38.png">
            <a:extLst>
              <a:ext uri="{FF2B5EF4-FFF2-40B4-BE49-F238E27FC236}">
                <a16:creationId xmlns:a16="http://schemas.microsoft.com/office/drawing/2014/main" id="{172EB5F2-A9CA-4D29-BEC5-6CA6FBB05148}"/>
              </a:ext>
            </a:extLst>
          </p:cNvPr>
          <p:cNvPicPr/>
          <p:nvPr/>
        </p:nvPicPr>
        <p:blipFill>
          <a:blip r:embed="rId12" cstate="print"/>
          <a:stretch>
            <a:fillRect/>
          </a:stretch>
        </p:blipFill>
        <p:spPr>
          <a:xfrm>
            <a:off x="8184538" y="4009006"/>
            <a:ext cx="180000" cy="180000"/>
          </a:xfrm>
          <a:prstGeom prst="rect">
            <a:avLst/>
          </a:prstGeom>
        </p:spPr>
      </p:pic>
      <p:pic>
        <p:nvPicPr>
          <p:cNvPr id="196" name="image38.png">
            <a:extLst>
              <a:ext uri="{FF2B5EF4-FFF2-40B4-BE49-F238E27FC236}">
                <a16:creationId xmlns:a16="http://schemas.microsoft.com/office/drawing/2014/main" id="{259E1E18-39FA-4306-A2BD-25376FD886D5}"/>
              </a:ext>
            </a:extLst>
          </p:cNvPr>
          <p:cNvPicPr/>
          <p:nvPr/>
        </p:nvPicPr>
        <p:blipFill>
          <a:blip r:embed="rId12" cstate="print"/>
          <a:stretch>
            <a:fillRect/>
          </a:stretch>
        </p:blipFill>
        <p:spPr>
          <a:xfrm>
            <a:off x="8184538" y="4255129"/>
            <a:ext cx="180000" cy="180000"/>
          </a:xfrm>
          <a:prstGeom prst="rect">
            <a:avLst/>
          </a:prstGeom>
        </p:spPr>
      </p:pic>
      <p:pic>
        <p:nvPicPr>
          <p:cNvPr id="197" name="image32.png">
            <a:extLst>
              <a:ext uri="{FF2B5EF4-FFF2-40B4-BE49-F238E27FC236}">
                <a16:creationId xmlns:a16="http://schemas.microsoft.com/office/drawing/2014/main" id="{6B28538A-D1B8-486F-B72F-1D4C78722975}"/>
              </a:ext>
            </a:extLst>
          </p:cNvPr>
          <p:cNvPicPr/>
          <p:nvPr/>
        </p:nvPicPr>
        <p:blipFill>
          <a:blip r:embed="rId13" cstate="print"/>
          <a:stretch>
            <a:fillRect/>
          </a:stretch>
        </p:blipFill>
        <p:spPr>
          <a:xfrm>
            <a:off x="8178367" y="5013736"/>
            <a:ext cx="180000" cy="180000"/>
          </a:xfrm>
          <a:prstGeom prst="rect">
            <a:avLst/>
          </a:prstGeom>
        </p:spPr>
      </p:pic>
      <p:pic>
        <p:nvPicPr>
          <p:cNvPr id="198" name="image36.png">
            <a:extLst>
              <a:ext uri="{FF2B5EF4-FFF2-40B4-BE49-F238E27FC236}">
                <a16:creationId xmlns:a16="http://schemas.microsoft.com/office/drawing/2014/main" id="{E9957AF6-33E2-4097-82A8-A99302F36124}"/>
              </a:ext>
            </a:extLst>
          </p:cNvPr>
          <p:cNvPicPr/>
          <p:nvPr/>
        </p:nvPicPr>
        <p:blipFill>
          <a:blip r:embed="rId14" cstate="print"/>
          <a:stretch>
            <a:fillRect/>
          </a:stretch>
        </p:blipFill>
        <p:spPr>
          <a:xfrm>
            <a:off x="8178367" y="4518752"/>
            <a:ext cx="180000" cy="180000"/>
          </a:xfrm>
          <a:prstGeom prst="rect">
            <a:avLst/>
          </a:prstGeom>
        </p:spPr>
      </p:pic>
      <p:pic>
        <p:nvPicPr>
          <p:cNvPr id="199" name="image27.png">
            <a:extLst>
              <a:ext uri="{FF2B5EF4-FFF2-40B4-BE49-F238E27FC236}">
                <a16:creationId xmlns:a16="http://schemas.microsoft.com/office/drawing/2014/main" id="{706EAD85-466F-4A4D-9C56-735E6F4DA0CC}"/>
              </a:ext>
            </a:extLst>
          </p:cNvPr>
          <p:cNvPicPr/>
          <p:nvPr/>
        </p:nvPicPr>
        <p:blipFill>
          <a:blip r:embed="rId8" cstate="print"/>
          <a:stretch>
            <a:fillRect/>
          </a:stretch>
        </p:blipFill>
        <p:spPr>
          <a:xfrm>
            <a:off x="8184538" y="4766074"/>
            <a:ext cx="180000" cy="180000"/>
          </a:xfrm>
          <a:prstGeom prst="rect">
            <a:avLst/>
          </a:prstGeom>
        </p:spPr>
      </p:pic>
      <p:pic>
        <p:nvPicPr>
          <p:cNvPr id="201" name="image36.png">
            <a:extLst>
              <a:ext uri="{FF2B5EF4-FFF2-40B4-BE49-F238E27FC236}">
                <a16:creationId xmlns:a16="http://schemas.microsoft.com/office/drawing/2014/main" id="{E9083841-F3DF-442A-BD36-B171127A1CDF}"/>
              </a:ext>
            </a:extLst>
          </p:cNvPr>
          <p:cNvPicPr/>
          <p:nvPr/>
        </p:nvPicPr>
        <p:blipFill>
          <a:blip r:embed="rId14" cstate="print"/>
          <a:stretch>
            <a:fillRect/>
          </a:stretch>
        </p:blipFill>
        <p:spPr>
          <a:xfrm>
            <a:off x="7926368" y="5010182"/>
            <a:ext cx="180000" cy="180000"/>
          </a:xfrm>
          <a:prstGeom prst="rect">
            <a:avLst/>
          </a:prstGeom>
        </p:spPr>
      </p:pic>
      <p:sp>
        <p:nvSpPr>
          <p:cNvPr id="102" name="TextBox 96">
            <a:extLst>
              <a:ext uri="{FF2B5EF4-FFF2-40B4-BE49-F238E27FC236}">
                <a16:creationId xmlns:a16="http://schemas.microsoft.com/office/drawing/2014/main" id="{2857B41E-9599-434D-AB8A-2AD3FACB5DA1}"/>
              </a:ext>
            </a:extLst>
          </p:cNvPr>
          <p:cNvSpPr txBox="1"/>
          <p:nvPr/>
        </p:nvSpPr>
        <p:spPr>
          <a:xfrm>
            <a:off x="469899" y="6175392"/>
            <a:ext cx="10714567" cy="258276"/>
          </a:xfrm>
          <a:prstGeom prst="rect">
            <a:avLst/>
          </a:prstGeom>
          <a:noFill/>
        </p:spPr>
        <p:txBody>
          <a:bodyPr wrap="square" lIns="0" tIns="0" rIns="0" bIns="0" rtlCol="0" anchor="b">
            <a:spAutoFit/>
          </a:bodyPr>
          <a:lstStyle/>
          <a:p>
            <a:pPr eaLnBrk="0" fontAlgn="base" hangingPunct="0">
              <a:lnSpc>
                <a:spcPct val="110000"/>
              </a:lnSpc>
              <a:spcBef>
                <a:spcPct val="0"/>
              </a:spcBef>
              <a:spcAft>
                <a:spcPct val="0"/>
              </a:spcAft>
            </a:pPr>
            <a:r>
              <a:rPr lang="en-GB" sz="800" dirty="0">
                <a:solidFill>
                  <a:schemeClr val="bg1"/>
                </a:solidFill>
                <a:latin typeface="+mj-lt"/>
              </a:rPr>
              <a:t>Notes: </a:t>
            </a:r>
            <a:r>
              <a:rPr lang="en-US" sz="800" dirty="0">
                <a:solidFill>
                  <a:schemeClr val="bg1"/>
                </a:solidFill>
                <a:latin typeface="+mj-lt"/>
              </a:rPr>
              <a:t>1) Based on estimates. 2) 2021 figures as of 30 September. 3) Only includes facilities that offer resistance training equipment. 4) Clubs with min. 15% of total clubs in the respective country.</a:t>
            </a:r>
            <a:br>
              <a:rPr lang="en-GB" sz="800" dirty="0">
                <a:solidFill>
                  <a:schemeClr val="bg1"/>
                </a:solidFill>
                <a:latin typeface="+mj-lt"/>
              </a:rPr>
            </a:br>
            <a:r>
              <a:rPr lang="en-GB" sz="800" dirty="0">
                <a:solidFill>
                  <a:schemeClr val="bg1"/>
                </a:solidFill>
                <a:latin typeface="+mj-lt"/>
              </a:rPr>
              <a:t>Sources: Company information, EuropeActive, Deloitte.</a:t>
            </a:r>
          </a:p>
        </p:txBody>
      </p:sp>
      <p:graphicFrame>
        <p:nvGraphicFramePr>
          <p:cNvPr id="20" name="Table 20">
            <a:extLst>
              <a:ext uri="{FF2B5EF4-FFF2-40B4-BE49-F238E27FC236}">
                <a16:creationId xmlns:a16="http://schemas.microsoft.com/office/drawing/2014/main" id="{2C886222-3464-41DC-B96B-ADBAD2F8188A}"/>
              </a:ext>
            </a:extLst>
          </p:cNvPr>
          <p:cNvGraphicFramePr>
            <a:graphicFrameLocks noGrp="1"/>
          </p:cNvGraphicFramePr>
          <p:nvPr/>
        </p:nvGraphicFramePr>
        <p:xfrm>
          <a:off x="8886423" y="2868819"/>
          <a:ext cx="2835677" cy="1268646"/>
        </p:xfrm>
        <a:graphic>
          <a:graphicData uri="http://schemas.openxmlformats.org/drawingml/2006/table">
            <a:tbl>
              <a:tblPr firstRow="1" bandRow="1">
                <a:tableStyleId>{2D5ABB26-0587-4C30-8999-92F81FD0307C}</a:tableStyleId>
              </a:tblPr>
              <a:tblGrid>
                <a:gridCol w="841841">
                  <a:extLst>
                    <a:ext uri="{9D8B030D-6E8A-4147-A177-3AD203B41FA5}">
                      <a16:colId xmlns:a16="http://schemas.microsoft.com/office/drawing/2014/main" val="149575367"/>
                    </a:ext>
                  </a:extLst>
                </a:gridCol>
                <a:gridCol w="664612">
                  <a:extLst>
                    <a:ext uri="{9D8B030D-6E8A-4147-A177-3AD203B41FA5}">
                      <a16:colId xmlns:a16="http://schemas.microsoft.com/office/drawing/2014/main" val="1774845781"/>
                    </a:ext>
                  </a:extLst>
                </a:gridCol>
                <a:gridCol w="664612">
                  <a:extLst>
                    <a:ext uri="{9D8B030D-6E8A-4147-A177-3AD203B41FA5}">
                      <a16:colId xmlns:a16="http://schemas.microsoft.com/office/drawing/2014/main" val="1166628397"/>
                    </a:ext>
                  </a:extLst>
                </a:gridCol>
                <a:gridCol w="664612">
                  <a:extLst>
                    <a:ext uri="{9D8B030D-6E8A-4147-A177-3AD203B41FA5}">
                      <a16:colId xmlns:a16="http://schemas.microsoft.com/office/drawing/2014/main" val="3036021772"/>
                    </a:ext>
                  </a:extLst>
                </a:gridCol>
              </a:tblGrid>
              <a:tr h="468977">
                <a:tc>
                  <a:txBody>
                    <a:bodyPr/>
                    <a:lstStyle/>
                    <a:p>
                      <a:r>
                        <a:rPr lang="de-DE" sz="1100" b="1" i="0" dirty="0">
                          <a:solidFill>
                            <a:schemeClr val="bg1"/>
                          </a:solidFill>
                        </a:rPr>
                        <a:t>CAGR</a:t>
                      </a:r>
                    </a:p>
                  </a:txBody>
                  <a:tcPr>
                    <a:lnL w="28575" cap="flat" cmpd="sng" algn="ctr">
                      <a:solidFill>
                        <a:srgbClr val="86BC25"/>
                      </a:solidFill>
                      <a:prstDash val="solid"/>
                      <a:round/>
                      <a:headEnd type="none" w="med" len="med"/>
                      <a:tailEnd type="none" w="med" len="med"/>
                    </a:lnL>
                    <a:lnR>
                      <a:noFill/>
                    </a:lnR>
                    <a:lnT w="28575" cap="flat" cmpd="sng" algn="ctr">
                      <a:solidFill>
                        <a:srgbClr val="86BC25"/>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de-DE" sz="1100" b="1" i="0" dirty="0">
                          <a:solidFill>
                            <a:schemeClr val="bg1"/>
                          </a:solidFill>
                        </a:rPr>
                        <a:t>2017-2019</a:t>
                      </a:r>
                    </a:p>
                  </a:txBody>
                  <a:tcPr>
                    <a:lnL>
                      <a:noFill/>
                    </a:lnL>
                    <a:lnR>
                      <a:noFill/>
                    </a:lnR>
                    <a:lnT w="28575" cap="flat" cmpd="sng" algn="ctr">
                      <a:solidFill>
                        <a:srgbClr val="86BC25"/>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de-DE" sz="1100" b="1" i="0" dirty="0">
                          <a:solidFill>
                            <a:schemeClr val="bg1"/>
                          </a:solidFill>
                        </a:rPr>
                        <a:t>2019-2020</a:t>
                      </a:r>
                    </a:p>
                  </a:txBody>
                  <a:tcPr>
                    <a:lnL>
                      <a:noFill/>
                    </a:lnL>
                    <a:lnR>
                      <a:noFill/>
                    </a:lnR>
                    <a:lnT w="28575" cap="flat" cmpd="sng" algn="ctr">
                      <a:solidFill>
                        <a:srgbClr val="86BC25"/>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de-DE" sz="1100" b="1" i="0" dirty="0">
                          <a:solidFill>
                            <a:schemeClr val="bg1"/>
                          </a:solidFill>
                        </a:rPr>
                        <a:t>2020-2021</a:t>
                      </a:r>
                    </a:p>
                  </a:txBody>
                  <a:tcPr>
                    <a:lnL>
                      <a:noFill/>
                    </a:lnL>
                    <a:lnR w="28575" cap="flat" cmpd="sng" algn="ctr">
                      <a:solidFill>
                        <a:srgbClr val="86BC25"/>
                      </a:solidFill>
                      <a:prstDash val="solid"/>
                      <a:round/>
                      <a:headEnd type="none" w="med" len="med"/>
                      <a:tailEnd type="none" w="med" len="med"/>
                    </a:lnR>
                    <a:lnT w="28575" cap="flat" cmpd="sng" algn="ctr">
                      <a:solidFill>
                        <a:srgbClr val="86BC25"/>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107128520"/>
                  </a:ext>
                </a:extLst>
              </a:tr>
              <a:tr h="493669">
                <a:tc>
                  <a:txBody>
                    <a:bodyPr/>
                    <a:lstStyle/>
                    <a:p>
                      <a:r>
                        <a:rPr lang="de-DE" sz="1100" b="1" dirty="0">
                          <a:solidFill>
                            <a:schemeClr val="bg1"/>
                          </a:solidFill>
                        </a:rPr>
                        <a:t>European </a:t>
                      </a:r>
                    </a:p>
                    <a:p>
                      <a:pPr marL="0" marR="0" lvl="0" indent="0" algn="l" defTabSz="1219170" rtl="0" eaLnBrk="1" fontAlgn="auto" latinLnBrk="0" hangingPunct="1">
                        <a:lnSpc>
                          <a:spcPct val="100000"/>
                        </a:lnSpc>
                        <a:spcBef>
                          <a:spcPts val="0"/>
                        </a:spcBef>
                        <a:spcAft>
                          <a:spcPts val="0"/>
                        </a:spcAft>
                        <a:buClrTx/>
                        <a:buSzTx/>
                        <a:buFontTx/>
                        <a:buNone/>
                        <a:tabLst/>
                        <a:defRPr/>
                      </a:pPr>
                      <a:r>
                        <a:rPr lang="de-DE" sz="1100" b="1" dirty="0">
                          <a:solidFill>
                            <a:schemeClr val="bg1"/>
                          </a:solidFill>
                        </a:rPr>
                        <a:t>Market:</a:t>
                      </a:r>
                    </a:p>
                  </a:txBody>
                  <a:tcPr marR="0">
                    <a:lnL w="28575" cap="flat" cmpd="sng" algn="ctr">
                      <a:solidFill>
                        <a:srgbClr val="86BC25"/>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a:endParaRPr lang="de-DE" sz="1100" b="1" dirty="0">
                        <a:solidFill>
                          <a:srgbClr val="046A38"/>
                        </a:solidFill>
                      </a:endParaRPr>
                    </a:p>
                    <a:p>
                      <a:pPr algn="ctr"/>
                      <a:r>
                        <a:rPr lang="de-DE" sz="1100" b="1" dirty="0">
                          <a:solidFill>
                            <a:srgbClr val="046A38"/>
                          </a:solidFill>
                        </a:rPr>
                        <a:t>+4%</a:t>
                      </a:r>
                    </a:p>
                  </a:txBody>
                  <a:tcPr marL="0" marR="0">
                    <a:lnL>
                      <a:noFill/>
                    </a:lnL>
                    <a:lnR>
                      <a:noFill/>
                    </a:lnR>
                    <a:lnT>
                      <a:noFill/>
                    </a:lnT>
                    <a:lnB>
                      <a:noFill/>
                    </a:lnB>
                    <a:lnTlToBr w="12700" cmpd="sng">
                      <a:noFill/>
                      <a:prstDash val="solid"/>
                    </a:lnTlToBr>
                    <a:lnBlToTr w="12700" cmpd="sng">
                      <a:noFill/>
                      <a:prstDash val="solid"/>
                    </a:lnBlToTr>
                    <a:noFill/>
                  </a:tcPr>
                </a:tc>
                <a:tc>
                  <a:txBody>
                    <a:bodyPr/>
                    <a:lstStyle/>
                    <a:p>
                      <a:pPr algn="ctr"/>
                      <a:endParaRPr lang="de-DE" sz="1100" b="1" dirty="0">
                        <a:solidFill>
                          <a:srgbClr val="046A38"/>
                        </a:solidFill>
                      </a:endParaRPr>
                    </a:p>
                    <a:p>
                      <a:pPr algn="ctr"/>
                      <a:r>
                        <a:rPr lang="de-DE" sz="1100" b="1" dirty="0">
                          <a:solidFill>
                            <a:srgbClr val="046A38"/>
                          </a:solidFill>
                        </a:rPr>
                        <a:t>(15%)</a:t>
                      </a:r>
                    </a:p>
                  </a:txBody>
                  <a:tcPr marL="0" marR="0">
                    <a:lnL>
                      <a:noFill/>
                    </a:lnL>
                    <a:lnR>
                      <a:noFill/>
                    </a:lnR>
                    <a:lnT>
                      <a:noFill/>
                    </a:lnT>
                    <a:lnB>
                      <a:noFill/>
                    </a:lnB>
                    <a:lnTlToBr w="12700" cmpd="sng">
                      <a:noFill/>
                      <a:prstDash val="solid"/>
                    </a:lnTlToBr>
                    <a:lnBlToTr w="12700" cmpd="sng">
                      <a:noFill/>
                      <a:prstDash val="solid"/>
                    </a:lnBlToTr>
                    <a:noFill/>
                  </a:tcPr>
                </a:tc>
                <a:tc>
                  <a:txBody>
                    <a:bodyPr/>
                    <a:lstStyle/>
                    <a:p>
                      <a:pPr algn="ctr"/>
                      <a:endParaRPr lang="de-DE" sz="1100" b="1" dirty="0">
                        <a:solidFill>
                          <a:srgbClr val="046A38"/>
                        </a:solidFill>
                      </a:endParaRPr>
                    </a:p>
                    <a:p>
                      <a:pPr algn="ctr"/>
                      <a:r>
                        <a:rPr lang="de-DE" sz="1100" b="1" dirty="0">
                          <a:solidFill>
                            <a:srgbClr val="046A38"/>
                          </a:solidFill>
                        </a:rPr>
                        <a:t>+2%</a:t>
                      </a:r>
                    </a:p>
                  </a:txBody>
                  <a:tcPr marL="0" marR="0">
                    <a:lnL>
                      <a:noFill/>
                    </a:lnL>
                    <a:lnR w="28575" cap="flat" cmpd="sng" algn="ctr">
                      <a:solidFill>
                        <a:srgbClr val="86BC25"/>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14961191"/>
                  </a:ext>
                </a:extLst>
              </a:tr>
              <a:tr h="306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de-DE" sz="1100" b="1" dirty="0">
                          <a:solidFill>
                            <a:schemeClr val="bg1"/>
                          </a:solidFill>
                        </a:rPr>
                        <a:t>Top 10:</a:t>
                      </a:r>
                    </a:p>
                  </a:txBody>
                  <a:tcPr>
                    <a:lnL w="28575" cap="flat" cmpd="sng" algn="ctr">
                      <a:solidFill>
                        <a:srgbClr val="86BC25"/>
                      </a:solidFill>
                      <a:prstDash val="solid"/>
                      <a:round/>
                      <a:headEnd type="none" w="med" len="med"/>
                      <a:tailEnd type="none" w="med" len="med"/>
                    </a:lnL>
                    <a:lnR>
                      <a:noFill/>
                    </a:lnR>
                    <a:lnT>
                      <a:noFill/>
                    </a:lnT>
                    <a:lnB w="2857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100" b="1" dirty="0">
                          <a:solidFill>
                            <a:srgbClr val="86BC25"/>
                          </a:solidFill>
                        </a:rPr>
                        <a:t>+14%</a:t>
                      </a:r>
                    </a:p>
                  </a:txBody>
                  <a:tcPr marL="0" marR="0">
                    <a:lnL>
                      <a:noFill/>
                    </a:lnL>
                    <a:lnR>
                      <a:noFill/>
                    </a:lnR>
                    <a:lnT>
                      <a:noFill/>
                    </a:lnT>
                    <a:lnB w="2857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100" b="1" dirty="0">
                          <a:solidFill>
                            <a:srgbClr val="86BC25"/>
                          </a:solidFill>
                        </a:rPr>
                        <a:t>(8%)</a:t>
                      </a:r>
                    </a:p>
                  </a:txBody>
                  <a:tcPr marL="0" marR="0">
                    <a:lnL>
                      <a:noFill/>
                    </a:lnL>
                    <a:lnR>
                      <a:noFill/>
                    </a:lnR>
                    <a:lnT>
                      <a:noFill/>
                    </a:lnT>
                    <a:lnB w="2857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100" b="1" dirty="0">
                          <a:solidFill>
                            <a:srgbClr val="86BC25"/>
                          </a:solidFill>
                        </a:rPr>
                        <a:t>+6%</a:t>
                      </a:r>
                    </a:p>
                  </a:txBody>
                  <a:tcPr marL="0" marR="0">
                    <a:lnL>
                      <a:noFill/>
                    </a:lnL>
                    <a:lnR w="28575" cap="flat" cmpd="sng" algn="ctr">
                      <a:solidFill>
                        <a:srgbClr val="86BC25"/>
                      </a:solidFill>
                      <a:prstDash val="solid"/>
                      <a:round/>
                      <a:headEnd type="none" w="med" len="med"/>
                      <a:tailEnd type="none" w="med" len="med"/>
                    </a:lnR>
                    <a:lnT>
                      <a:noFill/>
                    </a:lnT>
                    <a:lnB w="2857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3529563"/>
                  </a:ext>
                </a:extLst>
              </a:tr>
            </a:tbl>
          </a:graphicData>
        </a:graphic>
      </p:graphicFrame>
      <p:pic>
        <p:nvPicPr>
          <p:cNvPr id="35" name="image32.png">
            <a:extLst>
              <a:ext uri="{FF2B5EF4-FFF2-40B4-BE49-F238E27FC236}">
                <a16:creationId xmlns:a16="http://schemas.microsoft.com/office/drawing/2014/main" id="{18B35023-5EAA-4F2C-8D28-DC4D26E1B33B}"/>
              </a:ext>
            </a:extLst>
          </p:cNvPr>
          <p:cNvPicPr>
            <a:picLocks/>
          </p:cNvPicPr>
          <p:nvPr/>
        </p:nvPicPr>
        <p:blipFill>
          <a:blip r:embed="rId13" cstate="print"/>
          <a:stretch>
            <a:fillRect/>
          </a:stretch>
        </p:blipFill>
        <p:spPr>
          <a:xfrm>
            <a:off x="7932538" y="4518752"/>
            <a:ext cx="180000" cy="180000"/>
          </a:xfrm>
          <a:prstGeom prst="rect">
            <a:avLst/>
          </a:prstGeom>
        </p:spPr>
      </p:pic>
      <p:sp>
        <p:nvSpPr>
          <p:cNvPr id="3" name="Rechteck 2">
            <a:extLst>
              <a:ext uri="{FF2B5EF4-FFF2-40B4-BE49-F238E27FC236}">
                <a16:creationId xmlns:a16="http://schemas.microsoft.com/office/drawing/2014/main" id="{B25B1EF8-300F-4BAA-AC49-F018DEDF18E1}"/>
              </a:ext>
            </a:extLst>
          </p:cNvPr>
          <p:cNvSpPr/>
          <p:nvPr/>
        </p:nvSpPr>
        <p:spPr bwMode="gray">
          <a:xfrm>
            <a:off x="8924925" y="3352800"/>
            <a:ext cx="2772000" cy="4572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Tree>
    <p:extLst>
      <p:ext uri="{BB962C8B-B14F-4D97-AF65-F5344CB8AC3E}">
        <p14:creationId xmlns:p14="http://schemas.microsoft.com/office/powerpoint/2010/main" val="378674110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93" imgH="493" progId="TCLayout.ActiveDocument.1">
                  <p:embed/>
                </p:oleObj>
              </mc:Choice>
              <mc:Fallback>
                <p:oleObj name="think-cell Folie" r:id="rId5" imgW="493" imgH="493"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buFont typeface="Wingdings 2" pitchFamily="18" charset="2"/>
              <a:buNone/>
            </a:pPr>
            <a:endParaRPr lang="en-GB" sz="2000" dirty="0">
              <a:solidFill>
                <a:schemeClr val="bg1"/>
              </a:solidFill>
              <a:latin typeface="Verdana" panose="020B0604030504040204" pitchFamily="34" charset="0"/>
              <a:ea typeface="+mj-ea"/>
              <a:cs typeface="+mj-cs"/>
              <a:sym typeface="Verdana" panose="020B0604030504040204" pitchFamily="34" charset="0"/>
            </a:endParaRPr>
          </a:p>
        </p:txBody>
      </p:sp>
      <p:sp>
        <p:nvSpPr>
          <p:cNvPr id="13" name="Title 1"/>
          <p:cNvSpPr>
            <a:spLocks noGrp="1"/>
          </p:cNvSpPr>
          <p:nvPr>
            <p:ph type="title"/>
          </p:nvPr>
        </p:nvSpPr>
        <p:spPr>
          <a:xfrm>
            <a:off x="469899" y="402586"/>
            <a:ext cx="11463953" cy="698501"/>
          </a:xfrm>
        </p:spPr>
        <p:txBody>
          <a:bodyPr vert="horz"/>
          <a:lstStyle/>
          <a:p>
            <a:r>
              <a:rPr lang="en-US" dirty="0" err="1"/>
              <a:t>Egalement</a:t>
            </a:r>
            <a:r>
              <a:rPr lang="en-US" dirty="0"/>
              <a:t> </a:t>
            </a:r>
            <a:r>
              <a:rPr lang="en-US" dirty="0" err="1"/>
              <a:t>en</a:t>
            </a:r>
            <a:r>
              <a:rPr lang="en-US" dirty="0"/>
              <a:t> </a:t>
            </a:r>
            <a:r>
              <a:rPr lang="en-US" dirty="0" err="1"/>
              <a:t>ce</a:t>
            </a:r>
            <a:r>
              <a:rPr lang="en-US" dirty="0"/>
              <a:t> qui </a:t>
            </a:r>
            <a:r>
              <a:rPr lang="en-US" dirty="0" err="1"/>
              <a:t>concerne</a:t>
            </a:r>
            <a:r>
              <a:rPr lang="en-US" dirty="0"/>
              <a:t> les </a:t>
            </a:r>
            <a:r>
              <a:rPr lang="en-US" dirty="0" err="1"/>
              <a:t>revenus</a:t>
            </a:r>
            <a:r>
              <a:rPr lang="en-US" dirty="0"/>
              <a:t>, le Top-10 a </a:t>
            </a:r>
            <a:r>
              <a:rPr lang="en-US" dirty="0" err="1"/>
              <a:t>été</a:t>
            </a:r>
            <a:r>
              <a:rPr lang="en-US" dirty="0"/>
              <a:t> plus </a:t>
            </a:r>
            <a:r>
              <a:rPr lang="fr-FR" dirty="0"/>
              <a:t>résilient</a:t>
            </a:r>
            <a:r>
              <a:rPr lang="en-US" dirty="0"/>
              <a:t> que le </a:t>
            </a:r>
            <a:r>
              <a:rPr lang="en-US" dirty="0" err="1"/>
              <a:t>marché</a:t>
            </a:r>
            <a:r>
              <a:rPr lang="en-US" dirty="0"/>
              <a:t> </a:t>
            </a:r>
            <a:r>
              <a:rPr lang="en-US" dirty="0" err="1"/>
              <a:t>général</a:t>
            </a:r>
            <a:r>
              <a:rPr lang="en-US" dirty="0"/>
              <a:t>, les </a:t>
            </a:r>
            <a:r>
              <a:rPr lang="en-US" dirty="0" err="1"/>
              <a:t>différentes</a:t>
            </a:r>
            <a:r>
              <a:rPr lang="en-US" dirty="0"/>
              <a:t> </a:t>
            </a:r>
            <a:r>
              <a:rPr lang="en-US" dirty="0" err="1"/>
              <a:t>périodes</a:t>
            </a:r>
            <a:r>
              <a:rPr lang="en-US" dirty="0"/>
              <a:t> de fermeture </a:t>
            </a:r>
            <a:r>
              <a:rPr lang="en-US" dirty="0" err="1"/>
              <a:t>impactant</a:t>
            </a:r>
            <a:r>
              <a:rPr lang="en-US" dirty="0"/>
              <a:t> les </a:t>
            </a:r>
            <a:r>
              <a:rPr lang="en-US" dirty="0" err="1"/>
              <a:t>revenus</a:t>
            </a:r>
            <a:endParaRPr lang="en-GB" noProof="0" dirty="0">
              <a:solidFill>
                <a:schemeClr val="bg1"/>
              </a:solidFill>
            </a:endParaRPr>
          </a:p>
        </p:txBody>
      </p:sp>
      <p:sp>
        <p:nvSpPr>
          <p:cNvPr id="137" name="Rectangle 136"/>
          <p:cNvSpPr/>
          <p:nvPr/>
        </p:nvSpPr>
        <p:spPr bwMode="gray">
          <a:xfrm>
            <a:off x="0" y="1449705"/>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43" name="Rectangle 142"/>
          <p:cNvSpPr/>
          <p:nvPr/>
        </p:nvSpPr>
        <p:spPr bwMode="gray">
          <a:xfrm>
            <a:off x="0" y="6055729"/>
            <a:ext cx="12192000" cy="45720"/>
          </a:xfrm>
          <a:prstGeom prst="rect">
            <a:avLst/>
          </a:prstGeom>
          <a:solidFill>
            <a:schemeClr val="accent1">
              <a:alpha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93" name="Group 92"/>
          <p:cNvGrpSpPr/>
          <p:nvPr/>
        </p:nvGrpSpPr>
        <p:grpSpPr>
          <a:xfrm>
            <a:off x="0" y="1112402"/>
            <a:ext cx="1872351" cy="233523"/>
            <a:chOff x="0" y="1112402"/>
            <a:chExt cx="1872351" cy="233523"/>
          </a:xfrm>
        </p:grpSpPr>
        <p:sp>
          <p:nvSpPr>
            <p:cNvPr id="94" name="Freeform 93"/>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p>
          </p:txBody>
        </p:sp>
        <p:cxnSp>
          <p:nvCxnSpPr>
            <p:cNvPr id="95" name="Straight Connector 94"/>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grpSp>
        <p:nvGrpSpPr>
          <p:cNvPr id="97" name="Group 96"/>
          <p:cNvGrpSpPr/>
          <p:nvPr/>
        </p:nvGrpSpPr>
        <p:grpSpPr>
          <a:xfrm flipH="1">
            <a:off x="10319649" y="6223855"/>
            <a:ext cx="1872351" cy="233523"/>
            <a:chOff x="0" y="1112402"/>
            <a:chExt cx="1872351" cy="233523"/>
          </a:xfrm>
        </p:grpSpPr>
        <p:sp>
          <p:nvSpPr>
            <p:cNvPr id="98" name="Freeform 97"/>
            <p:cNvSpPr/>
            <p:nvPr/>
          </p:nvSpPr>
          <p:spPr bwMode="gray">
            <a:xfrm>
              <a:off x="1290314" y="1112402"/>
              <a:ext cx="406330" cy="233523"/>
            </a:xfrm>
            <a:custGeom>
              <a:avLst/>
              <a:gdLst>
                <a:gd name="connsiteX0" fmla="*/ 0 w 331470"/>
                <a:gd name="connsiteY0" fmla="*/ 121920 h 196215"/>
                <a:gd name="connsiteX1" fmla="*/ 106680 w 331470"/>
                <a:gd name="connsiteY1" fmla="*/ 121920 h 196215"/>
                <a:gd name="connsiteX2" fmla="*/ 1066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21920 h 196215"/>
                <a:gd name="connsiteX1" fmla="*/ 106680 w 331470"/>
                <a:gd name="connsiteY1" fmla="*/ 121920 h 196215"/>
                <a:gd name="connsiteX2" fmla="*/ 144780 w 331470"/>
                <a:gd name="connsiteY2" fmla="*/ 0 h 196215"/>
                <a:gd name="connsiteX3" fmla="*/ 201930 w 331470"/>
                <a:gd name="connsiteY3" fmla="*/ 196215 h 196215"/>
                <a:gd name="connsiteX4" fmla="*/ 226695 w 331470"/>
                <a:gd name="connsiteY4" fmla="*/ 121920 h 196215"/>
                <a:gd name="connsiteX5" fmla="*/ 331470 w 331470"/>
                <a:gd name="connsiteY5" fmla="*/ 121920 h 196215"/>
                <a:gd name="connsiteX0" fmla="*/ 0 w 331470"/>
                <a:gd name="connsiteY0" fmla="*/ 116205 h 190500"/>
                <a:gd name="connsiteX1" fmla="*/ 106680 w 331470"/>
                <a:gd name="connsiteY1" fmla="*/ 116205 h 190500"/>
                <a:gd name="connsiteX2" fmla="*/ 139065 w 331470"/>
                <a:gd name="connsiteY2" fmla="*/ 0 h 190500"/>
                <a:gd name="connsiteX3" fmla="*/ 201930 w 331470"/>
                <a:gd name="connsiteY3" fmla="*/ 190500 h 190500"/>
                <a:gd name="connsiteX4" fmla="*/ 226695 w 331470"/>
                <a:gd name="connsiteY4" fmla="*/ 116205 h 190500"/>
                <a:gd name="connsiteX5" fmla="*/ 331470 w 331470"/>
                <a:gd name="connsiteY5" fmla="*/ 116205 h 190500"/>
                <a:gd name="connsiteX0" fmla="*/ 0 w 331470"/>
                <a:gd name="connsiteY0" fmla="*/ 112395 h 186690"/>
                <a:gd name="connsiteX1" fmla="*/ 106680 w 331470"/>
                <a:gd name="connsiteY1" fmla="*/ 112395 h 186690"/>
                <a:gd name="connsiteX2" fmla="*/ 14287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39065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6690"/>
                <a:gd name="connsiteX1" fmla="*/ 106680 w 331470"/>
                <a:gd name="connsiteY1" fmla="*/ 112395 h 186690"/>
                <a:gd name="connsiteX2" fmla="*/ 140970 w 331470"/>
                <a:gd name="connsiteY2" fmla="*/ 0 h 186690"/>
                <a:gd name="connsiteX3" fmla="*/ 201930 w 331470"/>
                <a:gd name="connsiteY3" fmla="*/ 186690 h 186690"/>
                <a:gd name="connsiteX4" fmla="*/ 226695 w 331470"/>
                <a:gd name="connsiteY4" fmla="*/ 112395 h 186690"/>
                <a:gd name="connsiteX5" fmla="*/ 331470 w 331470"/>
                <a:gd name="connsiteY5" fmla="*/ 112395 h 186690"/>
                <a:gd name="connsiteX0" fmla="*/ 0 w 331470"/>
                <a:gd name="connsiteY0" fmla="*/ 112395 h 182880"/>
                <a:gd name="connsiteX1" fmla="*/ 106680 w 331470"/>
                <a:gd name="connsiteY1" fmla="*/ 112395 h 182880"/>
                <a:gd name="connsiteX2" fmla="*/ 140970 w 331470"/>
                <a:gd name="connsiteY2" fmla="*/ 0 h 182880"/>
                <a:gd name="connsiteX3" fmla="*/ 198120 w 331470"/>
                <a:gd name="connsiteY3" fmla="*/ 182880 h 182880"/>
                <a:gd name="connsiteX4" fmla="*/ 226695 w 331470"/>
                <a:gd name="connsiteY4" fmla="*/ 112395 h 182880"/>
                <a:gd name="connsiteX5" fmla="*/ 331470 w 331470"/>
                <a:gd name="connsiteY5" fmla="*/ 112395 h 182880"/>
                <a:gd name="connsiteX0" fmla="*/ 0 w 331470"/>
                <a:gd name="connsiteY0" fmla="*/ 120015 h 190500"/>
                <a:gd name="connsiteX1" fmla="*/ 106680 w 331470"/>
                <a:gd name="connsiteY1" fmla="*/ 120015 h 190500"/>
                <a:gd name="connsiteX2" fmla="*/ 142875 w 331470"/>
                <a:gd name="connsiteY2" fmla="*/ 0 h 190500"/>
                <a:gd name="connsiteX3" fmla="*/ 198120 w 331470"/>
                <a:gd name="connsiteY3" fmla="*/ 190500 h 190500"/>
                <a:gd name="connsiteX4" fmla="*/ 226695 w 331470"/>
                <a:gd name="connsiteY4" fmla="*/ 120015 h 190500"/>
                <a:gd name="connsiteX5" fmla="*/ 331470 w 331470"/>
                <a:gd name="connsiteY5" fmla="*/ 12001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70" h="190500">
                  <a:moveTo>
                    <a:pt x="0" y="120015"/>
                  </a:moveTo>
                  <a:lnTo>
                    <a:pt x="106680" y="120015"/>
                  </a:lnTo>
                  <a:lnTo>
                    <a:pt x="142875" y="0"/>
                  </a:lnTo>
                  <a:lnTo>
                    <a:pt x="198120" y="190500"/>
                  </a:lnTo>
                  <a:lnTo>
                    <a:pt x="226695" y="120015"/>
                  </a:lnTo>
                  <a:lnTo>
                    <a:pt x="331470" y="120015"/>
                  </a:lnTo>
                </a:path>
              </a:pathLst>
            </a:custGeom>
            <a:noFill/>
            <a:ln w="19050" algn="ctr">
              <a:solidFill>
                <a:schemeClr val="accent1"/>
              </a:solidFill>
              <a:miter lim="800000"/>
              <a:headEnd/>
              <a:tailEnd/>
            </a:ln>
          </p:spPr>
          <p:txBody>
            <a:bodyPr rtlCol="0" anchor="ctr"/>
            <a:lstStyle/>
            <a:p>
              <a:pPr algn="ctr"/>
              <a:endParaRPr lang="en-GB" dirty="0">
                <a:solidFill>
                  <a:schemeClr val="bg1"/>
                </a:solidFill>
              </a:endParaRPr>
            </a:p>
          </p:txBody>
        </p:sp>
        <p:cxnSp>
          <p:nvCxnSpPr>
            <p:cNvPr id="99" name="Straight Connector 98"/>
            <p:cNvCxnSpPr/>
            <p:nvPr/>
          </p:nvCxnSpPr>
          <p:spPr>
            <a:xfrm flipH="1">
              <a:off x="0" y="1259840"/>
              <a:ext cx="1290315"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H="1">
              <a:off x="1651705" y="1259840"/>
              <a:ext cx="220646" cy="0"/>
            </a:xfrm>
            <a:prstGeom prst="line">
              <a:avLst/>
            </a:prstGeom>
            <a:ln w="19050">
              <a:solidFill>
                <a:schemeClr val="accent1"/>
              </a:solidFill>
              <a:headEnd type="oval" w="sm" len="sm"/>
            </a:ln>
          </p:spPr>
          <p:style>
            <a:lnRef idx="1">
              <a:schemeClr val="accent1"/>
            </a:lnRef>
            <a:fillRef idx="0">
              <a:schemeClr val="accent1"/>
            </a:fillRef>
            <a:effectRef idx="0">
              <a:schemeClr val="accent1"/>
            </a:effectRef>
            <a:fontRef idx="minor">
              <a:schemeClr val="tx1"/>
            </a:fontRef>
          </p:style>
        </p:cxnSp>
      </p:grpSp>
      <p:sp>
        <p:nvSpPr>
          <p:cNvPr id="16" name="Rectangle 15" hidden="1">
            <a:extLst>
              <a:ext uri="{FF2B5EF4-FFF2-40B4-BE49-F238E27FC236}">
                <a16:creationId xmlns:a16="http://schemas.microsoft.com/office/drawing/2014/main" id="{5016AD51-20B0-4DC1-A1F8-943AA89F97E9}"/>
              </a:ext>
            </a:extLst>
          </p:cNvPr>
          <p:cNvSpPr/>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pPr>
            <a:endParaRPr lang="de-DE" sz="800" spc="-30" dirty="0">
              <a:solidFill>
                <a:schemeClr val="bg1"/>
              </a:solidFill>
              <a:ea typeface="Verdana" panose="020B0604030504040204" pitchFamily="34" charset="0"/>
              <a:sym typeface="Verdana" panose="020B0604030504040204" pitchFamily="34" charset="0"/>
            </a:endParaRPr>
          </a:p>
        </p:txBody>
      </p:sp>
      <p:sp>
        <p:nvSpPr>
          <p:cNvPr id="41" name="Rectangle 40" hidden="1">
            <a:extLst>
              <a:ext uri="{FF2B5EF4-FFF2-40B4-BE49-F238E27FC236}">
                <a16:creationId xmlns:a16="http://schemas.microsoft.com/office/drawing/2014/main" id="{D989C36E-FA80-4555-8BA6-4DFB70EFF5E8}"/>
              </a:ext>
            </a:extLst>
          </p:cNvPr>
          <p:cNvSpPr/>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pPr>
            <a:endParaRPr lang="de-DE" sz="800" spc="-30" dirty="0">
              <a:solidFill>
                <a:schemeClr val="bg1"/>
              </a:solidFill>
              <a:ea typeface="Verdana" panose="020B0604030504040204" pitchFamily="34" charset="0"/>
              <a:sym typeface="Verdana" panose="020B0604030504040204" pitchFamily="34" charset="0"/>
            </a:endParaRPr>
          </a:p>
        </p:txBody>
      </p:sp>
      <p:sp>
        <p:nvSpPr>
          <p:cNvPr id="175" name="TextBox 174"/>
          <p:cNvSpPr txBox="1"/>
          <p:nvPr/>
        </p:nvSpPr>
        <p:spPr>
          <a:xfrm>
            <a:off x="480878" y="1671675"/>
            <a:ext cx="4846902" cy="168892"/>
          </a:xfrm>
          <a:prstGeom prst="rect">
            <a:avLst/>
          </a:prstGeom>
          <a:noFill/>
        </p:spPr>
        <p:txBody>
          <a:bodyPr wrap="square" lIns="0" tIns="0" rIns="0" bIns="0" rtlCol="0">
            <a:spAutoFit/>
          </a:bodyPr>
          <a:lstStyle/>
          <a:p>
            <a:pPr eaLnBrk="0" fontAlgn="base" hangingPunct="0">
              <a:lnSpc>
                <a:spcPct val="110000"/>
              </a:lnSpc>
              <a:spcBef>
                <a:spcPct val="0"/>
              </a:spcBef>
              <a:spcAft>
                <a:spcPct val="0"/>
              </a:spcAft>
            </a:pPr>
            <a:r>
              <a:rPr lang="en-GB" sz="1100" b="1" dirty="0">
                <a:solidFill>
                  <a:schemeClr val="bg1"/>
                </a:solidFill>
                <a:latin typeface="+mj-lt"/>
              </a:rPr>
              <a:t>Top-10 </a:t>
            </a:r>
            <a:r>
              <a:rPr lang="en-GB" sz="1100" b="1" dirty="0" err="1">
                <a:solidFill>
                  <a:schemeClr val="bg1"/>
                </a:solidFill>
                <a:latin typeface="+mj-lt"/>
              </a:rPr>
              <a:t>opérateurs</a:t>
            </a:r>
            <a:r>
              <a:rPr lang="en-GB" sz="1100" b="1" dirty="0">
                <a:solidFill>
                  <a:schemeClr val="bg1"/>
                </a:solidFill>
                <a:latin typeface="+mj-lt"/>
              </a:rPr>
              <a:t> par CA </a:t>
            </a:r>
            <a:r>
              <a:rPr lang="en-GB" sz="1100" b="1" dirty="0" err="1">
                <a:solidFill>
                  <a:schemeClr val="bg1"/>
                </a:solidFill>
                <a:latin typeface="+mj-lt"/>
              </a:rPr>
              <a:t>en</a:t>
            </a:r>
            <a:r>
              <a:rPr lang="en-GB" sz="1100" b="1" dirty="0">
                <a:solidFill>
                  <a:schemeClr val="bg1"/>
                </a:solidFill>
                <a:latin typeface="+mj-lt"/>
              </a:rPr>
              <a:t> 2021 </a:t>
            </a:r>
            <a:r>
              <a:rPr lang="en-GB" sz="1100" b="1" dirty="0">
                <a:solidFill>
                  <a:srgbClr val="FFFF00"/>
                </a:solidFill>
                <a:latin typeface="+mj-lt"/>
              </a:rPr>
              <a:t>( HVLP </a:t>
            </a:r>
            <a:r>
              <a:rPr lang="en-GB" sz="1100" b="1" dirty="0" err="1">
                <a:solidFill>
                  <a:srgbClr val="FFFF00"/>
                </a:solidFill>
                <a:latin typeface="+mj-lt"/>
              </a:rPr>
              <a:t>ou</a:t>
            </a:r>
            <a:r>
              <a:rPr lang="en-GB" sz="1100" b="1" dirty="0">
                <a:solidFill>
                  <a:srgbClr val="FFFF00"/>
                </a:solidFill>
                <a:latin typeface="+mj-lt"/>
              </a:rPr>
              <a:t> low cost)</a:t>
            </a:r>
          </a:p>
        </p:txBody>
      </p:sp>
      <p:sp>
        <p:nvSpPr>
          <p:cNvPr id="40" name="TextBox 96">
            <a:extLst>
              <a:ext uri="{FF2B5EF4-FFF2-40B4-BE49-F238E27FC236}">
                <a16:creationId xmlns:a16="http://schemas.microsoft.com/office/drawing/2014/main" id="{36DA091A-1B83-4ABD-82BD-F6F1CB52B4EC}"/>
              </a:ext>
            </a:extLst>
          </p:cNvPr>
          <p:cNvSpPr txBox="1"/>
          <p:nvPr/>
        </p:nvSpPr>
        <p:spPr>
          <a:xfrm>
            <a:off x="469900" y="6175392"/>
            <a:ext cx="10610277" cy="258276"/>
          </a:xfrm>
          <a:prstGeom prst="rect">
            <a:avLst/>
          </a:prstGeom>
          <a:noFill/>
        </p:spPr>
        <p:txBody>
          <a:bodyPr wrap="none" lIns="0" tIns="0" rIns="0" bIns="0" rtlCol="0" anchor="b">
            <a:spAutoFit/>
          </a:bodyPr>
          <a:lstStyle/>
          <a:p>
            <a:pPr eaLnBrk="0" fontAlgn="base" hangingPunct="0">
              <a:lnSpc>
                <a:spcPct val="110000"/>
              </a:lnSpc>
              <a:spcBef>
                <a:spcPct val="0"/>
              </a:spcBef>
              <a:spcAft>
                <a:spcPct val="0"/>
              </a:spcAft>
            </a:pPr>
            <a:r>
              <a:rPr lang="en-GB" sz="800" b="0" i="0" u="none" strike="noStrike" kern="1200" dirty="0">
                <a:solidFill>
                  <a:schemeClr val="bg1"/>
                </a:solidFill>
                <a:effectLst/>
                <a:latin typeface="+mn-lt"/>
                <a:ea typeface="+mn-ea"/>
                <a:cs typeface="+mn-cs"/>
              </a:rPr>
              <a:t>Notes: 1) </a:t>
            </a:r>
            <a:r>
              <a:rPr lang="en-GB" sz="800" dirty="0">
                <a:solidFill>
                  <a:schemeClr val="bg1"/>
                </a:solidFill>
              </a:rPr>
              <a:t>CA </a:t>
            </a:r>
            <a:r>
              <a:rPr lang="en-GB" sz="800" dirty="0" err="1">
                <a:solidFill>
                  <a:schemeClr val="bg1"/>
                </a:solidFill>
              </a:rPr>
              <a:t>incliuant</a:t>
            </a:r>
            <a:r>
              <a:rPr lang="en-GB" sz="800" dirty="0">
                <a:solidFill>
                  <a:schemeClr val="bg1"/>
                </a:solidFill>
              </a:rPr>
              <a:t> </a:t>
            </a:r>
            <a:r>
              <a:rPr lang="en-GB" sz="800" b="0" i="0" u="none" strike="noStrike" kern="1200" dirty="0" err="1">
                <a:solidFill>
                  <a:schemeClr val="bg1"/>
                </a:solidFill>
                <a:effectLst/>
                <a:latin typeface="+mn-lt"/>
                <a:ea typeface="+mn-ea"/>
                <a:cs typeface="+mn-cs"/>
              </a:rPr>
              <a:t>l’aide</a:t>
            </a:r>
            <a:r>
              <a:rPr lang="en-GB" sz="800" b="0" i="0" u="none" strike="noStrike" kern="1200" dirty="0">
                <a:solidFill>
                  <a:schemeClr val="bg1"/>
                </a:solidFill>
                <a:effectLst/>
                <a:latin typeface="+mn-lt"/>
                <a:ea typeface="+mn-ea"/>
                <a:cs typeface="+mn-cs"/>
              </a:rPr>
              <a:t> </a:t>
            </a:r>
            <a:r>
              <a:rPr lang="en-GB" sz="800" b="0" i="0" u="none" strike="noStrike" kern="1200" dirty="0" err="1">
                <a:solidFill>
                  <a:schemeClr val="bg1"/>
                </a:solidFill>
                <a:effectLst/>
                <a:latin typeface="+mn-lt"/>
                <a:ea typeface="+mn-ea"/>
                <a:cs typeface="+mn-cs"/>
              </a:rPr>
              <a:t>gouvernementale</a:t>
            </a:r>
            <a:r>
              <a:rPr lang="en-GB" sz="800" b="0" i="0" u="none" strike="noStrike" kern="1200" dirty="0">
                <a:solidFill>
                  <a:schemeClr val="bg1"/>
                </a:solidFill>
                <a:effectLst/>
                <a:latin typeface="+mn-lt"/>
                <a:ea typeface="+mn-ea"/>
                <a:cs typeface="+mn-cs"/>
              </a:rPr>
              <a:t>. 2) Estimation </a:t>
            </a:r>
            <a:r>
              <a:rPr lang="en-GB" sz="800" b="0" i="0" u="none" strike="noStrike" kern="1200" dirty="0" err="1">
                <a:solidFill>
                  <a:schemeClr val="bg1"/>
                </a:solidFill>
                <a:effectLst/>
                <a:latin typeface="+mn-lt"/>
                <a:ea typeface="+mn-ea"/>
                <a:cs typeface="+mn-cs"/>
              </a:rPr>
              <a:t>annuelle</a:t>
            </a:r>
            <a:r>
              <a:rPr lang="en-GB" sz="800" b="0" i="0" u="none" strike="noStrike" kern="1200" dirty="0">
                <a:solidFill>
                  <a:schemeClr val="bg1"/>
                </a:solidFill>
                <a:effectLst/>
                <a:latin typeface="+mn-lt"/>
                <a:ea typeface="+mn-ea"/>
                <a:cs typeface="+mn-cs"/>
              </a:rPr>
              <a:t> sur la base du </a:t>
            </a:r>
            <a:r>
              <a:rPr lang="en-GB" sz="800" b="0" i="0" u="none" strike="noStrike" kern="1200" dirty="0" err="1">
                <a:solidFill>
                  <a:schemeClr val="bg1"/>
                </a:solidFill>
                <a:effectLst/>
                <a:latin typeface="+mn-lt"/>
                <a:ea typeface="+mn-ea"/>
                <a:cs typeface="+mn-cs"/>
              </a:rPr>
              <a:t>troisième</a:t>
            </a:r>
            <a:r>
              <a:rPr lang="en-GB" sz="800" b="0" i="0" u="none" strike="noStrike" kern="1200" dirty="0">
                <a:solidFill>
                  <a:schemeClr val="bg1"/>
                </a:solidFill>
                <a:effectLst/>
                <a:latin typeface="+mn-lt"/>
                <a:ea typeface="+mn-ea"/>
                <a:cs typeface="+mn-cs"/>
              </a:rPr>
              <a:t> </a:t>
            </a:r>
            <a:r>
              <a:rPr lang="en-GB" sz="800" b="0" i="0" u="none" strike="noStrike" kern="1200" dirty="0" err="1">
                <a:solidFill>
                  <a:schemeClr val="bg1"/>
                </a:solidFill>
                <a:effectLst/>
                <a:latin typeface="+mn-lt"/>
                <a:ea typeface="+mn-ea"/>
                <a:cs typeface="+mn-cs"/>
              </a:rPr>
              <a:t>trimestre</a:t>
            </a:r>
            <a:r>
              <a:rPr lang="en-GB" sz="800" b="0" i="0" u="none" strike="noStrike" kern="1200" dirty="0">
                <a:solidFill>
                  <a:schemeClr val="bg1"/>
                </a:solidFill>
                <a:effectLst/>
                <a:latin typeface="+mn-lt"/>
                <a:ea typeface="+mn-ea"/>
                <a:cs typeface="+mn-cs"/>
              </a:rPr>
              <a:t>. 3) </a:t>
            </a:r>
            <a:r>
              <a:rPr lang="en-GB" sz="800" b="0" i="0" u="none" strike="noStrike" kern="1200" dirty="0" err="1">
                <a:solidFill>
                  <a:schemeClr val="bg1"/>
                </a:solidFill>
                <a:effectLst/>
                <a:latin typeface="+mn-lt"/>
                <a:ea typeface="+mn-ea"/>
                <a:cs typeface="+mn-cs"/>
              </a:rPr>
              <a:t>Basé</a:t>
            </a:r>
            <a:r>
              <a:rPr lang="en-GB" sz="800" b="0" i="0" u="none" strike="noStrike" kern="1200" dirty="0">
                <a:solidFill>
                  <a:schemeClr val="bg1"/>
                </a:solidFill>
                <a:effectLst/>
                <a:latin typeface="+mn-lt"/>
                <a:ea typeface="+mn-ea"/>
                <a:cs typeface="+mn-cs"/>
              </a:rPr>
              <a:t> sur des estimations. </a:t>
            </a:r>
            <a:r>
              <a:rPr lang="en-US" sz="800" dirty="0">
                <a:solidFill>
                  <a:schemeClr val="bg1"/>
                </a:solidFill>
                <a:latin typeface="+mj-lt"/>
              </a:rPr>
              <a:t>4) </a:t>
            </a:r>
            <a:r>
              <a:rPr lang="en-US" sz="800" dirty="0">
                <a:solidFill>
                  <a:schemeClr val="bg1"/>
                </a:solidFill>
              </a:rPr>
              <a:t>Clubs avec min. 15 % du total des clubs dans </a:t>
            </a:r>
            <a:r>
              <a:rPr lang="en-US" sz="800" dirty="0" err="1">
                <a:solidFill>
                  <a:schemeClr val="bg1"/>
                </a:solidFill>
              </a:rPr>
              <a:t>leurs</a:t>
            </a:r>
            <a:r>
              <a:rPr lang="en-US" sz="800" dirty="0">
                <a:solidFill>
                  <a:schemeClr val="bg1"/>
                </a:solidFill>
              </a:rPr>
              <a:t> pays </a:t>
            </a:r>
            <a:r>
              <a:rPr lang="en-US" sz="800" dirty="0" err="1">
                <a:solidFill>
                  <a:schemeClr val="bg1"/>
                </a:solidFill>
              </a:rPr>
              <a:t>respectifs</a:t>
            </a:r>
            <a:r>
              <a:rPr lang="en-US" sz="800" dirty="0">
                <a:solidFill>
                  <a:schemeClr val="bg1"/>
                </a:solidFill>
                <a:latin typeface="+mj-lt"/>
              </a:rPr>
              <a:t>.</a:t>
            </a:r>
            <a:br>
              <a:rPr lang="en-GB" sz="800" dirty="0">
                <a:solidFill>
                  <a:schemeClr val="bg1"/>
                </a:solidFill>
                <a:latin typeface="+mj-lt"/>
              </a:rPr>
            </a:br>
            <a:r>
              <a:rPr lang="en-GB" sz="800" dirty="0">
                <a:solidFill>
                  <a:schemeClr val="bg1"/>
                </a:solidFill>
                <a:latin typeface="+mj-lt"/>
              </a:rPr>
              <a:t>Sources: Company information, EuropeActive, Deloitte.</a:t>
            </a:r>
          </a:p>
        </p:txBody>
      </p:sp>
      <p:graphicFrame>
        <p:nvGraphicFramePr>
          <p:cNvPr id="38" name="Table 37">
            <a:extLst>
              <a:ext uri="{FF2B5EF4-FFF2-40B4-BE49-F238E27FC236}">
                <a16:creationId xmlns:a16="http://schemas.microsoft.com/office/drawing/2014/main" id="{B7BF1D81-ADA4-40F0-B2DE-9C072E1746E0}"/>
              </a:ext>
            </a:extLst>
          </p:cNvPr>
          <p:cNvGraphicFramePr>
            <a:graphicFrameLocks noGrp="1"/>
          </p:cNvGraphicFramePr>
          <p:nvPr>
            <p:extLst>
              <p:ext uri="{D42A27DB-BD31-4B8C-83A1-F6EECF244321}">
                <p14:modId xmlns:p14="http://schemas.microsoft.com/office/powerpoint/2010/main" val="1697239092"/>
              </p:ext>
            </p:extLst>
          </p:nvPr>
        </p:nvGraphicFramePr>
        <p:xfrm>
          <a:off x="456954" y="2082604"/>
          <a:ext cx="7920172" cy="3852803"/>
        </p:xfrm>
        <a:graphic>
          <a:graphicData uri="http://schemas.openxmlformats.org/drawingml/2006/table">
            <a:tbl>
              <a:tblPr/>
              <a:tblGrid>
                <a:gridCol w="460800">
                  <a:extLst>
                    <a:ext uri="{9D8B030D-6E8A-4147-A177-3AD203B41FA5}">
                      <a16:colId xmlns:a16="http://schemas.microsoft.com/office/drawing/2014/main" val="2629614229"/>
                    </a:ext>
                  </a:extLst>
                </a:gridCol>
                <a:gridCol w="1594800">
                  <a:extLst>
                    <a:ext uri="{9D8B030D-6E8A-4147-A177-3AD203B41FA5}">
                      <a16:colId xmlns:a16="http://schemas.microsoft.com/office/drawing/2014/main" val="952200064"/>
                    </a:ext>
                  </a:extLst>
                </a:gridCol>
                <a:gridCol w="1074051">
                  <a:extLst>
                    <a:ext uri="{9D8B030D-6E8A-4147-A177-3AD203B41FA5}">
                      <a16:colId xmlns:a16="http://schemas.microsoft.com/office/drawing/2014/main" val="4274627730"/>
                    </a:ext>
                  </a:extLst>
                </a:gridCol>
                <a:gridCol w="1074051">
                  <a:extLst>
                    <a:ext uri="{9D8B030D-6E8A-4147-A177-3AD203B41FA5}">
                      <a16:colId xmlns:a16="http://schemas.microsoft.com/office/drawing/2014/main" val="767481263"/>
                    </a:ext>
                  </a:extLst>
                </a:gridCol>
                <a:gridCol w="67092">
                  <a:extLst>
                    <a:ext uri="{9D8B030D-6E8A-4147-A177-3AD203B41FA5}">
                      <a16:colId xmlns:a16="http://schemas.microsoft.com/office/drawing/2014/main" val="1331115667"/>
                    </a:ext>
                  </a:extLst>
                </a:gridCol>
                <a:gridCol w="1074051">
                  <a:extLst>
                    <a:ext uri="{9D8B030D-6E8A-4147-A177-3AD203B41FA5}">
                      <a16:colId xmlns:a16="http://schemas.microsoft.com/office/drawing/2014/main" val="552909378"/>
                    </a:ext>
                  </a:extLst>
                </a:gridCol>
                <a:gridCol w="1074051">
                  <a:extLst>
                    <a:ext uri="{9D8B030D-6E8A-4147-A177-3AD203B41FA5}">
                      <a16:colId xmlns:a16="http://schemas.microsoft.com/office/drawing/2014/main" val="1706663658"/>
                    </a:ext>
                  </a:extLst>
                </a:gridCol>
                <a:gridCol w="84895">
                  <a:extLst>
                    <a:ext uri="{9D8B030D-6E8A-4147-A177-3AD203B41FA5}">
                      <a16:colId xmlns:a16="http://schemas.microsoft.com/office/drawing/2014/main" val="4261984359"/>
                    </a:ext>
                  </a:extLst>
                </a:gridCol>
                <a:gridCol w="1416381">
                  <a:extLst>
                    <a:ext uri="{9D8B030D-6E8A-4147-A177-3AD203B41FA5}">
                      <a16:colId xmlns:a16="http://schemas.microsoft.com/office/drawing/2014/main" val="1823661266"/>
                    </a:ext>
                  </a:extLst>
                </a:gridCol>
              </a:tblGrid>
              <a:tr h="258267">
                <a:tc>
                  <a:txBody>
                    <a:bodyPr/>
                    <a:lstStyle/>
                    <a:p>
                      <a:pPr algn="l" rtl="0" fontAlgn="ctr"/>
                      <a:r>
                        <a:rPr lang="en-GB" sz="900" b="1" i="0" u="none" strike="noStrike" noProof="0" dirty="0">
                          <a:solidFill>
                            <a:schemeClr val="tx1"/>
                          </a:solidFill>
                          <a:effectLst/>
                          <a:latin typeface="+mj-lt"/>
                        </a:rPr>
                        <a:t> </a:t>
                      </a:r>
                    </a:p>
                  </a:txBody>
                  <a:tcPr marL="9525" marR="9525" marT="9525" marB="0" anchor="ctr">
                    <a:lnL>
                      <a:noFill/>
                    </a:lnL>
                    <a:lnR>
                      <a:noFill/>
                    </a:lnR>
                    <a:lnT>
                      <a:noFill/>
                    </a:lnT>
                    <a:lnB>
                      <a:noFill/>
                    </a:lnB>
                    <a:solidFill>
                      <a:srgbClr val="86BC25"/>
                    </a:solidFill>
                  </a:tcPr>
                </a:tc>
                <a:tc>
                  <a:txBody>
                    <a:bodyPr/>
                    <a:lstStyle/>
                    <a:p>
                      <a:pPr algn="ctr" rtl="0" fontAlgn="ctr"/>
                      <a:endParaRPr lang="en-GB" sz="900" b="1" i="0" u="sng" strike="noStrike" noProof="0" dirty="0">
                        <a:solidFill>
                          <a:schemeClr val="tx1"/>
                        </a:solidFill>
                        <a:effectLst/>
                        <a:latin typeface="+mj-lt"/>
                      </a:endParaRPr>
                    </a:p>
                  </a:txBody>
                  <a:tcPr marL="9525" marR="9525" marT="9525" marB="0" anchor="ctr">
                    <a:lnL>
                      <a:noFill/>
                    </a:lnL>
                    <a:lnR>
                      <a:noFill/>
                    </a:lnR>
                    <a:lnT>
                      <a:noFill/>
                    </a:lnT>
                    <a:lnB>
                      <a:noFill/>
                    </a:lnB>
                    <a:solidFill>
                      <a:srgbClr val="86BC25"/>
                    </a:solidFill>
                  </a:tcPr>
                </a:tc>
                <a:tc gridSpan="2">
                  <a:txBody>
                    <a:bodyPr/>
                    <a:lstStyle/>
                    <a:p>
                      <a:pPr algn="ctr" rtl="0" fontAlgn="ctr"/>
                      <a:r>
                        <a:rPr lang="en-GB" sz="900" b="1" i="0" u="none" strike="noStrike" kern="1200" noProof="0" dirty="0">
                          <a:solidFill>
                            <a:schemeClr val="tx1"/>
                          </a:solidFill>
                          <a:effectLst/>
                          <a:latin typeface="+mn-lt"/>
                          <a:ea typeface="+mn-ea"/>
                          <a:cs typeface="+mn-cs"/>
                        </a:rPr>
                        <a:t>Chiffre </a:t>
                      </a:r>
                      <a:r>
                        <a:rPr lang="en-GB" sz="900" b="1" i="0" u="none" strike="noStrike" kern="1200" noProof="0" dirty="0" err="1">
                          <a:solidFill>
                            <a:schemeClr val="tx1"/>
                          </a:solidFill>
                          <a:effectLst/>
                          <a:latin typeface="+mn-lt"/>
                          <a:ea typeface="+mn-ea"/>
                          <a:cs typeface="+mn-cs"/>
                        </a:rPr>
                        <a:t>d’Affaires</a:t>
                      </a:r>
                      <a:r>
                        <a:rPr lang="en-GB" sz="900" b="1" i="0" u="none" strike="noStrike" kern="1200" noProof="0" dirty="0">
                          <a:solidFill>
                            <a:schemeClr val="tx1"/>
                          </a:solidFill>
                          <a:effectLst/>
                          <a:latin typeface="+mn-lt"/>
                          <a:ea typeface="+mn-ea"/>
                          <a:cs typeface="+mn-cs"/>
                        </a:rPr>
                        <a:t> (EURm)</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rgbClr val="86BC25"/>
                    </a:solidFill>
                  </a:tcPr>
                </a:tc>
                <a:tc hMerge="1">
                  <a:txBody>
                    <a:bodyPr/>
                    <a:lstStyle/>
                    <a:p>
                      <a:endParaRPr lang="de-DE"/>
                    </a:p>
                  </a:txBody>
                  <a:tcPr/>
                </a:tc>
                <a:tc>
                  <a:txBody>
                    <a:bodyPr/>
                    <a:lstStyle/>
                    <a:p>
                      <a:pPr algn="ctr" rtl="0" fontAlgn="ctr"/>
                      <a:endParaRPr lang="en-GB" sz="900" b="1" i="0" u="none" strike="noStrike" noProof="0" dirty="0">
                        <a:solidFill>
                          <a:schemeClr val="tx1"/>
                        </a:solidFill>
                        <a:effectLst/>
                        <a:latin typeface="+mj-lt"/>
                      </a:endParaRP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6BC25"/>
                    </a:solidFill>
                  </a:tcPr>
                </a:tc>
                <a:tc gridSpan="2">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GB" sz="900" b="1" i="0" u="none" strike="noStrike" kern="1200" noProof="0" dirty="0">
                          <a:solidFill>
                            <a:schemeClr val="tx1"/>
                          </a:solidFill>
                          <a:effectLst/>
                          <a:latin typeface="+mn-lt"/>
                          <a:ea typeface="+mn-ea"/>
                          <a:cs typeface="+mn-cs"/>
                        </a:rPr>
                        <a:t>CA Evolution (EURm)</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rgbClr val="86BC25"/>
                    </a:solidFill>
                  </a:tcPr>
                </a:tc>
                <a:tc hMerge="1">
                  <a:txBody>
                    <a:bodyPr/>
                    <a:lstStyle/>
                    <a:p>
                      <a:endParaRPr lang="de-DE" dirty="0"/>
                    </a:p>
                  </a:txBody>
                  <a:tcPr/>
                </a:tc>
                <a:tc>
                  <a:txBody>
                    <a:bodyPr/>
                    <a:lstStyle/>
                    <a:p>
                      <a:pPr algn="ctr" rtl="0" fontAlgn="ctr"/>
                      <a:endParaRPr lang="en-GB" sz="900" b="1" i="0" u="none" strike="noStrike" noProof="0" dirty="0">
                        <a:solidFill>
                          <a:schemeClr val="tx1"/>
                        </a:solidFill>
                        <a:effectLst/>
                        <a:latin typeface="+mj-lt"/>
                      </a:endParaRP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6BC25"/>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GB" sz="900" b="1" i="0" u="none" strike="noStrike" kern="1200" noProof="0" dirty="0">
                        <a:solidFill>
                          <a:schemeClr val="tx1"/>
                        </a:solidFill>
                        <a:effectLst/>
                        <a:latin typeface="+mj-lt"/>
                        <a:ea typeface="+mn-ea"/>
                        <a:cs typeface="+mn-cs"/>
                      </a:endParaRP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6BC25"/>
                    </a:solidFill>
                  </a:tcPr>
                </a:tc>
                <a:extLst>
                  <a:ext uri="{0D108BD9-81ED-4DB2-BD59-A6C34878D82A}">
                    <a16:rowId xmlns:a16="http://schemas.microsoft.com/office/drawing/2014/main" val="855669864"/>
                  </a:ext>
                </a:extLst>
              </a:tr>
              <a:tr h="258267">
                <a:tc>
                  <a:txBody>
                    <a:bodyPr/>
                    <a:lstStyle/>
                    <a:p>
                      <a:pPr algn="l" rtl="0" fontAlgn="ctr"/>
                      <a:r>
                        <a:rPr lang="en-GB" sz="900" b="1" i="0" u="none" strike="noStrike" noProof="0" dirty="0">
                          <a:solidFill>
                            <a:schemeClr val="tx1"/>
                          </a:solidFill>
                          <a:effectLst/>
                          <a:latin typeface="+mj-lt"/>
                        </a:rPr>
                        <a:t>Rank</a:t>
                      </a:r>
                    </a:p>
                  </a:txBody>
                  <a:tcPr marL="9525" marR="9525" marT="9525" marB="0" anchor="ctr">
                    <a:lnL>
                      <a:noFill/>
                    </a:lnL>
                    <a:lnR>
                      <a:noFill/>
                    </a:lnR>
                    <a:lnT>
                      <a:noFill/>
                    </a:lnT>
                    <a:lnB>
                      <a:noFill/>
                    </a:lnB>
                    <a:solidFill>
                      <a:srgbClr val="86BC25"/>
                    </a:solidFill>
                  </a:tcPr>
                </a:tc>
                <a:tc>
                  <a:txBody>
                    <a:bodyPr/>
                    <a:lstStyle/>
                    <a:p>
                      <a:pPr algn="l" rtl="0" fontAlgn="ctr"/>
                      <a:r>
                        <a:rPr lang="en-GB" sz="900" b="1" i="0" u="none" strike="noStrike" noProof="0" dirty="0">
                          <a:solidFill>
                            <a:schemeClr val="tx1"/>
                          </a:solidFill>
                          <a:effectLst/>
                          <a:latin typeface="+mj-lt"/>
                        </a:rPr>
                        <a:t>Operator</a:t>
                      </a:r>
                    </a:p>
                  </a:txBody>
                  <a:tcPr marL="9525" marR="9525" marT="9525" marB="0" anchor="ctr">
                    <a:lnL>
                      <a:noFill/>
                    </a:lnL>
                    <a:lnR>
                      <a:noFill/>
                    </a:lnR>
                    <a:lnT>
                      <a:noFill/>
                    </a:lnT>
                    <a:lnB>
                      <a:noFill/>
                    </a:lnB>
                    <a:solidFill>
                      <a:srgbClr val="86BC25"/>
                    </a:solidFill>
                  </a:tcPr>
                </a:tc>
                <a:tc>
                  <a:txBody>
                    <a:bodyPr/>
                    <a:lstStyle/>
                    <a:p>
                      <a:pPr algn="r" rtl="0" fontAlgn="ctr"/>
                      <a:r>
                        <a:rPr lang="en-GB" sz="900" b="1" i="0" u="none" strike="noStrike" noProof="0" dirty="0">
                          <a:solidFill>
                            <a:schemeClr val="tx1"/>
                          </a:solidFill>
                          <a:effectLst/>
                          <a:latin typeface="+mj-lt"/>
                        </a:rPr>
                        <a:t>2020</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86BC25"/>
                    </a:solidFill>
                  </a:tcPr>
                </a:tc>
                <a:tc>
                  <a:txBody>
                    <a:bodyPr/>
                    <a:lstStyle/>
                    <a:p>
                      <a:pPr algn="r" rtl="0" fontAlgn="ctr"/>
                      <a:r>
                        <a:rPr lang="en-GB" sz="900" b="1" i="0" u="none" strike="noStrike" noProof="0" dirty="0">
                          <a:solidFill>
                            <a:schemeClr val="tx1"/>
                          </a:solidFill>
                          <a:effectLst/>
                          <a:latin typeface="+mj-lt"/>
                        </a:rPr>
                        <a:t>2021</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86BC25"/>
                    </a:solidFill>
                  </a:tcPr>
                </a:tc>
                <a:tc>
                  <a:txBody>
                    <a:bodyPr/>
                    <a:lstStyle/>
                    <a:p>
                      <a:pPr algn="r" rtl="0" fontAlgn="ctr"/>
                      <a:endParaRPr lang="en-GB" sz="900" b="1" i="0" u="none" strike="noStrike" noProof="0" dirty="0">
                        <a:solidFill>
                          <a:schemeClr val="tx1"/>
                        </a:solidFill>
                        <a:effectLst/>
                        <a:latin typeface="+mj-lt"/>
                      </a:endParaRPr>
                    </a:p>
                  </a:txBody>
                  <a:tcPr marL="9525" marR="9525" marT="9525"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86BC25"/>
                    </a:solidFill>
                  </a:tcPr>
                </a:tc>
                <a:tc>
                  <a:txBody>
                    <a:bodyPr/>
                    <a:lstStyle/>
                    <a:p>
                      <a:pPr algn="r" rtl="0" fontAlgn="ctr"/>
                      <a:r>
                        <a:rPr lang="en-GB" sz="900" b="1" i="0" u="none" strike="noStrike" noProof="0" dirty="0">
                          <a:solidFill>
                            <a:schemeClr val="tx1"/>
                          </a:solidFill>
                          <a:effectLst/>
                          <a:latin typeface="+mj-lt"/>
                        </a:rPr>
                        <a:t>Absolute</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86BC25"/>
                    </a:solidFill>
                  </a:tcPr>
                </a:tc>
                <a:tc>
                  <a:txBody>
                    <a:bodyPr/>
                    <a:lstStyle/>
                    <a:p>
                      <a:pPr algn="r" rtl="0" fontAlgn="ctr"/>
                      <a:r>
                        <a:rPr lang="en-GB" sz="900" b="1" i="0" u="none" strike="noStrike" noProof="0" dirty="0">
                          <a:solidFill>
                            <a:schemeClr val="tx1"/>
                          </a:solidFill>
                          <a:effectLst/>
                          <a:latin typeface="+mj-lt"/>
                        </a:rPr>
                        <a:t>In %</a:t>
                      </a:r>
                    </a:p>
                  </a:txBody>
                  <a:tcPr marL="9525" marR="9525" marT="9525" marB="0" anchor="ctr">
                    <a:lnL>
                      <a:noFill/>
                    </a:lnL>
                    <a:lnR>
                      <a:noFill/>
                    </a:lnR>
                    <a:lnT w="12700" cap="flat" cmpd="sng" algn="ctr">
                      <a:solidFill>
                        <a:schemeClr val="tx1"/>
                      </a:solidFill>
                      <a:prstDash val="solid"/>
                      <a:round/>
                      <a:headEnd type="none" w="med" len="med"/>
                      <a:tailEnd type="none" w="med" len="med"/>
                    </a:lnT>
                    <a:lnB>
                      <a:noFill/>
                    </a:lnB>
                    <a:solidFill>
                      <a:srgbClr val="86BC25"/>
                    </a:solidFill>
                  </a:tcPr>
                </a:tc>
                <a:tc>
                  <a:txBody>
                    <a:bodyPr/>
                    <a:lstStyle/>
                    <a:p>
                      <a:pPr algn="r" rtl="0" fontAlgn="ctr"/>
                      <a:endParaRPr lang="en-GB" sz="900" b="1" i="0" u="none" strike="noStrike" noProof="0" dirty="0">
                        <a:solidFill>
                          <a:schemeClr val="tx1"/>
                        </a:solidFill>
                        <a:effectLst/>
                        <a:latin typeface="+mj-lt"/>
                      </a:endParaRPr>
                    </a:p>
                  </a:txBody>
                  <a:tcPr marL="9525" marR="9525" marT="9525"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86BC25"/>
                    </a:solidFill>
                  </a:tcPr>
                </a:tc>
                <a:tc>
                  <a:txBody>
                    <a:bodyPr/>
                    <a:lstStyle/>
                    <a:p>
                      <a:pPr marL="0" marR="0" lvl="0" indent="0" algn="r" defTabSz="1219170" rtl="0" eaLnBrk="1" fontAlgn="ctr" latinLnBrk="0" hangingPunct="1">
                        <a:lnSpc>
                          <a:spcPct val="100000"/>
                        </a:lnSpc>
                        <a:spcBef>
                          <a:spcPts val="0"/>
                        </a:spcBef>
                        <a:spcAft>
                          <a:spcPts val="0"/>
                        </a:spcAft>
                        <a:buClrTx/>
                        <a:buSzTx/>
                        <a:buFontTx/>
                        <a:buNone/>
                        <a:tabLst/>
                        <a:defRPr/>
                      </a:pPr>
                      <a:r>
                        <a:rPr lang="en-GB" sz="900" b="1" i="0" u="none" strike="noStrike" kern="1200" noProof="0" dirty="0">
                          <a:solidFill>
                            <a:schemeClr val="tx1"/>
                          </a:solidFill>
                          <a:effectLst/>
                          <a:latin typeface="+mn-lt"/>
                          <a:ea typeface="+mn-ea"/>
                          <a:cs typeface="+mn-cs"/>
                        </a:rPr>
                        <a:t>Key countries</a:t>
                      </a:r>
                      <a:r>
                        <a:rPr lang="en-GB" sz="900" b="1" i="0" u="none" strike="noStrike" kern="1200" baseline="30000" noProof="0" dirty="0">
                          <a:solidFill>
                            <a:schemeClr val="tx1"/>
                          </a:solidFill>
                          <a:effectLst/>
                          <a:latin typeface="+mn-lt"/>
                          <a:ea typeface="+mn-ea"/>
                          <a:cs typeface="+mn-cs"/>
                        </a:rPr>
                        <a:t>4</a:t>
                      </a:r>
                      <a:endParaRPr lang="en-GB" sz="900" b="1" i="0" u="none" strike="noStrike" kern="1200" noProof="0" dirty="0">
                        <a:solidFill>
                          <a:schemeClr val="tx1"/>
                        </a:solidFill>
                        <a:effectLst/>
                        <a:latin typeface="+mn-lt"/>
                        <a:ea typeface="+mn-ea"/>
                        <a:cs typeface="+mn-cs"/>
                      </a:endParaRPr>
                    </a:p>
                  </a:txBody>
                  <a:tcPr marL="9525" marR="9525" marT="9525" marB="0" anchor="ctr">
                    <a:lnL>
                      <a:noFill/>
                    </a:lnL>
                    <a:lnR>
                      <a:noFill/>
                    </a:lnR>
                    <a:lnT w="12700" cap="flat" cmpd="sng" algn="ctr">
                      <a:noFill/>
                      <a:prstDash val="solid"/>
                      <a:round/>
                      <a:headEnd type="none" w="med" len="med"/>
                      <a:tailEnd type="none" w="med" len="med"/>
                    </a:lnT>
                    <a:lnB>
                      <a:noFill/>
                    </a:lnB>
                    <a:solidFill>
                      <a:srgbClr val="86BC25"/>
                    </a:solidFill>
                  </a:tcPr>
                </a:tc>
                <a:extLst>
                  <a:ext uri="{0D108BD9-81ED-4DB2-BD59-A6C34878D82A}">
                    <a16:rowId xmlns:a16="http://schemas.microsoft.com/office/drawing/2014/main" val="4018219937"/>
                  </a:ext>
                </a:extLst>
              </a:tr>
              <a:tr h="160744">
                <a:tc>
                  <a:txBody>
                    <a:bodyPr/>
                    <a:lstStyle/>
                    <a:p>
                      <a:pPr algn="l" rtl="0" fontAlgn="b"/>
                      <a:endParaRPr lang="en-GB" sz="900" b="1" i="0" u="none" strike="noStrike" dirty="0">
                        <a:solidFill>
                          <a:schemeClr val="bg1"/>
                        </a:solidFill>
                        <a:effectLst/>
                        <a:latin typeface="+mj-lt"/>
                      </a:endParaRPr>
                    </a:p>
                  </a:txBody>
                  <a:tcPr marL="0" marR="0" marT="0" marB="0" anchor="b">
                    <a:lnL>
                      <a:noFill/>
                    </a:lnL>
                    <a:lnR>
                      <a:noFill/>
                    </a:lnR>
                    <a:lnT>
                      <a:noFill/>
                    </a:lnT>
                    <a:lnB>
                      <a:noFill/>
                    </a:lnB>
                    <a:solidFill>
                      <a:schemeClr val="tx1"/>
                    </a:solidFill>
                  </a:tcPr>
                </a:tc>
                <a:tc>
                  <a:txBody>
                    <a:bodyPr/>
                    <a:lstStyle/>
                    <a:p>
                      <a:pPr algn="l"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solidFill>
                      <a:schemeClr val="tx1"/>
                    </a:solidFill>
                  </a:tcPr>
                </a:tc>
                <a:tc>
                  <a:txBody>
                    <a:bodyPr/>
                    <a:lstStyle/>
                    <a:p>
                      <a:pPr algn="l"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solidFill>
                      <a:schemeClr val="tx1"/>
                    </a:solidFill>
                  </a:tcPr>
                </a:tc>
                <a:tc>
                  <a:txBody>
                    <a:bodyPr/>
                    <a:lstStyle/>
                    <a:p>
                      <a:pPr algn="l"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solidFill>
                      <a:schemeClr val="tx1"/>
                    </a:solidFill>
                  </a:tcPr>
                </a:tc>
                <a:tc>
                  <a:txBody>
                    <a:bodyPr/>
                    <a:lstStyle/>
                    <a:p>
                      <a:pPr algn="l"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solidFill>
                      <a:schemeClr val="tx1"/>
                    </a:solidFill>
                  </a:tcPr>
                </a:tc>
                <a:tc>
                  <a:txBody>
                    <a:bodyPr/>
                    <a:lstStyle/>
                    <a:p>
                      <a:pPr algn="l"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solidFill>
                      <a:schemeClr val="tx1"/>
                    </a:solidFill>
                  </a:tcPr>
                </a:tc>
                <a:tc>
                  <a:txBody>
                    <a:bodyPr/>
                    <a:lstStyle/>
                    <a:p>
                      <a:pPr algn="l"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solidFill>
                      <a:schemeClr val="tx1"/>
                    </a:solidFill>
                  </a:tcPr>
                </a:tc>
                <a:tc>
                  <a:txBody>
                    <a:bodyPr/>
                    <a:lstStyle/>
                    <a:p>
                      <a:pPr algn="r"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lnTlToBr w="12700" cmpd="sng">
                      <a:noFill/>
                      <a:prstDash val="solid"/>
                    </a:lnTlToBr>
                    <a:lnBlToTr w="12700" cmpd="sng">
                      <a:noFill/>
                      <a:prstDash val="solid"/>
                    </a:lnBlToTr>
                    <a:solidFill>
                      <a:schemeClr val="tx1"/>
                    </a:solidFill>
                  </a:tcPr>
                </a:tc>
                <a:tc>
                  <a:txBody>
                    <a:bodyPr/>
                    <a:lstStyle/>
                    <a:p>
                      <a:pPr algn="r" rtl="0" fontAlgn="b"/>
                      <a:endParaRPr lang="en-GB" sz="900" b="1" i="0" u="none" strike="noStrike" dirty="0">
                        <a:solidFill>
                          <a:schemeClr val="bg1"/>
                        </a:solidFill>
                        <a:effectLst/>
                        <a:latin typeface="+mj-lt"/>
                      </a:endParaRPr>
                    </a:p>
                  </a:txBody>
                  <a:tcPr marL="9525" marR="9525" marT="9525" marB="0" anchor="b">
                    <a:lnL>
                      <a:noFill/>
                    </a:lnL>
                    <a:lnR>
                      <a:noFill/>
                    </a:lnR>
                    <a:lnT>
                      <a:noFill/>
                    </a:lnT>
                    <a:lnB>
                      <a:noFill/>
                    </a:lnB>
                    <a:solidFill>
                      <a:schemeClr val="tx1"/>
                    </a:solidFill>
                  </a:tcPr>
                </a:tc>
                <a:extLst>
                  <a:ext uri="{0D108BD9-81ED-4DB2-BD59-A6C34878D82A}">
                    <a16:rowId xmlns:a16="http://schemas.microsoft.com/office/drawing/2014/main" val="3223020725"/>
                  </a:ext>
                </a:extLst>
              </a:tr>
              <a:tr h="248518">
                <a:tc>
                  <a:txBody>
                    <a:bodyPr/>
                    <a:lstStyle/>
                    <a:p>
                      <a:pPr algn="l" rtl="0" fontAlgn="ctr"/>
                      <a:r>
                        <a:rPr lang="en-GB" sz="900" b="0" i="0" u="none" strike="noStrike" dirty="0">
                          <a:solidFill>
                            <a:schemeClr val="bg1"/>
                          </a:solidFill>
                          <a:effectLst/>
                          <a:latin typeface="+mj-lt"/>
                        </a:rPr>
                        <a:t>1</a:t>
                      </a:r>
                    </a:p>
                  </a:txBody>
                  <a:tcPr marL="9525" marR="9525" marT="9525" marB="0" anchor="ctr">
                    <a:lnL>
                      <a:noFill/>
                    </a:lnL>
                    <a:lnR>
                      <a:noFill/>
                    </a:lnR>
                    <a:lnT>
                      <a:noFill/>
                    </a:lnT>
                    <a:lnB>
                      <a:noFill/>
                    </a:lnB>
                  </a:tcPr>
                </a:tc>
                <a:tc>
                  <a:txBody>
                    <a:bodyPr/>
                    <a:lstStyle/>
                    <a:p>
                      <a:pPr algn="l" rtl="0" fontAlgn="ctr"/>
                      <a:r>
                        <a:rPr lang="en-GB" sz="900" b="0" i="0" u="none" strike="noStrike" kern="1200" dirty="0">
                          <a:solidFill>
                            <a:schemeClr val="bg1"/>
                          </a:solidFill>
                          <a:effectLst/>
                          <a:latin typeface="+mj-lt"/>
                          <a:ea typeface="+mn-ea"/>
                          <a:cs typeface="+mn-cs"/>
                        </a:rPr>
                        <a:t>David Lloyd Leisure</a:t>
                      </a:r>
                      <a:r>
                        <a:rPr lang="en-GB" sz="1000" b="0" i="0" u="none" strike="noStrike" kern="1200" baseline="30000" dirty="0">
                          <a:solidFill>
                            <a:schemeClr val="bg1"/>
                          </a:solidFill>
                          <a:effectLst/>
                          <a:latin typeface="+mj-lt"/>
                          <a:ea typeface="+mn-ea"/>
                          <a:cs typeface="+mn-cs"/>
                        </a:rPr>
                        <a:t>1</a:t>
                      </a:r>
                    </a:p>
                  </a:txBody>
                  <a:tcPr marL="0" marR="0" marT="0"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312 </a:t>
                      </a:r>
                    </a:p>
                  </a:txBody>
                  <a:tcPr marL="0" marR="0" marT="0" marB="0" anchor="ctr">
                    <a:lnL>
                      <a:noFill/>
                    </a:lnL>
                    <a:lnR>
                      <a:noFill/>
                    </a:lnR>
                    <a:lnT>
                      <a:noFill/>
                    </a:lnT>
                    <a:lnB>
                      <a:noFill/>
                    </a:lnB>
                  </a:tcPr>
                </a:tc>
                <a:tc>
                  <a:txBody>
                    <a:bodyPr/>
                    <a:lstStyle/>
                    <a:p>
                      <a:pPr algn="r" rtl="0" fontAlgn="ctr"/>
                      <a:r>
                        <a:rPr lang="en-GB" sz="900" b="0" i="0" u="none" strike="noStrike" kern="1200">
                          <a:solidFill>
                            <a:schemeClr val="bg1"/>
                          </a:solidFill>
                          <a:effectLst/>
                          <a:latin typeface="+mj-lt"/>
                          <a:ea typeface="+mn-ea"/>
                          <a:cs typeface="+mn-cs"/>
                        </a:rPr>
                        <a:t>486 </a:t>
                      </a:r>
                      <a:endParaRPr lang="en-GB" sz="900" b="0" i="0" u="none" strike="noStrike" kern="1200" dirty="0">
                        <a:solidFill>
                          <a:schemeClr val="bg1"/>
                        </a:solidFill>
                        <a:effectLst/>
                        <a:latin typeface="+mj-lt"/>
                        <a:ea typeface="+mn-ea"/>
                        <a:cs typeface="+mn-cs"/>
                      </a:endParaRPr>
                    </a:p>
                  </a:txBody>
                  <a:tcPr marL="0" marR="0" marT="0"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b"/>
                      <a:r>
                        <a:rPr lang="en-GB" sz="900" b="0" i="0" u="none" strike="noStrike" kern="1200" dirty="0">
                          <a:solidFill>
                            <a:schemeClr val="bg1"/>
                          </a:solidFill>
                          <a:effectLst/>
                          <a:latin typeface="+mj-lt"/>
                          <a:ea typeface="+mn-ea"/>
                          <a:cs typeface="+mn-cs"/>
                        </a:rPr>
                        <a:t>174 </a:t>
                      </a:r>
                    </a:p>
                  </a:txBody>
                  <a:tcPr marL="0" marR="0" marT="0" marB="0" anchor="ctr">
                    <a:lnL>
                      <a:noFill/>
                    </a:lnL>
                    <a:lnR>
                      <a:noFill/>
                    </a:lnR>
                    <a:lnT>
                      <a:noFill/>
                    </a:lnT>
                    <a:lnB>
                      <a:noFill/>
                    </a:lnB>
                  </a:tcPr>
                </a:tc>
                <a:tc>
                  <a:txBody>
                    <a:bodyPr/>
                    <a:lstStyle/>
                    <a:p>
                      <a:pPr marL="0" indent="0" algn="r" rtl="0" fontAlgn="ctr">
                        <a:buFont typeface="Arial" panose="020B0604020202020204" pitchFamily="34" charset="0"/>
                        <a:buNone/>
                      </a:pPr>
                      <a:r>
                        <a:rPr lang="en-GB" sz="900" b="0" i="0" u="none" strike="noStrike" kern="1200" dirty="0">
                          <a:solidFill>
                            <a:srgbClr val="FF0000"/>
                          </a:solidFill>
                          <a:effectLst/>
                          <a:latin typeface="+mj-lt"/>
                          <a:ea typeface="+mn-ea"/>
                          <a:cs typeface="+mn-cs"/>
                        </a:rPr>
                        <a:t>+56% </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1945620012"/>
                  </a:ext>
                </a:extLst>
              </a:tr>
              <a:tr h="248518">
                <a:tc>
                  <a:txBody>
                    <a:bodyPr/>
                    <a:lstStyle/>
                    <a:p>
                      <a:pPr algn="l" rtl="0" fontAlgn="ctr"/>
                      <a:r>
                        <a:rPr lang="en-GB" sz="900" b="0" i="0" u="none" strike="noStrike">
                          <a:solidFill>
                            <a:schemeClr val="bg1"/>
                          </a:solidFill>
                          <a:effectLst/>
                          <a:latin typeface="+mj-lt"/>
                        </a:rPr>
                        <a:t>2</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l" rtl="0" fontAlgn="ctr"/>
                      <a:r>
                        <a:rPr lang="en-GB" sz="900" b="0" i="0" u="none" strike="noStrike" kern="1200" dirty="0">
                          <a:solidFill>
                            <a:srgbClr val="FFFF00"/>
                          </a:solidFill>
                          <a:effectLst/>
                          <a:latin typeface="+mj-lt"/>
                          <a:ea typeface="+mn-ea"/>
                          <a:cs typeface="+mn-cs"/>
                        </a:rPr>
                        <a:t>PureGym</a:t>
                      </a:r>
                      <a:r>
                        <a:rPr lang="en-GB" sz="1000" b="0" i="0" u="none" strike="noStrike" kern="1200" baseline="30000" dirty="0">
                          <a:solidFill>
                            <a:srgbClr val="FFFF00"/>
                          </a:solidFill>
                          <a:effectLst/>
                          <a:latin typeface="+mj-lt"/>
                          <a:ea typeface="+mn-ea"/>
                          <a:cs typeface="+mn-cs"/>
                        </a:rPr>
                        <a:t>2</a:t>
                      </a:r>
                    </a:p>
                  </a:txBody>
                  <a:tcPr marL="0" marR="0" marT="0"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301 </a:t>
                      </a:r>
                    </a:p>
                  </a:txBody>
                  <a:tcPr marL="0" marR="0" marT="0"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365 </a:t>
                      </a:r>
                    </a:p>
                  </a:txBody>
                  <a:tcPr marL="0" marR="0" marT="0"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b"/>
                      <a:r>
                        <a:rPr lang="en-GB" sz="900" b="0" i="0" u="none" strike="noStrike" kern="1200" dirty="0">
                          <a:solidFill>
                            <a:schemeClr val="bg1"/>
                          </a:solidFill>
                          <a:effectLst/>
                          <a:latin typeface="+mj-lt"/>
                          <a:ea typeface="+mn-ea"/>
                          <a:cs typeface="+mn-cs"/>
                        </a:rPr>
                        <a:t>             64 </a:t>
                      </a:r>
                    </a:p>
                  </a:txBody>
                  <a:tcPr marL="0" marR="0" marT="0" marB="0" anchor="ctr">
                    <a:lnL>
                      <a:noFill/>
                    </a:lnL>
                    <a:lnR>
                      <a:noFill/>
                    </a:lnR>
                    <a:lnT>
                      <a:noFill/>
                    </a:lnT>
                    <a:lnB>
                      <a:noFill/>
                    </a:lnB>
                  </a:tcPr>
                </a:tc>
                <a:tc>
                  <a:txBody>
                    <a:bodyPr/>
                    <a:lstStyle/>
                    <a:p>
                      <a:pPr marL="0" indent="0" algn="r" rtl="0" fontAlgn="ctr">
                        <a:buFont typeface="Arial" panose="020B0604020202020204" pitchFamily="34" charset="0"/>
                        <a:buNone/>
                      </a:pPr>
                      <a:r>
                        <a:rPr lang="en-GB" sz="900" b="0" i="0" u="none" strike="noStrike" kern="1200" dirty="0">
                          <a:solidFill>
                            <a:srgbClr val="FF0000"/>
                          </a:solidFill>
                          <a:effectLst/>
                          <a:latin typeface="+mj-lt"/>
                          <a:ea typeface="+mn-ea"/>
                          <a:cs typeface="+mn-cs"/>
                        </a:rPr>
                        <a:t>+21% </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4164760267"/>
                  </a:ext>
                </a:extLst>
              </a:tr>
              <a:tr h="248518">
                <a:tc>
                  <a:txBody>
                    <a:bodyPr/>
                    <a:lstStyle/>
                    <a:p>
                      <a:pPr algn="l" rtl="0" fontAlgn="ctr"/>
                      <a:r>
                        <a:rPr lang="en-GB" sz="900" b="0" i="0" u="none" strike="noStrike" dirty="0">
                          <a:solidFill>
                            <a:schemeClr val="bg1"/>
                          </a:solidFill>
                          <a:effectLst/>
                          <a:latin typeface="+mj-lt"/>
                        </a:rPr>
                        <a:t>3</a:t>
                      </a:r>
                    </a:p>
                  </a:txBody>
                  <a:tcPr marL="9525" marR="9525" marT="9525" marB="0" anchor="ctr">
                    <a:lnL>
                      <a:noFill/>
                    </a:lnL>
                    <a:lnR>
                      <a:noFill/>
                    </a:lnR>
                    <a:lnT>
                      <a:noFill/>
                    </a:lnT>
                    <a:lnB>
                      <a:noFill/>
                    </a:lnB>
                  </a:tcPr>
                </a:tc>
                <a:tc>
                  <a:txBody>
                    <a:bodyPr/>
                    <a:lstStyle/>
                    <a:p>
                      <a:pPr algn="l" rtl="0" fontAlgn="ctr"/>
                      <a:r>
                        <a:rPr lang="en-GB" sz="900" b="0" i="0" u="none" strike="noStrike" kern="1200" dirty="0">
                          <a:solidFill>
                            <a:srgbClr val="FFFF00"/>
                          </a:solidFill>
                          <a:effectLst/>
                          <a:latin typeface="+mj-lt"/>
                          <a:ea typeface="+mn-ea"/>
                          <a:cs typeface="+mn-cs"/>
                        </a:rPr>
                        <a:t>Basic-Fit</a:t>
                      </a:r>
                    </a:p>
                  </a:txBody>
                  <a:tcPr marL="0" marR="0" marT="0"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377 </a:t>
                      </a:r>
                    </a:p>
                  </a:txBody>
                  <a:tcPr marL="0" marR="0" marT="0"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341 </a:t>
                      </a:r>
                    </a:p>
                  </a:txBody>
                  <a:tcPr marL="0" marR="0" marT="0"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b"/>
                      <a:r>
                        <a:rPr lang="en-GB" sz="900" b="0" i="0" u="none" strike="noStrike" kern="1200" dirty="0">
                          <a:solidFill>
                            <a:schemeClr val="bg1"/>
                          </a:solidFill>
                          <a:effectLst/>
                          <a:latin typeface="+mj-lt"/>
                          <a:ea typeface="+mn-ea"/>
                          <a:cs typeface="+mn-cs"/>
                        </a:rPr>
                        <a:t>         (36)</a:t>
                      </a:r>
                    </a:p>
                  </a:txBody>
                  <a:tcPr marL="0" marR="0" marT="0" marB="0" anchor="ctr">
                    <a:lnL>
                      <a:noFill/>
                    </a:lnL>
                    <a:lnR>
                      <a:noFill/>
                    </a:lnR>
                    <a:lnT>
                      <a:noFill/>
                    </a:lnT>
                    <a:lnB>
                      <a:noFill/>
                    </a:lnB>
                  </a:tcPr>
                </a:tc>
                <a:tc>
                  <a:txBody>
                    <a:bodyPr/>
                    <a:lstStyle/>
                    <a:p>
                      <a:pPr marL="0" indent="0" algn="r" rtl="0" fontAlgn="ctr">
                        <a:buFont typeface="Arial" panose="020B0604020202020204" pitchFamily="34" charset="0"/>
                        <a:buNone/>
                      </a:pPr>
                      <a:r>
                        <a:rPr lang="en-GB" sz="900" b="0" i="0" u="none" strike="noStrike" kern="1200" dirty="0">
                          <a:solidFill>
                            <a:schemeClr val="bg1"/>
                          </a:solidFill>
                          <a:effectLst/>
                          <a:latin typeface="+mj-lt"/>
                          <a:ea typeface="+mn-ea"/>
                          <a:cs typeface="+mn-cs"/>
                        </a:rPr>
                        <a:t>(10%)</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3962133663"/>
                  </a:ext>
                </a:extLst>
              </a:tr>
              <a:tr h="248518">
                <a:tc>
                  <a:txBody>
                    <a:bodyPr/>
                    <a:lstStyle/>
                    <a:p>
                      <a:pPr algn="l" rtl="0" fontAlgn="ctr"/>
                      <a:r>
                        <a:rPr lang="en-GB" sz="900" b="0" i="0" u="none" strike="noStrike" dirty="0">
                          <a:solidFill>
                            <a:schemeClr val="bg1"/>
                          </a:solidFill>
                          <a:effectLst/>
                          <a:latin typeface="+mj-lt"/>
                        </a:rPr>
                        <a:t>4</a:t>
                      </a:r>
                    </a:p>
                  </a:txBody>
                  <a:tcPr marL="9525" marR="9525" marT="9525" marB="0" anchor="ctr">
                    <a:lnL>
                      <a:noFill/>
                    </a:lnL>
                    <a:lnR>
                      <a:noFill/>
                    </a:lnR>
                    <a:lnT>
                      <a:noFill/>
                    </a:lnT>
                    <a:lnB>
                      <a:noFill/>
                    </a:lnB>
                  </a:tcPr>
                </a:tc>
                <a:tc>
                  <a:txBody>
                    <a:bodyPr/>
                    <a:lstStyle/>
                    <a:p>
                      <a:pPr algn="l" rtl="0" fontAlgn="ctr"/>
                      <a:r>
                        <a:rPr lang="en-GB" sz="900" b="0" i="0" u="none" strike="noStrike" kern="1200" dirty="0">
                          <a:solidFill>
                            <a:schemeClr val="bg1"/>
                          </a:solidFill>
                          <a:effectLst/>
                          <a:latin typeface="+mj-lt"/>
                          <a:ea typeface="+mn-ea"/>
                          <a:cs typeface="+mn-cs"/>
                        </a:rPr>
                        <a:t>SATS Group</a:t>
                      </a:r>
                      <a:r>
                        <a:rPr lang="en-GB" sz="1000" b="0" i="0" u="none" strike="noStrike" kern="1200" baseline="30000" dirty="0">
                          <a:solidFill>
                            <a:schemeClr val="bg1"/>
                          </a:solidFill>
                          <a:effectLst/>
                          <a:latin typeface="+mj-lt"/>
                          <a:ea typeface="+mn-ea"/>
                          <a:cs typeface="+mn-cs"/>
                        </a:rPr>
                        <a:t>1</a:t>
                      </a:r>
                    </a:p>
                  </a:txBody>
                  <a:tcPr marL="0" marR="0" marT="0"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330 </a:t>
                      </a:r>
                    </a:p>
                  </a:txBody>
                  <a:tcPr marL="0" marR="0" marT="0"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319 </a:t>
                      </a:r>
                    </a:p>
                  </a:txBody>
                  <a:tcPr marL="0" marR="0" marT="0"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b"/>
                      <a:r>
                        <a:rPr lang="en-GB" sz="900" b="0" i="0" u="none" strike="noStrike" kern="1200">
                          <a:solidFill>
                            <a:schemeClr val="bg1"/>
                          </a:solidFill>
                          <a:effectLst/>
                          <a:latin typeface="+mj-lt"/>
                          <a:ea typeface="+mn-ea"/>
                          <a:cs typeface="+mn-cs"/>
                        </a:rPr>
                        <a:t>            (11)</a:t>
                      </a:r>
                      <a:endParaRPr lang="en-GB" sz="900" b="0" i="0" u="none" strike="noStrike" kern="1200" dirty="0">
                        <a:solidFill>
                          <a:schemeClr val="bg1"/>
                        </a:solidFill>
                        <a:effectLst/>
                        <a:latin typeface="+mj-lt"/>
                        <a:ea typeface="+mn-ea"/>
                        <a:cs typeface="+mn-cs"/>
                      </a:endParaRPr>
                    </a:p>
                  </a:txBody>
                  <a:tcPr marL="0" marR="0" marT="0" marB="0" anchor="ctr">
                    <a:lnL>
                      <a:noFill/>
                    </a:lnL>
                    <a:lnR>
                      <a:noFill/>
                    </a:lnR>
                    <a:lnT>
                      <a:noFill/>
                    </a:lnT>
                    <a:lnB>
                      <a:noFill/>
                    </a:lnB>
                  </a:tcPr>
                </a:tc>
                <a:tc>
                  <a:txBody>
                    <a:bodyPr/>
                    <a:lstStyle/>
                    <a:p>
                      <a:pPr marL="0" indent="0" algn="r" rtl="0" fontAlgn="ctr">
                        <a:buFont typeface="Arial" panose="020B0604020202020204" pitchFamily="34" charset="0"/>
                        <a:buNone/>
                      </a:pPr>
                      <a:r>
                        <a:rPr lang="en-GB" sz="900" b="0" i="0" u="none" strike="noStrike" kern="1200" dirty="0">
                          <a:solidFill>
                            <a:schemeClr val="bg1"/>
                          </a:solidFill>
                          <a:effectLst/>
                          <a:latin typeface="+mj-lt"/>
                          <a:ea typeface="+mn-ea"/>
                          <a:cs typeface="+mn-cs"/>
                        </a:rPr>
                        <a:t>(3%)</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3600946751"/>
                  </a:ext>
                </a:extLst>
              </a:tr>
              <a:tr h="248518">
                <a:tc>
                  <a:txBody>
                    <a:bodyPr/>
                    <a:lstStyle/>
                    <a:p>
                      <a:pPr algn="l" rtl="0" fontAlgn="ctr"/>
                      <a:r>
                        <a:rPr lang="en-GB" sz="900" b="0" i="0" u="none" strike="noStrike">
                          <a:solidFill>
                            <a:schemeClr val="bg1"/>
                          </a:solidFill>
                          <a:effectLst/>
                          <a:latin typeface="+mj-lt"/>
                        </a:rPr>
                        <a:t>5</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l" rtl="0" fontAlgn="ctr"/>
                      <a:r>
                        <a:rPr lang="en-GB" sz="900" b="0" i="0" u="none" strike="noStrike" kern="1200" dirty="0">
                          <a:solidFill>
                            <a:schemeClr val="bg1"/>
                          </a:solidFill>
                          <a:effectLst/>
                          <a:latin typeface="+mj-lt"/>
                          <a:ea typeface="+mn-ea"/>
                          <a:cs typeface="+mn-cs"/>
                        </a:rPr>
                        <a:t>Greenwich Leisure Limited</a:t>
                      </a:r>
                    </a:p>
                  </a:txBody>
                  <a:tcPr marL="0" marR="0" marT="0" marB="0" anchor="ctr">
                    <a:lnL>
                      <a:noFill/>
                    </a:lnL>
                    <a:lnR>
                      <a:noFill/>
                    </a:lnR>
                    <a:lnT>
                      <a:noFill/>
                    </a:lnT>
                    <a:lnB>
                      <a:noFill/>
                    </a:lnB>
                  </a:tcPr>
                </a:tc>
                <a:tc>
                  <a:txBody>
                    <a:bodyPr/>
                    <a:lstStyle/>
                    <a:p>
                      <a:pPr algn="r" rtl="0" fontAlgn="ctr"/>
                      <a:r>
                        <a:rPr lang="en-GB" sz="900" b="0" i="0" u="none" strike="noStrike" kern="1200">
                          <a:solidFill>
                            <a:schemeClr val="bg1"/>
                          </a:solidFill>
                          <a:effectLst/>
                          <a:latin typeface="+mj-lt"/>
                          <a:ea typeface="+mn-ea"/>
                          <a:cs typeface="+mn-cs"/>
                        </a:rPr>
                        <a:t>246 </a:t>
                      </a:r>
                      <a:endParaRPr lang="en-GB" sz="900" b="0" i="0" u="none" strike="noStrike" kern="1200" dirty="0">
                        <a:solidFill>
                          <a:schemeClr val="bg1"/>
                        </a:solidFill>
                        <a:effectLst/>
                        <a:latin typeface="+mj-lt"/>
                        <a:ea typeface="+mn-ea"/>
                        <a:cs typeface="+mn-cs"/>
                      </a:endParaRPr>
                    </a:p>
                  </a:txBody>
                  <a:tcPr marL="0" marR="0" marT="0"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273 </a:t>
                      </a:r>
                    </a:p>
                  </a:txBody>
                  <a:tcPr marL="0" marR="0" marT="0"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b"/>
                      <a:r>
                        <a:rPr lang="en-GB" sz="900" b="0" i="0" u="none" strike="noStrike" kern="1200">
                          <a:solidFill>
                            <a:schemeClr val="bg1"/>
                          </a:solidFill>
                          <a:effectLst/>
                          <a:latin typeface="+mj-lt"/>
                          <a:ea typeface="+mn-ea"/>
                          <a:cs typeface="+mn-cs"/>
                        </a:rPr>
                        <a:t>             27 </a:t>
                      </a:r>
                      <a:endParaRPr lang="en-GB" sz="900" b="0" i="0" u="none" strike="noStrike" kern="1200" dirty="0">
                        <a:solidFill>
                          <a:schemeClr val="bg1"/>
                        </a:solidFill>
                        <a:effectLst/>
                        <a:latin typeface="+mj-lt"/>
                        <a:ea typeface="+mn-ea"/>
                        <a:cs typeface="+mn-cs"/>
                      </a:endParaRPr>
                    </a:p>
                  </a:txBody>
                  <a:tcPr marL="0" marR="0" marT="0" marB="0" anchor="ctr">
                    <a:lnL>
                      <a:noFill/>
                    </a:lnL>
                    <a:lnR>
                      <a:noFill/>
                    </a:lnR>
                    <a:lnT>
                      <a:noFill/>
                    </a:lnT>
                    <a:lnB>
                      <a:noFill/>
                    </a:lnB>
                  </a:tcPr>
                </a:tc>
                <a:tc>
                  <a:txBody>
                    <a:bodyPr/>
                    <a:lstStyle/>
                    <a:p>
                      <a:pPr marL="0" indent="0" algn="r" rtl="0" fontAlgn="ctr">
                        <a:buFont typeface="Arial" panose="020B0604020202020204" pitchFamily="34" charset="0"/>
                        <a:buNone/>
                      </a:pPr>
                      <a:r>
                        <a:rPr lang="en-GB" sz="900" b="0" i="0" u="none" strike="noStrike" kern="1200" dirty="0">
                          <a:solidFill>
                            <a:schemeClr val="bg1"/>
                          </a:solidFill>
                          <a:effectLst/>
                          <a:latin typeface="+mj-lt"/>
                          <a:ea typeface="+mn-ea"/>
                          <a:cs typeface="+mn-cs"/>
                        </a:rPr>
                        <a:t>+11% </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1154587663"/>
                  </a:ext>
                </a:extLst>
              </a:tr>
              <a:tr h="248518">
                <a:tc>
                  <a:txBody>
                    <a:bodyPr/>
                    <a:lstStyle/>
                    <a:p>
                      <a:pPr algn="l" rtl="0" fontAlgn="ctr"/>
                      <a:r>
                        <a:rPr lang="en-GB" sz="900" b="0" i="0" u="none" strike="noStrike">
                          <a:solidFill>
                            <a:schemeClr val="bg1"/>
                          </a:solidFill>
                          <a:effectLst/>
                          <a:latin typeface="+mj-lt"/>
                        </a:rPr>
                        <a:t>6</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l" rtl="0" fontAlgn="ctr"/>
                      <a:r>
                        <a:rPr lang="en-GB" sz="900" b="0" i="0" u="none" strike="noStrike" kern="1200" dirty="0" err="1">
                          <a:solidFill>
                            <a:schemeClr val="bg1"/>
                          </a:solidFill>
                          <a:effectLst/>
                          <a:latin typeface="+mj-lt"/>
                          <a:ea typeface="+mn-ea"/>
                          <a:cs typeface="+mn-cs"/>
                        </a:rPr>
                        <a:t>Migros</a:t>
                      </a:r>
                      <a:r>
                        <a:rPr lang="en-GB" sz="900" b="0" i="0" u="none" strike="noStrike" kern="1200" dirty="0">
                          <a:solidFill>
                            <a:schemeClr val="bg1"/>
                          </a:solidFill>
                          <a:effectLst/>
                          <a:latin typeface="+mj-lt"/>
                          <a:ea typeface="+mn-ea"/>
                          <a:cs typeface="+mn-cs"/>
                        </a:rPr>
                        <a:t> Group</a:t>
                      </a:r>
                    </a:p>
                  </a:txBody>
                  <a:tcPr marL="0" marR="0" marT="0" marB="0" anchor="ctr">
                    <a:lnL>
                      <a:noFill/>
                    </a:lnL>
                    <a:lnR>
                      <a:noFill/>
                    </a:lnR>
                    <a:lnT>
                      <a:noFill/>
                    </a:lnT>
                    <a:lnB>
                      <a:noFill/>
                    </a:lnB>
                  </a:tcPr>
                </a:tc>
                <a:tc>
                  <a:txBody>
                    <a:bodyPr/>
                    <a:lstStyle/>
                    <a:p>
                      <a:pPr algn="r" rtl="0" fontAlgn="ctr"/>
                      <a:r>
                        <a:rPr lang="en-GB" sz="900" b="0" i="0" u="none" strike="noStrike" kern="1200">
                          <a:solidFill>
                            <a:schemeClr val="bg1"/>
                          </a:solidFill>
                          <a:effectLst/>
                          <a:latin typeface="+mj-lt"/>
                          <a:ea typeface="+mn-ea"/>
                          <a:cs typeface="+mn-cs"/>
                        </a:rPr>
                        <a:t>246 </a:t>
                      </a:r>
                      <a:endParaRPr lang="en-GB" sz="900" b="0" i="0" u="none" strike="noStrike" kern="1200" dirty="0">
                        <a:solidFill>
                          <a:schemeClr val="bg1"/>
                        </a:solidFill>
                        <a:effectLst/>
                        <a:latin typeface="+mj-lt"/>
                        <a:ea typeface="+mn-ea"/>
                        <a:cs typeface="+mn-cs"/>
                      </a:endParaRPr>
                    </a:p>
                  </a:txBody>
                  <a:tcPr marL="0" marR="0" marT="0"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198 </a:t>
                      </a:r>
                    </a:p>
                  </a:txBody>
                  <a:tcPr marL="0" marR="0" marT="0"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b"/>
                      <a:r>
                        <a:rPr lang="en-GB" sz="900" b="0" i="0" u="none" strike="noStrike" kern="1200">
                          <a:solidFill>
                            <a:schemeClr val="bg1"/>
                          </a:solidFill>
                          <a:effectLst/>
                          <a:latin typeface="+mj-lt"/>
                          <a:ea typeface="+mn-ea"/>
                          <a:cs typeface="+mn-cs"/>
                        </a:rPr>
                        <a:t>            (48)</a:t>
                      </a:r>
                      <a:endParaRPr lang="en-GB" sz="900" b="0" i="0" u="none" strike="noStrike" kern="1200" dirty="0">
                        <a:solidFill>
                          <a:schemeClr val="bg1"/>
                        </a:solidFill>
                        <a:effectLst/>
                        <a:latin typeface="+mj-lt"/>
                        <a:ea typeface="+mn-ea"/>
                        <a:cs typeface="+mn-cs"/>
                      </a:endParaRPr>
                    </a:p>
                  </a:txBody>
                  <a:tcPr marL="0" marR="0" marT="0" marB="0" anchor="ctr">
                    <a:lnL>
                      <a:noFill/>
                    </a:lnL>
                    <a:lnR>
                      <a:noFill/>
                    </a:lnR>
                    <a:lnT>
                      <a:noFill/>
                    </a:lnT>
                    <a:lnB>
                      <a:noFill/>
                    </a:lnB>
                  </a:tcPr>
                </a:tc>
                <a:tc>
                  <a:txBody>
                    <a:bodyPr/>
                    <a:lstStyle/>
                    <a:p>
                      <a:pPr marL="0" indent="0" algn="r" rtl="0" fontAlgn="ctr">
                        <a:buFont typeface="Arial" panose="020B0604020202020204" pitchFamily="34" charset="0"/>
                        <a:buNone/>
                      </a:pPr>
                      <a:r>
                        <a:rPr lang="en-GB" sz="900" b="0" i="0" u="none" strike="noStrike" kern="1200" dirty="0">
                          <a:solidFill>
                            <a:schemeClr val="bg1"/>
                          </a:solidFill>
                          <a:effectLst/>
                          <a:latin typeface="+mj-lt"/>
                          <a:ea typeface="+mn-ea"/>
                          <a:cs typeface="+mn-cs"/>
                        </a:rPr>
                        <a:t>(20%)</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250517962"/>
                  </a:ext>
                </a:extLst>
              </a:tr>
              <a:tr h="248518">
                <a:tc>
                  <a:txBody>
                    <a:bodyPr/>
                    <a:lstStyle/>
                    <a:p>
                      <a:pPr algn="l" rtl="0" fontAlgn="ctr"/>
                      <a:r>
                        <a:rPr lang="en-GB" sz="900" b="0" i="0" u="none" strike="noStrike">
                          <a:solidFill>
                            <a:schemeClr val="bg1"/>
                          </a:solidFill>
                          <a:effectLst/>
                          <a:latin typeface="+mj-lt"/>
                        </a:rPr>
                        <a:t>7</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l" rtl="0" fontAlgn="ctr"/>
                      <a:r>
                        <a:rPr lang="en-GB" sz="900" b="0" i="0" u="none" strike="noStrike" kern="1200" dirty="0">
                          <a:solidFill>
                            <a:srgbClr val="FFFF00"/>
                          </a:solidFill>
                          <a:effectLst/>
                          <a:latin typeface="+mj-lt"/>
                          <a:ea typeface="+mn-ea"/>
                          <a:cs typeface="+mn-cs"/>
                        </a:rPr>
                        <a:t>RSG Group</a:t>
                      </a:r>
                      <a:r>
                        <a:rPr lang="en-GB" sz="1000" b="0" i="0" u="none" strike="noStrike" kern="1200" baseline="30000" dirty="0">
                          <a:solidFill>
                            <a:srgbClr val="FFFF00"/>
                          </a:solidFill>
                          <a:effectLst/>
                          <a:latin typeface="+mj-lt"/>
                          <a:ea typeface="+mn-ea"/>
                          <a:cs typeface="+mn-cs"/>
                        </a:rPr>
                        <a:t>3</a:t>
                      </a:r>
                    </a:p>
                  </a:txBody>
                  <a:tcPr marL="0" marR="0" marT="0" marB="0" anchor="ctr">
                    <a:lnL>
                      <a:noFill/>
                    </a:lnL>
                    <a:lnR>
                      <a:noFill/>
                    </a:lnR>
                    <a:lnT>
                      <a:noFill/>
                    </a:lnT>
                    <a:lnB>
                      <a:noFill/>
                    </a:lnB>
                  </a:tcPr>
                </a:tc>
                <a:tc>
                  <a:txBody>
                    <a:bodyPr/>
                    <a:lstStyle/>
                    <a:p>
                      <a:pPr algn="r" rtl="0" fontAlgn="ctr"/>
                      <a:r>
                        <a:rPr lang="en-GB" sz="900" b="0" i="0" u="none" strike="noStrike" kern="1200">
                          <a:solidFill>
                            <a:schemeClr val="bg1"/>
                          </a:solidFill>
                          <a:effectLst/>
                          <a:latin typeface="+mj-lt"/>
                          <a:ea typeface="+mn-ea"/>
                          <a:cs typeface="+mn-cs"/>
                        </a:rPr>
                        <a:t>281 </a:t>
                      </a:r>
                      <a:endParaRPr lang="en-GB" sz="900" b="0" i="0" u="none" strike="noStrike" kern="1200" dirty="0">
                        <a:solidFill>
                          <a:schemeClr val="bg1"/>
                        </a:solidFill>
                        <a:effectLst/>
                        <a:latin typeface="+mj-lt"/>
                        <a:ea typeface="+mn-ea"/>
                        <a:cs typeface="+mn-cs"/>
                      </a:endParaRPr>
                    </a:p>
                  </a:txBody>
                  <a:tcPr marL="0" marR="0" marT="0"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175 </a:t>
                      </a:r>
                    </a:p>
                  </a:txBody>
                  <a:tcPr marL="0" marR="0" marT="0"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b"/>
                      <a:r>
                        <a:rPr lang="en-GB" sz="900" b="0" i="0" u="none" strike="noStrike" kern="1200">
                          <a:solidFill>
                            <a:schemeClr val="bg1"/>
                          </a:solidFill>
                          <a:effectLst/>
                          <a:latin typeface="+mj-lt"/>
                          <a:ea typeface="+mn-ea"/>
                          <a:cs typeface="+mn-cs"/>
                        </a:rPr>
                        <a:t>          (106)</a:t>
                      </a:r>
                      <a:endParaRPr lang="en-GB" sz="900" b="0" i="0" u="none" strike="noStrike" kern="1200" dirty="0">
                        <a:solidFill>
                          <a:schemeClr val="bg1"/>
                        </a:solidFill>
                        <a:effectLst/>
                        <a:latin typeface="+mj-lt"/>
                        <a:ea typeface="+mn-ea"/>
                        <a:cs typeface="+mn-cs"/>
                      </a:endParaRPr>
                    </a:p>
                  </a:txBody>
                  <a:tcPr marL="0" marR="0" marT="0" marB="0" anchor="ctr">
                    <a:lnL>
                      <a:noFill/>
                    </a:lnL>
                    <a:lnR>
                      <a:noFill/>
                    </a:lnR>
                    <a:lnT>
                      <a:noFill/>
                    </a:lnT>
                    <a:lnB>
                      <a:noFill/>
                    </a:lnB>
                  </a:tcPr>
                </a:tc>
                <a:tc>
                  <a:txBody>
                    <a:bodyPr/>
                    <a:lstStyle/>
                    <a:p>
                      <a:pPr marL="0" indent="0" algn="r" rtl="0" fontAlgn="ctr">
                        <a:buFont typeface="Arial" panose="020B0604020202020204" pitchFamily="34" charset="0"/>
                        <a:buNone/>
                      </a:pPr>
                      <a:r>
                        <a:rPr lang="en-GB" sz="900" b="0" i="0" u="none" strike="noStrike" kern="1200" dirty="0">
                          <a:solidFill>
                            <a:schemeClr val="bg1"/>
                          </a:solidFill>
                          <a:effectLst/>
                          <a:latin typeface="+mj-lt"/>
                          <a:ea typeface="+mn-ea"/>
                          <a:cs typeface="+mn-cs"/>
                        </a:rPr>
                        <a:t>(38%)</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426764952"/>
                  </a:ext>
                </a:extLst>
              </a:tr>
              <a:tr h="248518">
                <a:tc>
                  <a:txBody>
                    <a:bodyPr/>
                    <a:lstStyle/>
                    <a:p>
                      <a:pPr algn="l" rtl="0" fontAlgn="ctr"/>
                      <a:r>
                        <a:rPr lang="en-GB" sz="900" b="0" i="0" u="none" strike="noStrike">
                          <a:solidFill>
                            <a:schemeClr val="bg1"/>
                          </a:solidFill>
                          <a:effectLst/>
                          <a:latin typeface="+mj-lt"/>
                        </a:rPr>
                        <a:t>8</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l" rtl="0" fontAlgn="ctr"/>
                      <a:r>
                        <a:rPr lang="en-GB" sz="900" b="0" i="0" u="none" strike="noStrike" kern="1200" dirty="0">
                          <a:solidFill>
                            <a:srgbClr val="FFFF00"/>
                          </a:solidFill>
                          <a:effectLst/>
                          <a:latin typeface="+mj-lt"/>
                          <a:ea typeface="+mn-ea"/>
                          <a:cs typeface="+mn-cs"/>
                        </a:rPr>
                        <a:t>Fitness Park Group</a:t>
                      </a:r>
                    </a:p>
                  </a:txBody>
                  <a:tcPr marL="0" marR="0" marT="0" marB="0" anchor="ctr">
                    <a:lnL>
                      <a:noFill/>
                    </a:lnL>
                    <a:lnR>
                      <a:noFill/>
                    </a:lnR>
                    <a:lnT>
                      <a:noFill/>
                    </a:lnT>
                    <a:lnB>
                      <a:noFill/>
                    </a:lnB>
                  </a:tcPr>
                </a:tc>
                <a:tc>
                  <a:txBody>
                    <a:bodyPr/>
                    <a:lstStyle/>
                    <a:p>
                      <a:pPr algn="r" rtl="0" fontAlgn="ctr"/>
                      <a:r>
                        <a:rPr lang="en-GB" sz="900" b="0" i="0" u="none" strike="noStrike" kern="1200">
                          <a:solidFill>
                            <a:schemeClr val="bg1"/>
                          </a:solidFill>
                          <a:effectLst/>
                          <a:latin typeface="+mj-lt"/>
                          <a:ea typeface="+mn-ea"/>
                          <a:cs typeface="+mn-cs"/>
                        </a:rPr>
                        <a:t>150 </a:t>
                      </a:r>
                      <a:endParaRPr lang="en-GB" sz="900" b="0" i="0" u="none" strike="noStrike" kern="1200" dirty="0">
                        <a:solidFill>
                          <a:schemeClr val="bg1"/>
                        </a:solidFill>
                        <a:effectLst/>
                        <a:latin typeface="+mj-lt"/>
                        <a:ea typeface="+mn-ea"/>
                        <a:cs typeface="+mn-cs"/>
                      </a:endParaRPr>
                    </a:p>
                  </a:txBody>
                  <a:tcPr marL="0" marR="0" marT="0"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130 </a:t>
                      </a:r>
                    </a:p>
                  </a:txBody>
                  <a:tcPr marL="0" marR="0" marT="0"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b"/>
                      <a:r>
                        <a:rPr lang="en-GB" sz="900" b="0" i="0" u="none" strike="noStrike" kern="1200">
                          <a:solidFill>
                            <a:schemeClr val="bg1"/>
                          </a:solidFill>
                          <a:effectLst/>
                          <a:latin typeface="+mj-lt"/>
                          <a:ea typeface="+mn-ea"/>
                          <a:cs typeface="+mn-cs"/>
                        </a:rPr>
                        <a:t>            (20)</a:t>
                      </a:r>
                      <a:endParaRPr lang="en-GB" sz="900" b="0" i="0" u="none" strike="noStrike" kern="1200" dirty="0">
                        <a:solidFill>
                          <a:schemeClr val="bg1"/>
                        </a:solidFill>
                        <a:effectLst/>
                        <a:latin typeface="+mj-lt"/>
                        <a:ea typeface="+mn-ea"/>
                        <a:cs typeface="+mn-cs"/>
                      </a:endParaRPr>
                    </a:p>
                  </a:txBody>
                  <a:tcPr marL="0" marR="0" marT="0" marB="0" anchor="ctr">
                    <a:lnL>
                      <a:noFill/>
                    </a:lnL>
                    <a:lnR>
                      <a:noFill/>
                    </a:lnR>
                    <a:lnT>
                      <a:noFill/>
                    </a:lnT>
                    <a:lnB>
                      <a:noFill/>
                    </a:lnB>
                  </a:tcPr>
                </a:tc>
                <a:tc>
                  <a:txBody>
                    <a:bodyPr/>
                    <a:lstStyle/>
                    <a:p>
                      <a:pPr marL="0" indent="0" algn="r" rtl="0" fontAlgn="ctr">
                        <a:buFont typeface="Arial" panose="020B0604020202020204" pitchFamily="34" charset="0"/>
                        <a:buNone/>
                      </a:pPr>
                      <a:r>
                        <a:rPr lang="en-GB" sz="900" b="0" i="0" u="none" strike="noStrike" kern="1200" dirty="0">
                          <a:solidFill>
                            <a:schemeClr val="bg1"/>
                          </a:solidFill>
                          <a:effectLst/>
                          <a:latin typeface="+mj-lt"/>
                          <a:ea typeface="+mn-ea"/>
                          <a:cs typeface="+mn-cs"/>
                        </a:rPr>
                        <a:t>(13%)</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highlight>
                          <a:srgbClr val="FF0000"/>
                        </a:highlight>
                        <a:latin typeface="+mj-lt"/>
                        <a:ea typeface="+mn-ea"/>
                        <a:cs typeface="+mn-cs"/>
                      </a:endParaRPr>
                    </a:p>
                  </a:txBody>
                  <a:tcPr marL="9525" marR="9525" marT="9525" marB="0" anchor="ctr">
                    <a:lnL>
                      <a:noFill/>
                    </a:lnL>
                    <a:lnR>
                      <a:noFill/>
                    </a:lnR>
                    <a:lnT>
                      <a:noFill/>
                    </a:lnT>
                    <a:lnB>
                      <a:noFill/>
                    </a:lnB>
                  </a:tcPr>
                </a:tc>
                <a:extLst>
                  <a:ext uri="{0D108BD9-81ED-4DB2-BD59-A6C34878D82A}">
                    <a16:rowId xmlns:a16="http://schemas.microsoft.com/office/drawing/2014/main" val="913306711"/>
                  </a:ext>
                </a:extLst>
              </a:tr>
              <a:tr h="248518">
                <a:tc>
                  <a:txBody>
                    <a:bodyPr/>
                    <a:lstStyle/>
                    <a:p>
                      <a:pPr algn="l" rtl="0" fontAlgn="ctr"/>
                      <a:r>
                        <a:rPr lang="en-GB" sz="900" b="0" i="0" u="none" strike="noStrike">
                          <a:solidFill>
                            <a:schemeClr val="bg1"/>
                          </a:solidFill>
                          <a:effectLst/>
                          <a:latin typeface="+mj-lt"/>
                        </a:rPr>
                        <a:t>9</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l" rtl="0" fontAlgn="ctr"/>
                      <a:r>
                        <a:rPr lang="en-GB" sz="900" b="0" i="0" u="none" strike="noStrike" kern="1200" dirty="0">
                          <a:solidFill>
                            <a:srgbClr val="FFFF00"/>
                          </a:solidFill>
                          <a:effectLst/>
                          <a:latin typeface="+mj-lt"/>
                          <a:ea typeface="+mn-ea"/>
                          <a:cs typeface="+mn-cs"/>
                        </a:rPr>
                        <a:t>The Gym Group</a:t>
                      </a:r>
                    </a:p>
                  </a:txBody>
                  <a:tcPr marL="0" marR="0" marT="0" marB="0" anchor="ctr">
                    <a:lnL>
                      <a:noFill/>
                    </a:lnL>
                    <a:lnR>
                      <a:noFill/>
                    </a:lnR>
                    <a:lnT>
                      <a:noFill/>
                    </a:lnT>
                    <a:lnB>
                      <a:noFill/>
                    </a:lnB>
                  </a:tcPr>
                </a:tc>
                <a:tc>
                  <a:txBody>
                    <a:bodyPr/>
                    <a:lstStyle/>
                    <a:p>
                      <a:pPr algn="r" rtl="0" fontAlgn="ctr"/>
                      <a:r>
                        <a:rPr lang="en-GB" sz="900" b="0" i="0" u="none" strike="noStrike" kern="1200">
                          <a:solidFill>
                            <a:schemeClr val="bg1"/>
                          </a:solidFill>
                          <a:effectLst/>
                          <a:latin typeface="+mj-lt"/>
                          <a:ea typeface="+mn-ea"/>
                          <a:cs typeface="+mn-cs"/>
                        </a:rPr>
                        <a:t>91 </a:t>
                      </a:r>
                      <a:endParaRPr lang="en-GB" sz="900" b="0" i="0" u="none" strike="noStrike" kern="1200" dirty="0">
                        <a:solidFill>
                          <a:schemeClr val="bg1"/>
                        </a:solidFill>
                        <a:effectLst/>
                        <a:latin typeface="+mj-lt"/>
                        <a:ea typeface="+mn-ea"/>
                        <a:cs typeface="+mn-cs"/>
                      </a:endParaRPr>
                    </a:p>
                  </a:txBody>
                  <a:tcPr marL="0" marR="0" marT="0"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126 </a:t>
                      </a:r>
                    </a:p>
                  </a:txBody>
                  <a:tcPr marL="0" marR="0" marT="0"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b"/>
                      <a:r>
                        <a:rPr lang="en-GB" sz="900" b="0" i="0" u="none" strike="noStrike" kern="1200" dirty="0">
                          <a:solidFill>
                            <a:schemeClr val="bg1"/>
                          </a:solidFill>
                          <a:effectLst/>
                          <a:latin typeface="+mj-lt"/>
                          <a:ea typeface="+mn-ea"/>
                          <a:cs typeface="+mn-cs"/>
                        </a:rPr>
                        <a:t>             35 </a:t>
                      </a:r>
                    </a:p>
                  </a:txBody>
                  <a:tcPr marL="0" marR="0" marT="0" marB="0" anchor="ctr">
                    <a:lnL>
                      <a:noFill/>
                    </a:lnL>
                    <a:lnR>
                      <a:noFill/>
                    </a:lnR>
                    <a:lnT>
                      <a:noFill/>
                    </a:lnT>
                    <a:lnB>
                      <a:noFill/>
                    </a:lnB>
                  </a:tcPr>
                </a:tc>
                <a:tc>
                  <a:txBody>
                    <a:bodyPr/>
                    <a:lstStyle/>
                    <a:p>
                      <a:pPr marL="0" indent="0" algn="r" rtl="0" fontAlgn="ctr">
                        <a:buFont typeface="Arial" panose="020B0604020202020204" pitchFamily="34" charset="0"/>
                        <a:buNone/>
                      </a:pPr>
                      <a:r>
                        <a:rPr lang="en-GB" sz="900" b="0" i="0" u="none" strike="noStrike" kern="1200" dirty="0">
                          <a:solidFill>
                            <a:srgbClr val="FF0000"/>
                          </a:solidFill>
                          <a:effectLst/>
                          <a:latin typeface="+mj-lt"/>
                          <a:ea typeface="+mn-ea"/>
                          <a:cs typeface="+mn-cs"/>
                        </a:rPr>
                        <a:t>+39%</a:t>
                      </a:r>
                      <a:r>
                        <a:rPr lang="en-GB" sz="900" b="0" i="0" u="none" strike="noStrike" kern="1200" dirty="0">
                          <a:solidFill>
                            <a:schemeClr val="bg1"/>
                          </a:solidFill>
                          <a:effectLst/>
                          <a:latin typeface="+mj-lt"/>
                          <a:ea typeface="+mn-ea"/>
                          <a:cs typeface="+mn-cs"/>
                        </a:rPr>
                        <a:t> </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2616671315"/>
                  </a:ext>
                </a:extLst>
              </a:tr>
              <a:tr h="248518">
                <a:tc>
                  <a:txBody>
                    <a:bodyPr/>
                    <a:lstStyle/>
                    <a:p>
                      <a:pPr algn="l" rtl="0" fontAlgn="ctr"/>
                      <a:r>
                        <a:rPr lang="en-GB" sz="900" b="0" i="0" u="none" strike="noStrike">
                          <a:solidFill>
                            <a:schemeClr val="bg1"/>
                          </a:solidFill>
                          <a:effectLst/>
                          <a:latin typeface="+mj-lt"/>
                        </a:rPr>
                        <a:t>10</a:t>
                      </a: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l" rtl="0" fontAlgn="ctr"/>
                      <a:r>
                        <a:rPr lang="en-GB" sz="900" b="0" i="0" u="none" strike="noStrike" kern="1200" dirty="0">
                          <a:solidFill>
                            <a:schemeClr val="bg1"/>
                          </a:solidFill>
                          <a:effectLst/>
                          <a:latin typeface="+mj-lt"/>
                          <a:ea typeface="+mn-ea"/>
                          <a:cs typeface="+mn-cs"/>
                        </a:rPr>
                        <a:t>Virgin Active</a:t>
                      </a:r>
                      <a:r>
                        <a:rPr lang="en-GB" sz="1000" b="0" i="0" u="none" strike="noStrike" kern="1200" baseline="30000" dirty="0">
                          <a:solidFill>
                            <a:schemeClr val="bg1"/>
                          </a:solidFill>
                          <a:effectLst/>
                          <a:latin typeface="+mj-lt"/>
                          <a:ea typeface="+mn-ea"/>
                          <a:cs typeface="+mn-cs"/>
                        </a:rPr>
                        <a:t>3</a:t>
                      </a:r>
                    </a:p>
                  </a:txBody>
                  <a:tcPr marL="0" marR="0" marT="0"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154 </a:t>
                      </a:r>
                    </a:p>
                  </a:txBody>
                  <a:tcPr marL="0" marR="0" marT="0" marB="0" anchor="ctr">
                    <a:lnL>
                      <a:noFill/>
                    </a:lnL>
                    <a:lnR>
                      <a:noFill/>
                    </a:lnR>
                    <a:lnT>
                      <a:noFill/>
                    </a:lnT>
                    <a:lnB>
                      <a:noFill/>
                    </a:lnB>
                  </a:tcPr>
                </a:tc>
                <a:tc>
                  <a:txBody>
                    <a:bodyPr/>
                    <a:lstStyle/>
                    <a:p>
                      <a:pPr algn="r" rtl="0" fontAlgn="ctr"/>
                      <a:r>
                        <a:rPr lang="en-GB" sz="900" b="0" i="0" u="none" strike="noStrike" kern="1200" dirty="0">
                          <a:solidFill>
                            <a:schemeClr val="bg1"/>
                          </a:solidFill>
                          <a:effectLst/>
                          <a:latin typeface="+mj-lt"/>
                          <a:ea typeface="+mn-ea"/>
                          <a:cs typeface="+mn-cs"/>
                        </a:rPr>
                        <a:t>125 </a:t>
                      </a:r>
                    </a:p>
                  </a:txBody>
                  <a:tcPr marL="0" marR="0" marT="0" marB="0" anchor="ctr">
                    <a:lnL>
                      <a:noFill/>
                    </a:lnL>
                    <a:lnR>
                      <a:noFill/>
                    </a:lnR>
                    <a:lnT>
                      <a:noFill/>
                    </a:lnT>
                    <a:lnB>
                      <a:noFill/>
                    </a:lnB>
                  </a:tcPr>
                </a:tc>
                <a:tc>
                  <a:txBody>
                    <a:bodyPr/>
                    <a:lstStyle/>
                    <a:p>
                      <a:pPr algn="r" rtl="0" fontAlgn="ctr"/>
                      <a:endParaRPr lang="en-GB" sz="900" b="0" i="0" u="none" strike="noStrike" dirty="0">
                        <a:solidFill>
                          <a:schemeClr val="bg1"/>
                        </a:solidFill>
                        <a:effectLst/>
                        <a:latin typeface="+mj-lt"/>
                      </a:endParaRPr>
                    </a:p>
                  </a:txBody>
                  <a:tcPr marL="9525" marR="9525" marT="9525" marB="0" anchor="ctr">
                    <a:lnL>
                      <a:noFill/>
                    </a:lnL>
                    <a:lnR>
                      <a:noFill/>
                    </a:lnR>
                    <a:lnT>
                      <a:noFill/>
                    </a:lnT>
                    <a:lnB>
                      <a:noFill/>
                    </a:lnB>
                  </a:tcPr>
                </a:tc>
                <a:tc>
                  <a:txBody>
                    <a:bodyPr/>
                    <a:lstStyle/>
                    <a:p>
                      <a:pPr algn="r" rtl="0" fontAlgn="b"/>
                      <a:r>
                        <a:rPr lang="en-GB" sz="900" b="0" i="0" u="none" strike="noStrike" kern="1200" dirty="0">
                          <a:solidFill>
                            <a:schemeClr val="bg1"/>
                          </a:solidFill>
                          <a:effectLst/>
                          <a:latin typeface="+mj-lt"/>
                          <a:ea typeface="+mn-ea"/>
                          <a:cs typeface="+mn-cs"/>
                        </a:rPr>
                        <a:t>            (29)</a:t>
                      </a:r>
                    </a:p>
                  </a:txBody>
                  <a:tcPr marL="0" marR="0" marT="0" marB="0" anchor="ctr">
                    <a:lnL>
                      <a:noFill/>
                    </a:lnL>
                    <a:lnR>
                      <a:noFill/>
                    </a:lnR>
                    <a:lnT>
                      <a:noFill/>
                    </a:lnT>
                    <a:lnB>
                      <a:noFill/>
                    </a:lnB>
                  </a:tcPr>
                </a:tc>
                <a:tc>
                  <a:txBody>
                    <a:bodyPr/>
                    <a:lstStyle/>
                    <a:p>
                      <a:pPr marL="0" indent="0" algn="r" rtl="0" fontAlgn="ctr">
                        <a:buFont typeface="Arial" panose="020B0604020202020204" pitchFamily="34" charset="0"/>
                        <a:buNone/>
                      </a:pPr>
                      <a:r>
                        <a:rPr lang="en-GB" sz="900" b="0" i="0" u="none" strike="noStrike" kern="1200" dirty="0">
                          <a:solidFill>
                            <a:schemeClr val="bg1"/>
                          </a:solidFill>
                          <a:effectLst/>
                          <a:latin typeface="+mj-lt"/>
                          <a:ea typeface="+mn-ea"/>
                          <a:cs typeface="+mn-cs"/>
                        </a:rPr>
                        <a:t>(19%)</a:t>
                      </a:r>
                    </a:p>
                  </a:txBody>
                  <a:tcPr marL="0" marR="0" marT="0"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endParaRPr lang="en-GB" sz="900" b="0" i="0" u="none" strike="noStrike" dirty="0">
                        <a:solidFill>
                          <a:schemeClr val="bg1"/>
                        </a:solidFill>
                        <a:effectLst/>
                        <a:highlight>
                          <a:srgbClr val="FF0000"/>
                        </a:highligh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3178843647"/>
                  </a:ext>
                </a:extLst>
              </a:tr>
              <a:tr h="446098">
                <a:tc gridSpan="2">
                  <a:txBody>
                    <a:bodyPr/>
                    <a:lstStyle/>
                    <a:p>
                      <a:pPr algn="l" rtl="0" fontAlgn="ctr"/>
                      <a:r>
                        <a:rPr lang="en-GB" sz="900" b="1" i="0" u="none" strike="noStrike" dirty="0">
                          <a:solidFill>
                            <a:schemeClr val="bg1"/>
                          </a:solidFill>
                          <a:effectLst/>
                          <a:latin typeface="+mj-lt"/>
                        </a:rPr>
                        <a:t>Total Top-10 operators</a:t>
                      </a:r>
                    </a:p>
                  </a:txBody>
                  <a:tcPr marL="9525" marR="9525" marT="9525" marB="0" anchor="ctr">
                    <a:lnL>
                      <a:noFill/>
                    </a:lnL>
                    <a:lnR>
                      <a:noFill/>
                    </a:lnR>
                    <a:lnT>
                      <a:noFill/>
                    </a:lnT>
                    <a:lnB>
                      <a:noFill/>
                    </a:lnB>
                  </a:tcPr>
                </a:tc>
                <a:tc hMerge="1">
                  <a:txBody>
                    <a:bodyPr/>
                    <a:lstStyle/>
                    <a:p>
                      <a:endParaRPr lang="de-DE"/>
                    </a:p>
                  </a:txBody>
                  <a:tcPr/>
                </a:tc>
                <a:tc>
                  <a:txBody>
                    <a:bodyPr/>
                    <a:lstStyle/>
                    <a:p>
                      <a:pPr algn="r" rtl="0" fontAlgn="ctr"/>
                      <a:r>
                        <a:rPr lang="en-GB" sz="900" b="1" i="0" u="none" strike="noStrike" dirty="0">
                          <a:solidFill>
                            <a:schemeClr val="bg1"/>
                          </a:solidFill>
                          <a:effectLst/>
                          <a:latin typeface="+mj-lt"/>
                        </a:rPr>
                        <a:t>2.487</a:t>
                      </a:r>
                    </a:p>
                  </a:txBody>
                  <a:tcPr marL="9525" marR="9525" marT="9525" marB="0" anchor="ctr">
                    <a:lnL>
                      <a:noFill/>
                    </a:lnL>
                    <a:lnR>
                      <a:noFill/>
                    </a:lnR>
                    <a:lnT>
                      <a:noFill/>
                    </a:lnT>
                    <a:lnB>
                      <a:noFill/>
                    </a:lnB>
                  </a:tcPr>
                </a:tc>
                <a:tc>
                  <a:txBody>
                    <a:bodyPr/>
                    <a:lstStyle/>
                    <a:p>
                      <a:pPr algn="r" rtl="0" fontAlgn="ctr"/>
                      <a:r>
                        <a:rPr lang="en-GB" sz="900" b="1" i="0" u="none" strike="noStrike" dirty="0">
                          <a:solidFill>
                            <a:schemeClr val="bg1"/>
                          </a:solidFill>
                          <a:effectLst/>
                          <a:latin typeface="+mj-lt"/>
                        </a:rPr>
                        <a:t>2.538</a:t>
                      </a:r>
                    </a:p>
                  </a:txBody>
                  <a:tcPr marL="9525" marR="9525" marT="9525" marB="0" anchor="ctr">
                    <a:lnL>
                      <a:noFill/>
                    </a:lnL>
                    <a:lnR>
                      <a:noFill/>
                    </a:lnR>
                    <a:lnT>
                      <a:noFill/>
                    </a:lnT>
                    <a:lnB>
                      <a:noFill/>
                    </a:lnB>
                  </a:tcPr>
                </a:tc>
                <a:tc>
                  <a:txBody>
                    <a:bodyPr/>
                    <a:lstStyle/>
                    <a:p>
                      <a:pPr algn="r" rtl="0" fontAlgn="ctr"/>
                      <a:endParaRPr lang="en-GB" sz="900" b="1" i="0" u="none" strike="noStrike" dirty="0">
                        <a:solidFill>
                          <a:schemeClr val="bg1"/>
                        </a:solidFill>
                        <a:effectLst/>
                        <a:latin typeface="+mj-lt"/>
                      </a:endParaRPr>
                    </a:p>
                  </a:txBody>
                  <a:tcPr marL="9525" marR="9525" marT="9525" marB="0" anchor="ctr">
                    <a:lnL>
                      <a:noFill/>
                    </a:lnL>
                    <a:lnR>
                      <a:noFill/>
                    </a:lnR>
                    <a:lnT>
                      <a:noFill/>
                    </a:lnT>
                    <a:lnB>
                      <a:noFill/>
                    </a:lnB>
                    <a:solidFill>
                      <a:schemeClr val="tx1"/>
                    </a:solidFill>
                  </a:tcPr>
                </a:tc>
                <a:tc>
                  <a:txBody>
                    <a:bodyPr/>
                    <a:lstStyle/>
                    <a:p>
                      <a:pPr algn="r" rtl="0" fontAlgn="ctr"/>
                      <a:r>
                        <a:rPr lang="en-GB" sz="900" b="1" i="0" u="none" strike="noStrike" dirty="0">
                          <a:solidFill>
                            <a:schemeClr val="bg1"/>
                          </a:solidFill>
                          <a:effectLst/>
                          <a:latin typeface="+mj-lt"/>
                        </a:rPr>
                        <a:t>51</a:t>
                      </a:r>
                    </a:p>
                  </a:txBody>
                  <a:tcPr marL="9525" marR="9525" marT="9525" marB="0" anchor="ctr">
                    <a:lnL>
                      <a:noFill/>
                    </a:lnL>
                    <a:lnR>
                      <a:noFill/>
                    </a:lnR>
                    <a:lnT>
                      <a:noFill/>
                    </a:lnT>
                    <a:lnB>
                      <a:noFill/>
                    </a:lnB>
                    <a:solidFill>
                      <a:schemeClr val="tx1"/>
                    </a:solidFill>
                  </a:tcPr>
                </a:tc>
                <a:tc>
                  <a:txBody>
                    <a:bodyPr/>
                    <a:lstStyle/>
                    <a:p>
                      <a:pPr algn="r" rtl="0" fontAlgn="ctr"/>
                      <a:r>
                        <a:rPr lang="en-GB" sz="900" b="1" i="1" u="none" strike="noStrike" dirty="0">
                          <a:solidFill>
                            <a:schemeClr val="bg1"/>
                          </a:solidFill>
                          <a:effectLst/>
                          <a:latin typeface="+mj-lt"/>
                        </a:rPr>
                        <a:t>+2%</a:t>
                      </a:r>
                    </a:p>
                  </a:txBody>
                  <a:tcPr marL="9525" marR="9525" marT="9525" marB="0" anchor="ctr">
                    <a:lnL>
                      <a:noFill/>
                    </a:lnL>
                    <a:lnR>
                      <a:noFill/>
                    </a:lnR>
                    <a:lnT>
                      <a:noFill/>
                    </a:lnT>
                    <a:lnB>
                      <a:noFill/>
                    </a:lnB>
                  </a:tcPr>
                </a:tc>
                <a:tc>
                  <a:txBody>
                    <a:bodyPr/>
                    <a:lstStyle/>
                    <a:p>
                      <a:pPr algn="r" rtl="0" fontAlgn="ctr"/>
                      <a:endParaRPr lang="en-GB" sz="900" b="0" i="0" u="none" strike="noStrike" kern="1200" dirty="0">
                        <a:solidFill>
                          <a:schemeClr val="bg1"/>
                        </a:solidFill>
                        <a:effectLst/>
                        <a:latin typeface="+mj-lt"/>
                        <a:ea typeface="+mn-ea"/>
                        <a:cs typeface="+mn-cs"/>
                      </a:endParaRPr>
                    </a:p>
                  </a:txBody>
                  <a:tcPr marL="9525" marR="9525" marT="9525" marB="0" anchor="ctr">
                    <a:lnL>
                      <a:noFill/>
                    </a:lnL>
                    <a:lnR>
                      <a:noFill/>
                    </a:lnR>
                    <a:lnT>
                      <a:noFill/>
                    </a:lnT>
                    <a:lnB>
                      <a:noFill/>
                    </a:lnB>
                  </a:tcPr>
                </a:tc>
                <a:tc>
                  <a:txBody>
                    <a:bodyPr/>
                    <a:lstStyle/>
                    <a:p>
                      <a:pPr algn="r" rtl="0" fontAlgn="ctr"/>
                      <a:endParaRPr lang="en-GB" sz="900" b="1" i="0" u="none" strike="noStrike" dirty="0">
                        <a:solidFill>
                          <a:schemeClr val="bg1"/>
                        </a:solidFill>
                        <a:effectLst/>
                        <a:latin typeface="+mj-lt"/>
                      </a:endParaRPr>
                    </a:p>
                  </a:txBody>
                  <a:tcPr marL="9525" marR="9525" marT="9525" marB="0" anchor="ctr">
                    <a:lnL>
                      <a:noFill/>
                    </a:lnL>
                    <a:lnR>
                      <a:noFill/>
                    </a:lnR>
                    <a:lnT>
                      <a:noFill/>
                    </a:lnT>
                    <a:lnB>
                      <a:noFill/>
                    </a:lnB>
                  </a:tcPr>
                </a:tc>
                <a:extLst>
                  <a:ext uri="{0D108BD9-81ED-4DB2-BD59-A6C34878D82A}">
                    <a16:rowId xmlns:a16="http://schemas.microsoft.com/office/drawing/2014/main" val="391657914"/>
                  </a:ext>
                </a:extLst>
              </a:tr>
              <a:tr h="244247">
                <a:tc gridSpan="9">
                  <a:txBody>
                    <a:bodyPr/>
                    <a:lstStyle/>
                    <a:p>
                      <a:pPr algn="l" rtl="0"/>
                      <a:endParaRPr lang="en-GB" sz="800" b="0" i="0" u="none" strike="noStrike" kern="1200" dirty="0">
                        <a:solidFill>
                          <a:schemeClr val="bg1"/>
                        </a:solidFill>
                        <a:effectLst/>
                        <a:latin typeface="+mn-lt"/>
                        <a:ea typeface="+mn-ea"/>
                        <a:cs typeface="+mn-cs"/>
                      </a:endParaRPr>
                    </a:p>
                  </a:txBody>
                  <a:tcPr marL="9525" marR="9525" marT="9525" marB="0">
                    <a:lnL>
                      <a:noFill/>
                    </a:lnL>
                    <a:lnR>
                      <a:noFill/>
                    </a:lnR>
                    <a:lnT>
                      <a:noFill/>
                    </a:lnT>
                    <a:lnB>
                      <a:noFill/>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pPr algn="r" fontAlgn="t"/>
                      <a:endParaRPr lang="en-US" sz="700" b="0" i="0" u="none" strike="noStrike" dirty="0">
                        <a:solidFill>
                          <a:schemeClr val="bg1"/>
                        </a:solidFill>
                        <a:effectLst/>
                        <a:latin typeface="Arial" panose="020B0604020202020204" pitchFamily="34" charset="0"/>
                      </a:endParaRPr>
                    </a:p>
                  </a:txBody>
                  <a:tcPr marL="9525" marR="9525" marT="9525" marB="0">
                    <a:lnL w="12700" cmpd="sng">
                      <a:noFill/>
                      <a:prstDash val="solid"/>
                    </a:lnL>
                    <a:lnR>
                      <a:noFill/>
                    </a:lnR>
                    <a:lnT>
                      <a:noFill/>
                    </a:lnT>
                    <a:lnB>
                      <a:noFill/>
                    </a:lnB>
                  </a:tcPr>
                </a:tc>
                <a:extLst>
                  <a:ext uri="{0D108BD9-81ED-4DB2-BD59-A6C34878D82A}">
                    <a16:rowId xmlns:a16="http://schemas.microsoft.com/office/drawing/2014/main" val="855467912"/>
                  </a:ext>
                </a:extLst>
              </a:tr>
            </a:tbl>
          </a:graphicData>
        </a:graphic>
      </p:graphicFrame>
      <p:graphicFrame>
        <p:nvGraphicFramePr>
          <p:cNvPr id="69" name="Table 20">
            <a:extLst>
              <a:ext uri="{FF2B5EF4-FFF2-40B4-BE49-F238E27FC236}">
                <a16:creationId xmlns:a16="http://schemas.microsoft.com/office/drawing/2014/main" id="{668A8B34-C7B8-4AB7-A24C-9AD2C79B7BB3}"/>
              </a:ext>
            </a:extLst>
          </p:cNvPr>
          <p:cNvGraphicFramePr>
            <a:graphicFrameLocks noGrp="1"/>
          </p:cNvGraphicFramePr>
          <p:nvPr/>
        </p:nvGraphicFramePr>
        <p:xfrm>
          <a:off x="8886423" y="2868819"/>
          <a:ext cx="2835677" cy="1268646"/>
        </p:xfrm>
        <a:graphic>
          <a:graphicData uri="http://schemas.openxmlformats.org/drawingml/2006/table">
            <a:tbl>
              <a:tblPr firstRow="1" bandRow="1">
                <a:tableStyleId>{2D5ABB26-0587-4C30-8999-92F81FD0307C}</a:tableStyleId>
              </a:tblPr>
              <a:tblGrid>
                <a:gridCol w="841841">
                  <a:extLst>
                    <a:ext uri="{9D8B030D-6E8A-4147-A177-3AD203B41FA5}">
                      <a16:colId xmlns:a16="http://schemas.microsoft.com/office/drawing/2014/main" val="149575367"/>
                    </a:ext>
                  </a:extLst>
                </a:gridCol>
                <a:gridCol w="664612">
                  <a:extLst>
                    <a:ext uri="{9D8B030D-6E8A-4147-A177-3AD203B41FA5}">
                      <a16:colId xmlns:a16="http://schemas.microsoft.com/office/drawing/2014/main" val="1774845781"/>
                    </a:ext>
                  </a:extLst>
                </a:gridCol>
                <a:gridCol w="664612">
                  <a:extLst>
                    <a:ext uri="{9D8B030D-6E8A-4147-A177-3AD203B41FA5}">
                      <a16:colId xmlns:a16="http://schemas.microsoft.com/office/drawing/2014/main" val="1166628397"/>
                    </a:ext>
                  </a:extLst>
                </a:gridCol>
                <a:gridCol w="664612">
                  <a:extLst>
                    <a:ext uri="{9D8B030D-6E8A-4147-A177-3AD203B41FA5}">
                      <a16:colId xmlns:a16="http://schemas.microsoft.com/office/drawing/2014/main" val="3036021772"/>
                    </a:ext>
                  </a:extLst>
                </a:gridCol>
              </a:tblGrid>
              <a:tr h="468977">
                <a:tc>
                  <a:txBody>
                    <a:bodyPr/>
                    <a:lstStyle/>
                    <a:p>
                      <a:r>
                        <a:rPr lang="de-DE" sz="1100" b="1" i="0" dirty="0">
                          <a:solidFill>
                            <a:schemeClr val="bg1"/>
                          </a:solidFill>
                        </a:rPr>
                        <a:t>CAGR</a:t>
                      </a:r>
                    </a:p>
                  </a:txBody>
                  <a:tcPr>
                    <a:lnL w="28575" cap="flat" cmpd="sng" algn="ctr">
                      <a:solidFill>
                        <a:srgbClr val="86BC25"/>
                      </a:solidFill>
                      <a:prstDash val="solid"/>
                      <a:round/>
                      <a:headEnd type="none" w="med" len="med"/>
                      <a:tailEnd type="none" w="med" len="med"/>
                    </a:lnL>
                    <a:lnR>
                      <a:noFill/>
                    </a:lnR>
                    <a:lnT w="28575" cap="flat" cmpd="sng" algn="ctr">
                      <a:solidFill>
                        <a:srgbClr val="86BC25"/>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de-DE" sz="1100" b="1" i="0" dirty="0">
                          <a:solidFill>
                            <a:schemeClr val="bg1"/>
                          </a:solidFill>
                        </a:rPr>
                        <a:t>2017-2019</a:t>
                      </a:r>
                    </a:p>
                  </a:txBody>
                  <a:tcPr>
                    <a:lnL>
                      <a:noFill/>
                    </a:lnL>
                    <a:lnR>
                      <a:noFill/>
                    </a:lnR>
                    <a:lnT w="28575" cap="flat" cmpd="sng" algn="ctr">
                      <a:solidFill>
                        <a:srgbClr val="86BC25"/>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de-DE" sz="1100" b="1" i="0" dirty="0">
                          <a:solidFill>
                            <a:schemeClr val="bg1"/>
                          </a:solidFill>
                        </a:rPr>
                        <a:t>2019-2020</a:t>
                      </a:r>
                    </a:p>
                  </a:txBody>
                  <a:tcPr>
                    <a:lnL>
                      <a:noFill/>
                    </a:lnL>
                    <a:lnR>
                      <a:noFill/>
                    </a:lnR>
                    <a:lnT w="28575" cap="flat" cmpd="sng" algn="ctr">
                      <a:solidFill>
                        <a:srgbClr val="86BC25"/>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de-DE" sz="1100" b="1" i="0" dirty="0">
                          <a:solidFill>
                            <a:schemeClr val="bg1"/>
                          </a:solidFill>
                        </a:rPr>
                        <a:t>2020-2021</a:t>
                      </a:r>
                    </a:p>
                  </a:txBody>
                  <a:tcPr>
                    <a:lnL>
                      <a:noFill/>
                    </a:lnL>
                    <a:lnR w="28575" cap="flat" cmpd="sng" algn="ctr">
                      <a:solidFill>
                        <a:srgbClr val="86BC25"/>
                      </a:solidFill>
                      <a:prstDash val="solid"/>
                      <a:round/>
                      <a:headEnd type="none" w="med" len="med"/>
                      <a:tailEnd type="none" w="med" len="med"/>
                    </a:lnR>
                    <a:lnT w="28575" cap="flat" cmpd="sng" algn="ctr">
                      <a:solidFill>
                        <a:srgbClr val="86BC25"/>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107128520"/>
                  </a:ext>
                </a:extLst>
              </a:tr>
              <a:tr h="493669">
                <a:tc>
                  <a:txBody>
                    <a:bodyPr/>
                    <a:lstStyle/>
                    <a:p>
                      <a:r>
                        <a:rPr lang="de-DE" sz="1100" b="1" dirty="0">
                          <a:solidFill>
                            <a:schemeClr val="bg1"/>
                          </a:solidFill>
                        </a:rPr>
                        <a:t>European </a:t>
                      </a:r>
                    </a:p>
                    <a:p>
                      <a:pPr marL="0" marR="0" lvl="0" indent="0" algn="l" defTabSz="1219170" rtl="0" eaLnBrk="1" fontAlgn="auto" latinLnBrk="0" hangingPunct="1">
                        <a:lnSpc>
                          <a:spcPct val="100000"/>
                        </a:lnSpc>
                        <a:spcBef>
                          <a:spcPts val="0"/>
                        </a:spcBef>
                        <a:spcAft>
                          <a:spcPts val="0"/>
                        </a:spcAft>
                        <a:buClrTx/>
                        <a:buSzTx/>
                        <a:buFontTx/>
                        <a:buNone/>
                        <a:tabLst/>
                        <a:defRPr/>
                      </a:pPr>
                      <a:r>
                        <a:rPr lang="de-DE" sz="1100" b="1" dirty="0">
                          <a:solidFill>
                            <a:schemeClr val="bg1"/>
                          </a:solidFill>
                        </a:rPr>
                        <a:t>Market:</a:t>
                      </a:r>
                    </a:p>
                  </a:txBody>
                  <a:tcPr marR="0">
                    <a:lnL w="28575" cap="flat" cmpd="sng" algn="ctr">
                      <a:solidFill>
                        <a:srgbClr val="86BC25"/>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a:endParaRPr lang="de-DE" sz="1100" b="1" dirty="0">
                        <a:solidFill>
                          <a:srgbClr val="046A38"/>
                        </a:solidFill>
                      </a:endParaRPr>
                    </a:p>
                    <a:p>
                      <a:pPr algn="ctr"/>
                      <a:r>
                        <a:rPr lang="de-DE" sz="1100" b="1" dirty="0">
                          <a:solidFill>
                            <a:srgbClr val="046A38"/>
                          </a:solidFill>
                        </a:rPr>
                        <a:t>+3%</a:t>
                      </a:r>
                    </a:p>
                  </a:txBody>
                  <a:tcPr marL="0" marR="0">
                    <a:lnL>
                      <a:noFill/>
                    </a:lnL>
                    <a:lnR>
                      <a:noFill/>
                    </a:lnR>
                    <a:lnT>
                      <a:noFill/>
                    </a:lnT>
                    <a:lnB>
                      <a:noFill/>
                    </a:lnB>
                    <a:lnTlToBr w="12700" cmpd="sng">
                      <a:noFill/>
                      <a:prstDash val="solid"/>
                    </a:lnTlToBr>
                    <a:lnBlToTr w="12700" cmpd="sng">
                      <a:noFill/>
                      <a:prstDash val="solid"/>
                    </a:lnBlToTr>
                    <a:noFill/>
                  </a:tcPr>
                </a:tc>
                <a:tc>
                  <a:txBody>
                    <a:bodyPr/>
                    <a:lstStyle/>
                    <a:p>
                      <a:pPr algn="ctr"/>
                      <a:endParaRPr lang="de-DE" sz="1100" b="1" dirty="0">
                        <a:solidFill>
                          <a:srgbClr val="046A38"/>
                        </a:solidFill>
                      </a:endParaRPr>
                    </a:p>
                    <a:p>
                      <a:pPr algn="ctr"/>
                      <a:r>
                        <a:rPr lang="de-DE" sz="1100" b="1" dirty="0">
                          <a:solidFill>
                            <a:srgbClr val="046A38"/>
                          </a:solidFill>
                        </a:rPr>
                        <a:t>(33%)</a:t>
                      </a:r>
                    </a:p>
                  </a:txBody>
                  <a:tcPr marL="0" marR="0">
                    <a:lnL>
                      <a:noFill/>
                    </a:lnL>
                    <a:lnR>
                      <a:noFill/>
                    </a:lnR>
                    <a:lnT>
                      <a:noFill/>
                    </a:lnT>
                    <a:lnB>
                      <a:noFill/>
                    </a:lnB>
                    <a:lnTlToBr w="12700" cmpd="sng">
                      <a:noFill/>
                      <a:prstDash val="solid"/>
                    </a:lnTlToBr>
                    <a:lnBlToTr w="12700" cmpd="sng">
                      <a:noFill/>
                      <a:prstDash val="solid"/>
                    </a:lnBlToTr>
                    <a:noFill/>
                  </a:tcPr>
                </a:tc>
                <a:tc>
                  <a:txBody>
                    <a:bodyPr/>
                    <a:lstStyle/>
                    <a:p>
                      <a:pPr algn="ctr"/>
                      <a:endParaRPr lang="de-DE" sz="1100" b="1" dirty="0">
                        <a:solidFill>
                          <a:srgbClr val="046A38"/>
                        </a:solidFill>
                      </a:endParaRPr>
                    </a:p>
                    <a:p>
                      <a:pPr algn="ctr"/>
                      <a:r>
                        <a:rPr lang="de-DE" sz="1100" b="1" dirty="0">
                          <a:solidFill>
                            <a:srgbClr val="046A38"/>
                          </a:solidFill>
                        </a:rPr>
                        <a:t>(11%)</a:t>
                      </a:r>
                    </a:p>
                  </a:txBody>
                  <a:tcPr marL="0" marR="0">
                    <a:lnL>
                      <a:noFill/>
                    </a:lnL>
                    <a:lnR w="28575" cap="flat" cmpd="sng" algn="ctr">
                      <a:solidFill>
                        <a:srgbClr val="86BC25"/>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14961191"/>
                  </a:ext>
                </a:extLst>
              </a:tr>
              <a:tr h="30600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de-DE" sz="1100" b="1" dirty="0">
                          <a:solidFill>
                            <a:schemeClr val="bg1"/>
                          </a:solidFill>
                        </a:rPr>
                        <a:t>Top 10:</a:t>
                      </a:r>
                    </a:p>
                  </a:txBody>
                  <a:tcPr>
                    <a:lnL w="28575" cap="flat" cmpd="sng" algn="ctr">
                      <a:solidFill>
                        <a:srgbClr val="86BC25"/>
                      </a:solidFill>
                      <a:prstDash val="solid"/>
                      <a:round/>
                      <a:headEnd type="none" w="med" len="med"/>
                      <a:tailEnd type="none" w="med" len="med"/>
                    </a:lnL>
                    <a:lnR>
                      <a:noFill/>
                    </a:lnR>
                    <a:lnT>
                      <a:noFill/>
                    </a:lnT>
                    <a:lnB w="2857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100" b="1" dirty="0">
                          <a:solidFill>
                            <a:srgbClr val="86BC25"/>
                          </a:solidFill>
                        </a:rPr>
                        <a:t>+8%</a:t>
                      </a:r>
                    </a:p>
                  </a:txBody>
                  <a:tcPr marL="0" marR="0">
                    <a:lnL>
                      <a:noFill/>
                    </a:lnL>
                    <a:lnR>
                      <a:noFill/>
                    </a:lnR>
                    <a:lnT>
                      <a:noFill/>
                    </a:lnT>
                    <a:lnB w="2857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100" b="1" dirty="0">
                          <a:solidFill>
                            <a:srgbClr val="86BC25"/>
                          </a:solidFill>
                        </a:rPr>
                        <a:t>(31%)</a:t>
                      </a:r>
                    </a:p>
                  </a:txBody>
                  <a:tcPr marL="0" marR="0">
                    <a:lnL>
                      <a:noFill/>
                    </a:lnL>
                    <a:lnR>
                      <a:noFill/>
                    </a:lnR>
                    <a:lnT>
                      <a:noFill/>
                    </a:lnT>
                    <a:lnB w="2857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100" b="1" dirty="0">
                          <a:solidFill>
                            <a:srgbClr val="86BC25"/>
                          </a:solidFill>
                        </a:rPr>
                        <a:t>+2%</a:t>
                      </a:r>
                    </a:p>
                  </a:txBody>
                  <a:tcPr marL="0" marR="0">
                    <a:lnL>
                      <a:noFill/>
                    </a:lnL>
                    <a:lnR w="28575" cap="flat" cmpd="sng" algn="ctr">
                      <a:solidFill>
                        <a:srgbClr val="86BC25"/>
                      </a:solidFill>
                      <a:prstDash val="solid"/>
                      <a:round/>
                      <a:headEnd type="none" w="med" len="med"/>
                      <a:tailEnd type="none" w="med" len="med"/>
                    </a:lnR>
                    <a:lnT>
                      <a:noFill/>
                    </a:lnT>
                    <a:lnB w="28575" cap="flat" cmpd="sng" algn="ctr">
                      <a:solidFill>
                        <a:srgbClr val="86BC2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3529563"/>
                  </a:ext>
                </a:extLst>
              </a:tr>
            </a:tbl>
          </a:graphicData>
        </a:graphic>
      </p:graphicFrame>
      <p:pic>
        <p:nvPicPr>
          <p:cNvPr id="72" name="image38.png">
            <a:extLst>
              <a:ext uri="{FF2B5EF4-FFF2-40B4-BE49-F238E27FC236}">
                <a16:creationId xmlns:a16="http://schemas.microsoft.com/office/drawing/2014/main" id="{A4A1E0D8-F7F3-4936-B4CB-350F4AD86542}"/>
              </a:ext>
            </a:extLst>
          </p:cNvPr>
          <p:cNvPicPr>
            <a:picLocks/>
          </p:cNvPicPr>
          <p:nvPr/>
        </p:nvPicPr>
        <p:blipFill>
          <a:blip r:embed="rId7" cstate="print"/>
          <a:stretch>
            <a:fillRect/>
          </a:stretch>
        </p:blipFill>
        <p:spPr>
          <a:xfrm>
            <a:off x="7932539" y="3019359"/>
            <a:ext cx="180000" cy="180000"/>
          </a:xfrm>
          <a:prstGeom prst="rect">
            <a:avLst/>
          </a:prstGeom>
        </p:spPr>
      </p:pic>
      <p:pic>
        <p:nvPicPr>
          <p:cNvPr id="74" name="image38.png">
            <a:extLst>
              <a:ext uri="{FF2B5EF4-FFF2-40B4-BE49-F238E27FC236}">
                <a16:creationId xmlns:a16="http://schemas.microsoft.com/office/drawing/2014/main" id="{48302B35-A9B7-4DA8-978E-B1B8A7BF0E76}"/>
              </a:ext>
            </a:extLst>
          </p:cNvPr>
          <p:cNvPicPr>
            <a:picLocks/>
          </p:cNvPicPr>
          <p:nvPr/>
        </p:nvPicPr>
        <p:blipFill>
          <a:blip r:embed="rId7" cstate="print"/>
          <a:stretch>
            <a:fillRect/>
          </a:stretch>
        </p:blipFill>
        <p:spPr>
          <a:xfrm>
            <a:off x="8182302" y="2766852"/>
            <a:ext cx="180000" cy="180000"/>
          </a:xfrm>
          <a:prstGeom prst="rect">
            <a:avLst/>
          </a:prstGeom>
        </p:spPr>
      </p:pic>
      <p:pic>
        <p:nvPicPr>
          <p:cNvPr id="75" name="image24.png">
            <a:extLst>
              <a:ext uri="{FF2B5EF4-FFF2-40B4-BE49-F238E27FC236}">
                <a16:creationId xmlns:a16="http://schemas.microsoft.com/office/drawing/2014/main" id="{E303B2A6-FAA2-4849-8B75-421629C8DD0D}"/>
              </a:ext>
            </a:extLst>
          </p:cNvPr>
          <p:cNvPicPr>
            <a:picLocks/>
          </p:cNvPicPr>
          <p:nvPr/>
        </p:nvPicPr>
        <p:blipFill>
          <a:blip r:embed="rId8" cstate="print"/>
          <a:stretch>
            <a:fillRect/>
          </a:stretch>
        </p:blipFill>
        <p:spPr>
          <a:xfrm>
            <a:off x="8184538" y="3015452"/>
            <a:ext cx="180000" cy="180000"/>
          </a:xfrm>
          <a:prstGeom prst="rect">
            <a:avLst/>
          </a:prstGeom>
        </p:spPr>
      </p:pic>
      <p:pic>
        <p:nvPicPr>
          <p:cNvPr id="76" name="image32.png">
            <a:extLst>
              <a:ext uri="{FF2B5EF4-FFF2-40B4-BE49-F238E27FC236}">
                <a16:creationId xmlns:a16="http://schemas.microsoft.com/office/drawing/2014/main" id="{A75ABD03-7EC8-4944-BF6D-7E337A9DE7D5}"/>
              </a:ext>
            </a:extLst>
          </p:cNvPr>
          <p:cNvPicPr>
            <a:picLocks/>
          </p:cNvPicPr>
          <p:nvPr/>
        </p:nvPicPr>
        <p:blipFill>
          <a:blip r:embed="rId9" cstate="print"/>
          <a:stretch>
            <a:fillRect/>
          </a:stretch>
        </p:blipFill>
        <p:spPr>
          <a:xfrm>
            <a:off x="7932538" y="3511326"/>
            <a:ext cx="180000" cy="180000"/>
          </a:xfrm>
          <a:prstGeom prst="rect">
            <a:avLst/>
          </a:prstGeom>
        </p:spPr>
      </p:pic>
      <p:pic>
        <p:nvPicPr>
          <p:cNvPr id="80" name="image36.png">
            <a:extLst>
              <a:ext uri="{FF2B5EF4-FFF2-40B4-BE49-F238E27FC236}">
                <a16:creationId xmlns:a16="http://schemas.microsoft.com/office/drawing/2014/main" id="{617A9AE5-B2F0-4F3D-8130-10D1C8EB9909}"/>
              </a:ext>
            </a:extLst>
          </p:cNvPr>
          <p:cNvPicPr>
            <a:picLocks/>
          </p:cNvPicPr>
          <p:nvPr/>
        </p:nvPicPr>
        <p:blipFill>
          <a:blip r:embed="rId10" cstate="print"/>
          <a:stretch>
            <a:fillRect/>
          </a:stretch>
        </p:blipFill>
        <p:spPr>
          <a:xfrm>
            <a:off x="8182302" y="3511326"/>
            <a:ext cx="180000" cy="180000"/>
          </a:xfrm>
          <a:prstGeom prst="rect">
            <a:avLst/>
          </a:prstGeom>
        </p:spPr>
      </p:pic>
      <p:pic>
        <p:nvPicPr>
          <p:cNvPr id="81" name="image38.png">
            <a:extLst>
              <a:ext uri="{FF2B5EF4-FFF2-40B4-BE49-F238E27FC236}">
                <a16:creationId xmlns:a16="http://schemas.microsoft.com/office/drawing/2014/main" id="{DD3B2DCB-3D8A-46BB-8795-77E347C04E2E}"/>
              </a:ext>
            </a:extLst>
          </p:cNvPr>
          <p:cNvPicPr>
            <a:picLocks/>
          </p:cNvPicPr>
          <p:nvPr/>
        </p:nvPicPr>
        <p:blipFill>
          <a:blip r:embed="rId7" cstate="print"/>
          <a:stretch>
            <a:fillRect/>
          </a:stretch>
        </p:blipFill>
        <p:spPr>
          <a:xfrm>
            <a:off x="8182302" y="3762184"/>
            <a:ext cx="180000" cy="180000"/>
          </a:xfrm>
          <a:prstGeom prst="rect">
            <a:avLst/>
          </a:prstGeom>
        </p:spPr>
      </p:pic>
      <p:pic>
        <p:nvPicPr>
          <p:cNvPr id="82" name="image21.png">
            <a:extLst>
              <a:ext uri="{FF2B5EF4-FFF2-40B4-BE49-F238E27FC236}">
                <a16:creationId xmlns:a16="http://schemas.microsoft.com/office/drawing/2014/main" id="{E87A08E2-8036-43FC-9B91-663A3595DD88}"/>
              </a:ext>
            </a:extLst>
          </p:cNvPr>
          <p:cNvPicPr>
            <a:picLocks/>
          </p:cNvPicPr>
          <p:nvPr/>
        </p:nvPicPr>
        <p:blipFill>
          <a:blip r:embed="rId11" cstate="print"/>
          <a:stretch>
            <a:fillRect/>
          </a:stretch>
        </p:blipFill>
        <p:spPr>
          <a:xfrm>
            <a:off x="7923952" y="4009006"/>
            <a:ext cx="180000" cy="180000"/>
          </a:xfrm>
          <a:prstGeom prst="rect">
            <a:avLst/>
          </a:prstGeom>
        </p:spPr>
      </p:pic>
      <p:pic>
        <p:nvPicPr>
          <p:cNvPr id="83" name="image39.png">
            <a:extLst>
              <a:ext uri="{FF2B5EF4-FFF2-40B4-BE49-F238E27FC236}">
                <a16:creationId xmlns:a16="http://schemas.microsoft.com/office/drawing/2014/main" id="{F4CDA629-31B5-44AE-A097-C95E0BB64CC9}"/>
              </a:ext>
            </a:extLst>
          </p:cNvPr>
          <p:cNvPicPr>
            <a:picLocks/>
          </p:cNvPicPr>
          <p:nvPr/>
        </p:nvPicPr>
        <p:blipFill>
          <a:blip r:embed="rId12" cstate="print"/>
          <a:stretch>
            <a:fillRect/>
          </a:stretch>
        </p:blipFill>
        <p:spPr>
          <a:xfrm>
            <a:off x="8182302" y="4009006"/>
            <a:ext cx="180000" cy="180000"/>
          </a:xfrm>
          <a:prstGeom prst="rect">
            <a:avLst/>
          </a:prstGeom>
        </p:spPr>
      </p:pic>
      <p:pic>
        <p:nvPicPr>
          <p:cNvPr id="84" name="image39.png">
            <a:extLst>
              <a:ext uri="{FF2B5EF4-FFF2-40B4-BE49-F238E27FC236}">
                <a16:creationId xmlns:a16="http://schemas.microsoft.com/office/drawing/2014/main" id="{C87A3ACE-B057-4BE6-9A1C-E81AD28704A2}"/>
              </a:ext>
            </a:extLst>
          </p:cNvPr>
          <p:cNvPicPr>
            <a:picLocks/>
          </p:cNvPicPr>
          <p:nvPr/>
        </p:nvPicPr>
        <p:blipFill>
          <a:blip r:embed="rId12" cstate="print"/>
          <a:stretch>
            <a:fillRect/>
          </a:stretch>
        </p:blipFill>
        <p:spPr>
          <a:xfrm>
            <a:off x="8182302" y="4255393"/>
            <a:ext cx="180000" cy="180000"/>
          </a:xfrm>
          <a:prstGeom prst="rect">
            <a:avLst/>
          </a:prstGeom>
        </p:spPr>
      </p:pic>
      <p:pic>
        <p:nvPicPr>
          <p:cNvPr id="85" name="image27.png">
            <a:extLst>
              <a:ext uri="{FF2B5EF4-FFF2-40B4-BE49-F238E27FC236}">
                <a16:creationId xmlns:a16="http://schemas.microsoft.com/office/drawing/2014/main" id="{54D3BA0B-D9AC-4E91-A3FF-B44A381BD3C2}"/>
              </a:ext>
            </a:extLst>
          </p:cNvPr>
          <p:cNvPicPr>
            <a:picLocks/>
          </p:cNvPicPr>
          <p:nvPr/>
        </p:nvPicPr>
        <p:blipFill>
          <a:blip r:embed="rId13" cstate="print"/>
          <a:stretch>
            <a:fillRect/>
          </a:stretch>
        </p:blipFill>
        <p:spPr>
          <a:xfrm>
            <a:off x="8176130" y="4506317"/>
            <a:ext cx="180000" cy="180000"/>
          </a:xfrm>
          <a:prstGeom prst="rect">
            <a:avLst/>
          </a:prstGeom>
        </p:spPr>
      </p:pic>
      <p:pic>
        <p:nvPicPr>
          <p:cNvPr id="86" name="image38.png">
            <a:extLst>
              <a:ext uri="{FF2B5EF4-FFF2-40B4-BE49-F238E27FC236}">
                <a16:creationId xmlns:a16="http://schemas.microsoft.com/office/drawing/2014/main" id="{1D72A1D4-5D96-4D2B-8B1D-9FD4888A7DBD}"/>
              </a:ext>
            </a:extLst>
          </p:cNvPr>
          <p:cNvPicPr>
            <a:picLocks/>
          </p:cNvPicPr>
          <p:nvPr/>
        </p:nvPicPr>
        <p:blipFill>
          <a:blip r:embed="rId7" cstate="print"/>
          <a:stretch>
            <a:fillRect/>
          </a:stretch>
        </p:blipFill>
        <p:spPr>
          <a:xfrm>
            <a:off x="8182302" y="4754168"/>
            <a:ext cx="180000" cy="180000"/>
          </a:xfrm>
          <a:prstGeom prst="rect">
            <a:avLst/>
          </a:prstGeom>
        </p:spPr>
      </p:pic>
      <p:pic>
        <p:nvPicPr>
          <p:cNvPr id="87" name="image43.png">
            <a:extLst>
              <a:ext uri="{FF2B5EF4-FFF2-40B4-BE49-F238E27FC236}">
                <a16:creationId xmlns:a16="http://schemas.microsoft.com/office/drawing/2014/main" id="{217A61B3-A004-429D-A91B-E3B167CFF599}"/>
              </a:ext>
            </a:extLst>
          </p:cNvPr>
          <p:cNvPicPr>
            <a:picLocks/>
          </p:cNvPicPr>
          <p:nvPr/>
        </p:nvPicPr>
        <p:blipFill>
          <a:blip r:embed="rId14" cstate="print"/>
          <a:stretch>
            <a:fillRect/>
          </a:stretch>
        </p:blipFill>
        <p:spPr>
          <a:xfrm>
            <a:off x="8176130" y="5006213"/>
            <a:ext cx="180000" cy="180000"/>
          </a:xfrm>
          <a:prstGeom prst="rect">
            <a:avLst/>
          </a:prstGeom>
        </p:spPr>
      </p:pic>
      <p:pic>
        <p:nvPicPr>
          <p:cNvPr id="88" name="image38.png">
            <a:extLst>
              <a:ext uri="{FF2B5EF4-FFF2-40B4-BE49-F238E27FC236}">
                <a16:creationId xmlns:a16="http://schemas.microsoft.com/office/drawing/2014/main" id="{D8C9C6D7-1B88-4B9B-860C-02449DD473C4}"/>
              </a:ext>
            </a:extLst>
          </p:cNvPr>
          <p:cNvPicPr>
            <a:picLocks/>
          </p:cNvPicPr>
          <p:nvPr/>
        </p:nvPicPr>
        <p:blipFill>
          <a:blip r:embed="rId7" cstate="print"/>
          <a:stretch>
            <a:fillRect/>
          </a:stretch>
        </p:blipFill>
        <p:spPr>
          <a:xfrm>
            <a:off x="7924131" y="5006213"/>
            <a:ext cx="180000" cy="180000"/>
          </a:xfrm>
          <a:prstGeom prst="rect">
            <a:avLst/>
          </a:prstGeom>
        </p:spPr>
      </p:pic>
      <p:pic>
        <p:nvPicPr>
          <p:cNvPr id="89" name="image40.png">
            <a:extLst>
              <a:ext uri="{FF2B5EF4-FFF2-40B4-BE49-F238E27FC236}">
                <a16:creationId xmlns:a16="http://schemas.microsoft.com/office/drawing/2014/main" id="{1ED9EE12-879D-48B3-9B81-5F125D5AC57F}"/>
              </a:ext>
            </a:extLst>
          </p:cNvPr>
          <p:cNvPicPr/>
          <p:nvPr/>
        </p:nvPicPr>
        <p:blipFill>
          <a:blip r:embed="rId15" cstate="print"/>
          <a:stretch>
            <a:fillRect/>
          </a:stretch>
        </p:blipFill>
        <p:spPr>
          <a:xfrm>
            <a:off x="8184538" y="3262023"/>
            <a:ext cx="180000" cy="180000"/>
          </a:xfrm>
          <a:prstGeom prst="rect">
            <a:avLst/>
          </a:prstGeom>
        </p:spPr>
      </p:pic>
      <p:pic>
        <p:nvPicPr>
          <p:cNvPr id="90" name="image27.png">
            <a:extLst>
              <a:ext uri="{FF2B5EF4-FFF2-40B4-BE49-F238E27FC236}">
                <a16:creationId xmlns:a16="http://schemas.microsoft.com/office/drawing/2014/main" id="{3AD3A163-AD6D-4136-B87A-C60866457A88}"/>
              </a:ext>
            </a:extLst>
          </p:cNvPr>
          <p:cNvPicPr/>
          <p:nvPr/>
        </p:nvPicPr>
        <p:blipFill>
          <a:blip r:embed="rId13" cstate="print"/>
          <a:stretch>
            <a:fillRect/>
          </a:stretch>
        </p:blipFill>
        <p:spPr>
          <a:xfrm>
            <a:off x="7680539" y="3262023"/>
            <a:ext cx="180000" cy="180000"/>
          </a:xfrm>
          <a:prstGeom prst="rect">
            <a:avLst/>
          </a:prstGeom>
        </p:spPr>
      </p:pic>
      <p:pic>
        <p:nvPicPr>
          <p:cNvPr id="91" name="image31.png">
            <a:extLst>
              <a:ext uri="{FF2B5EF4-FFF2-40B4-BE49-F238E27FC236}">
                <a16:creationId xmlns:a16="http://schemas.microsoft.com/office/drawing/2014/main" id="{100E04ED-5AEA-4509-889B-7C77AFEDD8EB}"/>
              </a:ext>
            </a:extLst>
          </p:cNvPr>
          <p:cNvPicPr/>
          <p:nvPr/>
        </p:nvPicPr>
        <p:blipFill>
          <a:blip r:embed="rId16" cstate="print"/>
          <a:stretch>
            <a:fillRect/>
          </a:stretch>
        </p:blipFill>
        <p:spPr>
          <a:xfrm>
            <a:off x="7932538" y="3262023"/>
            <a:ext cx="180000" cy="180000"/>
          </a:xfrm>
          <a:prstGeom prst="rect">
            <a:avLst/>
          </a:prstGeom>
        </p:spPr>
      </p:pic>
      <p:sp>
        <p:nvSpPr>
          <p:cNvPr id="42" name="Rectangle 41">
            <a:extLst>
              <a:ext uri="{FF2B5EF4-FFF2-40B4-BE49-F238E27FC236}">
                <a16:creationId xmlns:a16="http://schemas.microsoft.com/office/drawing/2014/main" id="{C84C24CC-3F13-4B52-B903-F076E6E13E32}"/>
              </a:ext>
            </a:extLst>
          </p:cNvPr>
          <p:cNvSpPr/>
          <p:nvPr/>
        </p:nvSpPr>
        <p:spPr bwMode="gray">
          <a:xfrm>
            <a:off x="460374" y="3739786"/>
            <a:ext cx="7920172" cy="232873"/>
          </a:xfrm>
          <a:prstGeom prst="rect">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
        <p:nvSpPr>
          <p:cNvPr id="43" name="Rectangle 42">
            <a:extLst>
              <a:ext uri="{FF2B5EF4-FFF2-40B4-BE49-F238E27FC236}">
                <a16:creationId xmlns:a16="http://schemas.microsoft.com/office/drawing/2014/main" id="{135A14D4-8719-498D-B157-285848F5C48A}"/>
              </a:ext>
            </a:extLst>
          </p:cNvPr>
          <p:cNvSpPr/>
          <p:nvPr/>
        </p:nvSpPr>
        <p:spPr bwMode="gray">
          <a:xfrm>
            <a:off x="460374" y="4727731"/>
            <a:ext cx="7920172" cy="232873"/>
          </a:xfrm>
          <a:prstGeom prst="rect">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
        <p:nvSpPr>
          <p:cNvPr id="44" name="Rectangle 43">
            <a:extLst>
              <a:ext uri="{FF2B5EF4-FFF2-40B4-BE49-F238E27FC236}">
                <a16:creationId xmlns:a16="http://schemas.microsoft.com/office/drawing/2014/main" id="{A2B7CCF5-840F-46C0-B36C-4977A5A6E089}"/>
              </a:ext>
            </a:extLst>
          </p:cNvPr>
          <p:cNvSpPr/>
          <p:nvPr/>
        </p:nvSpPr>
        <p:spPr bwMode="gray">
          <a:xfrm>
            <a:off x="460374" y="4979776"/>
            <a:ext cx="7920172" cy="232873"/>
          </a:xfrm>
          <a:prstGeom prst="rect">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
        <p:nvSpPr>
          <p:cNvPr id="45" name="Rectangle 42">
            <a:extLst>
              <a:ext uri="{FF2B5EF4-FFF2-40B4-BE49-F238E27FC236}">
                <a16:creationId xmlns:a16="http://schemas.microsoft.com/office/drawing/2014/main" id="{CE78D373-80EA-4632-9B05-D71A7BA52B71}"/>
              </a:ext>
            </a:extLst>
          </p:cNvPr>
          <p:cNvSpPr/>
          <p:nvPr/>
        </p:nvSpPr>
        <p:spPr bwMode="gray">
          <a:xfrm>
            <a:off x="460374" y="2743483"/>
            <a:ext cx="7920172" cy="232873"/>
          </a:xfrm>
          <a:prstGeom prst="rect">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
        <p:nvSpPr>
          <p:cNvPr id="46" name="Rectangle 43">
            <a:extLst>
              <a:ext uri="{FF2B5EF4-FFF2-40B4-BE49-F238E27FC236}">
                <a16:creationId xmlns:a16="http://schemas.microsoft.com/office/drawing/2014/main" id="{71456380-807C-479E-A3F3-62FC168BADDF}"/>
              </a:ext>
            </a:extLst>
          </p:cNvPr>
          <p:cNvSpPr/>
          <p:nvPr/>
        </p:nvSpPr>
        <p:spPr bwMode="gray">
          <a:xfrm>
            <a:off x="460374" y="2995528"/>
            <a:ext cx="7920172" cy="232873"/>
          </a:xfrm>
          <a:prstGeom prst="rect">
            <a:avLst/>
          </a:prstGeom>
          <a:noFill/>
          <a:ln w="952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
        <p:nvSpPr>
          <p:cNvPr id="47" name="Rechteck 46">
            <a:extLst>
              <a:ext uri="{FF2B5EF4-FFF2-40B4-BE49-F238E27FC236}">
                <a16:creationId xmlns:a16="http://schemas.microsoft.com/office/drawing/2014/main" id="{274D1415-8894-42D4-9D3E-26BF0FE91A56}"/>
              </a:ext>
            </a:extLst>
          </p:cNvPr>
          <p:cNvSpPr/>
          <p:nvPr/>
        </p:nvSpPr>
        <p:spPr bwMode="gray">
          <a:xfrm>
            <a:off x="8924925" y="3352800"/>
            <a:ext cx="2772000" cy="4572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de-DE" sz="1600" b="1" dirty="0">
              <a:solidFill>
                <a:schemeClr val="bg1"/>
              </a:solidFill>
            </a:endParaRPr>
          </a:p>
        </p:txBody>
      </p:sp>
    </p:spTree>
    <p:extLst>
      <p:ext uri="{BB962C8B-B14F-4D97-AF65-F5344CB8AC3E}">
        <p14:creationId xmlns:p14="http://schemas.microsoft.com/office/powerpoint/2010/main" val="334505603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43"/>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45"/>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0"/>
                                  </p:stCondLst>
                                  <p:childTnLst>
                                    <p:set>
                                      <p:cBhvr>
                                        <p:cTn id="18" dur="1" fill="hold">
                                          <p:stCondLst>
                                            <p:cond delay="0"/>
                                          </p:stCondLst>
                                        </p:cTn>
                                        <p:tgtEl>
                                          <p:spTgt spid="4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44" grpId="0" animBg="1"/>
      <p:bldP spid="45" grpId="0" animBg="1"/>
      <p:bldP spid="46" grpId="0" animBg="1"/>
      <p:bldP spid="4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3yDlTiilt0lA_fjShYRw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8VP78rXZJK3vtSIn3juMV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tzsHSHqrmmrQ5esVOmm2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NPpT_DF0_rAbB.WPluu7y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zQ.R2.Q0yWbTBRmfFltMp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6K_03W95oBoz0WUiWd95e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96G82rZ9L.cXXzDmg1Oq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61VJV1GFntQfNefXsv6u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SsIRHPg3WTn8aCgKTspK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U8h8zmA63oGiSx_XNL6B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e4YdnvZkuoSBw2OgyGuW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RJANzl7KlcXGV626iJ1K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Aw47XftOdRQWYTAeWKV0C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WypqTljLLL61IvhMBV5_d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EtChMZAzuX_TyPDr2kXg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ZH2fUeZeUJiItqxf7AE0Z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BjczwE_2dy_D7GwXcyyoo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S3QL.aKRMCgL6IYPjXVV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S3QL.aKRMCgL6IYPjXV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s5KMJ2vy55e6MQjwFNWK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mw8uv1SBVFxasd5cJ6gaK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8Eyv3DT.x4dLv0qCSofRX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wFmI7uMHOnC18ctURy2ZQ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fuwKWbFYvw6Qbk_X1TALp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7scwn3z6fDrKAym.fURJ3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oI4H40AsIxRL0h.fB34k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neLgpuKC61QPJ11IvMULn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UiI9TOpvf_B1OCvp7Kjk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5RdwE_hZWvItmCDFNu_93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2afE0R5ZMk1RSfpLu1ju7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JuScipgwTfBjUMu_ZljtF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XSvkUUq63Wo4yebT90YPv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yw_zwqdKH7R.WAfEn1nwh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tEZM9qmrkgpCyoolZ6fuG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q.qk7xSkFpcFSdQqYDc6D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mYZub0cTMi5Y46CWo3H26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vtt4CIW_H8cXk8fUxhNv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cO3RojyMtUbzJg8G7TT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L_BfMh8nmgsK4YhcsJcL0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lkpvodc2hRDqOVi3ZFNrP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2IuxequVT.OC2o7ss6Xug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g0rsG1_vMftJTDKtSuszl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9v8qE84oI6I2UFR.h2uEP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1UDE61.TmDTBKbq9w.U7o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Ul3ZyO9o8WaoJTwVsGK2c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dLlQ_Kv4rTrq4EEJz6gec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k_0CTwc0JpqxdLqK2kQ.c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JG._OLJyWNPzHeRVxeSUb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DPygxEzsT0qSbderIk4m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zdkvIjenYFtmkQH030wC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qHOMa_o33tr0GR5Mjh1X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EQvdxGJnw9hKO_tBYttxR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GT7qTGh3nA9q0.agCxJbl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yoEMbirLIq2ImJ42GT0Fx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7WcAp4uhdKA_a2IXpxqR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EZk3GW8mRxgFqS2ONWHk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nHfB0tnpsQ3.qlpazjAos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NncVPQXMdl86j2rG53lf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fCt4Mv3sVMOb9SpZSbG1Y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LUmo4GBDsGyu6HErlCDEw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icc7jXrE84oIl5KybdtC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xhIbmkMSldrMecTKNoxF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TwNBk8xIfkBRU8UoY3GFH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gIO_271KXTUwSr5QubAv3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Lt93MG5JT.GBgvUz3Xr8f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ypvT3u8UtxY1CPKDmgbTz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1Vh43Jzwv2ibucUua2_2H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3L2pqVBAG97SiOSkMStMH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uYNeKNCCn7PFvf1msTeO6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cUybMlF8x3awT.z_cshq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3kKOGkWNN9mmdzVufGzG4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dBQ29OEh_GfB1xes_xme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LAsvAUNvv0HF_DC8DRakq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0W90pEife4iiTdiUTjSuO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LS2VE03_j9Zhs0XP1JEMY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yBxdbpIHQfwEZNbLsEP7_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d2iYcO2LzX4BVG7X7cgzm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2jluZsJTqCU4RpVq6QWTB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bKq1pPOrMW.7yKyQEcdop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jUjali13C1CS175dJr4K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FNE0rPfScXMTxPLctmTw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jAQDdWBm_bDHId1oGW8vb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wgmCF0Yiyqd78leSjEMr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xMbSMVfyN91fBR79cgcbj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TiwPXWcmN2hWp0.HgaxNZ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ImBCxUvfyAIwkVthwjjff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Pk_vtg7IC4E72oOPCdQpt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U.9mcn4b9JCup_bWrOMJ6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eX_dYmrpeiMQmjqjM5qiS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P1oiL6sYu2uOwIVzAfd6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QHtWu.tOtc580PojR3.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TXzkAgDy4_qObtqqyZygv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EfYyNhGXSRZhgWQSchv84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rPTdlktU6NI.Tz1qV9FaG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cICf1pA5fYRalqKeWyjMc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l2Qr2YHtJDA1RZ3QWBkSh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bmEwzTGdleEbz7yGxchs4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VS3QL.aKRMCgL6IYPjXVV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S3QL.aKRMCgL6IYPjXV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VS3QL.aKRMCgL6IYPjXVV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VS3QL.aKRMCgL6IYPjXVV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VS3QL.aKRMCgL6IYPjXVV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VS3QL.aKRMCgL6IYPjXV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JzdwTpdQDqkBi0vouSex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VS3QL.aKRMCgL6IYPjXVV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VS3QL.aKRMCgL6IYPjXVV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VS3QL.aKRMCgL6IYPjXVV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xcZuwCbrRHmezShowDWW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2MXQyjuBbCAM8J1YC_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22ADz3erxBvDxDq43tF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I1sL3oJXSepGSEQzqAY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e4YdnvZkuoSBw2OgyGu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JzdwTpdQDqkBi0vouSe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cUybMlF8x3awT.z_cshq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QHtWu.tOtc580PojR3.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cZuwCbrRHmezShowDWW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S3QL.aKRMCgL6IYPjXV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VxnmE4hD5_qPtlVMC1QH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FuxF068w44jNuBZVDXVo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_OjZGu9EYsFUlK9CwMTO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0iL9EKuFkhuQ1hNQSYyQ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qsmL5HcLju3TcZOwyCk4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y10CZAiiZYus.vHDmGw1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hCWYOi89c2jnpRxe5f0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2MXQyjuBbCAM8J1YC_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VavRgXvBJPkdJ5dRSbht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_Q.PYxsPA4XGci43y9c0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2TTDL6Ek66aQbKBdLmn4H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NxmG47s3lHQlGX_wYu6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tOpvbVcmYSiUyzc7eVw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U1f.dpELA4ZtPVTnWP9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fZ5zMjJiMvhjDuMu4yfMR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lwXtp.XwfciKrpDJtSA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LCYAAs2vTxfRISUnZtvS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skAMk.OZbrY7Pvtrx2o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M_KmvEFu1WFpjf_4PO_l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_sSAueiEE0qD7XYceImh3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5LAsE.WFIBu1eMlHy3Gw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o6tNhpBuH1l1uMA3SDMR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5gWPrZZYhti0EtfWjYfC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WhCpQMR_qfqv0op.zKeD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Fq00FTSd4widolwoaYJ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I7MygAvXxR6dgYteyijB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s.d_mJiEMM0t0oULT9EKl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NaTRLWmlDZ3MGMEjycU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22ADz3erxBvDxDq43tF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2z_miSBK81gr.FCmz.qz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RRpogTWyEUjH70UPtjYg4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UUf.99C4.rY5iC_5qUX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L_E4krDhhZgRYRPyC6G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tAlZgvXJmc2n.uycVLj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d6zAyLsjtdpSS7MeMRXf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qO07ILpNwEtepjntNOy8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HL5Ly.B9V0BYX0fdfDiN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BVGl5UQSOiroy7cNArWZ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8dWdI7VkGGIqpjsrHoa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TIXkmDl7fasndw8GIWrY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QkLv3ZOoOI.vvZ.z9cpDj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DuEgSs50A5.69nug3xBq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6bcl4R5cI.xTu0VwDVNTo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kNO4S52m25UjYC_1u1Zu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aVlhRka4oQsepFSsLXvQ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NbBSpVEHOLhvXbXy1Qeh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nNDOVANvD49qlHFvU7Ic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unboXx9YeAORmf47amA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qfGrpnKJeBBFaXc1X9p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I1sL3oJXSepGSEQzqAYj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D.KfdhRvmPpykj2_pqz9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QqqjK.GMCsYcGotiLtdh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JTzfk7SKvad_6dA0l93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iujY29NH7_u0dfFwAtxJ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8krjSoMWOWgOpgFnCIN0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7BIOMHn2ir9uZ4lJGVcy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s88_c057zy0GtSpOv6XXr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CMv7BnjuivGIi4ojSN1i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z7EoPQ7U2FzQClt3mohz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w54Nr85QWLugWpkbyIv2YA"/>
</p:tagLst>
</file>

<file path=ppt/theme/theme1.xml><?xml version="1.0" encoding="utf-8"?>
<a:theme xmlns:a="http://schemas.openxmlformats.org/drawingml/2006/main" name="Deloitte_US_Onscreen">
  <a:themeElements>
    <a:clrScheme name="Deloitte Sc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Presentation3" id="{B6131D4A-6D06-A545-84A0-5EA998671E86}" vid="{BE248F2D-C897-7A4C-A651-C1F199A63940}"/>
    </a:ext>
  </a:extLst>
</a:theme>
</file>

<file path=ppt/theme/theme2.xml><?xml version="1.0" encoding="utf-8"?>
<a:theme xmlns:a="http://schemas.openxmlformats.org/drawingml/2006/main" name="1_Deloitte_US_Onscreen">
  <a:themeElements>
    <a:clrScheme name="Deloitte Sc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Presentation3" id="{B6131D4A-6D06-A545-84A0-5EA998671E86}" vid="{BE248F2D-C897-7A4C-A651-C1F199A63940}"/>
    </a:ext>
  </a:extLst>
</a:theme>
</file>

<file path=ppt/theme/theme3.xml><?xml version="1.0" encoding="utf-8"?>
<a:theme xmlns:a="http://schemas.openxmlformats.org/drawingml/2006/main" name="1_Kantoorthema">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74</TotalTime>
  <Words>3123</Words>
  <Application>Microsoft Office PowerPoint</Application>
  <PresentationFormat>Grand écran</PresentationFormat>
  <Paragraphs>570</Paragraphs>
  <Slides>27</Slides>
  <Notes>18</Notes>
  <HiddenSlides>0</HiddenSlides>
  <MMClips>0</MMClips>
  <ScaleCrop>false</ScaleCrop>
  <HeadingPairs>
    <vt:vector size="8" baseType="variant">
      <vt:variant>
        <vt:lpstr>Polices utilisées</vt:lpstr>
      </vt:variant>
      <vt:variant>
        <vt:i4>8</vt:i4>
      </vt:variant>
      <vt:variant>
        <vt:lpstr>Thème</vt:lpstr>
      </vt:variant>
      <vt:variant>
        <vt:i4>4</vt:i4>
      </vt:variant>
      <vt:variant>
        <vt:lpstr>Serveurs OLE incorporés</vt:lpstr>
      </vt:variant>
      <vt:variant>
        <vt:i4>2</vt:i4>
      </vt:variant>
      <vt:variant>
        <vt:lpstr>Titres des diapositives</vt:lpstr>
      </vt:variant>
      <vt:variant>
        <vt:i4>27</vt:i4>
      </vt:variant>
    </vt:vector>
  </HeadingPairs>
  <TitlesOfParts>
    <vt:vector size="41" baseType="lpstr">
      <vt:lpstr>Arial</vt:lpstr>
      <vt:lpstr>Calibri</vt:lpstr>
      <vt:lpstr>Calibri Light</vt:lpstr>
      <vt:lpstr>OpenSans-Light</vt:lpstr>
      <vt:lpstr>Times New Roman</vt:lpstr>
      <vt:lpstr>Verdana</vt:lpstr>
      <vt:lpstr>Wingdings</vt:lpstr>
      <vt:lpstr>Wingdings 2</vt:lpstr>
      <vt:lpstr>Deloitte_US_Onscreen</vt:lpstr>
      <vt:lpstr>1_Deloitte_US_Onscreen</vt:lpstr>
      <vt:lpstr>1_Kantoorthema</vt:lpstr>
      <vt:lpstr>1_Office</vt:lpstr>
      <vt:lpstr>think-cell Folie</vt:lpstr>
      <vt:lpstr>think-cell Slide</vt:lpstr>
      <vt:lpstr>Le marché européen du fitness et de la santé</vt:lpstr>
      <vt:lpstr>Périodes de troubles… Six éléments qui impactent sérieusement le secteur du fitness  1. Le secteur est encore en train de se remettre des effets dramatiques de la pandémie de COVID-19 et les fermetures des salles pendant de longues périodes en 2020 et 2021;    2. Un marché de l’emploi particulièrement restreint, ce qui résulte en des coûts du personnel plus élevés;  3. Suite au Covid (Chine) et le conflit ukrainien, on constate une perturbation de la chaîne de production;   4. Les ménages se préparent pour une récession et font le point sur leurs dépenses;  5. L’inflation ( Europe 8,9% en juillet 2022!) a un impact géneral, mais sur certains groupes de consommateurs plus que d’autres;   6. La compétition est dure et il reste nécessaire d’investir et transformer ses modèles                                                                                                                        commerciaux  </vt:lpstr>
      <vt:lpstr>Ordre du jour    Marché Européen en 2021  Évolutions 2022  Enquête consommateurs  Eurobarometre 2022  Conseils pour réussir  Questions/Réponses</vt:lpstr>
      <vt:lpstr>Présentation PowerPoint</vt:lpstr>
      <vt:lpstr>Après le déclin lié au COVID-19 en 2020, le marché européen du fitness s’est stabilisé en termes de membres et nombres de clubs, alors que les revenus ont encore baissé</vt:lpstr>
      <vt:lpstr>En Europe, il y a eu des différences significatives en ce qui concerne la fermeture des salles de sport ces deux dernières années</vt:lpstr>
      <vt:lpstr>Malgré des impacts négatifs en 2020, les marchés britanniques et espagnols se sont remis en 2021, alors que les revenus et adhésions en Allemagne ont diminué pour la deuxième année consécutive</vt:lpstr>
      <vt:lpstr>Particulièrement encouragés par le développement des salles de sport petit budget, le top-10 des opérateurs ont pu dépasser le développement moyen du marché pendant la pandémie</vt:lpstr>
      <vt:lpstr>Egalement en ce qui concerne les revenus, le Top-10 a été plus résilient que le marché général, les différentes périodes de fermeture impactant les revenus</vt:lpstr>
      <vt:lpstr> Résultats 6 mois 2022;                        1H 2022 vs ‘21; Membres +46 % &gt; 2,9 Mio., 107 ouvertures,                                                         CA € 355 Mio. ( ’21 ; 53 Mio. )      CA Q2 119 Mio. £  + 8 % vs  ’21                                  525 clubs  vs 454 en 2019  1,7 Million membres, comme pre-Corona                                   Q2 Mbrs. 671.000, + 10 %;   CA + 53 %;  clubs 267 ( + 13)</vt:lpstr>
      <vt:lpstr>Résultats 6 mois 2022;                       1H 2022 vs ‘21;    Membres +10 % ;  790.000                                                            90 % vs 2019                                                          CA 84,2 millions livres sterling ( + 187 %)                                                          CA comparable 2019 fin 2022                                                                                                                                               Fin Juin 2022; CA + 13,6 vs 2021 ; Membres 16,1 Millions, comme pre Corona                                                                                                CA 98 %  pre-Corona, membres 86 % pre Corona ;  3,1 Mio.                                                            </vt:lpstr>
      <vt:lpstr>Présentation PowerPoint</vt:lpstr>
      <vt:lpstr>Résumé des développements 2022;  Consolidation / Refinancement / Restructuration Migros quitte l’Allemagne;                                                                                                       McFit and Pure quittent la Pologne:                                                                                                       Holmes place clubs Spain acquis par RSG                                                                                                      Neoness &gt; Keep Cool                                                                                                      Reebok Club &gt; David Lloyd Clubs  Intégration verticale/Diversification;  RSG / McFit participation 35 % dans Gym80                                                                               Peloton acquiert Precor                                                                               Core acquiert Wexer                                                                               Egym acquiert Gymlib                                                                               Mindbody acquiert Classpass  Après hausse spectaculaire, les difficultés du fitness connecté  Peloton, Mirror, Tonal, Nautilus, etc.  Des entreprises de vente aux consommateurs commencent à vendre aux clubs / vertical                                                                           ( Peloton Commercial &gt; Amazon, Hydro, Echelon)                                                                                                                                                Hausse de l’utilisation des accessoires; une approche plus holistique du fitness (Activité,                                                                                                                                            sommeil, Mental, nutrition)  Changements des prix…. </vt:lpstr>
      <vt:lpstr>2018; McFit  € 15,99 &gt; 19,99</vt:lpstr>
      <vt:lpstr>                                     Stratégie des Prix 2022</vt:lpstr>
      <vt:lpstr>Présentation PowerPoint</vt:lpstr>
      <vt:lpstr>Présentation PowerPoint</vt:lpstr>
      <vt:lpstr>Accéléré par la pandémie de COVID-19, l’écosystème du fitness s’est adapté aux besoins des consommateurs afin de faciliter l’expérience fitness </vt:lpstr>
      <vt:lpstr>Afin de mieux comprendre les consommateurs européens du fitness, EuropeActive a mandaté Deloitte pour réaliser une étude de consommateurs avec près de 11 000 participants</vt:lpstr>
      <vt:lpstr>Entre 36 % et 72 % des consommateurs dans les pays interrogés ont indiqué faire du sport au moins une fois par semaine</vt:lpstr>
      <vt:lpstr>La popularité des lieux d’entraînement varie largement selon les pays et peut aussi dépendre des restrictions au moment de l’étude</vt:lpstr>
      <vt:lpstr>42 % des pratiquants du fitness combinent au moins deux possibilités d’entraînement ; la majorité combinant l’entraînement à l’extérieur ou à la maison</vt:lpstr>
      <vt:lpstr>Bien qu’il y ait une tendance à la réduction de la pratique du fitness dans la plupart des pays, les signes montrent clairement une tendance à la hausse pour l’avenir</vt:lpstr>
      <vt:lpstr>Malgré des différences selon les pays, plusieurs facteurs communs sur la consommation du fitness ont été identifiés</vt:lpstr>
      <vt:lpstr>Présentation PowerPoint</vt:lpstr>
      <vt:lpstr>   10 astuces pour réussir durablement </vt:lpstr>
      <vt:lpstr>Présentation PowerPoint</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European Health &amp; Fitness Market Report 2019</dc:title>
  <dc:creator>Gausselmann, Steffen (DE - Duesseldorf)</dc:creator>
  <cp:lastModifiedBy>Thierry Doll</cp:lastModifiedBy>
  <cp:revision>1309</cp:revision>
  <cp:lastPrinted>2019-03-28T16:27:27Z</cp:lastPrinted>
  <dcterms:created xsi:type="dcterms:W3CDTF">2019-03-25T15:13:23Z</dcterms:created>
  <dcterms:modified xsi:type="dcterms:W3CDTF">2022-10-03T08:2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6-11T08:03:34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b566ef72-ef0d-4b1a-9511-a16b9b81c10f</vt:lpwstr>
  </property>
  <property fmtid="{D5CDD505-2E9C-101B-9397-08002B2CF9AE}" pid="8" name="MSIP_Label_ea60d57e-af5b-4752-ac57-3e4f28ca11dc_ContentBits">
    <vt:lpwstr>0</vt:lpwstr>
  </property>
  <property fmtid="{D5CDD505-2E9C-101B-9397-08002B2CF9AE}" pid="9" name="DeloitteTS">
    <vt:lpwstr>DeloitteTS</vt:lpwstr>
  </property>
</Properties>
</file>